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10487" r:id="rId5"/>
  </p:sldIdLst>
  <p:sldSz cx="9906000" cy="6858000" type="A4"/>
  <p:notesSz cx="6797675" cy="9872663"/>
  <p:custDataLst>
    <p:tags r:id="rId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084CC256-1B44-4366-8EBF-7B67AA53A781}">
          <p14:sldIdLst/>
        </p14:section>
        <p14:section name="Exec sum" id="{EA9B5407-90D0-4E41-AFFD-89B75E49647C}">
          <p14:sldIdLst>
            <p14:sldId id="10487"/>
          </p14:sldIdLst>
        </p14:section>
        <p14:section name="Digital projects assessment" id="{71B6539A-9FA6-4910-81AD-3F7F15EDCFC3}">
          <p14:sldIdLst/>
        </p14:section>
        <p14:section name="Platform business models" id="{D4745AA0-DBAE-409A-A9F3-7A98D2A24343}">
          <p14:sldIdLst/>
        </p14:section>
        <p14:section name="Appendix" id="{AB62A5AB-D8BE-42FE-B9C5-8F5BF2A3AD51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4020" userDrawn="1">
          <p15:clr>
            <a:srgbClr val="A4A3A4"/>
          </p15:clr>
        </p15:guide>
        <p15:guide id="15" pos="3165" userDrawn="1">
          <p15:clr>
            <a:srgbClr val="A4A3A4"/>
          </p15:clr>
        </p15:guide>
        <p15:guide id="20" pos="3664" userDrawn="1">
          <p15:clr>
            <a:srgbClr val="A4A3A4"/>
          </p15:clr>
        </p15:guide>
        <p15:guide id="22" pos="353" userDrawn="1">
          <p15:clr>
            <a:srgbClr val="A4A3A4"/>
          </p15:clr>
        </p15:guide>
        <p15:guide id="27" pos="2757" userDrawn="1">
          <p15:clr>
            <a:srgbClr val="A4A3A4"/>
          </p15:clr>
        </p15:guide>
        <p15:guide id="33" pos="3528" userDrawn="1">
          <p15:clr>
            <a:srgbClr val="A4A3A4"/>
          </p15:clr>
        </p15:guide>
        <p15:guide id="34" pos="5915" userDrawn="1">
          <p15:clr>
            <a:srgbClr val="A4A3A4"/>
          </p15:clr>
        </p15:guide>
        <p15:guide id="35" orient="horz" pos="3940" userDrawn="1">
          <p15:clr>
            <a:srgbClr val="A4A3A4"/>
          </p15:clr>
        </p15:guide>
        <p15:guide id="36" orient="horz" pos="39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1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k Hagege" initials="FH" lastIdx="14" clrIdx="0">
    <p:extLst>
      <p:ext uri="{19B8F6BF-5375-455C-9EA6-DF929625EA0E}">
        <p15:presenceInfo xmlns:p15="http://schemas.microsoft.com/office/powerpoint/2012/main" userId="S-1-5-21-1801674531-1336601894-682003330-3190" providerId="AD"/>
      </p:ext>
    </p:extLst>
  </p:cmAuthor>
  <p:cmAuthor id="2" name="Blandine CleyetMerle" initials="BC" lastIdx="1" clrIdx="1">
    <p:extLst>
      <p:ext uri="{19B8F6BF-5375-455C-9EA6-DF929625EA0E}">
        <p15:presenceInfo xmlns:p15="http://schemas.microsoft.com/office/powerpoint/2012/main" userId="S-1-5-21-1801674531-1336601894-682003330-13137" providerId="AD"/>
      </p:ext>
    </p:extLst>
  </p:cmAuthor>
  <p:cmAuthor id="3" name="Arnaud Vigier" initials="AV" lastIdx="1" clrIdx="2">
    <p:extLst>
      <p:ext uri="{19B8F6BF-5375-455C-9EA6-DF929625EA0E}">
        <p15:presenceInfo xmlns:p15="http://schemas.microsoft.com/office/powerpoint/2012/main" userId="S-1-5-21-1801674531-1336601894-682003330-14279" providerId="AD"/>
      </p:ext>
    </p:extLst>
  </p:cmAuthor>
  <p:cmAuthor id="4" name="Nawaz Ahmad" initials="NA" lastIdx="2" clrIdx="3">
    <p:extLst>
      <p:ext uri="{19B8F6BF-5375-455C-9EA6-DF929625EA0E}">
        <p15:presenceInfo xmlns:p15="http://schemas.microsoft.com/office/powerpoint/2012/main" userId="S-1-5-21-602162358-1897051121-1417001333-4374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B0"/>
    <a:srgbClr val="1F497D"/>
    <a:srgbClr val="F2F2F2"/>
    <a:srgbClr val="B3A2C7"/>
    <a:srgbClr val="C6D9F1"/>
    <a:srgbClr val="87779B"/>
    <a:srgbClr val="FFFFFF"/>
    <a:srgbClr val="DBEEF4"/>
    <a:srgbClr val="4BACC6"/>
    <a:srgbClr val="3185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BCE0D8-1F33-4057-A775-07C3F688388F}" v="421473" vWet="421797" dt="2021-05-25T15:28:12.253"/>
    <p1510:client id="{146BD8F6-FDDD-49D3-A1A6-146C954086FF}" v="15072" dt="2021-05-25T15:09:15.458"/>
    <p1510:client id="{674EC1EC-9279-428D-A3A8-9C20E6354D37}" v="628" dt="2021-05-25T15:25:13.135"/>
    <p1510:client id="{80D4E734-020D-4C1F-A028-1B9E9B483F9A}" v="13195" dt="2021-05-25T15:27:45.189"/>
    <p1510:client id="{8245CC27-65FB-483E-B8E7-D04039DBA80D}" v="423959" dt="2021-05-25T15:28:10.141"/>
    <p1510:client id="{9344D105-636D-4857-BD0F-AFC44A54BCCF}" v="541378" dt="2021-05-25T15:26:19.2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1698" y="96"/>
      </p:cViewPr>
      <p:guideLst>
        <p:guide orient="horz" pos="4020"/>
        <p:guide pos="3165"/>
        <p:guide pos="3664"/>
        <p:guide pos="353"/>
        <p:guide pos="2757"/>
        <p:guide pos="3528"/>
        <p:guide pos="5915"/>
        <p:guide orient="horz" pos="3940"/>
        <p:guide orient="horz" pos="39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11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de Van de WIELE" userId="7317e673-04dd-415c-a4d7-718682339b40" providerId="ADAL" clId="{80D4E734-020D-4C1F-A028-1B9E9B483F9A}"/>
    <pc:docChg chg="undo redo custSel addSld delSld modSld sldOrd addSection delSection modSection">
      <pc:chgData name="Aude Van de WIELE" userId="7317e673-04dd-415c-a4d7-718682339b40" providerId="ADAL" clId="{80D4E734-020D-4C1F-A028-1B9E9B483F9A}" dt="2021-05-25T15:27:45.189" v="12808" actId="20577"/>
      <pc:docMkLst>
        <pc:docMk/>
      </pc:docMkLst>
      <pc:sldChg chg="modSp mod">
        <pc:chgData name="Aude Van de WIELE" userId="7317e673-04dd-415c-a4d7-718682339b40" providerId="ADAL" clId="{80D4E734-020D-4C1F-A028-1B9E9B483F9A}" dt="2021-05-25T08:49:48.065" v="6996" actId="790"/>
        <pc:sldMkLst>
          <pc:docMk/>
          <pc:sldMk cId="317280987" sldId="1655"/>
        </pc:sldMkLst>
        <pc:spChg chg="mod">
          <ac:chgData name="Aude Van de WIELE" userId="7317e673-04dd-415c-a4d7-718682339b40" providerId="ADAL" clId="{80D4E734-020D-4C1F-A028-1B9E9B483F9A}" dt="2021-05-25T08:49:48.048" v="6995" actId="790"/>
          <ac:spMkLst>
            <pc:docMk/>
            <pc:sldMk cId="317280987" sldId="1655"/>
            <ac:spMk id="9" creationId="{A8D01A7F-CF9D-41E2-A69B-C4B89B777060}"/>
          </ac:spMkLst>
        </pc:spChg>
        <pc:spChg chg="mod">
          <ac:chgData name="Aude Van de WIELE" userId="7317e673-04dd-415c-a4d7-718682339b40" providerId="ADAL" clId="{80D4E734-020D-4C1F-A028-1B9E9B483F9A}" dt="2021-05-25T08:49:48.065" v="6996" actId="790"/>
          <ac:spMkLst>
            <pc:docMk/>
            <pc:sldMk cId="317280987" sldId="1655"/>
            <ac:spMk id="10" creationId="{6E5DA166-B3B1-4EFB-8A60-B5F05F64A940}"/>
          </ac:spMkLst>
        </pc:spChg>
      </pc:sldChg>
      <pc:sldChg chg="modSp mod">
        <pc:chgData name="Aude Van de WIELE" userId="7317e673-04dd-415c-a4d7-718682339b40" providerId="ADAL" clId="{80D4E734-020D-4C1F-A028-1B9E9B483F9A}" dt="2021-05-25T08:49:48.047" v="6994" actId="790"/>
        <pc:sldMkLst>
          <pc:docMk/>
          <pc:sldMk cId="1833404173" sldId="2531"/>
        </pc:sldMkLst>
        <pc:spChg chg="mod">
          <ac:chgData name="Aude Van de WIELE" userId="7317e673-04dd-415c-a4d7-718682339b40" providerId="ADAL" clId="{80D4E734-020D-4C1F-A028-1B9E9B483F9A}" dt="2021-05-25T08:49:48.005" v="6945" actId="790"/>
          <ac:spMkLst>
            <pc:docMk/>
            <pc:sldMk cId="1833404173" sldId="2531"/>
            <ac:spMk id="2" creationId="{485D8258-C799-4DEB-8426-A87B09E12535}"/>
          </ac:spMkLst>
        </pc:spChg>
        <pc:spChg chg="mod">
          <ac:chgData name="Aude Van de WIELE" userId="7317e673-04dd-415c-a4d7-718682339b40" providerId="ADAL" clId="{80D4E734-020D-4C1F-A028-1B9E9B483F9A}" dt="2021-05-25T08:49:48.042" v="6991" actId="790"/>
          <ac:spMkLst>
            <pc:docMk/>
            <pc:sldMk cId="1833404173" sldId="2531"/>
            <ac:spMk id="3" creationId="{5A298B37-CEE8-4A6B-A535-516B4E1DBC89}"/>
          </ac:spMkLst>
        </pc:spChg>
        <pc:spChg chg="mod">
          <ac:chgData name="Aude Van de WIELE" userId="7317e673-04dd-415c-a4d7-718682339b40" providerId="ADAL" clId="{80D4E734-020D-4C1F-A028-1B9E9B483F9A}" dt="2021-05-25T08:49:48.009" v="6946" actId="790"/>
          <ac:spMkLst>
            <pc:docMk/>
            <pc:sldMk cId="1833404173" sldId="2531"/>
            <ac:spMk id="6" creationId="{FD961D00-BB87-4820-B54D-EC87367CB5D8}"/>
          </ac:spMkLst>
        </pc:spChg>
        <pc:spChg chg="mod">
          <ac:chgData name="Aude Van de WIELE" userId="7317e673-04dd-415c-a4d7-718682339b40" providerId="ADAL" clId="{80D4E734-020D-4C1F-A028-1B9E9B483F9A}" dt="2021-05-25T08:49:48.012" v="6947" actId="790"/>
          <ac:spMkLst>
            <pc:docMk/>
            <pc:sldMk cId="1833404173" sldId="2531"/>
            <ac:spMk id="8" creationId="{CBFABE72-6131-464D-BAFB-D76422C2A4AB}"/>
          </ac:spMkLst>
        </pc:spChg>
        <pc:spChg chg="mod">
          <ac:chgData name="Aude Van de WIELE" userId="7317e673-04dd-415c-a4d7-718682339b40" providerId="ADAL" clId="{80D4E734-020D-4C1F-A028-1B9E9B483F9A}" dt="2021-05-25T08:49:48.013" v="6948" actId="790"/>
          <ac:spMkLst>
            <pc:docMk/>
            <pc:sldMk cId="1833404173" sldId="2531"/>
            <ac:spMk id="9" creationId="{AA892EF1-BA93-4257-8E96-FCE386827377}"/>
          </ac:spMkLst>
        </pc:spChg>
        <pc:spChg chg="mod">
          <ac:chgData name="Aude Van de WIELE" userId="7317e673-04dd-415c-a4d7-718682339b40" providerId="ADAL" clId="{80D4E734-020D-4C1F-A028-1B9E9B483F9A}" dt="2021-05-25T08:49:48.013" v="6949" actId="790"/>
          <ac:spMkLst>
            <pc:docMk/>
            <pc:sldMk cId="1833404173" sldId="2531"/>
            <ac:spMk id="10" creationId="{D1385551-0DEE-495D-8846-99041144B7D6}"/>
          </ac:spMkLst>
        </pc:spChg>
        <pc:spChg chg="mod">
          <ac:chgData name="Aude Van de WIELE" userId="7317e673-04dd-415c-a4d7-718682339b40" providerId="ADAL" clId="{80D4E734-020D-4C1F-A028-1B9E9B483F9A}" dt="2021-05-25T08:49:48.014" v="6950" actId="790"/>
          <ac:spMkLst>
            <pc:docMk/>
            <pc:sldMk cId="1833404173" sldId="2531"/>
            <ac:spMk id="11" creationId="{95F74EDD-FC62-4AE0-B009-91BD1F0F42CD}"/>
          </ac:spMkLst>
        </pc:spChg>
        <pc:spChg chg="mod">
          <ac:chgData name="Aude Van de WIELE" userId="7317e673-04dd-415c-a4d7-718682339b40" providerId="ADAL" clId="{80D4E734-020D-4C1F-A028-1B9E9B483F9A}" dt="2021-05-25T08:49:48.015" v="6951" actId="790"/>
          <ac:spMkLst>
            <pc:docMk/>
            <pc:sldMk cId="1833404173" sldId="2531"/>
            <ac:spMk id="12" creationId="{D1785210-4F58-4DEA-A9E2-D867169A909C}"/>
          </ac:spMkLst>
        </pc:spChg>
        <pc:spChg chg="mod">
          <ac:chgData name="Aude Van de WIELE" userId="7317e673-04dd-415c-a4d7-718682339b40" providerId="ADAL" clId="{80D4E734-020D-4C1F-A028-1B9E9B483F9A}" dt="2021-05-25T08:49:48.016" v="6952" actId="790"/>
          <ac:spMkLst>
            <pc:docMk/>
            <pc:sldMk cId="1833404173" sldId="2531"/>
            <ac:spMk id="13" creationId="{F68747A9-0286-423B-B19B-BDD80CFD99AA}"/>
          </ac:spMkLst>
        </pc:spChg>
        <pc:spChg chg="mod">
          <ac:chgData name="Aude Van de WIELE" userId="7317e673-04dd-415c-a4d7-718682339b40" providerId="ADAL" clId="{80D4E734-020D-4C1F-A028-1B9E9B483F9A}" dt="2021-05-25T08:49:48.016" v="6953" actId="790"/>
          <ac:spMkLst>
            <pc:docMk/>
            <pc:sldMk cId="1833404173" sldId="2531"/>
            <ac:spMk id="14" creationId="{1B668D90-1CA6-4BF2-A28C-A37ADF4CEC55}"/>
          </ac:spMkLst>
        </pc:spChg>
        <pc:spChg chg="mod">
          <ac:chgData name="Aude Van de WIELE" userId="7317e673-04dd-415c-a4d7-718682339b40" providerId="ADAL" clId="{80D4E734-020D-4C1F-A028-1B9E9B483F9A}" dt="2021-05-25T08:49:48.017" v="6954" actId="790"/>
          <ac:spMkLst>
            <pc:docMk/>
            <pc:sldMk cId="1833404173" sldId="2531"/>
            <ac:spMk id="15" creationId="{DC368EB4-4DDD-4407-BE94-38F23DA27B16}"/>
          </ac:spMkLst>
        </pc:spChg>
        <pc:spChg chg="mod">
          <ac:chgData name="Aude Van de WIELE" userId="7317e673-04dd-415c-a4d7-718682339b40" providerId="ADAL" clId="{80D4E734-020D-4C1F-A028-1B9E9B483F9A}" dt="2021-05-25T08:49:48.018" v="6955" actId="790"/>
          <ac:spMkLst>
            <pc:docMk/>
            <pc:sldMk cId="1833404173" sldId="2531"/>
            <ac:spMk id="16" creationId="{80F851B1-0B14-48BE-A51C-7881B7C8FE41}"/>
          </ac:spMkLst>
        </pc:spChg>
        <pc:spChg chg="mod">
          <ac:chgData name="Aude Van de WIELE" userId="7317e673-04dd-415c-a4d7-718682339b40" providerId="ADAL" clId="{80D4E734-020D-4C1F-A028-1B9E9B483F9A}" dt="2021-05-25T08:49:48.019" v="6956" actId="790"/>
          <ac:spMkLst>
            <pc:docMk/>
            <pc:sldMk cId="1833404173" sldId="2531"/>
            <ac:spMk id="17" creationId="{7CE1AF65-B94A-4628-80BC-0D290E998B7C}"/>
          </ac:spMkLst>
        </pc:spChg>
        <pc:spChg chg="mod">
          <ac:chgData name="Aude Van de WIELE" userId="7317e673-04dd-415c-a4d7-718682339b40" providerId="ADAL" clId="{80D4E734-020D-4C1F-A028-1B9E9B483F9A}" dt="2021-05-25T08:49:48.020" v="6957" actId="790"/>
          <ac:spMkLst>
            <pc:docMk/>
            <pc:sldMk cId="1833404173" sldId="2531"/>
            <ac:spMk id="18" creationId="{4D52F71B-746D-44F2-85EB-546A9C67D415}"/>
          </ac:spMkLst>
        </pc:spChg>
        <pc:spChg chg="mod">
          <ac:chgData name="Aude Van de WIELE" userId="7317e673-04dd-415c-a4d7-718682339b40" providerId="ADAL" clId="{80D4E734-020D-4C1F-A028-1B9E9B483F9A}" dt="2021-05-25T08:49:48.020" v="6958" actId="790"/>
          <ac:spMkLst>
            <pc:docMk/>
            <pc:sldMk cId="1833404173" sldId="2531"/>
            <ac:spMk id="19" creationId="{7BFC3453-D5E5-4B80-95E1-53BCDB119B16}"/>
          </ac:spMkLst>
        </pc:spChg>
        <pc:spChg chg="mod">
          <ac:chgData name="Aude Van de WIELE" userId="7317e673-04dd-415c-a4d7-718682339b40" providerId="ADAL" clId="{80D4E734-020D-4C1F-A028-1B9E9B483F9A}" dt="2021-05-25T08:49:48.021" v="6959" actId="790"/>
          <ac:spMkLst>
            <pc:docMk/>
            <pc:sldMk cId="1833404173" sldId="2531"/>
            <ac:spMk id="20" creationId="{ABEEDC27-82A8-46CB-8CE2-2D10293A50C9}"/>
          </ac:spMkLst>
        </pc:spChg>
        <pc:spChg chg="mod">
          <ac:chgData name="Aude Van de WIELE" userId="7317e673-04dd-415c-a4d7-718682339b40" providerId="ADAL" clId="{80D4E734-020D-4C1F-A028-1B9E9B483F9A}" dt="2021-05-25T08:49:48.021" v="6960" actId="790"/>
          <ac:spMkLst>
            <pc:docMk/>
            <pc:sldMk cId="1833404173" sldId="2531"/>
            <ac:spMk id="21" creationId="{79263F93-BD89-481F-813A-6C0F901C9C08}"/>
          </ac:spMkLst>
        </pc:spChg>
        <pc:spChg chg="mod">
          <ac:chgData name="Aude Van de WIELE" userId="7317e673-04dd-415c-a4d7-718682339b40" providerId="ADAL" clId="{80D4E734-020D-4C1F-A028-1B9E9B483F9A}" dt="2021-05-25T08:49:48.022" v="6961" actId="790"/>
          <ac:spMkLst>
            <pc:docMk/>
            <pc:sldMk cId="1833404173" sldId="2531"/>
            <ac:spMk id="22" creationId="{A17328B4-1579-4E16-8289-48E49F417694}"/>
          </ac:spMkLst>
        </pc:spChg>
        <pc:spChg chg="mod">
          <ac:chgData name="Aude Van de WIELE" userId="7317e673-04dd-415c-a4d7-718682339b40" providerId="ADAL" clId="{80D4E734-020D-4C1F-A028-1B9E9B483F9A}" dt="2021-05-25T08:49:48.023" v="6962" actId="790"/>
          <ac:spMkLst>
            <pc:docMk/>
            <pc:sldMk cId="1833404173" sldId="2531"/>
            <ac:spMk id="23" creationId="{9FFABFA5-D560-4B57-A403-E79C1BD6BD3D}"/>
          </ac:spMkLst>
        </pc:spChg>
        <pc:spChg chg="mod">
          <ac:chgData name="Aude Van de WIELE" userId="7317e673-04dd-415c-a4d7-718682339b40" providerId="ADAL" clId="{80D4E734-020D-4C1F-A028-1B9E9B483F9A}" dt="2021-05-25T08:49:48.023" v="6963" actId="790"/>
          <ac:spMkLst>
            <pc:docMk/>
            <pc:sldMk cId="1833404173" sldId="2531"/>
            <ac:spMk id="24" creationId="{C6DE36B4-63F9-49BF-9393-6D814DCD3ADB}"/>
          </ac:spMkLst>
        </pc:spChg>
        <pc:spChg chg="mod">
          <ac:chgData name="Aude Van de WIELE" userId="7317e673-04dd-415c-a4d7-718682339b40" providerId="ADAL" clId="{80D4E734-020D-4C1F-A028-1B9E9B483F9A}" dt="2021-05-25T08:49:48.024" v="6964" actId="790"/>
          <ac:spMkLst>
            <pc:docMk/>
            <pc:sldMk cId="1833404173" sldId="2531"/>
            <ac:spMk id="25" creationId="{87636E38-C9EE-47F8-83D6-6504B63CFEC1}"/>
          </ac:spMkLst>
        </pc:spChg>
        <pc:spChg chg="mod">
          <ac:chgData name="Aude Van de WIELE" userId="7317e673-04dd-415c-a4d7-718682339b40" providerId="ADAL" clId="{80D4E734-020D-4C1F-A028-1B9E9B483F9A}" dt="2021-05-25T08:49:48.025" v="6965" actId="790"/>
          <ac:spMkLst>
            <pc:docMk/>
            <pc:sldMk cId="1833404173" sldId="2531"/>
            <ac:spMk id="26" creationId="{5E993EC9-B819-46BE-808C-6BF87D7C6173}"/>
          </ac:spMkLst>
        </pc:spChg>
        <pc:spChg chg="mod">
          <ac:chgData name="Aude Van de WIELE" userId="7317e673-04dd-415c-a4d7-718682339b40" providerId="ADAL" clId="{80D4E734-020D-4C1F-A028-1B9E9B483F9A}" dt="2021-05-25T08:49:48.025" v="6966" actId="790"/>
          <ac:spMkLst>
            <pc:docMk/>
            <pc:sldMk cId="1833404173" sldId="2531"/>
            <ac:spMk id="27" creationId="{8C4589F2-B7BC-4572-BB11-469A62A1B6C6}"/>
          </ac:spMkLst>
        </pc:spChg>
        <pc:spChg chg="mod">
          <ac:chgData name="Aude Van de WIELE" userId="7317e673-04dd-415c-a4d7-718682339b40" providerId="ADAL" clId="{80D4E734-020D-4C1F-A028-1B9E9B483F9A}" dt="2021-05-25T08:49:48.026" v="6967" actId="790"/>
          <ac:spMkLst>
            <pc:docMk/>
            <pc:sldMk cId="1833404173" sldId="2531"/>
            <ac:spMk id="28" creationId="{77771E76-DFA4-4D19-B2E3-74B7FBF71D1E}"/>
          </ac:spMkLst>
        </pc:spChg>
        <pc:spChg chg="mod">
          <ac:chgData name="Aude Van de WIELE" userId="7317e673-04dd-415c-a4d7-718682339b40" providerId="ADAL" clId="{80D4E734-020D-4C1F-A028-1B9E9B483F9A}" dt="2021-05-25T08:49:48.026" v="6968" actId="790"/>
          <ac:spMkLst>
            <pc:docMk/>
            <pc:sldMk cId="1833404173" sldId="2531"/>
            <ac:spMk id="29" creationId="{5E08754A-8970-4715-8A7A-F623D767FAB9}"/>
          </ac:spMkLst>
        </pc:spChg>
        <pc:spChg chg="mod">
          <ac:chgData name="Aude Van de WIELE" userId="7317e673-04dd-415c-a4d7-718682339b40" providerId="ADAL" clId="{80D4E734-020D-4C1F-A028-1B9E9B483F9A}" dt="2021-05-25T08:49:48.027" v="6969" actId="790"/>
          <ac:spMkLst>
            <pc:docMk/>
            <pc:sldMk cId="1833404173" sldId="2531"/>
            <ac:spMk id="30" creationId="{16C0C029-6359-44F4-B7C0-B040B0D8942B}"/>
          </ac:spMkLst>
        </pc:spChg>
        <pc:spChg chg="mod">
          <ac:chgData name="Aude Van de WIELE" userId="7317e673-04dd-415c-a4d7-718682339b40" providerId="ADAL" clId="{80D4E734-020D-4C1F-A028-1B9E9B483F9A}" dt="2021-05-25T08:49:48.028" v="6970" actId="790"/>
          <ac:spMkLst>
            <pc:docMk/>
            <pc:sldMk cId="1833404173" sldId="2531"/>
            <ac:spMk id="31" creationId="{AC0EA32D-54FE-4F9B-9CF8-4DAFEBC29666}"/>
          </ac:spMkLst>
        </pc:spChg>
        <pc:spChg chg="mod">
          <ac:chgData name="Aude Van de WIELE" userId="7317e673-04dd-415c-a4d7-718682339b40" providerId="ADAL" clId="{80D4E734-020D-4C1F-A028-1B9E9B483F9A}" dt="2021-05-25T08:49:48.028" v="6971" actId="790"/>
          <ac:spMkLst>
            <pc:docMk/>
            <pc:sldMk cId="1833404173" sldId="2531"/>
            <ac:spMk id="32" creationId="{8CE27222-24DA-4462-BF94-A8D5736BB7B7}"/>
          </ac:spMkLst>
        </pc:spChg>
        <pc:spChg chg="mod">
          <ac:chgData name="Aude Van de WIELE" userId="7317e673-04dd-415c-a4d7-718682339b40" providerId="ADAL" clId="{80D4E734-020D-4C1F-A028-1B9E9B483F9A}" dt="2021-05-25T08:49:48.029" v="6972" actId="790"/>
          <ac:spMkLst>
            <pc:docMk/>
            <pc:sldMk cId="1833404173" sldId="2531"/>
            <ac:spMk id="33" creationId="{7B850491-5D22-4445-B8DD-2E7DA22A1582}"/>
          </ac:spMkLst>
        </pc:spChg>
        <pc:spChg chg="mod">
          <ac:chgData name="Aude Van de WIELE" userId="7317e673-04dd-415c-a4d7-718682339b40" providerId="ADAL" clId="{80D4E734-020D-4C1F-A028-1B9E9B483F9A}" dt="2021-05-25T08:49:48.029" v="6973" actId="790"/>
          <ac:spMkLst>
            <pc:docMk/>
            <pc:sldMk cId="1833404173" sldId="2531"/>
            <ac:spMk id="34" creationId="{87B245AE-748D-4766-AAA8-E79644D27CF2}"/>
          </ac:spMkLst>
        </pc:spChg>
        <pc:spChg chg="mod">
          <ac:chgData name="Aude Van de WIELE" userId="7317e673-04dd-415c-a4d7-718682339b40" providerId="ADAL" clId="{80D4E734-020D-4C1F-A028-1B9E9B483F9A}" dt="2021-05-25T08:49:48.030" v="6974" actId="790"/>
          <ac:spMkLst>
            <pc:docMk/>
            <pc:sldMk cId="1833404173" sldId="2531"/>
            <ac:spMk id="35" creationId="{3B6324BE-5137-4BFE-8DA4-799A77B8D45E}"/>
          </ac:spMkLst>
        </pc:spChg>
        <pc:spChg chg="mod">
          <ac:chgData name="Aude Van de WIELE" userId="7317e673-04dd-415c-a4d7-718682339b40" providerId="ADAL" clId="{80D4E734-020D-4C1F-A028-1B9E9B483F9A}" dt="2021-05-25T08:49:48.031" v="6975" actId="790"/>
          <ac:spMkLst>
            <pc:docMk/>
            <pc:sldMk cId="1833404173" sldId="2531"/>
            <ac:spMk id="36" creationId="{E6D54B53-5D24-489F-9B67-95A762E58289}"/>
          </ac:spMkLst>
        </pc:spChg>
        <pc:spChg chg="mod">
          <ac:chgData name="Aude Van de WIELE" userId="7317e673-04dd-415c-a4d7-718682339b40" providerId="ADAL" clId="{80D4E734-020D-4C1F-A028-1B9E9B483F9A}" dt="2021-05-25T08:49:48.031" v="6976" actId="790"/>
          <ac:spMkLst>
            <pc:docMk/>
            <pc:sldMk cId="1833404173" sldId="2531"/>
            <ac:spMk id="37" creationId="{B1B3F98D-4D9B-442E-8C7B-A1756F2C34E5}"/>
          </ac:spMkLst>
        </pc:spChg>
        <pc:spChg chg="mod">
          <ac:chgData name="Aude Van de WIELE" userId="7317e673-04dd-415c-a4d7-718682339b40" providerId="ADAL" clId="{80D4E734-020D-4C1F-A028-1B9E9B483F9A}" dt="2021-05-25T08:49:48.032" v="6977" actId="790"/>
          <ac:spMkLst>
            <pc:docMk/>
            <pc:sldMk cId="1833404173" sldId="2531"/>
            <ac:spMk id="38" creationId="{1136920C-BA8F-43C0-8C16-F1AAC39166BF}"/>
          </ac:spMkLst>
        </pc:spChg>
        <pc:spChg chg="mod">
          <ac:chgData name="Aude Van de WIELE" userId="7317e673-04dd-415c-a4d7-718682339b40" providerId="ADAL" clId="{80D4E734-020D-4C1F-A028-1B9E9B483F9A}" dt="2021-05-25T08:49:48.033" v="6978" actId="790"/>
          <ac:spMkLst>
            <pc:docMk/>
            <pc:sldMk cId="1833404173" sldId="2531"/>
            <ac:spMk id="39" creationId="{EFF788FD-AC32-46E7-9D4E-4BC36F5959B9}"/>
          </ac:spMkLst>
        </pc:spChg>
        <pc:spChg chg="mod">
          <ac:chgData name="Aude Van de WIELE" userId="7317e673-04dd-415c-a4d7-718682339b40" providerId="ADAL" clId="{80D4E734-020D-4C1F-A028-1B9E9B483F9A}" dt="2021-05-25T08:49:48.033" v="6979" actId="790"/>
          <ac:spMkLst>
            <pc:docMk/>
            <pc:sldMk cId="1833404173" sldId="2531"/>
            <ac:spMk id="40" creationId="{A3E8FC77-79BA-4BF6-9229-A50D8390B0B0}"/>
          </ac:spMkLst>
        </pc:spChg>
        <pc:spChg chg="mod">
          <ac:chgData name="Aude Van de WIELE" userId="7317e673-04dd-415c-a4d7-718682339b40" providerId="ADAL" clId="{80D4E734-020D-4C1F-A028-1B9E9B483F9A}" dt="2021-05-25T08:49:48.034" v="6980" actId="790"/>
          <ac:spMkLst>
            <pc:docMk/>
            <pc:sldMk cId="1833404173" sldId="2531"/>
            <ac:spMk id="41" creationId="{0576C5B5-205F-4700-BDBA-CB236CF202E5}"/>
          </ac:spMkLst>
        </pc:spChg>
        <pc:spChg chg="mod">
          <ac:chgData name="Aude Van de WIELE" userId="7317e673-04dd-415c-a4d7-718682339b40" providerId="ADAL" clId="{80D4E734-020D-4C1F-A028-1B9E9B483F9A}" dt="2021-05-25T08:49:48.035" v="6981" actId="790"/>
          <ac:spMkLst>
            <pc:docMk/>
            <pc:sldMk cId="1833404173" sldId="2531"/>
            <ac:spMk id="42" creationId="{10178595-DB31-448D-B26C-282499D9E2AB}"/>
          </ac:spMkLst>
        </pc:spChg>
        <pc:spChg chg="mod">
          <ac:chgData name="Aude Van de WIELE" userId="7317e673-04dd-415c-a4d7-718682339b40" providerId="ADAL" clId="{80D4E734-020D-4C1F-A028-1B9E9B483F9A}" dt="2021-05-25T08:49:48.035" v="6982" actId="790"/>
          <ac:spMkLst>
            <pc:docMk/>
            <pc:sldMk cId="1833404173" sldId="2531"/>
            <ac:spMk id="43" creationId="{7A99688D-221A-4009-B9DD-DA6C7D20F69E}"/>
          </ac:spMkLst>
        </pc:spChg>
        <pc:spChg chg="mod">
          <ac:chgData name="Aude Van de WIELE" userId="7317e673-04dd-415c-a4d7-718682339b40" providerId="ADAL" clId="{80D4E734-020D-4C1F-A028-1B9E9B483F9A}" dt="2021-05-25T08:49:48.036" v="6983" actId="790"/>
          <ac:spMkLst>
            <pc:docMk/>
            <pc:sldMk cId="1833404173" sldId="2531"/>
            <ac:spMk id="44" creationId="{A821D0F1-6745-4FB4-960B-A65CD44A148F}"/>
          </ac:spMkLst>
        </pc:spChg>
        <pc:spChg chg="mod">
          <ac:chgData name="Aude Van de WIELE" userId="7317e673-04dd-415c-a4d7-718682339b40" providerId="ADAL" clId="{80D4E734-020D-4C1F-A028-1B9E9B483F9A}" dt="2021-05-25T08:49:48.036" v="6984" actId="790"/>
          <ac:spMkLst>
            <pc:docMk/>
            <pc:sldMk cId="1833404173" sldId="2531"/>
            <ac:spMk id="45" creationId="{94585B0F-E803-4576-9DB3-FAF173D08F43}"/>
          </ac:spMkLst>
        </pc:spChg>
        <pc:spChg chg="mod">
          <ac:chgData name="Aude Van de WIELE" userId="7317e673-04dd-415c-a4d7-718682339b40" providerId="ADAL" clId="{80D4E734-020D-4C1F-A028-1B9E9B483F9A}" dt="2021-05-25T08:49:48.037" v="6985" actId="790"/>
          <ac:spMkLst>
            <pc:docMk/>
            <pc:sldMk cId="1833404173" sldId="2531"/>
            <ac:spMk id="46" creationId="{60B47F91-9ED1-4064-B0F1-0F150436DBA4}"/>
          </ac:spMkLst>
        </pc:spChg>
        <pc:spChg chg="mod">
          <ac:chgData name="Aude Van de WIELE" userId="7317e673-04dd-415c-a4d7-718682339b40" providerId="ADAL" clId="{80D4E734-020D-4C1F-A028-1B9E9B483F9A}" dt="2021-05-25T08:49:48.038" v="6986" actId="790"/>
          <ac:spMkLst>
            <pc:docMk/>
            <pc:sldMk cId="1833404173" sldId="2531"/>
            <ac:spMk id="47" creationId="{17468E73-86AE-459C-946F-AFFBB7E789DD}"/>
          </ac:spMkLst>
        </pc:spChg>
        <pc:spChg chg="mod">
          <ac:chgData name="Aude Van de WIELE" userId="7317e673-04dd-415c-a4d7-718682339b40" providerId="ADAL" clId="{80D4E734-020D-4C1F-A028-1B9E9B483F9A}" dt="2021-05-25T08:49:48.038" v="6987" actId="790"/>
          <ac:spMkLst>
            <pc:docMk/>
            <pc:sldMk cId="1833404173" sldId="2531"/>
            <ac:spMk id="48" creationId="{44B8897D-6B27-465B-A723-BF615C31D100}"/>
          </ac:spMkLst>
        </pc:spChg>
        <pc:spChg chg="mod">
          <ac:chgData name="Aude Van de WIELE" userId="7317e673-04dd-415c-a4d7-718682339b40" providerId="ADAL" clId="{80D4E734-020D-4C1F-A028-1B9E9B483F9A}" dt="2021-05-25T08:49:48.039" v="6988" actId="790"/>
          <ac:spMkLst>
            <pc:docMk/>
            <pc:sldMk cId="1833404173" sldId="2531"/>
            <ac:spMk id="49" creationId="{3CAB94CE-464D-4A6D-BF0D-B9E076D55E68}"/>
          </ac:spMkLst>
        </pc:spChg>
        <pc:spChg chg="mod">
          <ac:chgData name="Aude Van de WIELE" userId="7317e673-04dd-415c-a4d7-718682339b40" providerId="ADAL" clId="{80D4E734-020D-4C1F-A028-1B9E9B483F9A}" dt="2021-05-25T08:49:48.039" v="6989" actId="790"/>
          <ac:spMkLst>
            <pc:docMk/>
            <pc:sldMk cId="1833404173" sldId="2531"/>
            <ac:spMk id="50" creationId="{DB23E4EA-8CC3-4D51-8B49-7C52B0496041}"/>
          </ac:spMkLst>
        </pc:spChg>
        <pc:spChg chg="mod">
          <ac:chgData name="Aude Van de WIELE" userId="7317e673-04dd-415c-a4d7-718682339b40" providerId="ADAL" clId="{80D4E734-020D-4C1F-A028-1B9E9B483F9A}" dt="2021-05-25T08:49:48.040" v="6990" actId="790"/>
          <ac:spMkLst>
            <pc:docMk/>
            <pc:sldMk cId="1833404173" sldId="2531"/>
            <ac:spMk id="51" creationId="{6EAF2701-A2C6-4614-9A6E-C85168C5E062}"/>
          </ac:spMkLst>
        </pc:spChg>
        <pc:spChg chg="mod">
          <ac:chgData name="Aude Van de WIELE" userId="7317e673-04dd-415c-a4d7-718682339b40" providerId="ADAL" clId="{80D4E734-020D-4C1F-A028-1B9E9B483F9A}" dt="2021-05-25T08:49:48.044" v="6992" actId="790"/>
          <ac:spMkLst>
            <pc:docMk/>
            <pc:sldMk cId="1833404173" sldId="2531"/>
            <ac:spMk id="58" creationId="{0147DA22-0F0F-404A-84C1-B039C381264A}"/>
          </ac:spMkLst>
        </pc:spChg>
        <pc:spChg chg="mod">
          <ac:chgData name="Aude Van de WIELE" userId="7317e673-04dd-415c-a4d7-718682339b40" providerId="ADAL" clId="{80D4E734-020D-4C1F-A028-1B9E9B483F9A}" dt="2021-05-25T08:49:48.046" v="6993" actId="790"/>
          <ac:spMkLst>
            <pc:docMk/>
            <pc:sldMk cId="1833404173" sldId="2531"/>
            <ac:spMk id="59" creationId="{0BCAB353-EF6C-4F66-AEB2-5076353D589F}"/>
          </ac:spMkLst>
        </pc:spChg>
        <pc:spChg chg="mod">
          <ac:chgData name="Aude Van de WIELE" userId="7317e673-04dd-415c-a4d7-718682339b40" providerId="ADAL" clId="{80D4E734-020D-4C1F-A028-1B9E9B483F9A}" dt="2021-05-25T08:49:48.047" v="6994" actId="790"/>
          <ac:spMkLst>
            <pc:docMk/>
            <pc:sldMk cId="1833404173" sldId="2531"/>
            <ac:spMk id="60" creationId="{39F3CF3D-BE03-498B-B2BB-7B25506F7E05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13:31:33.259" v="12758" actId="404"/>
        <pc:sldMkLst>
          <pc:docMk/>
          <pc:sldMk cId="1145535110" sldId="3258"/>
        </pc:sldMkLst>
        <pc:spChg chg="del mod">
          <ac:chgData name="Aude Van de WIELE" userId="7317e673-04dd-415c-a4d7-718682339b40" providerId="ADAL" clId="{80D4E734-020D-4C1F-A028-1B9E9B483F9A}" dt="2021-05-24T15:39:02.810" v="5895" actId="478"/>
          <ac:spMkLst>
            <pc:docMk/>
            <pc:sldMk cId="1145535110" sldId="3258"/>
            <ac:spMk id="16" creationId="{813FA499-2F2B-4237-A1F4-E1EC89ABF141}"/>
          </ac:spMkLst>
        </pc:spChg>
        <pc:spChg chg="mod">
          <ac:chgData name="Aude Van de WIELE" userId="7317e673-04dd-415c-a4d7-718682339b40" providerId="ADAL" clId="{80D4E734-020D-4C1F-A028-1B9E9B483F9A}" dt="2021-05-25T08:49:51.379" v="9710" actId="790"/>
          <ac:spMkLst>
            <pc:docMk/>
            <pc:sldMk cId="1145535110" sldId="3258"/>
            <ac:spMk id="18" creationId="{05A43005-14D1-49C5-B286-0CBF49EF4C9A}"/>
          </ac:spMkLst>
        </pc:spChg>
        <pc:spChg chg="mod">
          <ac:chgData name="Aude Van de WIELE" userId="7317e673-04dd-415c-a4d7-718682339b40" providerId="ADAL" clId="{80D4E734-020D-4C1F-A028-1B9E9B483F9A}" dt="2021-05-25T08:49:51.385" v="9715" actId="790"/>
          <ac:spMkLst>
            <pc:docMk/>
            <pc:sldMk cId="1145535110" sldId="3258"/>
            <ac:spMk id="19" creationId="{E5B76E7A-5B0F-4C72-9E90-D6674A382910}"/>
          </ac:spMkLst>
        </pc:spChg>
        <pc:spChg chg="add del mod">
          <ac:chgData name="Aude Van de WIELE" userId="7317e673-04dd-415c-a4d7-718682339b40" providerId="ADAL" clId="{80D4E734-020D-4C1F-A028-1B9E9B483F9A}" dt="2021-05-24T15:34:31.496" v="5870"/>
          <ac:spMkLst>
            <pc:docMk/>
            <pc:sldMk cId="1145535110" sldId="3258"/>
            <ac:spMk id="20" creationId="{63750504-A868-4124-B77E-7F9B145F4ACF}"/>
          </ac:spMkLst>
        </pc:spChg>
        <pc:spChg chg="add del mod">
          <ac:chgData name="Aude Van de WIELE" userId="7317e673-04dd-415c-a4d7-718682339b40" providerId="ADAL" clId="{80D4E734-020D-4C1F-A028-1B9E9B483F9A}" dt="2021-05-24T15:34:31.496" v="5870"/>
          <ac:spMkLst>
            <pc:docMk/>
            <pc:sldMk cId="1145535110" sldId="3258"/>
            <ac:spMk id="21" creationId="{2477FABC-6D1A-4289-BBF8-1805B1A41E28}"/>
          </ac:spMkLst>
        </pc:spChg>
        <pc:spChg chg="add mod">
          <ac:chgData name="Aude Van de WIELE" userId="7317e673-04dd-415c-a4d7-718682339b40" providerId="ADAL" clId="{80D4E734-020D-4C1F-A028-1B9E9B483F9A}" dt="2021-05-25T08:49:51.386" v="9716" actId="790"/>
          <ac:spMkLst>
            <pc:docMk/>
            <pc:sldMk cId="1145535110" sldId="3258"/>
            <ac:spMk id="22" creationId="{220AD9ED-7433-4122-B1D5-4276A01119DD}"/>
          </ac:spMkLst>
        </pc:spChg>
        <pc:spChg chg="add mod">
          <ac:chgData name="Aude Van de WIELE" userId="7317e673-04dd-415c-a4d7-718682339b40" providerId="ADAL" clId="{80D4E734-020D-4C1F-A028-1B9E9B483F9A}" dt="2021-05-25T08:49:51.387" v="9717" actId="790"/>
          <ac:spMkLst>
            <pc:docMk/>
            <pc:sldMk cId="1145535110" sldId="3258"/>
            <ac:spMk id="23" creationId="{7C8E2774-0785-49E3-A0EB-78CE89573309}"/>
          </ac:spMkLst>
        </pc:spChg>
        <pc:spChg chg="mod">
          <ac:chgData name="Aude Van de WIELE" userId="7317e673-04dd-415c-a4d7-718682339b40" providerId="ADAL" clId="{80D4E734-020D-4C1F-A028-1B9E9B483F9A}" dt="2021-05-25T13:29:23.792" v="12747"/>
          <ac:spMkLst>
            <pc:docMk/>
            <pc:sldMk cId="1145535110" sldId="3258"/>
            <ac:spMk id="32" creationId="{D28F6C03-B18D-4E9E-86A3-41D1A65809FB}"/>
          </ac:spMkLst>
        </pc:spChg>
        <pc:spChg chg="mod">
          <ac:chgData name="Aude Van de WIELE" userId="7317e673-04dd-415c-a4d7-718682339b40" providerId="ADAL" clId="{80D4E734-020D-4C1F-A028-1B9E9B483F9A}" dt="2021-05-25T08:49:51.381" v="9711" actId="790"/>
          <ac:spMkLst>
            <pc:docMk/>
            <pc:sldMk cId="1145535110" sldId="3258"/>
            <ac:spMk id="33" creationId="{35AC15E6-C7C2-4CF2-A1B8-A8E49DF23339}"/>
          </ac:spMkLst>
        </pc:spChg>
        <pc:spChg chg="mod">
          <ac:chgData name="Aude Van de WIELE" userId="7317e673-04dd-415c-a4d7-718682339b40" providerId="ADAL" clId="{80D4E734-020D-4C1F-A028-1B9E9B483F9A}" dt="2021-05-25T08:49:51.382" v="9712" actId="790"/>
          <ac:spMkLst>
            <pc:docMk/>
            <pc:sldMk cId="1145535110" sldId="3258"/>
            <ac:spMk id="34" creationId="{70795E82-5EEA-4DFB-A8D1-D6552FDE0A10}"/>
          </ac:spMkLst>
        </pc:spChg>
        <pc:spChg chg="mod">
          <ac:chgData name="Aude Van de WIELE" userId="7317e673-04dd-415c-a4d7-718682339b40" providerId="ADAL" clId="{80D4E734-020D-4C1F-A028-1B9E9B483F9A}" dt="2021-05-25T08:49:51.383" v="9713" actId="790"/>
          <ac:spMkLst>
            <pc:docMk/>
            <pc:sldMk cId="1145535110" sldId="3258"/>
            <ac:spMk id="35" creationId="{5D0765C0-1EFD-4AF1-BC9F-AB9F7015C9A6}"/>
          </ac:spMkLst>
        </pc:spChg>
        <pc:spChg chg="mod">
          <ac:chgData name="Aude Van de WIELE" userId="7317e673-04dd-415c-a4d7-718682339b40" providerId="ADAL" clId="{80D4E734-020D-4C1F-A028-1B9E9B483F9A}" dt="2021-05-25T08:49:51.376" v="9708" actId="790"/>
          <ac:spMkLst>
            <pc:docMk/>
            <pc:sldMk cId="1145535110" sldId="3258"/>
            <ac:spMk id="36" creationId="{941C059C-05F2-4579-8A10-7E2BEF493678}"/>
          </ac:spMkLst>
        </pc:spChg>
        <pc:spChg chg="mod">
          <ac:chgData name="Aude Van de WIELE" userId="7317e673-04dd-415c-a4d7-718682339b40" providerId="ADAL" clId="{80D4E734-020D-4C1F-A028-1B9E9B483F9A}" dt="2021-05-25T08:49:51.384" v="9714" actId="790"/>
          <ac:spMkLst>
            <pc:docMk/>
            <pc:sldMk cId="1145535110" sldId="3258"/>
            <ac:spMk id="37" creationId="{BD0ECFF5-0F14-4767-AF81-94BD1CC69CDF}"/>
          </ac:spMkLst>
        </pc:spChg>
        <pc:spChg chg="mod">
          <ac:chgData name="Aude Van de WIELE" userId="7317e673-04dd-415c-a4d7-718682339b40" providerId="ADAL" clId="{80D4E734-020D-4C1F-A028-1B9E9B483F9A}" dt="2021-05-25T08:49:51.378" v="9709" actId="790"/>
          <ac:spMkLst>
            <pc:docMk/>
            <pc:sldMk cId="1145535110" sldId="3258"/>
            <ac:spMk id="39" creationId="{3A88A2FA-FD49-4AEB-8EDF-9D840E609CC9}"/>
          </ac:spMkLst>
        </pc:spChg>
        <pc:spChg chg="del mod">
          <ac:chgData name="Aude Van de WIELE" userId="7317e673-04dd-415c-a4d7-718682339b40" providerId="ADAL" clId="{80D4E734-020D-4C1F-A028-1B9E9B483F9A}" dt="2021-05-24T15:39:00.407" v="5894" actId="478"/>
          <ac:spMkLst>
            <pc:docMk/>
            <pc:sldMk cId="1145535110" sldId="3258"/>
            <ac:spMk id="40" creationId="{60EEC324-686F-4C2B-9A86-1FD757E7F20F}"/>
          </ac:spMkLst>
        </pc:spChg>
        <pc:spChg chg="mod">
          <ac:chgData name="Aude Van de WIELE" userId="7317e673-04dd-415c-a4d7-718682339b40" providerId="ADAL" clId="{80D4E734-020D-4C1F-A028-1B9E9B483F9A}" dt="2021-05-25T13:31:33.259" v="12758" actId="404"/>
          <ac:spMkLst>
            <pc:docMk/>
            <pc:sldMk cId="1145535110" sldId="3258"/>
            <ac:spMk id="47" creationId="{EBC4C7DB-908D-4F75-846A-4CC4964C350B}"/>
          </ac:spMkLst>
        </pc:spChg>
        <pc:picChg chg="mod">
          <ac:chgData name="Aude Van de WIELE" userId="7317e673-04dd-415c-a4d7-718682339b40" providerId="ADAL" clId="{80D4E734-020D-4C1F-A028-1B9E9B483F9A}" dt="2021-05-24T15:34:05.567" v="5867" actId="207"/>
          <ac:picMkLst>
            <pc:docMk/>
            <pc:sldMk cId="1145535110" sldId="3258"/>
            <ac:picMk id="15" creationId="{74A2E12A-3C2A-41F3-96B3-A3D370A54301}"/>
          </ac:picMkLst>
        </pc:picChg>
      </pc:sldChg>
      <pc:sldChg chg="modSp mod">
        <pc:chgData name="Aude Van de WIELE" userId="7317e673-04dd-415c-a4d7-718682339b40" providerId="ADAL" clId="{80D4E734-020D-4C1F-A028-1B9E9B483F9A}" dt="2021-05-25T13:31:36.277" v="12761" actId="404"/>
        <pc:sldMkLst>
          <pc:docMk/>
          <pc:sldMk cId="3373602861" sldId="3299"/>
        </pc:sldMkLst>
        <pc:spChg chg="mod">
          <ac:chgData name="Aude Van de WIELE" userId="7317e673-04dd-415c-a4d7-718682339b40" providerId="ADAL" clId="{80D4E734-020D-4C1F-A028-1B9E9B483F9A}" dt="2021-05-25T08:49:51.360" v="9697" actId="790"/>
          <ac:spMkLst>
            <pc:docMk/>
            <pc:sldMk cId="3373602861" sldId="3299"/>
            <ac:spMk id="2" creationId="{19860918-02BB-4ABE-984B-2BA0F4561729}"/>
          </ac:spMkLst>
        </pc:spChg>
        <pc:spChg chg="mod">
          <ac:chgData name="Aude Van de WIELE" userId="7317e673-04dd-415c-a4d7-718682339b40" providerId="ADAL" clId="{80D4E734-020D-4C1F-A028-1B9E9B483F9A}" dt="2021-05-25T08:49:51.365" v="9698" actId="790"/>
          <ac:spMkLst>
            <pc:docMk/>
            <pc:sldMk cId="3373602861" sldId="3299"/>
            <ac:spMk id="3" creationId="{D89B1EA2-9A1E-46B5-9691-826CA66E7EB9}"/>
          </ac:spMkLst>
        </pc:spChg>
        <pc:spChg chg="mod">
          <ac:chgData name="Aude Van de WIELE" userId="7317e673-04dd-415c-a4d7-718682339b40" providerId="ADAL" clId="{80D4E734-020D-4C1F-A028-1B9E9B483F9A}" dt="2021-05-25T08:49:51.371" v="9705" actId="790"/>
          <ac:spMkLst>
            <pc:docMk/>
            <pc:sldMk cId="3373602861" sldId="3299"/>
            <ac:spMk id="17" creationId="{3F4907E7-37BE-4491-B639-834E50ACF79E}"/>
          </ac:spMkLst>
        </pc:spChg>
        <pc:spChg chg="mod">
          <ac:chgData name="Aude Van de WIELE" userId="7317e673-04dd-415c-a4d7-718682339b40" providerId="ADAL" clId="{80D4E734-020D-4C1F-A028-1B9E9B483F9A}" dt="2021-05-25T08:49:51.359" v="9696" actId="790"/>
          <ac:spMkLst>
            <pc:docMk/>
            <pc:sldMk cId="3373602861" sldId="3299"/>
            <ac:spMk id="22" creationId="{9FE15905-4FBF-4911-B6E6-69CDE2379AC8}"/>
          </ac:spMkLst>
        </pc:spChg>
        <pc:spChg chg="mod">
          <ac:chgData name="Aude Van de WIELE" userId="7317e673-04dd-415c-a4d7-718682339b40" providerId="ADAL" clId="{80D4E734-020D-4C1F-A028-1B9E9B483F9A}" dt="2021-05-25T08:49:51.365" v="9699" actId="790"/>
          <ac:spMkLst>
            <pc:docMk/>
            <pc:sldMk cId="3373602861" sldId="3299"/>
            <ac:spMk id="24" creationId="{7D54FA88-D181-465E-A244-F9B65464DF26}"/>
          </ac:spMkLst>
        </pc:spChg>
        <pc:spChg chg="mod">
          <ac:chgData name="Aude Van de WIELE" userId="7317e673-04dd-415c-a4d7-718682339b40" providerId="ADAL" clId="{80D4E734-020D-4C1F-A028-1B9E9B483F9A}" dt="2021-05-25T08:49:51.366" v="9700" actId="790"/>
          <ac:spMkLst>
            <pc:docMk/>
            <pc:sldMk cId="3373602861" sldId="3299"/>
            <ac:spMk id="25" creationId="{C3A7A9B0-1BCD-46E4-912A-985D51725EB7}"/>
          </ac:spMkLst>
        </pc:spChg>
        <pc:spChg chg="mod">
          <ac:chgData name="Aude Van de WIELE" userId="7317e673-04dd-415c-a4d7-718682339b40" providerId="ADAL" clId="{80D4E734-020D-4C1F-A028-1B9E9B483F9A}" dt="2021-05-25T08:49:51.367" v="9701" actId="790"/>
          <ac:spMkLst>
            <pc:docMk/>
            <pc:sldMk cId="3373602861" sldId="3299"/>
            <ac:spMk id="26" creationId="{43D59B59-EF15-4D31-B688-6B9F8C2B903A}"/>
          </ac:spMkLst>
        </pc:spChg>
        <pc:spChg chg="mod">
          <ac:chgData name="Aude Van de WIELE" userId="7317e673-04dd-415c-a4d7-718682339b40" providerId="ADAL" clId="{80D4E734-020D-4C1F-A028-1B9E9B483F9A}" dt="2021-05-25T08:49:51.368" v="9702" actId="790"/>
          <ac:spMkLst>
            <pc:docMk/>
            <pc:sldMk cId="3373602861" sldId="3299"/>
            <ac:spMk id="27" creationId="{BF37DA15-3A13-4D49-834C-29A4068FD25C}"/>
          </ac:spMkLst>
        </pc:spChg>
        <pc:spChg chg="mod">
          <ac:chgData name="Aude Van de WIELE" userId="7317e673-04dd-415c-a4d7-718682339b40" providerId="ADAL" clId="{80D4E734-020D-4C1F-A028-1B9E9B483F9A}" dt="2021-05-25T08:49:51.369" v="9703" actId="790"/>
          <ac:spMkLst>
            <pc:docMk/>
            <pc:sldMk cId="3373602861" sldId="3299"/>
            <ac:spMk id="28" creationId="{332F554D-29A3-4032-A1DB-492350E20CB8}"/>
          </ac:spMkLst>
        </pc:spChg>
        <pc:spChg chg="mod">
          <ac:chgData name="Aude Van de WIELE" userId="7317e673-04dd-415c-a4d7-718682339b40" providerId="ADAL" clId="{80D4E734-020D-4C1F-A028-1B9E9B483F9A}" dt="2021-05-25T08:49:51.370" v="9704" actId="790"/>
          <ac:spMkLst>
            <pc:docMk/>
            <pc:sldMk cId="3373602861" sldId="3299"/>
            <ac:spMk id="29" creationId="{9F302533-68A2-42B3-8D0B-4DC3B13ED3A2}"/>
          </ac:spMkLst>
        </pc:spChg>
        <pc:spChg chg="mod">
          <ac:chgData name="Aude Van de WIELE" userId="7317e673-04dd-415c-a4d7-718682339b40" providerId="ADAL" clId="{80D4E734-020D-4C1F-A028-1B9E9B483F9A}" dt="2021-05-25T13:31:36.277" v="12761" actId="404"/>
          <ac:spMkLst>
            <pc:docMk/>
            <pc:sldMk cId="3373602861" sldId="3299"/>
            <ac:spMk id="47" creationId="{EBC4C7DB-908D-4F75-846A-4CC4964C350B}"/>
          </ac:spMkLst>
        </pc:spChg>
        <pc:spChg chg="mod">
          <ac:chgData name="Aude Van de WIELE" userId="7317e673-04dd-415c-a4d7-718682339b40" providerId="ADAL" clId="{80D4E734-020D-4C1F-A028-1B9E9B483F9A}" dt="2021-05-25T08:49:51.350" v="9694" actId="790"/>
          <ac:spMkLst>
            <pc:docMk/>
            <pc:sldMk cId="3373602861" sldId="3299"/>
            <ac:spMk id="117" creationId="{75A5BA58-45AB-4047-9BC1-E3390F6144BC}"/>
          </ac:spMkLst>
        </pc:spChg>
        <pc:picChg chg="mod">
          <ac:chgData name="Aude Van de WIELE" userId="7317e673-04dd-415c-a4d7-718682339b40" providerId="ADAL" clId="{80D4E734-020D-4C1F-A028-1B9E9B483F9A}" dt="2021-05-24T15:35:41.887" v="5883" actId="2711"/>
          <ac:picMkLst>
            <pc:docMk/>
            <pc:sldMk cId="3373602861" sldId="3299"/>
            <ac:picMk id="6" creationId="{4CA189CD-5CC0-43DB-A695-288F6C0248D1}"/>
          </ac:picMkLst>
        </pc:picChg>
        <pc:picChg chg="mod">
          <ac:chgData name="Aude Van de WIELE" userId="7317e673-04dd-415c-a4d7-718682339b40" providerId="ADAL" clId="{80D4E734-020D-4C1F-A028-1B9E9B483F9A}" dt="2021-05-24T15:35:41.887" v="5883" actId="2711"/>
          <ac:picMkLst>
            <pc:docMk/>
            <pc:sldMk cId="3373602861" sldId="3299"/>
            <ac:picMk id="51203" creationId="{5AC466B5-C3AC-4BA3-8A0E-EF393A61E2A0}"/>
          </ac:picMkLst>
        </pc:picChg>
        <pc:picChg chg="mod">
          <ac:chgData name="Aude Van de WIELE" userId="7317e673-04dd-415c-a4d7-718682339b40" providerId="ADAL" clId="{80D4E734-020D-4C1F-A028-1B9E9B483F9A}" dt="2021-05-24T15:35:41.887" v="5883" actId="2711"/>
          <ac:picMkLst>
            <pc:docMk/>
            <pc:sldMk cId="3373602861" sldId="3299"/>
            <ac:picMk id="51205" creationId="{614FC3C3-2EEF-44A6-BFA8-FDBF45319C45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08:49:49.243" v="7993" actId="790"/>
        <pc:sldMkLst>
          <pc:docMk/>
          <pc:sldMk cId="3054245272" sldId="3325"/>
        </pc:sldMkLst>
        <pc:spChg chg="mod">
          <ac:chgData name="Aude Van de WIELE" userId="7317e673-04dd-415c-a4d7-718682339b40" providerId="ADAL" clId="{80D4E734-020D-4C1F-A028-1B9E9B483F9A}" dt="2021-05-25T08:49:49.240" v="7989" actId="790"/>
          <ac:spMkLst>
            <pc:docMk/>
            <pc:sldMk cId="3054245272" sldId="3325"/>
            <ac:spMk id="3" creationId="{E18A7763-3DD3-4E54-8C3B-074DC3E19FE3}"/>
          </ac:spMkLst>
        </pc:spChg>
        <pc:spChg chg="mod">
          <ac:chgData name="Aude Van de WIELE" userId="7317e673-04dd-415c-a4d7-718682339b40" providerId="ADAL" clId="{80D4E734-020D-4C1F-A028-1B9E9B483F9A}" dt="2021-05-25T08:49:49.238" v="7988" actId="790"/>
          <ac:spMkLst>
            <pc:docMk/>
            <pc:sldMk cId="3054245272" sldId="3325"/>
            <ac:spMk id="13" creationId="{749F130D-16E1-4876-A365-025D47DFF6A7}"/>
          </ac:spMkLst>
        </pc:spChg>
        <pc:spChg chg="mod">
          <ac:chgData name="Aude Van de WIELE" userId="7317e673-04dd-415c-a4d7-718682339b40" providerId="ADAL" clId="{80D4E734-020D-4C1F-A028-1B9E9B483F9A}" dt="2021-05-25T08:49:49.235" v="7984" actId="790"/>
          <ac:spMkLst>
            <pc:docMk/>
            <pc:sldMk cId="3054245272" sldId="3325"/>
            <ac:spMk id="15" creationId="{086B2770-5475-4364-AF85-9809947DC484}"/>
          </ac:spMkLst>
        </pc:spChg>
        <pc:spChg chg="del">
          <ac:chgData name="Aude Van de WIELE" userId="7317e673-04dd-415c-a4d7-718682339b40" providerId="ADAL" clId="{80D4E734-020D-4C1F-A028-1B9E9B483F9A}" dt="2021-05-25T07:54:30.669" v="6801" actId="478"/>
          <ac:spMkLst>
            <pc:docMk/>
            <pc:sldMk cId="3054245272" sldId="3325"/>
            <ac:spMk id="19" creationId="{BDC2B084-592F-46E9-8246-39FD167B518A}"/>
          </ac:spMkLst>
        </pc:spChg>
        <pc:spChg chg="mod">
          <ac:chgData name="Aude Van de WIELE" userId="7317e673-04dd-415c-a4d7-718682339b40" providerId="ADAL" clId="{80D4E734-020D-4C1F-A028-1B9E9B483F9A}" dt="2021-05-25T08:49:49.236" v="7985" actId="790"/>
          <ac:spMkLst>
            <pc:docMk/>
            <pc:sldMk cId="3054245272" sldId="3325"/>
            <ac:spMk id="20" creationId="{1CD596D9-B723-4E7B-8916-56EF96EBB64B}"/>
          </ac:spMkLst>
        </pc:spChg>
        <pc:spChg chg="mod">
          <ac:chgData name="Aude Van de WIELE" userId="7317e673-04dd-415c-a4d7-718682339b40" providerId="ADAL" clId="{80D4E734-020D-4C1F-A028-1B9E9B483F9A}" dt="2021-05-25T08:49:49.237" v="7986" actId="790"/>
          <ac:spMkLst>
            <pc:docMk/>
            <pc:sldMk cId="3054245272" sldId="3325"/>
            <ac:spMk id="21" creationId="{C5AE8029-DDC7-41B7-A974-A7618CC7F26B}"/>
          </ac:spMkLst>
        </pc:spChg>
        <pc:spChg chg="mod">
          <ac:chgData name="Aude Van de WIELE" userId="7317e673-04dd-415c-a4d7-718682339b40" providerId="ADAL" clId="{80D4E734-020D-4C1F-A028-1B9E9B483F9A}" dt="2021-05-25T08:49:49.238" v="7987" actId="790"/>
          <ac:spMkLst>
            <pc:docMk/>
            <pc:sldMk cId="3054245272" sldId="3325"/>
            <ac:spMk id="22" creationId="{DF94097D-297A-4D7C-8B3C-E3C3A9C4366D}"/>
          </ac:spMkLst>
        </pc:spChg>
        <pc:spChg chg="mod">
          <ac:chgData name="Aude Van de WIELE" userId="7317e673-04dd-415c-a4d7-718682339b40" providerId="ADAL" clId="{80D4E734-020D-4C1F-A028-1B9E9B483F9A}" dt="2021-05-25T08:49:49.241" v="7990" actId="790"/>
          <ac:spMkLst>
            <pc:docMk/>
            <pc:sldMk cId="3054245272" sldId="3325"/>
            <ac:spMk id="24" creationId="{563E6E46-1F87-4BDB-8C6E-C5790B0A6EFD}"/>
          </ac:spMkLst>
        </pc:spChg>
        <pc:spChg chg="mod">
          <ac:chgData name="Aude Van de WIELE" userId="7317e673-04dd-415c-a4d7-718682339b40" providerId="ADAL" clId="{80D4E734-020D-4C1F-A028-1B9E9B483F9A}" dt="2021-05-25T08:49:49.232" v="7982" actId="790"/>
          <ac:spMkLst>
            <pc:docMk/>
            <pc:sldMk cId="3054245272" sldId="3325"/>
            <ac:spMk id="25" creationId="{E55CF477-BA9F-4C92-B72A-DBEBC94B279B}"/>
          </ac:spMkLst>
        </pc:spChg>
        <pc:spChg chg="mod">
          <ac:chgData name="Aude Van de WIELE" userId="7317e673-04dd-415c-a4d7-718682339b40" providerId="ADAL" clId="{80D4E734-020D-4C1F-A028-1B9E9B483F9A}" dt="2021-05-25T08:49:49.241" v="7991" actId="790"/>
          <ac:spMkLst>
            <pc:docMk/>
            <pc:sldMk cId="3054245272" sldId="3325"/>
            <ac:spMk id="26" creationId="{04CB1C86-27A0-4200-A026-49D98629F33A}"/>
          </ac:spMkLst>
        </pc:spChg>
        <pc:spChg chg="mod">
          <ac:chgData name="Aude Van de WIELE" userId="7317e673-04dd-415c-a4d7-718682339b40" providerId="ADAL" clId="{80D4E734-020D-4C1F-A028-1B9E9B483F9A}" dt="2021-05-25T08:49:49.242" v="7992" actId="790"/>
          <ac:spMkLst>
            <pc:docMk/>
            <pc:sldMk cId="3054245272" sldId="3325"/>
            <ac:spMk id="27" creationId="{7C19083B-2243-45AC-95E0-9D58191ECFC8}"/>
          </ac:spMkLst>
        </pc:spChg>
        <pc:spChg chg="mod">
          <ac:chgData name="Aude Van de WIELE" userId="7317e673-04dd-415c-a4d7-718682339b40" providerId="ADAL" clId="{80D4E734-020D-4C1F-A028-1B9E9B483F9A}" dt="2021-05-25T08:49:49.234" v="7983" actId="790"/>
          <ac:spMkLst>
            <pc:docMk/>
            <pc:sldMk cId="3054245272" sldId="3325"/>
            <ac:spMk id="28" creationId="{83610AF3-8C67-41E4-AD1B-36F5063C2F70}"/>
          </ac:spMkLst>
        </pc:spChg>
        <pc:spChg chg="add mod">
          <ac:chgData name="Aude Van de WIELE" userId="7317e673-04dd-415c-a4d7-718682339b40" providerId="ADAL" clId="{80D4E734-020D-4C1F-A028-1B9E9B483F9A}" dt="2021-05-25T08:49:49.243" v="7993" actId="790"/>
          <ac:spMkLst>
            <pc:docMk/>
            <pc:sldMk cId="3054245272" sldId="3325"/>
            <ac:spMk id="29" creationId="{AC3A78AE-E179-4EE2-A1AC-0F14929D377F}"/>
          </ac:spMkLst>
        </pc:spChg>
        <pc:picChg chg="del">
          <ac:chgData name="Aude Van de WIELE" userId="7317e673-04dd-415c-a4d7-718682339b40" providerId="ADAL" clId="{80D4E734-020D-4C1F-A028-1B9E9B483F9A}" dt="2021-05-24T14:31:10.459" v="4865" actId="478"/>
          <ac:picMkLst>
            <pc:docMk/>
            <pc:sldMk cId="3054245272" sldId="3325"/>
            <ac:picMk id="14" creationId="{19E3E37C-1C02-46A3-8F9F-6D28EEB31CF4}"/>
          </ac:picMkLst>
        </pc:picChg>
        <pc:picChg chg="add mod">
          <ac:chgData name="Aude Van de WIELE" userId="7317e673-04dd-415c-a4d7-718682339b40" providerId="ADAL" clId="{80D4E734-020D-4C1F-A028-1B9E9B483F9A}" dt="2021-05-24T14:31:10.707" v="4866"/>
          <ac:picMkLst>
            <pc:docMk/>
            <pc:sldMk cId="3054245272" sldId="3325"/>
            <ac:picMk id="23" creationId="{016A7BD7-3BA3-4D57-8E95-027FEF473E29}"/>
          </ac:picMkLst>
        </pc:picChg>
      </pc:sldChg>
      <pc:sldChg chg="del">
        <pc:chgData name="Aude Van de WIELE" userId="7317e673-04dd-415c-a4d7-718682339b40" providerId="ADAL" clId="{80D4E734-020D-4C1F-A028-1B9E9B483F9A}" dt="2021-05-24T15:47:33.834" v="6088" actId="47"/>
        <pc:sldMkLst>
          <pc:docMk/>
          <pc:sldMk cId="3032523239" sldId="3376"/>
        </pc:sldMkLst>
      </pc:sldChg>
      <pc:sldChg chg="addSp delSp modSp mod">
        <pc:chgData name="Aude Van de WIELE" userId="7317e673-04dd-415c-a4d7-718682339b40" providerId="ADAL" clId="{80D4E734-020D-4C1F-A028-1B9E9B483F9A}" dt="2021-05-25T08:49:49.182" v="7933" actId="790"/>
        <pc:sldMkLst>
          <pc:docMk/>
          <pc:sldMk cId="3048354914" sldId="3451"/>
        </pc:sldMkLst>
        <pc:spChg chg="mod">
          <ac:chgData name="Aude Van de WIELE" userId="7317e673-04dd-415c-a4d7-718682339b40" providerId="ADAL" clId="{80D4E734-020D-4C1F-A028-1B9E9B483F9A}" dt="2021-05-25T08:49:49.171" v="7920" actId="790"/>
          <ac:spMkLst>
            <pc:docMk/>
            <pc:sldMk cId="3048354914" sldId="3451"/>
            <ac:spMk id="2" creationId="{F3FE1D1C-DE9F-4520-BCCE-A563D9130FE3}"/>
          </ac:spMkLst>
        </pc:spChg>
        <pc:spChg chg="mod">
          <ac:chgData name="Aude Van de WIELE" userId="7317e673-04dd-415c-a4d7-718682339b40" providerId="ADAL" clId="{80D4E734-020D-4C1F-A028-1B9E9B483F9A}" dt="2021-05-25T08:49:49.172" v="7921" actId="790"/>
          <ac:spMkLst>
            <pc:docMk/>
            <pc:sldMk cId="3048354914" sldId="3451"/>
            <ac:spMk id="3" creationId="{9C0D73B0-FD73-4C93-AADD-0F48F14A97D5}"/>
          </ac:spMkLst>
        </pc:spChg>
        <pc:spChg chg="mod">
          <ac:chgData name="Aude Van de WIELE" userId="7317e673-04dd-415c-a4d7-718682339b40" providerId="ADAL" clId="{80D4E734-020D-4C1F-A028-1B9E9B483F9A}" dt="2021-05-25T08:49:49.173" v="7922" actId="790"/>
          <ac:spMkLst>
            <pc:docMk/>
            <pc:sldMk cId="3048354914" sldId="3451"/>
            <ac:spMk id="5" creationId="{C2211D1B-D86D-4EF5-B202-69A0FA56B98B}"/>
          </ac:spMkLst>
        </pc:spChg>
        <pc:spChg chg="mod">
          <ac:chgData name="Aude Van de WIELE" userId="7317e673-04dd-415c-a4d7-718682339b40" providerId="ADAL" clId="{80D4E734-020D-4C1F-A028-1B9E9B483F9A}" dt="2021-05-25T08:49:49.176" v="7926" actId="790"/>
          <ac:spMkLst>
            <pc:docMk/>
            <pc:sldMk cId="3048354914" sldId="3451"/>
            <ac:spMk id="7" creationId="{F59BFDDC-63FF-4CDF-9FA9-5814668C648B}"/>
          </ac:spMkLst>
        </pc:spChg>
        <pc:spChg chg="mod">
          <ac:chgData name="Aude Van de WIELE" userId="7317e673-04dd-415c-a4d7-718682339b40" providerId="ADAL" clId="{80D4E734-020D-4C1F-A028-1B9E9B483F9A}" dt="2021-05-25T08:49:49.175" v="7925" actId="790"/>
          <ac:spMkLst>
            <pc:docMk/>
            <pc:sldMk cId="3048354914" sldId="3451"/>
            <ac:spMk id="22" creationId="{915D1B6E-612E-40C3-AAAD-AD7DCE1807AA}"/>
          </ac:spMkLst>
        </pc:spChg>
        <pc:spChg chg="add mod">
          <ac:chgData name="Aude Van de WIELE" userId="7317e673-04dd-415c-a4d7-718682339b40" providerId="ADAL" clId="{80D4E734-020D-4C1F-A028-1B9E9B483F9A}" dt="2021-05-25T08:49:49.182" v="7933" actId="790"/>
          <ac:spMkLst>
            <pc:docMk/>
            <pc:sldMk cId="3048354914" sldId="3451"/>
            <ac:spMk id="28" creationId="{425177EA-D3FA-44CA-A834-8198AB30E826}"/>
          </ac:spMkLst>
        </pc:spChg>
        <pc:spChg chg="mod">
          <ac:chgData name="Aude Van de WIELE" userId="7317e673-04dd-415c-a4d7-718682339b40" providerId="ADAL" clId="{80D4E734-020D-4C1F-A028-1B9E9B483F9A}" dt="2021-05-25T08:49:49.168" v="7918" actId="790"/>
          <ac:spMkLst>
            <pc:docMk/>
            <pc:sldMk cId="3048354914" sldId="3451"/>
            <ac:spMk id="32" creationId="{2C2D77D3-1465-4C84-99C0-1C33D079A79E}"/>
          </ac:spMkLst>
        </pc:spChg>
        <pc:spChg chg="mod">
          <ac:chgData name="Aude Van de WIELE" userId="7317e673-04dd-415c-a4d7-718682339b40" providerId="ADAL" clId="{80D4E734-020D-4C1F-A028-1B9E9B483F9A}" dt="2021-05-25T08:49:49.170" v="7919" actId="790"/>
          <ac:spMkLst>
            <pc:docMk/>
            <pc:sldMk cId="3048354914" sldId="3451"/>
            <ac:spMk id="36" creationId="{DA7D41F2-6061-46E4-AB6E-49B571044BC4}"/>
          </ac:spMkLst>
        </pc:spChg>
        <pc:spChg chg="mod">
          <ac:chgData name="Aude Van de WIELE" userId="7317e673-04dd-415c-a4d7-718682339b40" providerId="ADAL" clId="{80D4E734-020D-4C1F-A028-1B9E9B483F9A}" dt="2021-05-25T08:49:49.174" v="7923" actId="790"/>
          <ac:spMkLst>
            <pc:docMk/>
            <pc:sldMk cId="3048354914" sldId="3451"/>
            <ac:spMk id="37" creationId="{1B0F6DBA-9DDA-4219-ABBF-2A111A6DC023}"/>
          </ac:spMkLst>
        </pc:spChg>
        <pc:spChg chg="mod">
          <ac:chgData name="Aude Van de WIELE" userId="7317e673-04dd-415c-a4d7-718682339b40" providerId="ADAL" clId="{80D4E734-020D-4C1F-A028-1B9E9B483F9A}" dt="2021-05-25T08:49:49.174" v="7924" actId="790"/>
          <ac:spMkLst>
            <pc:docMk/>
            <pc:sldMk cId="3048354914" sldId="3451"/>
            <ac:spMk id="39" creationId="{47BC833D-E5A8-48E7-A049-6D7BD4B70788}"/>
          </ac:spMkLst>
        </pc:spChg>
        <pc:spChg chg="mod">
          <ac:chgData name="Aude Van de WIELE" userId="7317e673-04dd-415c-a4d7-718682339b40" providerId="ADAL" clId="{80D4E734-020D-4C1F-A028-1B9E9B483F9A}" dt="2021-05-25T08:49:49.177" v="7927" actId="790"/>
          <ac:spMkLst>
            <pc:docMk/>
            <pc:sldMk cId="3048354914" sldId="3451"/>
            <ac:spMk id="49" creationId="{DE97F974-0523-4C7D-870F-FDE6B73F9F62}"/>
          </ac:spMkLst>
        </pc:spChg>
        <pc:spChg chg="mod">
          <ac:chgData name="Aude Van de WIELE" userId="7317e673-04dd-415c-a4d7-718682339b40" providerId="ADAL" clId="{80D4E734-020D-4C1F-A028-1B9E9B483F9A}" dt="2021-05-25T08:49:49.167" v="7917" actId="790"/>
          <ac:spMkLst>
            <pc:docMk/>
            <pc:sldMk cId="3048354914" sldId="3451"/>
            <ac:spMk id="50" creationId="{D79806CD-0EE1-44AF-A4A4-8DE1548322B3}"/>
          </ac:spMkLst>
        </pc:spChg>
        <pc:spChg chg="mod">
          <ac:chgData name="Aude Van de WIELE" userId="7317e673-04dd-415c-a4d7-718682339b40" providerId="ADAL" clId="{80D4E734-020D-4C1F-A028-1B9E9B483F9A}" dt="2021-05-25T08:49:49.178" v="7928" actId="790"/>
          <ac:spMkLst>
            <pc:docMk/>
            <pc:sldMk cId="3048354914" sldId="3451"/>
            <ac:spMk id="51" creationId="{EB30D8DB-A511-42DE-B11D-108FFEA94D64}"/>
          </ac:spMkLst>
        </pc:spChg>
        <pc:spChg chg="mod">
          <ac:chgData name="Aude Van de WIELE" userId="7317e673-04dd-415c-a4d7-718682339b40" providerId="ADAL" clId="{80D4E734-020D-4C1F-A028-1B9E9B483F9A}" dt="2021-05-25T08:49:49.179" v="7929" actId="790"/>
          <ac:spMkLst>
            <pc:docMk/>
            <pc:sldMk cId="3048354914" sldId="3451"/>
            <ac:spMk id="52" creationId="{C9D93F91-2B2E-4AFA-BA96-25C45E0CA12C}"/>
          </ac:spMkLst>
        </pc:spChg>
        <pc:spChg chg="del">
          <ac:chgData name="Aude Van de WIELE" userId="7317e673-04dd-415c-a4d7-718682339b40" providerId="ADAL" clId="{80D4E734-020D-4C1F-A028-1B9E9B483F9A}" dt="2021-05-25T07:54:19.186" v="6795" actId="478"/>
          <ac:spMkLst>
            <pc:docMk/>
            <pc:sldMk cId="3048354914" sldId="3451"/>
            <ac:spMk id="56" creationId="{7AF36850-3C58-49B6-8D1E-D4C8EEB35F7A}"/>
          </ac:spMkLst>
        </pc:spChg>
        <pc:spChg chg="mod">
          <ac:chgData name="Aude Van de WIELE" userId="7317e673-04dd-415c-a4d7-718682339b40" providerId="ADAL" clId="{80D4E734-020D-4C1F-A028-1B9E9B483F9A}" dt="2021-05-25T08:49:49.180" v="7930" actId="790"/>
          <ac:spMkLst>
            <pc:docMk/>
            <pc:sldMk cId="3048354914" sldId="3451"/>
            <ac:spMk id="57" creationId="{D48142E4-6A00-4A4D-AF32-7C1E77B4F66F}"/>
          </ac:spMkLst>
        </pc:spChg>
        <pc:spChg chg="mod">
          <ac:chgData name="Aude Van de WIELE" userId="7317e673-04dd-415c-a4d7-718682339b40" providerId="ADAL" clId="{80D4E734-020D-4C1F-A028-1B9E9B483F9A}" dt="2021-05-25T08:49:49.180" v="7931" actId="790"/>
          <ac:spMkLst>
            <pc:docMk/>
            <pc:sldMk cId="3048354914" sldId="3451"/>
            <ac:spMk id="58" creationId="{B8ACAE6E-CA04-407B-B7DC-AA81B7A21A60}"/>
          </ac:spMkLst>
        </pc:spChg>
        <pc:spChg chg="mod">
          <ac:chgData name="Aude Van de WIELE" userId="7317e673-04dd-415c-a4d7-718682339b40" providerId="ADAL" clId="{80D4E734-020D-4C1F-A028-1B9E9B483F9A}" dt="2021-05-25T08:49:49.181" v="7932" actId="790"/>
          <ac:spMkLst>
            <pc:docMk/>
            <pc:sldMk cId="3048354914" sldId="3451"/>
            <ac:spMk id="59" creationId="{120C1439-48AB-4529-951F-D14737C54CED}"/>
          </ac:spMkLst>
        </pc:spChg>
        <pc:picChg chg="mod">
          <ac:chgData name="Aude Van de WIELE" userId="7317e673-04dd-415c-a4d7-718682339b40" providerId="ADAL" clId="{80D4E734-020D-4C1F-A028-1B9E9B483F9A}" dt="2021-05-24T14:25:58.928" v="4781" actId="207"/>
          <ac:picMkLst>
            <pc:docMk/>
            <pc:sldMk cId="3048354914" sldId="3451"/>
            <ac:picMk id="31" creationId="{49D14625-BDAE-4C07-8D5E-7DF89A2DC844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08:49:49.202" v="7953" actId="790"/>
        <pc:sldMkLst>
          <pc:docMk/>
          <pc:sldMk cId="3243773378" sldId="3452"/>
        </pc:sldMkLst>
        <pc:spChg chg="mod">
          <ac:chgData name="Aude Van de WIELE" userId="7317e673-04dd-415c-a4d7-718682339b40" providerId="ADAL" clId="{80D4E734-020D-4C1F-A028-1B9E9B483F9A}" dt="2021-05-25T08:49:49.192" v="7940" actId="790"/>
          <ac:spMkLst>
            <pc:docMk/>
            <pc:sldMk cId="3243773378" sldId="3452"/>
            <ac:spMk id="6" creationId="{8A6BC016-DE7F-4249-8E53-A6AE69FC9649}"/>
          </ac:spMkLst>
        </pc:spChg>
        <pc:spChg chg="mod">
          <ac:chgData name="Aude Van de WIELE" userId="7317e673-04dd-415c-a4d7-718682339b40" providerId="ADAL" clId="{80D4E734-020D-4C1F-A028-1B9E9B483F9A}" dt="2021-05-25T08:49:49.183" v="7934" actId="790"/>
          <ac:spMkLst>
            <pc:docMk/>
            <pc:sldMk cId="3243773378" sldId="3452"/>
            <ac:spMk id="7" creationId="{43D53965-2190-4359-ADAA-D09D5859663D}"/>
          </ac:spMkLst>
        </pc:spChg>
        <pc:spChg chg="mod">
          <ac:chgData name="Aude Van de WIELE" userId="7317e673-04dd-415c-a4d7-718682339b40" providerId="ADAL" clId="{80D4E734-020D-4C1F-A028-1B9E9B483F9A}" dt="2021-05-25T08:49:49.193" v="7941" actId="790"/>
          <ac:spMkLst>
            <pc:docMk/>
            <pc:sldMk cId="3243773378" sldId="3452"/>
            <ac:spMk id="8" creationId="{87650252-CCEE-456B-B996-679062FC9081}"/>
          </ac:spMkLst>
        </pc:spChg>
        <pc:spChg chg="add mod">
          <ac:chgData name="Aude Van de WIELE" userId="7317e673-04dd-415c-a4d7-718682339b40" providerId="ADAL" clId="{80D4E734-020D-4C1F-A028-1B9E9B483F9A}" dt="2021-05-25T08:49:49.202" v="7953" actId="790"/>
          <ac:spMkLst>
            <pc:docMk/>
            <pc:sldMk cId="3243773378" sldId="3452"/>
            <ac:spMk id="31" creationId="{AFFCB5A8-97B8-4530-A66B-C970CFCED91C}"/>
          </ac:spMkLst>
        </pc:spChg>
        <pc:spChg chg="mod">
          <ac:chgData name="Aude Van de WIELE" userId="7317e673-04dd-415c-a4d7-718682339b40" providerId="ADAL" clId="{80D4E734-020D-4C1F-A028-1B9E9B483F9A}" dt="2021-05-25T08:49:49.195" v="7943" actId="790"/>
          <ac:spMkLst>
            <pc:docMk/>
            <pc:sldMk cId="3243773378" sldId="3452"/>
            <ac:spMk id="35" creationId="{A1C4625F-BE8A-4105-99AA-E997F31DE530}"/>
          </ac:spMkLst>
        </pc:spChg>
        <pc:spChg chg="mod">
          <ac:chgData name="Aude Van de WIELE" userId="7317e673-04dd-415c-a4d7-718682339b40" providerId="ADAL" clId="{80D4E734-020D-4C1F-A028-1B9E9B483F9A}" dt="2021-05-25T08:49:49.195" v="7944" actId="790"/>
          <ac:spMkLst>
            <pc:docMk/>
            <pc:sldMk cId="3243773378" sldId="3452"/>
            <ac:spMk id="36" creationId="{3F6A24E4-439D-4E89-B6E8-79BB4685424A}"/>
          </ac:spMkLst>
        </pc:spChg>
        <pc:spChg chg="mod">
          <ac:chgData name="Aude Van de WIELE" userId="7317e673-04dd-415c-a4d7-718682339b40" providerId="ADAL" clId="{80D4E734-020D-4C1F-A028-1B9E9B483F9A}" dt="2021-05-25T08:49:49.196" v="7945" actId="790"/>
          <ac:spMkLst>
            <pc:docMk/>
            <pc:sldMk cId="3243773378" sldId="3452"/>
            <ac:spMk id="37" creationId="{B73C09EE-9F03-40A2-9E17-7D12FA1F99BA}"/>
          </ac:spMkLst>
        </pc:spChg>
        <pc:spChg chg="mod">
          <ac:chgData name="Aude Van de WIELE" userId="7317e673-04dd-415c-a4d7-718682339b40" providerId="ADAL" clId="{80D4E734-020D-4C1F-A028-1B9E9B483F9A}" dt="2021-05-25T08:49:49.197" v="7946" actId="790"/>
          <ac:spMkLst>
            <pc:docMk/>
            <pc:sldMk cId="3243773378" sldId="3452"/>
            <ac:spMk id="39" creationId="{E9624854-BD55-4DE5-A50F-27DEFD9E74D2}"/>
          </ac:spMkLst>
        </pc:spChg>
        <pc:spChg chg="mod">
          <ac:chgData name="Aude Van de WIELE" userId="7317e673-04dd-415c-a4d7-718682339b40" providerId="ADAL" clId="{80D4E734-020D-4C1F-A028-1B9E9B483F9A}" dt="2021-05-25T08:49:49.187" v="7936" actId="790"/>
          <ac:spMkLst>
            <pc:docMk/>
            <pc:sldMk cId="3243773378" sldId="3452"/>
            <ac:spMk id="43" creationId="{C59098D9-0448-41A3-80B1-67607E3A176B}"/>
          </ac:spMkLst>
        </pc:spChg>
        <pc:spChg chg="mod">
          <ac:chgData name="Aude Van de WIELE" userId="7317e673-04dd-415c-a4d7-718682339b40" providerId="ADAL" clId="{80D4E734-020D-4C1F-A028-1B9E9B483F9A}" dt="2021-05-25T08:49:49.188" v="7937" actId="790"/>
          <ac:spMkLst>
            <pc:docMk/>
            <pc:sldMk cId="3243773378" sldId="3452"/>
            <ac:spMk id="44" creationId="{2352FE8A-CC5D-4BE5-BB4F-07C6B7B42F70}"/>
          </ac:spMkLst>
        </pc:spChg>
        <pc:spChg chg="mod">
          <ac:chgData name="Aude Van de WIELE" userId="7317e673-04dd-415c-a4d7-718682339b40" providerId="ADAL" clId="{80D4E734-020D-4C1F-A028-1B9E9B483F9A}" dt="2021-05-25T08:49:49.190" v="7938" actId="790"/>
          <ac:spMkLst>
            <pc:docMk/>
            <pc:sldMk cId="3243773378" sldId="3452"/>
            <ac:spMk id="46" creationId="{28847972-12BB-4216-89A4-DDE26B8AB081}"/>
          </ac:spMkLst>
        </pc:spChg>
        <pc:spChg chg="mod">
          <ac:chgData name="Aude Van de WIELE" userId="7317e673-04dd-415c-a4d7-718682339b40" providerId="ADAL" clId="{80D4E734-020D-4C1F-A028-1B9E9B483F9A}" dt="2021-05-25T08:49:49.184" v="7935" actId="790"/>
          <ac:spMkLst>
            <pc:docMk/>
            <pc:sldMk cId="3243773378" sldId="3452"/>
            <ac:spMk id="47" creationId="{EBC4C7DB-908D-4F75-846A-4CC4964C350B}"/>
          </ac:spMkLst>
        </pc:spChg>
        <pc:spChg chg="mod">
          <ac:chgData name="Aude Van de WIELE" userId="7317e673-04dd-415c-a4d7-718682339b40" providerId="ADAL" clId="{80D4E734-020D-4C1F-A028-1B9E9B483F9A}" dt="2021-05-25T08:49:49.191" v="7939" actId="790"/>
          <ac:spMkLst>
            <pc:docMk/>
            <pc:sldMk cId="3243773378" sldId="3452"/>
            <ac:spMk id="48" creationId="{E839022F-C32B-4443-BD2B-55548EDF662F}"/>
          </ac:spMkLst>
        </pc:spChg>
        <pc:spChg chg="mod">
          <ac:chgData name="Aude Van de WIELE" userId="7317e673-04dd-415c-a4d7-718682339b40" providerId="ADAL" clId="{80D4E734-020D-4C1F-A028-1B9E9B483F9A}" dt="2021-05-25T08:49:49.194" v="7942" actId="790"/>
          <ac:spMkLst>
            <pc:docMk/>
            <pc:sldMk cId="3243773378" sldId="3452"/>
            <ac:spMk id="49" creationId="{C1E3E739-DB6B-4A98-9759-447C8B64A7E5}"/>
          </ac:spMkLst>
        </pc:spChg>
        <pc:spChg chg="mod">
          <ac:chgData name="Aude Van de WIELE" userId="7317e673-04dd-415c-a4d7-718682339b40" providerId="ADAL" clId="{80D4E734-020D-4C1F-A028-1B9E9B483F9A}" dt="2021-05-25T08:49:49.197" v="7947" actId="790"/>
          <ac:spMkLst>
            <pc:docMk/>
            <pc:sldMk cId="3243773378" sldId="3452"/>
            <ac:spMk id="57" creationId="{00881F96-4237-4C1E-8B1A-46911928DA8D}"/>
          </ac:spMkLst>
        </pc:spChg>
        <pc:spChg chg="mod">
          <ac:chgData name="Aude Van de WIELE" userId="7317e673-04dd-415c-a4d7-718682339b40" providerId="ADAL" clId="{80D4E734-020D-4C1F-A028-1B9E9B483F9A}" dt="2021-05-25T08:49:49.198" v="7948" actId="790"/>
          <ac:spMkLst>
            <pc:docMk/>
            <pc:sldMk cId="3243773378" sldId="3452"/>
            <ac:spMk id="58" creationId="{6528C45A-EA07-418C-B242-38B1E9036F50}"/>
          </ac:spMkLst>
        </pc:spChg>
        <pc:spChg chg="del">
          <ac:chgData name="Aude Van de WIELE" userId="7317e673-04dd-415c-a4d7-718682339b40" providerId="ADAL" clId="{80D4E734-020D-4C1F-A028-1B9E9B483F9A}" dt="2021-05-25T07:54:22.877" v="6797" actId="478"/>
          <ac:spMkLst>
            <pc:docMk/>
            <pc:sldMk cId="3243773378" sldId="3452"/>
            <ac:spMk id="63" creationId="{23127A4B-1990-472B-869F-5A6583F531B1}"/>
          </ac:spMkLst>
        </pc:spChg>
        <pc:spChg chg="mod">
          <ac:chgData name="Aude Van de WIELE" userId="7317e673-04dd-415c-a4d7-718682339b40" providerId="ADAL" clId="{80D4E734-020D-4C1F-A028-1B9E9B483F9A}" dt="2021-05-25T08:49:49.199" v="7949" actId="790"/>
          <ac:spMkLst>
            <pc:docMk/>
            <pc:sldMk cId="3243773378" sldId="3452"/>
            <ac:spMk id="64" creationId="{32CE2654-BC40-49A6-B953-2954D1B1DCF4}"/>
          </ac:spMkLst>
        </pc:spChg>
        <pc:spChg chg="mod">
          <ac:chgData name="Aude Van de WIELE" userId="7317e673-04dd-415c-a4d7-718682339b40" providerId="ADAL" clId="{80D4E734-020D-4C1F-A028-1B9E9B483F9A}" dt="2021-05-25T08:49:49.199" v="7950" actId="790"/>
          <ac:spMkLst>
            <pc:docMk/>
            <pc:sldMk cId="3243773378" sldId="3452"/>
            <ac:spMk id="65" creationId="{34C42977-AA92-4C72-BEEA-53050A527D3B}"/>
          </ac:spMkLst>
        </pc:spChg>
        <pc:spChg chg="mod">
          <ac:chgData name="Aude Van de WIELE" userId="7317e673-04dd-415c-a4d7-718682339b40" providerId="ADAL" clId="{80D4E734-020D-4C1F-A028-1B9E9B483F9A}" dt="2021-05-25T08:49:49.200" v="7951" actId="790"/>
          <ac:spMkLst>
            <pc:docMk/>
            <pc:sldMk cId="3243773378" sldId="3452"/>
            <ac:spMk id="66" creationId="{874B6B7D-D021-4EC7-B34E-8D1FCE04B9CE}"/>
          </ac:spMkLst>
        </pc:spChg>
        <pc:spChg chg="mod">
          <ac:chgData name="Aude Van de WIELE" userId="7317e673-04dd-415c-a4d7-718682339b40" providerId="ADAL" clId="{80D4E734-020D-4C1F-A028-1B9E9B483F9A}" dt="2021-05-25T08:49:49.201" v="7952" actId="790"/>
          <ac:spMkLst>
            <pc:docMk/>
            <pc:sldMk cId="3243773378" sldId="3452"/>
            <ac:spMk id="67" creationId="{3CE5370D-87D7-468D-8B16-46C32D066558}"/>
          </ac:spMkLst>
        </pc:spChg>
        <pc:picChg chg="del">
          <ac:chgData name="Aude Van de WIELE" userId="7317e673-04dd-415c-a4d7-718682339b40" providerId="ADAL" clId="{80D4E734-020D-4C1F-A028-1B9E9B483F9A}" dt="2021-05-24T14:26:22.525" v="4788" actId="478"/>
          <ac:picMkLst>
            <pc:docMk/>
            <pc:sldMk cId="3243773378" sldId="3452"/>
            <ac:picMk id="26" creationId="{E62A3632-71F9-48C0-AF97-87A58113CE1F}"/>
          </ac:picMkLst>
        </pc:picChg>
        <pc:picChg chg="add mod">
          <ac:chgData name="Aude Van de WIELE" userId="7317e673-04dd-415c-a4d7-718682339b40" providerId="ADAL" clId="{80D4E734-020D-4C1F-A028-1B9E9B483F9A}" dt="2021-05-24T14:26:22.743" v="4789"/>
          <ac:picMkLst>
            <pc:docMk/>
            <pc:sldMk cId="3243773378" sldId="3452"/>
            <ac:picMk id="30" creationId="{AB4E409D-DC20-4913-B10B-5CD752E28B6E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13:31:27.867" v="12755" actId="404"/>
        <pc:sldMkLst>
          <pc:docMk/>
          <pc:sldMk cId="3115212104" sldId="3453"/>
        </pc:sldMkLst>
        <pc:spChg chg="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7" creationId="{249ECC30-4091-4186-A7DB-11A971BDA541}"/>
          </ac:spMkLst>
        </pc:spChg>
        <pc:spChg chg="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16" creationId="{B6A8ADCE-7C46-45C6-AB47-5B1FD46DEF1E}"/>
          </ac:spMkLst>
        </pc:spChg>
        <pc:spChg chg="add del mod">
          <ac:chgData name="Aude Van de WIELE" userId="7317e673-04dd-415c-a4d7-718682339b40" providerId="ADAL" clId="{80D4E734-020D-4C1F-A028-1B9E9B483F9A}" dt="2021-05-24T15:40:22.211" v="5913"/>
          <ac:spMkLst>
            <pc:docMk/>
            <pc:sldMk cId="3115212104" sldId="3453"/>
            <ac:spMk id="17" creationId="{1D71C87B-C6C1-4B78-9FF6-8022DC634D8C}"/>
          </ac:spMkLst>
        </pc:spChg>
        <pc:spChg chg="add del mod">
          <ac:chgData name="Aude Van de WIELE" userId="7317e673-04dd-415c-a4d7-718682339b40" providerId="ADAL" clId="{80D4E734-020D-4C1F-A028-1B9E9B483F9A}" dt="2021-05-24T15:40:34.734" v="5920" actId="478"/>
          <ac:spMkLst>
            <pc:docMk/>
            <pc:sldMk cId="3115212104" sldId="3453"/>
            <ac:spMk id="19" creationId="{92A8E4B1-D094-4198-92DD-F821CBEF1A80}"/>
          </ac:spMkLst>
        </pc:spChg>
        <pc:spChg chg="add del">
          <ac:chgData name="Aude Van de WIELE" userId="7317e673-04dd-415c-a4d7-718682339b40" providerId="ADAL" clId="{80D4E734-020D-4C1F-A028-1B9E9B483F9A}" dt="2021-05-24T15:40:27.472" v="5916" actId="478"/>
          <ac:spMkLst>
            <pc:docMk/>
            <pc:sldMk cId="3115212104" sldId="3453"/>
            <ac:spMk id="20" creationId="{1289F68E-3AEA-4024-A2D5-0927D0E414BC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21" creationId="{E4A8A4B2-0BC6-4BE9-BCAC-768C42F3F400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23" creationId="{C1C57AEC-5D04-4707-991B-83BF7BEB6EC3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24" creationId="{EEAE2819-0901-4BB9-AC58-DCC02FFBE4E0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26" creationId="{AA844280-6FCF-4E05-AAE5-74682CF8EDAA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28" creationId="{11345072-21BD-4708-A8A5-5018D9CAEAE4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29" creationId="{4570823D-5116-4FD5-B247-628356BA0E12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34" creationId="{E4D33251-6BC8-4410-ACEB-628D9821088A}"/>
          </ac:spMkLst>
        </pc:spChg>
        <pc:spChg chg="add mod">
          <ac:chgData name="Aude Van de WIELE" userId="7317e673-04dd-415c-a4d7-718682339b40" providerId="ADAL" clId="{80D4E734-020D-4C1F-A028-1B9E9B483F9A}" dt="2021-05-25T13:31:22.741" v="12752" actId="404"/>
          <ac:spMkLst>
            <pc:docMk/>
            <pc:sldMk cId="3115212104" sldId="3453"/>
            <ac:spMk id="35" creationId="{C233882A-2860-4D82-8353-BEFC11AFD9F2}"/>
          </ac:spMkLst>
        </pc:spChg>
        <pc:spChg chg="add mod">
          <ac:chgData name="Aude Van de WIELE" userId="7317e673-04dd-415c-a4d7-718682339b40" providerId="ADAL" clId="{80D4E734-020D-4C1F-A028-1B9E9B483F9A}" dt="2021-05-25T13:31:22.741" v="12752" actId="404"/>
          <ac:spMkLst>
            <pc:docMk/>
            <pc:sldMk cId="3115212104" sldId="3453"/>
            <ac:spMk id="36" creationId="{8C0CED51-10B2-4A3A-B007-473BC1F301CE}"/>
          </ac:spMkLst>
        </pc:spChg>
        <pc:spChg chg="add mod">
          <ac:chgData name="Aude Van de WIELE" userId="7317e673-04dd-415c-a4d7-718682339b40" providerId="ADAL" clId="{80D4E734-020D-4C1F-A028-1B9E9B483F9A}" dt="2021-05-25T13:31:22.741" v="12752" actId="404"/>
          <ac:spMkLst>
            <pc:docMk/>
            <pc:sldMk cId="3115212104" sldId="3453"/>
            <ac:spMk id="37" creationId="{4F1A8BFB-A53A-40F2-A2DE-3899C0C22746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38" creationId="{5A142BE1-C2DD-4C6A-9B8A-0E197171F49A}"/>
          </ac:spMkLst>
        </pc:spChg>
        <pc:spChg chg="mod">
          <ac:chgData name="Aude Van de WIELE" userId="7317e673-04dd-415c-a4d7-718682339b40" providerId="ADAL" clId="{80D4E734-020D-4C1F-A028-1B9E9B483F9A}" dt="2021-05-25T13:31:22.741" v="12752" actId="404"/>
          <ac:spMkLst>
            <pc:docMk/>
            <pc:sldMk cId="3115212104" sldId="3453"/>
            <ac:spMk id="39" creationId="{D1E92CC9-5E3D-498B-9A2A-EAD16D7E172E}"/>
          </ac:spMkLst>
        </pc:spChg>
        <pc:spChg chg="del">
          <ac:chgData name="Aude Van de WIELE" userId="7317e673-04dd-415c-a4d7-718682339b40" providerId="ADAL" clId="{80D4E734-020D-4C1F-A028-1B9E9B483F9A}" dt="2021-05-24T15:41:42.215" v="5923" actId="478"/>
          <ac:spMkLst>
            <pc:docMk/>
            <pc:sldMk cId="3115212104" sldId="3453"/>
            <ac:spMk id="40" creationId="{60EEC324-686F-4C2B-9A86-1FD757E7F20F}"/>
          </ac:spMkLst>
        </pc:spChg>
        <pc:spChg chg="del">
          <ac:chgData name="Aude Van de WIELE" userId="7317e673-04dd-415c-a4d7-718682339b40" providerId="ADAL" clId="{80D4E734-020D-4C1F-A028-1B9E9B483F9A}" dt="2021-05-24T15:41:42.215" v="5923" actId="478"/>
          <ac:spMkLst>
            <pc:docMk/>
            <pc:sldMk cId="3115212104" sldId="3453"/>
            <ac:spMk id="41" creationId="{6D8FCCD4-2F77-45E9-9A16-B87F84493FF2}"/>
          </ac:spMkLst>
        </pc:spChg>
        <pc:spChg chg="add mod">
          <ac:chgData name="Aude Van de WIELE" userId="7317e673-04dd-415c-a4d7-718682339b40" providerId="ADAL" clId="{80D4E734-020D-4C1F-A028-1B9E9B483F9A}" dt="2021-05-25T13:31:14.760" v="12751" actId="2711"/>
          <ac:spMkLst>
            <pc:docMk/>
            <pc:sldMk cId="3115212104" sldId="3453"/>
            <ac:spMk id="42" creationId="{5A92A72B-854C-4D05-875A-7DD0B1E32AD0}"/>
          </ac:spMkLst>
        </pc:spChg>
        <pc:spChg chg="mod">
          <ac:chgData name="Aude Van de WIELE" userId="7317e673-04dd-415c-a4d7-718682339b40" providerId="ADAL" clId="{80D4E734-020D-4C1F-A028-1B9E9B483F9A}" dt="2021-05-25T13:31:22.741" v="12752" actId="404"/>
          <ac:spMkLst>
            <pc:docMk/>
            <pc:sldMk cId="3115212104" sldId="3453"/>
            <ac:spMk id="46" creationId="{A8782A50-F7B1-478D-960D-B144BB7D57D7}"/>
          </ac:spMkLst>
        </pc:spChg>
        <pc:spChg chg="mod">
          <ac:chgData name="Aude Van de WIELE" userId="7317e673-04dd-415c-a4d7-718682339b40" providerId="ADAL" clId="{80D4E734-020D-4C1F-A028-1B9E9B483F9A}" dt="2021-05-25T13:31:27.867" v="12755" actId="404"/>
          <ac:spMkLst>
            <pc:docMk/>
            <pc:sldMk cId="3115212104" sldId="3453"/>
            <ac:spMk id="47" creationId="{EBC4C7DB-908D-4F75-846A-4CC4964C350B}"/>
          </ac:spMkLst>
        </pc:spChg>
        <pc:spChg chg="del mod">
          <ac:chgData name="Aude Van de WIELE" userId="7317e673-04dd-415c-a4d7-718682339b40" providerId="ADAL" clId="{80D4E734-020D-4C1F-A028-1B9E9B483F9A}" dt="2021-05-24T15:44:03.152" v="5970"/>
          <ac:spMkLst>
            <pc:docMk/>
            <pc:sldMk cId="3115212104" sldId="3453"/>
            <ac:spMk id="48" creationId="{C1504369-A904-4988-949E-39F5C19A7677}"/>
          </ac:spMkLst>
        </pc:spChg>
        <pc:picChg chg="mod">
          <ac:chgData name="Aude Van de WIELE" userId="7317e673-04dd-415c-a4d7-718682339b40" providerId="ADAL" clId="{80D4E734-020D-4C1F-A028-1B9E9B483F9A}" dt="2021-05-24T15:43:50.140" v="5964" actId="1076"/>
          <ac:picMkLst>
            <pc:docMk/>
            <pc:sldMk cId="3115212104" sldId="3453"/>
            <ac:picMk id="8" creationId="{928AECAD-ACEE-4C6E-B18C-5B2A61875883}"/>
          </ac:picMkLst>
        </pc:picChg>
        <pc:picChg chg="add del mod">
          <ac:chgData name="Aude Van de WIELE" userId="7317e673-04dd-415c-a4d7-718682339b40" providerId="ADAL" clId="{80D4E734-020D-4C1F-A028-1B9E9B483F9A}" dt="2021-05-24T15:40:22.211" v="5913"/>
          <ac:picMkLst>
            <pc:docMk/>
            <pc:sldMk cId="3115212104" sldId="3453"/>
            <ac:picMk id="18" creationId="{D4E908B4-DDE7-4DE5-81AC-F2D7EC4FC035}"/>
          </ac:picMkLst>
        </pc:picChg>
        <pc:picChg chg="add mod">
          <ac:chgData name="Aude Van de WIELE" userId="7317e673-04dd-415c-a4d7-718682339b40" providerId="ADAL" clId="{80D4E734-020D-4C1F-A028-1B9E9B483F9A}" dt="2021-05-24T15:40:27.722" v="5917"/>
          <ac:picMkLst>
            <pc:docMk/>
            <pc:sldMk cId="3115212104" sldId="3453"/>
            <ac:picMk id="22" creationId="{BB47061D-6AA8-4157-905D-0DCF58F7E064}"/>
          </ac:picMkLst>
        </pc:picChg>
        <pc:picChg chg="add mod">
          <ac:chgData name="Aude Van de WIELE" userId="7317e673-04dd-415c-a4d7-718682339b40" providerId="ADAL" clId="{80D4E734-020D-4C1F-A028-1B9E9B483F9A}" dt="2021-05-24T15:48:50.773" v="6164" actId="1076"/>
          <ac:picMkLst>
            <pc:docMk/>
            <pc:sldMk cId="3115212104" sldId="3453"/>
            <ac:picMk id="30" creationId="{8D758955-86C7-48F5-AC07-2D203E23301F}"/>
          </ac:picMkLst>
        </pc:picChg>
        <pc:picChg chg="add mod">
          <ac:chgData name="Aude Van de WIELE" userId="7317e673-04dd-415c-a4d7-718682339b40" providerId="ADAL" clId="{80D4E734-020D-4C1F-A028-1B9E9B483F9A}" dt="2021-05-24T15:48:50.773" v="6164" actId="1076"/>
          <ac:picMkLst>
            <pc:docMk/>
            <pc:sldMk cId="3115212104" sldId="3453"/>
            <ac:picMk id="31" creationId="{1CBDC9D5-37D0-408D-9D8C-A11B5D5FE134}"/>
          </ac:picMkLst>
        </pc:picChg>
        <pc:picChg chg="add mod">
          <ac:chgData name="Aude Van de WIELE" userId="7317e673-04dd-415c-a4d7-718682339b40" providerId="ADAL" clId="{80D4E734-020D-4C1F-A028-1B9E9B483F9A}" dt="2021-05-24T15:48:50.773" v="6164" actId="1076"/>
          <ac:picMkLst>
            <pc:docMk/>
            <pc:sldMk cId="3115212104" sldId="3453"/>
            <ac:picMk id="33" creationId="{DBB72FAD-83C2-4C1A-AD8F-00AB99C28E63}"/>
          </ac:picMkLst>
        </pc:picChg>
        <pc:picChg chg="mod">
          <ac:chgData name="Aude Van de WIELE" userId="7317e673-04dd-415c-a4d7-718682339b40" providerId="ADAL" clId="{80D4E734-020D-4C1F-A028-1B9E9B483F9A}" dt="2021-05-24T15:48:13.580" v="6118" actId="1076"/>
          <ac:picMkLst>
            <pc:docMk/>
            <pc:sldMk cId="3115212104" sldId="3453"/>
            <ac:picMk id="45" creationId="{936BE1D7-6896-4D10-B5A2-0BF5D439D562}"/>
          </ac:picMkLst>
        </pc:picChg>
        <pc:cxnChg chg="mod">
          <ac:chgData name="Aude Van de WIELE" userId="7317e673-04dd-415c-a4d7-718682339b40" providerId="ADAL" clId="{80D4E734-020D-4C1F-A028-1B9E9B483F9A}" dt="2021-05-24T15:43:41.380" v="5959" actId="14100"/>
          <ac:cxnSpMkLst>
            <pc:docMk/>
            <pc:sldMk cId="3115212104" sldId="3453"/>
            <ac:cxnSpMk id="10" creationId="{CF41349A-C2B1-4309-9120-69A8D10B7851}"/>
          </ac:cxnSpMkLst>
        </pc:cxnChg>
      </pc:sldChg>
      <pc:sldChg chg="addSp delSp modSp mod">
        <pc:chgData name="Aude Van de WIELE" userId="7317e673-04dd-415c-a4d7-718682339b40" providerId="ADAL" clId="{80D4E734-020D-4C1F-A028-1B9E9B483F9A}" dt="2021-05-25T08:49:49.164" v="7916" actId="790"/>
        <pc:sldMkLst>
          <pc:docMk/>
          <pc:sldMk cId="2227887028" sldId="3469"/>
        </pc:sldMkLst>
        <pc:spChg chg="mod">
          <ac:chgData name="Aude Van de WIELE" userId="7317e673-04dd-415c-a4d7-718682339b40" providerId="ADAL" clId="{80D4E734-020D-4C1F-A028-1B9E9B483F9A}" dt="2021-05-25T08:49:49.151" v="7906" actId="790"/>
          <ac:spMkLst>
            <pc:docMk/>
            <pc:sldMk cId="2227887028" sldId="3469"/>
            <ac:spMk id="3" creationId="{EEAF1987-D318-4165-8539-CE9944DDE20A}"/>
          </ac:spMkLst>
        </pc:spChg>
        <pc:spChg chg="mod">
          <ac:chgData name="Aude Van de WIELE" userId="7317e673-04dd-415c-a4d7-718682339b40" providerId="ADAL" clId="{80D4E734-020D-4C1F-A028-1B9E9B483F9A}" dt="2021-05-25T08:49:49.142" v="7900" actId="790"/>
          <ac:spMkLst>
            <pc:docMk/>
            <pc:sldMk cId="2227887028" sldId="3469"/>
            <ac:spMk id="5" creationId="{C2211D1B-D86D-4EF5-B202-69A0FA56B98B}"/>
          </ac:spMkLst>
        </pc:spChg>
        <pc:spChg chg="mod">
          <ac:chgData name="Aude Van de WIELE" userId="7317e673-04dd-415c-a4d7-718682339b40" providerId="ADAL" clId="{80D4E734-020D-4C1F-A028-1B9E9B483F9A}" dt="2021-05-25T08:49:49.146" v="7903" actId="790"/>
          <ac:spMkLst>
            <pc:docMk/>
            <pc:sldMk cId="2227887028" sldId="3469"/>
            <ac:spMk id="7" creationId="{F59BFDDC-63FF-4CDF-9FA9-5814668C648B}"/>
          </ac:spMkLst>
        </pc:spChg>
        <pc:spChg chg="mod">
          <ac:chgData name="Aude Van de WIELE" userId="7317e673-04dd-415c-a4d7-718682339b40" providerId="ADAL" clId="{80D4E734-020D-4C1F-A028-1B9E9B483F9A}" dt="2021-05-25T08:49:49.150" v="7905" actId="790"/>
          <ac:spMkLst>
            <pc:docMk/>
            <pc:sldMk cId="2227887028" sldId="3469"/>
            <ac:spMk id="20" creationId="{ED97A22C-8175-42D7-83B9-66285B255DD8}"/>
          </ac:spMkLst>
        </pc:spChg>
        <pc:spChg chg="mod">
          <ac:chgData name="Aude Van de WIELE" userId="7317e673-04dd-415c-a4d7-718682339b40" providerId="ADAL" clId="{80D4E734-020D-4C1F-A028-1B9E9B483F9A}" dt="2021-05-25T08:49:49.144" v="7902" actId="790"/>
          <ac:spMkLst>
            <pc:docMk/>
            <pc:sldMk cId="2227887028" sldId="3469"/>
            <ac:spMk id="22" creationId="{915D1B6E-612E-40C3-AAAD-AD7DCE1807AA}"/>
          </ac:spMkLst>
        </pc:spChg>
        <pc:spChg chg="mod">
          <ac:chgData name="Aude Van de WIELE" userId="7317e673-04dd-415c-a4d7-718682339b40" providerId="ADAL" clId="{80D4E734-020D-4C1F-A028-1B9E9B483F9A}" dt="2021-05-25T08:49:49.149" v="7904" actId="790"/>
          <ac:spMkLst>
            <pc:docMk/>
            <pc:sldMk cId="2227887028" sldId="3469"/>
            <ac:spMk id="28" creationId="{53C5A097-C478-4E2D-9FDD-BE9872004DFD}"/>
          </ac:spMkLst>
        </pc:spChg>
        <pc:spChg chg="add mod">
          <ac:chgData name="Aude Van de WIELE" userId="7317e673-04dd-415c-a4d7-718682339b40" providerId="ADAL" clId="{80D4E734-020D-4C1F-A028-1B9E9B483F9A}" dt="2021-05-25T08:49:49.159" v="7912" actId="790"/>
          <ac:spMkLst>
            <pc:docMk/>
            <pc:sldMk cId="2227887028" sldId="3469"/>
            <ac:spMk id="33" creationId="{6E4BAFD0-DA14-463B-95C3-E2D999701212}"/>
          </ac:spMkLst>
        </pc:spChg>
        <pc:spChg chg="mod">
          <ac:chgData name="Aude Van de WIELE" userId="7317e673-04dd-415c-a4d7-718682339b40" providerId="ADAL" clId="{80D4E734-020D-4C1F-A028-1B9E9B483F9A}" dt="2021-05-25T08:49:49.164" v="7916" actId="790"/>
          <ac:spMkLst>
            <pc:docMk/>
            <pc:sldMk cId="2227887028" sldId="3469"/>
            <ac:spMk id="34" creationId="{C1F69ECF-04FA-4CA5-B2DF-2BBDF70A24F0}"/>
          </ac:spMkLst>
        </pc:spChg>
        <pc:spChg chg="add del mod">
          <ac:chgData name="Aude Van de WIELE" userId="7317e673-04dd-415c-a4d7-718682339b40" providerId="ADAL" clId="{80D4E734-020D-4C1F-A028-1B9E9B483F9A}" dt="2021-05-24T14:28:25.973" v="4830" actId="478"/>
          <ac:spMkLst>
            <pc:docMk/>
            <pc:sldMk cId="2227887028" sldId="3469"/>
            <ac:spMk id="34" creationId="{DE56F644-092B-410E-B8D3-8BAFD9C74DCE}"/>
          </ac:spMkLst>
        </pc:spChg>
        <pc:spChg chg="add del mod">
          <ac:chgData name="Aude Van de WIELE" userId="7317e673-04dd-415c-a4d7-718682339b40" providerId="ADAL" clId="{80D4E734-020D-4C1F-A028-1B9E9B483F9A}" dt="2021-05-24T14:28:25.973" v="4830" actId="478"/>
          <ac:spMkLst>
            <pc:docMk/>
            <pc:sldMk cId="2227887028" sldId="3469"/>
            <ac:spMk id="35" creationId="{445F47A9-8000-45C0-9CFB-E4B346CB8420}"/>
          </ac:spMkLst>
        </pc:spChg>
        <pc:spChg chg="add mod">
          <ac:chgData name="Aude Van de WIELE" userId="7317e673-04dd-415c-a4d7-718682339b40" providerId="ADAL" clId="{80D4E734-020D-4C1F-A028-1B9E9B483F9A}" dt="2021-05-25T08:49:49.161" v="7913" actId="790"/>
          <ac:spMkLst>
            <pc:docMk/>
            <pc:sldMk cId="2227887028" sldId="3469"/>
            <ac:spMk id="36" creationId="{B79706AE-F2C0-4E63-B63C-BA29DDDA2BCD}"/>
          </ac:spMkLst>
        </pc:spChg>
        <pc:spChg chg="mod">
          <ac:chgData name="Aude Van de WIELE" userId="7317e673-04dd-415c-a4d7-718682339b40" providerId="ADAL" clId="{80D4E734-020D-4C1F-A028-1B9E9B483F9A}" dt="2021-05-25T08:49:49.143" v="7901" actId="790"/>
          <ac:spMkLst>
            <pc:docMk/>
            <pc:sldMk cId="2227887028" sldId="3469"/>
            <ac:spMk id="37" creationId="{1B0F6DBA-9DDA-4219-ABBF-2A111A6DC023}"/>
          </ac:spMkLst>
        </pc:spChg>
        <pc:spChg chg="add mod">
          <ac:chgData name="Aude Van de WIELE" userId="7317e673-04dd-415c-a4d7-718682339b40" providerId="ADAL" clId="{80D4E734-020D-4C1F-A028-1B9E9B483F9A}" dt="2021-05-25T08:49:49.162" v="7914" actId="790"/>
          <ac:spMkLst>
            <pc:docMk/>
            <pc:sldMk cId="2227887028" sldId="3469"/>
            <ac:spMk id="38" creationId="{C89B6050-BC3B-47BC-90EC-DFC610C688B0}"/>
          </ac:spMkLst>
        </pc:spChg>
        <pc:spChg chg="mod">
          <ac:chgData name="Aude Van de WIELE" userId="7317e673-04dd-415c-a4d7-718682339b40" providerId="ADAL" clId="{80D4E734-020D-4C1F-A028-1B9E9B483F9A}" dt="2021-05-25T08:49:49.152" v="7907" actId="790"/>
          <ac:spMkLst>
            <pc:docMk/>
            <pc:sldMk cId="2227887028" sldId="3469"/>
            <ac:spMk id="39" creationId="{E13A1A57-0854-4DD7-BDFE-7BC27BD1A81F}"/>
          </ac:spMkLst>
        </pc:spChg>
        <pc:spChg chg="mod">
          <ac:chgData name="Aude Van de WIELE" userId="7317e673-04dd-415c-a4d7-718682339b40" providerId="ADAL" clId="{80D4E734-020D-4C1F-A028-1B9E9B483F9A}" dt="2021-05-25T08:49:49.138" v="7897" actId="790"/>
          <ac:spMkLst>
            <pc:docMk/>
            <pc:sldMk cId="2227887028" sldId="3469"/>
            <ac:spMk id="40" creationId="{60EEC324-686F-4C2B-9A86-1FD757E7F20F}"/>
          </ac:spMkLst>
        </pc:spChg>
        <pc:spChg chg="mod">
          <ac:chgData name="Aude Van de WIELE" userId="7317e673-04dd-415c-a4d7-718682339b40" providerId="ADAL" clId="{80D4E734-020D-4C1F-A028-1B9E9B483F9A}" dt="2021-05-25T08:49:49.138" v="7898" actId="790"/>
          <ac:spMkLst>
            <pc:docMk/>
            <pc:sldMk cId="2227887028" sldId="3469"/>
            <ac:spMk id="41" creationId="{6D8FCCD4-2F77-45E9-9A16-B87F84493FF2}"/>
          </ac:spMkLst>
        </pc:spChg>
        <pc:spChg chg="mod">
          <ac:chgData name="Aude Van de WIELE" userId="7317e673-04dd-415c-a4d7-718682339b40" providerId="ADAL" clId="{80D4E734-020D-4C1F-A028-1B9E9B483F9A}" dt="2021-05-25T08:49:49.153" v="7908" actId="790"/>
          <ac:spMkLst>
            <pc:docMk/>
            <pc:sldMk cId="2227887028" sldId="3469"/>
            <ac:spMk id="42" creationId="{82D45FD6-332C-4185-B2F7-837B5822F3BD}"/>
          </ac:spMkLst>
        </pc:spChg>
        <pc:spChg chg="mod">
          <ac:chgData name="Aude Van de WIELE" userId="7317e673-04dd-415c-a4d7-718682339b40" providerId="ADAL" clId="{80D4E734-020D-4C1F-A028-1B9E9B483F9A}" dt="2021-05-25T08:49:49.153" v="7909" actId="790"/>
          <ac:spMkLst>
            <pc:docMk/>
            <pc:sldMk cId="2227887028" sldId="3469"/>
            <ac:spMk id="43" creationId="{B5DEA5C6-A53A-4FE1-ABB1-BCD9F609E8F6}"/>
          </ac:spMkLst>
        </pc:spChg>
        <pc:spChg chg="mod">
          <ac:chgData name="Aude Van de WIELE" userId="7317e673-04dd-415c-a4d7-718682339b40" providerId="ADAL" clId="{80D4E734-020D-4C1F-A028-1B9E9B483F9A}" dt="2021-05-25T08:49:49.154" v="7910" actId="790"/>
          <ac:spMkLst>
            <pc:docMk/>
            <pc:sldMk cId="2227887028" sldId="3469"/>
            <ac:spMk id="44" creationId="{022EB26C-4239-4DB8-81D3-CD5199BA05D7}"/>
          </ac:spMkLst>
        </pc:spChg>
        <pc:spChg chg="mod">
          <ac:chgData name="Aude Van de WIELE" userId="7317e673-04dd-415c-a4d7-718682339b40" providerId="ADAL" clId="{80D4E734-020D-4C1F-A028-1B9E9B483F9A}" dt="2021-05-25T08:49:49.155" v="7911" actId="790"/>
          <ac:spMkLst>
            <pc:docMk/>
            <pc:sldMk cId="2227887028" sldId="3469"/>
            <ac:spMk id="45" creationId="{26EC6358-FE91-4A17-BA46-6717559DBB79}"/>
          </ac:spMkLst>
        </pc:spChg>
        <pc:spChg chg="add mod">
          <ac:chgData name="Aude Van de WIELE" userId="7317e673-04dd-415c-a4d7-718682339b40" providerId="ADAL" clId="{80D4E734-020D-4C1F-A028-1B9E9B483F9A}" dt="2021-05-25T08:49:49.163" v="7915" actId="790"/>
          <ac:spMkLst>
            <pc:docMk/>
            <pc:sldMk cId="2227887028" sldId="3469"/>
            <ac:spMk id="46" creationId="{F8596C5D-2F1F-4896-8874-B1819ED68662}"/>
          </ac:spMkLst>
        </pc:spChg>
        <pc:spChg chg="mod">
          <ac:chgData name="Aude Van de WIELE" userId="7317e673-04dd-415c-a4d7-718682339b40" providerId="ADAL" clId="{80D4E734-020D-4C1F-A028-1B9E9B483F9A}" dt="2021-05-25T08:49:49.141" v="7899" actId="790"/>
          <ac:spMkLst>
            <pc:docMk/>
            <pc:sldMk cId="2227887028" sldId="3469"/>
            <ac:spMk id="50" creationId="{D79806CD-0EE1-44AF-A4A4-8DE1548322B3}"/>
          </ac:spMkLst>
        </pc:spChg>
        <pc:picChg chg="add mod">
          <ac:chgData name="Aude Van de WIELE" userId="7317e673-04dd-415c-a4d7-718682339b40" providerId="ADAL" clId="{80D4E734-020D-4C1F-A028-1B9E9B483F9A}" dt="2021-05-24T14:26:02.567" v="4783"/>
          <ac:picMkLst>
            <pc:docMk/>
            <pc:sldMk cId="2227887028" sldId="3469"/>
            <ac:picMk id="29" creationId="{FCECA367-EBD4-4DBE-A1D7-B3BA54C1470F}"/>
          </ac:picMkLst>
        </pc:picChg>
        <pc:picChg chg="add mod">
          <ac:chgData name="Aude Van de WIELE" userId="7317e673-04dd-415c-a4d7-718682339b40" providerId="ADAL" clId="{80D4E734-020D-4C1F-A028-1B9E9B483F9A}" dt="2021-05-24T14:29:08.629" v="4842" actId="554"/>
          <ac:picMkLst>
            <pc:docMk/>
            <pc:sldMk cId="2227887028" sldId="3469"/>
            <ac:picMk id="30" creationId="{877CE77D-E357-4D61-9470-8F086DD18A9D}"/>
          </ac:picMkLst>
        </pc:picChg>
        <pc:picChg chg="del">
          <ac:chgData name="Aude Van de WIELE" userId="7317e673-04dd-415c-a4d7-718682339b40" providerId="ADAL" clId="{80D4E734-020D-4C1F-A028-1B9E9B483F9A}" dt="2021-05-24T14:26:02.294" v="4782" actId="478"/>
          <ac:picMkLst>
            <pc:docMk/>
            <pc:sldMk cId="2227887028" sldId="3469"/>
            <ac:picMk id="31" creationId="{49D14625-BDAE-4C07-8D5E-7DF89A2DC844}"/>
          </ac:picMkLst>
        </pc:picChg>
        <pc:picChg chg="add mod">
          <ac:chgData name="Aude Van de WIELE" userId="7317e673-04dd-415c-a4d7-718682339b40" providerId="ADAL" clId="{80D4E734-020D-4C1F-A028-1B9E9B483F9A}" dt="2021-05-24T14:29:13.224" v="4844" actId="14100"/>
          <ac:picMkLst>
            <pc:docMk/>
            <pc:sldMk cId="2227887028" sldId="3469"/>
            <ac:picMk id="32" creationId="{A5EF6418-7AEF-4977-88A8-5D03F36B1B2E}"/>
          </ac:picMkLst>
        </pc:picChg>
        <pc:picChg chg="mod">
          <ac:chgData name="Aude Van de WIELE" userId="7317e673-04dd-415c-a4d7-718682339b40" providerId="ADAL" clId="{80D4E734-020D-4C1F-A028-1B9E9B483F9A}" dt="2021-05-24T14:29:08.629" v="4842" actId="554"/>
          <ac:picMkLst>
            <pc:docMk/>
            <pc:sldMk cId="2227887028" sldId="3469"/>
            <ac:picMk id="13323" creationId="{DF6E7398-BAEE-40C0-A147-5F81EF64EA48}"/>
          </ac:picMkLst>
        </pc:picChg>
        <pc:picChg chg="mod">
          <ac:chgData name="Aude Van de WIELE" userId="7317e673-04dd-415c-a4d7-718682339b40" providerId="ADAL" clId="{80D4E734-020D-4C1F-A028-1B9E9B483F9A}" dt="2021-05-24T14:28:41.641" v="4834" actId="1076"/>
          <ac:picMkLst>
            <pc:docMk/>
            <pc:sldMk cId="2227887028" sldId="3469"/>
            <ac:picMk id="13325" creationId="{7948BEF4-4A7E-429E-B395-A7587E011B17}"/>
          </ac:picMkLst>
        </pc:picChg>
      </pc:sldChg>
      <pc:sldChg chg="addSp delSp modSp del mod">
        <pc:chgData name="Aude Van de WIELE" userId="7317e673-04dd-415c-a4d7-718682339b40" providerId="ADAL" clId="{80D4E734-020D-4C1F-A028-1B9E9B483F9A}" dt="2021-05-24T14:29:55.843" v="4857" actId="47"/>
        <pc:sldMkLst>
          <pc:docMk/>
          <pc:sldMk cId="3432366182" sldId="3470"/>
        </pc:sldMkLst>
        <pc:spChg chg="mod">
          <ac:chgData name="Aude Van de WIELE" userId="7317e673-04dd-415c-a4d7-718682339b40" providerId="ADAL" clId="{80D4E734-020D-4C1F-A028-1B9E9B483F9A}" dt="2021-05-24T14:26:08.419" v="4784" actId="207"/>
          <ac:spMkLst>
            <pc:docMk/>
            <pc:sldMk cId="3432366182" sldId="3470"/>
            <ac:spMk id="7" creationId="{F59BFDDC-63FF-4CDF-9FA9-5814668C648B}"/>
          </ac:spMkLst>
        </pc:spChg>
        <pc:spChg chg="add mod">
          <ac:chgData name="Aude Van de WIELE" userId="7317e673-04dd-415c-a4d7-718682339b40" providerId="ADAL" clId="{80D4E734-020D-4C1F-A028-1B9E9B483F9A}" dt="2021-05-24T13:55:02.271" v="4347"/>
          <ac:spMkLst>
            <pc:docMk/>
            <pc:sldMk cId="3432366182" sldId="3470"/>
            <ac:spMk id="21" creationId="{65A1EBAE-3C6C-4FBF-80E3-D330AB9BD366}"/>
          </ac:spMkLst>
        </pc:spChg>
        <pc:spChg chg="add mod">
          <ac:chgData name="Aude Van de WIELE" userId="7317e673-04dd-415c-a4d7-718682339b40" providerId="ADAL" clId="{80D4E734-020D-4C1F-A028-1B9E9B483F9A}" dt="2021-05-24T13:55:02.271" v="4347"/>
          <ac:spMkLst>
            <pc:docMk/>
            <pc:sldMk cId="3432366182" sldId="3470"/>
            <ac:spMk id="23" creationId="{3B33B6A9-092E-4C6F-9CB2-AF0702D43971}"/>
          </ac:spMkLst>
        </pc:spChg>
        <pc:spChg chg="add mod">
          <ac:chgData name="Aude Van de WIELE" userId="7317e673-04dd-415c-a4d7-718682339b40" providerId="ADAL" clId="{80D4E734-020D-4C1F-A028-1B9E9B483F9A}" dt="2021-05-24T13:55:02.271" v="4347"/>
          <ac:spMkLst>
            <pc:docMk/>
            <pc:sldMk cId="3432366182" sldId="3470"/>
            <ac:spMk id="24" creationId="{DEB1A809-C8FA-4AC0-BE1B-978D100B4295}"/>
          </ac:spMkLst>
        </pc:spChg>
        <pc:spChg chg="del">
          <ac:chgData name="Aude Van de WIELE" userId="7317e673-04dd-415c-a4d7-718682339b40" providerId="ADAL" clId="{80D4E734-020D-4C1F-A028-1B9E9B483F9A}" dt="2021-05-24T13:55:02.087" v="4346" actId="478"/>
          <ac:spMkLst>
            <pc:docMk/>
            <pc:sldMk cId="3432366182" sldId="3470"/>
            <ac:spMk id="45" creationId="{9E4261C9-F54B-4840-A880-04F5677109A8}"/>
          </ac:spMkLst>
        </pc:spChg>
        <pc:spChg chg="del">
          <ac:chgData name="Aude Van de WIELE" userId="7317e673-04dd-415c-a4d7-718682339b40" providerId="ADAL" clId="{80D4E734-020D-4C1F-A028-1B9E9B483F9A}" dt="2021-05-24T13:55:02.087" v="4346" actId="478"/>
          <ac:spMkLst>
            <pc:docMk/>
            <pc:sldMk cId="3432366182" sldId="3470"/>
            <ac:spMk id="47" creationId="{74C439CC-5E42-483B-B12D-3098611085C4}"/>
          </ac:spMkLst>
        </pc:spChg>
        <pc:spChg chg="del">
          <ac:chgData name="Aude Van de WIELE" userId="7317e673-04dd-415c-a4d7-718682339b40" providerId="ADAL" clId="{80D4E734-020D-4C1F-A028-1B9E9B483F9A}" dt="2021-05-24T13:55:02.087" v="4346" actId="478"/>
          <ac:spMkLst>
            <pc:docMk/>
            <pc:sldMk cId="3432366182" sldId="3470"/>
            <ac:spMk id="48" creationId="{F66C4E06-FF3F-4603-9BB1-3EEB21F0F766}"/>
          </ac:spMkLst>
        </pc:spChg>
        <pc:picChg chg="add mod">
          <ac:chgData name="Aude Van de WIELE" userId="7317e673-04dd-415c-a4d7-718682339b40" providerId="ADAL" clId="{80D4E734-020D-4C1F-A028-1B9E9B483F9A}" dt="2021-05-24T14:26:12.760" v="4786"/>
          <ac:picMkLst>
            <pc:docMk/>
            <pc:sldMk cId="3432366182" sldId="3470"/>
            <ac:picMk id="25" creationId="{7613D5C8-8729-41BD-A89A-A099BD1F1563}"/>
          </ac:picMkLst>
        </pc:picChg>
        <pc:picChg chg="add mod">
          <ac:chgData name="Aude Van de WIELE" userId="7317e673-04dd-415c-a4d7-718682339b40" providerId="ADAL" clId="{80D4E734-020D-4C1F-A028-1B9E9B483F9A}" dt="2021-05-24T14:27:34.788" v="4812" actId="571"/>
          <ac:picMkLst>
            <pc:docMk/>
            <pc:sldMk cId="3432366182" sldId="3470"/>
            <ac:picMk id="26" creationId="{7DA45506-CB5C-4FD8-9618-43CBC8F11C5C}"/>
          </ac:picMkLst>
        </pc:picChg>
        <pc:picChg chg="del">
          <ac:chgData name="Aude Van de WIELE" userId="7317e673-04dd-415c-a4d7-718682339b40" providerId="ADAL" clId="{80D4E734-020D-4C1F-A028-1B9E9B483F9A}" dt="2021-05-24T14:26:12.541" v="4785" actId="478"/>
          <ac:picMkLst>
            <pc:docMk/>
            <pc:sldMk cId="3432366182" sldId="3470"/>
            <ac:picMk id="31" creationId="{49D14625-BDAE-4C07-8D5E-7DF89A2DC844}"/>
          </ac:picMkLst>
        </pc:pic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1532694306" sldId="5383"/>
        </pc:sldMkLst>
      </pc:sldChg>
      <pc:sldChg chg="addSp delSp modSp mod">
        <pc:chgData name="Aude Van de WIELE" userId="7317e673-04dd-415c-a4d7-718682339b40" providerId="ADAL" clId="{80D4E734-020D-4C1F-A028-1B9E9B483F9A}" dt="2021-05-25T08:49:48.095" v="7011" actId="790"/>
        <pc:sldMkLst>
          <pc:docMk/>
          <pc:sldMk cId="3502070692" sldId="5788"/>
        </pc:sldMkLst>
        <pc:spChg chg="mod">
          <ac:chgData name="Aude Van de WIELE" userId="7317e673-04dd-415c-a4d7-718682339b40" providerId="ADAL" clId="{80D4E734-020D-4C1F-A028-1B9E9B483F9A}" dt="2021-05-25T08:49:48.088" v="7004" actId="790"/>
          <ac:spMkLst>
            <pc:docMk/>
            <pc:sldMk cId="3502070692" sldId="5788"/>
            <ac:spMk id="2" creationId="{21A480E3-4FEE-438F-96CF-9DA211B8727A}"/>
          </ac:spMkLst>
        </pc:spChg>
        <pc:spChg chg="mod">
          <ac:chgData name="Aude Van de WIELE" userId="7317e673-04dd-415c-a4d7-718682339b40" providerId="ADAL" clId="{80D4E734-020D-4C1F-A028-1B9E9B483F9A}" dt="2021-05-25T08:49:48.092" v="7007" actId="790"/>
          <ac:spMkLst>
            <pc:docMk/>
            <pc:sldMk cId="3502070692" sldId="5788"/>
            <ac:spMk id="4" creationId="{321D2B50-493B-4F6B-99A7-5BC785388858}"/>
          </ac:spMkLst>
        </pc:spChg>
        <pc:spChg chg="del">
          <ac:chgData name="Aude Van de WIELE" userId="7317e673-04dd-415c-a4d7-718682339b40" providerId="ADAL" clId="{80D4E734-020D-4C1F-A028-1B9E9B483F9A}" dt="2021-05-24T11:51:23.067" v="2780" actId="478"/>
          <ac:spMkLst>
            <pc:docMk/>
            <pc:sldMk cId="3502070692" sldId="5788"/>
            <ac:spMk id="6" creationId="{569BB8E4-BEF9-45C1-BC14-AAB0C1AA60CD}"/>
          </ac:spMkLst>
        </pc:spChg>
        <pc:spChg chg="mod">
          <ac:chgData name="Aude Van de WIELE" userId="7317e673-04dd-415c-a4d7-718682339b40" providerId="ADAL" clId="{80D4E734-020D-4C1F-A028-1B9E9B483F9A}" dt="2021-05-25T08:49:48.073" v="6999" actId="790"/>
          <ac:spMkLst>
            <pc:docMk/>
            <pc:sldMk cId="3502070692" sldId="5788"/>
            <ac:spMk id="14" creationId="{A6A43F86-72DB-441A-9F0E-0CBA93B92167}"/>
          </ac:spMkLst>
        </pc:spChg>
        <pc:spChg chg="mod">
          <ac:chgData name="Aude Van de WIELE" userId="7317e673-04dd-415c-a4d7-718682339b40" providerId="ADAL" clId="{80D4E734-020D-4C1F-A028-1B9E9B483F9A}" dt="2021-05-25T08:49:48.067" v="6997" actId="790"/>
          <ac:spMkLst>
            <pc:docMk/>
            <pc:sldMk cId="3502070692" sldId="5788"/>
            <ac:spMk id="17" creationId="{79542B58-C0DE-407D-A96B-E1BDB505A35B}"/>
          </ac:spMkLst>
        </pc:spChg>
        <pc:spChg chg="mod">
          <ac:chgData name="Aude Van de WIELE" userId="7317e673-04dd-415c-a4d7-718682339b40" providerId="ADAL" clId="{80D4E734-020D-4C1F-A028-1B9E9B483F9A}" dt="2021-05-25T08:49:48.075" v="7000" actId="790"/>
          <ac:spMkLst>
            <pc:docMk/>
            <pc:sldMk cId="3502070692" sldId="5788"/>
            <ac:spMk id="26" creationId="{0614C3AD-C954-4D83-95AB-C29332F75FE7}"/>
          </ac:spMkLst>
        </pc:spChg>
        <pc:spChg chg="mod">
          <ac:chgData name="Aude Van de WIELE" userId="7317e673-04dd-415c-a4d7-718682339b40" providerId="ADAL" clId="{80D4E734-020D-4C1F-A028-1B9E9B483F9A}" dt="2021-05-25T08:49:48.076" v="7001" actId="790"/>
          <ac:spMkLst>
            <pc:docMk/>
            <pc:sldMk cId="3502070692" sldId="5788"/>
            <ac:spMk id="29" creationId="{CDC05D8C-D901-4233-8F68-F7A7ABE06031}"/>
          </ac:spMkLst>
        </pc:spChg>
        <pc:spChg chg="mod">
          <ac:chgData name="Aude Van de WIELE" userId="7317e673-04dd-415c-a4d7-718682339b40" providerId="ADAL" clId="{80D4E734-020D-4C1F-A028-1B9E9B483F9A}" dt="2021-05-25T08:49:48.082" v="7002" actId="790"/>
          <ac:spMkLst>
            <pc:docMk/>
            <pc:sldMk cId="3502070692" sldId="5788"/>
            <ac:spMk id="30" creationId="{ACBF13C7-2E3B-4833-93F2-486311645719}"/>
          </ac:spMkLst>
        </pc:spChg>
        <pc:spChg chg="add mod">
          <ac:chgData name="Aude Van de WIELE" userId="7317e673-04dd-415c-a4d7-718682339b40" providerId="ADAL" clId="{80D4E734-020D-4C1F-A028-1B9E9B483F9A}" dt="2021-05-25T08:49:48.093" v="7008" actId="790"/>
          <ac:spMkLst>
            <pc:docMk/>
            <pc:sldMk cId="3502070692" sldId="5788"/>
            <ac:spMk id="33" creationId="{F8B23E47-A27C-47F9-930A-5F43DE9D7F88}"/>
          </ac:spMkLst>
        </pc:spChg>
        <pc:spChg chg="add mod">
          <ac:chgData name="Aude Van de WIELE" userId="7317e673-04dd-415c-a4d7-718682339b40" providerId="ADAL" clId="{80D4E734-020D-4C1F-A028-1B9E9B483F9A}" dt="2021-05-25T08:49:48.094" v="7009" actId="790"/>
          <ac:spMkLst>
            <pc:docMk/>
            <pc:sldMk cId="3502070692" sldId="5788"/>
            <ac:spMk id="34" creationId="{796173B8-6D70-4210-A23B-B1AB01BC4E4E}"/>
          </ac:spMkLst>
        </pc:spChg>
        <pc:spChg chg="add mod">
          <ac:chgData name="Aude Van de WIELE" userId="7317e673-04dd-415c-a4d7-718682339b40" providerId="ADAL" clId="{80D4E734-020D-4C1F-A028-1B9E9B483F9A}" dt="2021-05-25T08:49:48.094" v="7010" actId="790"/>
          <ac:spMkLst>
            <pc:docMk/>
            <pc:sldMk cId="3502070692" sldId="5788"/>
            <ac:spMk id="35" creationId="{F343B5A1-986B-491A-8A48-77787AC209AC}"/>
          </ac:spMkLst>
        </pc:spChg>
        <pc:spChg chg="add mod">
          <ac:chgData name="Aude Van de WIELE" userId="7317e673-04dd-415c-a4d7-718682339b40" providerId="ADAL" clId="{80D4E734-020D-4C1F-A028-1B9E9B483F9A}" dt="2021-05-25T08:49:48.095" v="7011" actId="790"/>
          <ac:spMkLst>
            <pc:docMk/>
            <pc:sldMk cId="3502070692" sldId="5788"/>
            <ac:spMk id="36" creationId="{0B00B2A8-C72E-4524-AA66-141863EAC8B5}"/>
          </ac:spMkLst>
        </pc:spChg>
        <pc:spChg chg="mod">
          <ac:chgData name="Aude Van de WIELE" userId="7317e673-04dd-415c-a4d7-718682339b40" providerId="ADAL" clId="{80D4E734-020D-4C1F-A028-1B9E9B483F9A}" dt="2021-05-25T08:49:48.087" v="7003" actId="790"/>
          <ac:spMkLst>
            <pc:docMk/>
            <pc:sldMk cId="3502070692" sldId="5788"/>
            <ac:spMk id="43" creationId="{C0AF0BD1-EE99-4A93-881A-71BE4821E6F1}"/>
          </ac:spMkLst>
        </pc:spChg>
        <pc:spChg chg="del">
          <ac:chgData name="Aude Van de WIELE" userId="7317e673-04dd-415c-a4d7-718682339b40" providerId="ADAL" clId="{80D4E734-020D-4C1F-A028-1B9E9B483F9A}" dt="2021-05-24T11:51:23.067" v="2780" actId="478"/>
          <ac:spMkLst>
            <pc:docMk/>
            <pc:sldMk cId="3502070692" sldId="5788"/>
            <ac:spMk id="45" creationId="{0E181582-CE8B-4B25-AC9B-B36E78A26582}"/>
          </ac:spMkLst>
        </pc:spChg>
        <pc:spChg chg="del">
          <ac:chgData name="Aude Van de WIELE" userId="7317e673-04dd-415c-a4d7-718682339b40" providerId="ADAL" clId="{80D4E734-020D-4C1F-A028-1B9E9B483F9A}" dt="2021-05-24T11:52:46.603" v="2851" actId="478"/>
          <ac:spMkLst>
            <pc:docMk/>
            <pc:sldMk cId="3502070692" sldId="5788"/>
            <ac:spMk id="47" creationId="{E7919A49-799E-46CD-A673-9E62B44E61ED}"/>
          </ac:spMkLst>
        </pc:spChg>
        <pc:spChg chg="del">
          <ac:chgData name="Aude Van de WIELE" userId="7317e673-04dd-415c-a4d7-718682339b40" providerId="ADAL" clId="{80D4E734-020D-4C1F-A028-1B9E9B483F9A}" dt="2021-05-24T11:52:55.319" v="2852" actId="478"/>
          <ac:spMkLst>
            <pc:docMk/>
            <pc:sldMk cId="3502070692" sldId="5788"/>
            <ac:spMk id="52" creationId="{C49AAD3B-B827-4A48-B792-18AAB50FC94A}"/>
          </ac:spMkLst>
        </pc:spChg>
        <pc:spChg chg="mod">
          <ac:chgData name="Aude Van de WIELE" userId="7317e673-04dd-415c-a4d7-718682339b40" providerId="ADAL" clId="{80D4E734-020D-4C1F-A028-1B9E9B483F9A}" dt="2021-05-25T08:49:48.090" v="7005" actId="790"/>
          <ac:spMkLst>
            <pc:docMk/>
            <pc:sldMk cId="3502070692" sldId="5788"/>
            <ac:spMk id="56" creationId="{3F0B14AD-FFF0-49A6-A5B2-1148C84CB7AE}"/>
          </ac:spMkLst>
        </pc:spChg>
        <pc:spChg chg="mod">
          <ac:chgData name="Aude Van de WIELE" userId="7317e673-04dd-415c-a4d7-718682339b40" providerId="ADAL" clId="{80D4E734-020D-4C1F-A028-1B9E9B483F9A}" dt="2021-05-25T08:49:48.091" v="7006" actId="790"/>
          <ac:spMkLst>
            <pc:docMk/>
            <pc:sldMk cId="3502070692" sldId="5788"/>
            <ac:spMk id="58" creationId="{4F1BE529-356D-4892-8B28-CD5041A4FD8D}"/>
          </ac:spMkLst>
        </pc:spChg>
        <pc:spChg chg="mod">
          <ac:chgData name="Aude Van de WIELE" userId="7317e673-04dd-415c-a4d7-718682339b40" providerId="ADAL" clId="{80D4E734-020D-4C1F-A028-1B9E9B483F9A}" dt="2021-05-25T08:49:48.072" v="6998" actId="790"/>
          <ac:spMkLst>
            <pc:docMk/>
            <pc:sldMk cId="3502070692" sldId="5788"/>
            <ac:spMk id="66" creationId="{11AC2BF9-A8AA-4D9B-A774-9622B7E27451}"/>
          </ac:spMkLst>
        </pc:spChg>
        <pc:spChg chg="del">
          <ac:chgData name="Aude Van de WIELE" userId="7317e673-04dd-415c-a4d7-718682339b40" providerId="ADAL" clId="{80D4E734-020D-4C1F-A028-1B9E9B483F9A}" dt="2021-05-24T11:52:55.319" v="2852" actId="478"/>
          <ac:spMkLst>
            <pc:docMk/>
            <pc:sldMk cId="3502070692" sldId="5788"/>
            <ac:spMk id="70" creationId="{1F5345DF-A3A2-46EB-8A92-02588824AA3B}"/>
          </ac:spMkLst>
        </pc:spChg>
        <pc:grpChg chg="del">
          <ac:chgData name="Aude Van de WIELE" userId="7317e673-04dd-415c-a4d7-718682339b40" providerId="ADAL" clId="{80D4E734-020D-4C1F-A028-1B9E9B483F9A}" dt="2021-05-24T11:52:55.319" v="2852" actId="478"/>
          <ac:grpSpMkLst>
            <pc:docMk/>
            <pc:sldMk cId="3502070692" sldId="5788"/>
            <ac:grpSpMk id="53" creationId="{4C2B11C1-2881-419D-846E-3CA2F34C08FA}"/>
          </ac:grpSpMkLst>
        </pc:grpChg>
        <pc:cxnChg chg="mod">
          <ac:chgData name="Aude Van de WIELE" userId="7317e673-04dd-415c-a4d7-718682339b40" providerId="ADAL" clId="{80D4E734-020D-4C1F-A028-1B9E9B483F9A}" dt="2021-05-24T11:53:03.244" v="2855" actId="1076"/>
          <ac:cxnSpMkLst>
            <pc:docMk/>
            <pc:sldMk cId="3502070692" sldId="5788"/>
            <ac:cxnSpMk id="15" creationId="{41AC842B-81AB-4383-8D12-E9E08CBF61C0}"/>
          </ac:cxnSpMkLst>
        </pc:cxnChg>
        <pc:cxnChg chg="del">
          <ac:chgData name="Aude Van de WIELE" userId="7317e673-04dd-415c-a4d7-718682339b40" providerId="ADAL" clId="{80D4E734-020D-4C1F-A028-1B9E9B483F9A}" dt="2021-05-24T11:52:55.319" v="2852" actId="478"/>
          <ac:cxnSpMkLst>
            <pc:docMk/>
            <pc:sldMk cId="3502070692" sldId="5788"/>
            <ac:cxnSpMk id="51" creationId="{D36858FA-9223-4EE8-8772-B08A4AD8BA39}"/>
          </ac:cxnSpMkLst>
        </pc:cxnChg>
      </pc:sldChg>
      <pc:sldChg chg="delSp modSp mod">
        <pc:chgData name="Aude Van de WIELE" userId="7317e673-04dd-415c-a4d7-718682339b40" providerId="ADAL" clId="{80D4E734-020D-4C1F-A028-1B9E9B483F9A}" dt="2021-05-25T08:49:51.445" v="9757" actId="790"/>
        <pc:sldMkLst>
          <pc:docMk/>
          <pc:sldMk cId="1385106391" sldId="6602"/>
        </pc:sldMkLst>
        <pc:spChg chg="mod">
          <ac:chgData name="Aude Van de WIELE" userId="7317e673-04dd-415c-a4d7-718682339b40" providerId="ADAL" clId="{80D4E734-020D-4C1F-A028-1B9E9B483F9A}" dt="2021-05-25T08:02:28.395" v="6935" actId="14100"/>
          <ac:spMkLst>
            <pc:docMk/>
            <pc:sldMk cId="1385106391" sldId="6602"/>
            <ac:spMk id="2" creationId="{EE2D2B38-049A-4F88-936E-8F374D681503}"/>
          </ac:spMkLst>
        </pc:spChg>
        <pc:spChg chg="mod">
          <ac:chgData name="Aude Van de WIELE" userId="7317e673-04dd-415c-a4d7-718682339b40" providerId="ADAL" clId="{80D4E734-020D-4C1F-A028-1B9E9B483F9A}" dt="2021-05-25T08:49:51.439" v="9750" actId="790"/>
          <ac:spMkLst>
            <pc:docMk/>
            <pc:sldMk cId="1385106391" sldId="6602"/>
            <ac:spMk id="5" creationId="{97D58350-3EF9-4D57-82C8-9D63297400D0}"/>
          </ac:spMkLst>
        </pc:spChg>
        <pc:spChg chg="mod">
          <ac:chgData name="Aude Van de WIELE" userId="7317e673-04dd-415c-a4d7-718682339b40" providerId="ADAL" clId="{80D4E734-020D-4C1F-A028-1B9E9B483F9A}" dt="2021-05-25T08:49:51.434" v="9745" actId="790"/>
          <ac:spMkLst>
            <pc:docMk/>
            <pc:sldMk cId="1385106391" sldId="6602"/>
            <ac:spMk id="12" creationId="{FD1FE920-C1DA-4497-AB6C-B77B29B6E998}"/>
          </ac:spMkLst>
        </pc:spChg>
        <pc:spChg chg="mod">
          <ac:chgData name="Aude Van de WIELE" userId="7317e673-04dd-415c-a4d7-718682339b40" providerId="ADAL" clId="{80D4E734-020D-4C1F-A028-1B9E9B483F9A}" dt="2021-05-25T08:49:51.432" v="9743" actId="790"/>
          <ac:spMkLst>
            <pc:docMk/>
            <pc:sldMk cId="1385106391" sldId="6602"/>
            <ac:spMk id="15" creationId="{9688F0B3-2A9D-4236-9EE1-D71BBA8E0A25}"/>
          </ac:spMkLst>
        </pc:spChg>
        <pc:spChg chg="mod">
          <ac:chgData name="Aude Van de WIELE" userId="7317e673-04dd-415c-a4d7-718682339b40" providerId="ADAL" clId="{80D4E734-020D-4C1F-A028-1B9E9B483F9A}" dt="2021-05-25T08:49:51.416" v="9738" actId="790"/>
          <ac:spMkLst>
            <pc:docMk/>
            <pc:sldMk cId="1385106391" sldId="6602"/>
            <ac:spMk id="19" creationId="{30BDE3E0-96F9-4FE1-9CA3-CF56B7BB82C8}"/>
          </ac:spMkLst>
        </pc:spChg>
        <pc:spChg chg="mod">
          <ac:chgData name="Aude Van de WIELE" userId="7317e673-04dd-415c-a4d7-718682339b40" providerId="ADAL" clId="{80D4E734-020D-4C1F-A028-1B9E9B483F9A}" dt="2021-05-25T08:49:51.422" v="9739" actId="790"/>
          <ac:spMkLst>
            <pc:docMk/>
            <pc:sldMk cId="1385106391" sldId="6602"/>
            <ac:spMk id="21" creationId="{8257AC9F-6E1F-4FE5-BB13-23A55F6EB826}"/>
          </ac:spMkLst>
        </pc:spChg>
        <pc:spChg chg="mod">
          <ac:chgData name="Aude Van de WIELE" userId="7317e673-04dd-415c-a4d7-718682339b40" providerId="ADAL" clId="{80D4E734-020D-4C1F-A028-1B9E9B483F9A}" dt="2021-05-25T08:49:51.434" v="9744" actId="790"/>
          <ac:spMkLst>
            <pc:docMk/>
            <pc:sldMk cId="1385106391" sldId="6602"/>
            <ac:spMk id="25" creationId="{FB26883F-6581-44E3-87AB-C64E72449453}"/>
          </ac:spMkLst>
        </pc:spChg>
        <pc:spChg chg="mod">
          <ac:chgData name="Aude Van de WIELE" userId="7317e673-04dd-415c-a4d7-718682339b40" providerId="ADAL" clId="{80D4E734-020D-4C1F-A028-1B9E9B483F9A}" dt="2021-05-25T08:49:51.435" v="9746" actId="790"/>
          <ac:spMkLst>
            <pc:docMk/>
            <pc:sldMk cId="1385106391" sldId="6602"/>
            <ac:spMk id="26" creationId="{9BA96123-FF6E-4390-B626-0A70E8D1EFF1}"/>
          </ac:spMkLst>
        </pc:spChg>
        <pc:spChg chg="mod">
          <ac:chgData name="Aude Van de WIELE" userId="7317e673-04dd-415c-a4d7-718682339b40" providerId="ADAL" clId="{80D4E734-020D-4C1F-A028-1B9E9B483F9A}" dt="2021-05-25T08:49:51.439" v="9751" actId="790"/>
          <ac:spMkLst>
            <pc:docMk/>
            <pc:sldMk cId="1385106391" sldId="6602"/>
            <ac:spMk id="27" creationId="{82F19599-1F5F-4312-A784-62F0C2515FF7}"/>
          </ac:spMkLst>
        </pc:spChg>
        <pc:spChg chg="del mod">
          <ac:chgData name="Aude Van de WIELE" userId="7317e673-04dd-415c-a4d7-718682339b40" providerId="ADAL" clId="{80D4E734-020D-4C1F-A028-1B9E9B483F9A}" dt="2021-05-25T08:07:28.440" v="6943" actId="478"/>
          <ac:spMkLst>
            <pc:docMk/>
            <pc:sldMk cId="1385106391" sldId="6602"/>
            <ac:spMk id="34" creationId="{593AD6C3-84DC-4EE0-880D-A55A33192114}"/>
          </ac:spMkLst>
        </pc:spChg>
        <pc:spChg chg="mod">
          <ac:chgData name="Aude Van de WIELE" userId="7317e673-04dd-415c-a4d7-718682339b40" providerId="ADAL" clId="{80D4E734-020D-4C1F-A028-1B9E9B483F9A}" dt="2021-05-25T08:49:51.445" v="9757" actId="790"/>
          <ac:spMkLst>
            <pc:docMk/>
            <pc:sldMk cId="1385106391" sldId="6602"/>
            <ac:spMk id="35" creationId="{D051D8B5-8E3F-45CC-9A75-F8D04ECC01E0}"/>
          </ac:spMkLst>
        </pc:spChg>
        <pc:spChg chg="mod">
          <ac:chgData name="Aude Van de WIELE" userId="7317e673-04dd-415c-a4d7-718682339b40" providerId="ADAL" clId="{80D4E734-020D-4C1F-A028-1B9E9B483F9A}" dt="2021-05-25T08:49:51.440" v="9752" actId="790"/>
          <ac:spMkLst>
            <pc:docMk/>
            <pc:sldMk cId="1385106391" sldId="6602"/>
            <ac:spMk id="51" creationId="{A4290E9C-7A91-43C0-B3C4-64F3EB2596F9}"/>
          </ac:spMkLst>
        </pc:spChg>
        <pc:spChg chg="mod">
          <ac:chgData name="Aude Van de WIELE" userId="7317e673-04dd-415c-a4d7-718682339b40" providerId="ADAL" clId="{80D4E734-020D-4C1F-A028-1B9E9B483F9A}" dt="2021-05-25T08:49:51.441" v="9753" actId="790"/>
          <ac:spMkLst>
            <pc:docMk/>
            <pc:sldMk cId="1385106391" sldId="6602"/>
            <ac:spMk id="62" creationId="{46EA29FE-6EE2-426C-8560-3E5CD12771B6}"/>
          </ac:spMkLst>
        </pc:spChg>
        <pc:spChg chg="mod">
          <ac:chgData name="Aude Van de WIELE" userId="7317e673-04dd-415c-a4d7-718682339b40" providerId="ADAL" clId="{80D4E734-020D-4C1F-A028-1B9E9B483F9A}" dt="2021-05-25T08:49:51.442" v="9754" actId="790"/>
          <ac:spMkLst>
            <pc:docMk/>
            <pc:sldMk cId="1385106391" sldId="6602"/>
            <ac:spMk id="63" creationId="{513FF140-30F0-4237-A2EB-7DE66980D5E7}"/>
          </ac:spMkLst>
        </pc:spChg>
        <pc:spChg chg="mod">
          <ac:chgData name="Aude Van de WIELE" userId="7317e673-04dd-415c-a4d7-718682339b40" providerId="ADAL" clId="{80D4E734-020D-4C1F-A028-1B9E9B483F9A}" dt="2021-05-25T08:49:51.443" v="9755" actId="790"/>
          <ac:spMkLst>
            <pc:docMk/>
            <pc:sldMk cId="1385106391" sldId="6602"/>
            <ac:spMk id="64" creationId="{954DCB81-EFB1-4D9E-9CA1-DE7CC23CED6C}"/>
          </ac:spMkLst>
        </pc:spChg>
        <pc:spChg chg="mod">
          <ac:chgData name="Aude Van de WIELE" userId="7317e673-04dd-415c-a4d7-718682339b40" providerId="ADAL" clId="{80D4E734-020D-4C1F-A028-1B9E9B483F9A}" dt="2021-05-25T08:49:51.444" v="9756" actId="790"/>
          <ac:spMkLst>
            <pc:docMk/>
            <pc:sldMk cId="1385106391" sldId="6602"/>
            <ac:spMk id="65" creationId="{4E482DB8-D735-45EF-85FF-E68F08F246FE}"/>
          </ac:spMkLst>
        </pc:spChg>
        <pc:spChg chg="mod">
          <ac:chgData name="Aude Van de WIELE" userId="7317e673-04dd-415c-a4d7-718682339b40" providerId="ADAL" clId="{80D4E734-020D-4C1F-A028-1B9E9B483F9A}" dt="2021-05-25T08:49:51.426" v="9740" actId="790"/>
          <ac:spMkLst>
            <pc:docMk/>
            <pc:sldMk cId="1385106391" sldId="6602"/>
            <ac:spMk id="80" creationId="{5A3D08E6-BF53-4DAE-BD91-13CB1CC966A9}"/>
          </ac:spMkLst>
        </pc:spChg>
        <pc:spChg chg="mod">
          <ac:chgData name="Aude Van de WIELE" userId="7317e673-04dd-415c-a4d7-718682339b40" providerId="ADAL" clId="{80D4E734-020D-4C1F-A028-1B9E9B483F9A}" dt="2021-05-25T08:49:51.436" v="9747" actId="790"/>
          <ac:spMkLst>
            <pc:docMk/>
            <pc:sldMk cId="1385106391" sldId="6602"/>
            <ac:spMk id="81" creationId="{47B1124F-A81C-4C02-B2B0-4B385CE446C3}"/>
          </ac:spMkLst>
        </pc:spChg>
        <pc:spChg chg="mod">
          <ac:chgData name="Aude Van de WIELE" userId="7317e673-04dd-415c-a4d7-718682339b40" providerId="ADAL" clId="{80D4E734-020D-4C1F-A028-1B9E9B483F9A}" dt="2021-05-25T08:49:51.437" v="9748" actId="790"/>
          <ac:spMkLst>
            <pc:docMk/>
            <pc:sldMk cId="1385106391" sldId="6602"/>
            <ac:spMk id="82" creationId="{67A6441B-01A5-48CA-B3D3-9DC5596BA08F}"/>
          </ac:spMkLst>
        </pc:spChg>
        <pc:spChg chg="mod">
          <ac:chgData name="Aude Van de WIELE" userId="7317e673-04dd-415c-a4d7-718682339b40" providerId="ADAL" clId="{80D4E734-020D-4C1F-A028-1B9E9B483F9A}" dt="2021-05-25T08:49:51.438" v="9749" actId="790"/>
          <ac:spMkLst>
            <pc:docMk/>
            <pc:sldMk cId="1385106391" sldId="6602"/>
            <ac:spMk id="83" creationId="{E5812560-E835-4A8F-AFA8-8ADAF3536E85}"/>
          </ac:spMkLst>
        </pc:spChg>
        <pc:spChg chg="mod">
          <ac:chgData name="Aude Van de WIELE" userId="7317e673-04dd-415c-a4d7-718682339b40" providerId="ADAL" clId="{80D4E734-020D-4C1F-A028-1B9E9B483F9A}" dt="2021-05-25T08:49:51.429" v="9741" actId="790"/>
          <ac:spMkLst>
            <pc:docMk/>
            <pc:sldMk cId="1385106391" sldId="6602"/>
            <ac:spMk id="84" creationId="{11B48DDC-87FD-474C-BDDE-06CB62817A11}"/>
          </ac:spMkLst>
        </pc:spChg>
        <pc:spChg chg="mod">
          <ac:chgData name="Aude Van de WIELE" userId="7317e673-04dd-415c-a4d7-718682339b40" providerId="ADAL" clId="{80D4E734-020D-4C1F-A028-1B9E9B483F9A}" dt="2021-05-25T08:49:51.431" v="9742" actId="790"/>
          <ac:spMkLst>
            <pc:docMk/>
            <pc:sldMk cId="1385106391" sldId="6602"/>
            <ac:spMk id="87" creationId="{35825688-3C89-48FE-953E-C78DCC1D23F8}"/>
          </ac:spMkLst>
        </pc:spChg>
        <pc:grpChg chg="mod">
          <ac:chgData name="Aude Van de WIELE" userId="7317e673-04dd-415c-a4d7-718682339b40" providerId="ADAL" clId="{80D4E734-020D-4C1F-A028-1B9E9B483F9A}" dt="2021-05-25T08:01:57.666" v="6930" actId="2711"/>
          <ac:grpSpMkLst>
            <pc:docMk/>
            <pc:sldMk cId="1385106391" sldId="6602"/>
            <ac:grpSpMk id="4" creationId="{11910A0C-400F-4545-9C6B-1A03F08CADC2}"/>
          </ac:grpSpMkLst>
        </pc:grpChg>
        <pc:grpChg chg="mod">
          <ac:chgData name="Aude Van de WIELE" userId="7317e673-04dd-415c-a4d7-718682339b40" providerId="ADAL" clId="{80D4E734-020D-4C1F-A028-1B9E9B483F9A}" dt="2021-05-25T08:01:57.666" v="6930" actId="2711"/>
          <ac:grpSpMkLst>
            <pc:docMk/>
            <pc:sldMk cId="1385106391" sldId="6602"/>
            <ac:grpSpMk id="6" creationId="{17677FC8-61CA-415A-B11C-7964D0BA1EDA}"/>
          </ac:grpSpMkLst>
        </pc:grpChg>
        <pc:picChg chg="del mod">
          <ac:chgData name="Aude Van de WIELE" userId="7317e673-04dd-415c-a4d7-718682339b40" providerId="ADAL" clId="{80D4E734-020D-4C1F-A028-1B9E9B483F9A}" dt="2021-05-25T08:07:28.440" v="6943" actId="478"/>
          <ac:picMkLst>
            <pc:docMk/>
            <pc:sldMk cId="1385106391" sldId="6602"/>
            <ac:picMk id="33" creationId="{14FB0A1C-AAD3-46D1-89D8-D13B89E673DB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12:49:00.983" v="12302" actId="478"/>
        <pc:sldMkLst>
          <pc:docMk/>
          <pc:sldMk cId="990182598" sldId="6698"/>
        </pc:sldMkLst>
        <pc:spChg chg="mod">
          <ac:chgData name="Aude Van de WIELE" userId="7317e673-04dd-415c-a4d7-718682339b40" providerId="ADAL" clId="{80D4E734-020D-4C1F-A028-1B9E9B483F9A}" dt="2021-05-25T08:49:48.096" v="7012" actId="790"/>
          <ac:spMkLst>
            <pc:docMk/>
            <pc:sldMk cId="990182598" sldId="6698"/>
            <ac:spMk id="2" creationId="{EF2498F5-877C-446A-880E-E1B210E69525}"/>
          </ac:spMkLst>
        </pc:spChg>
        <pc:spChg chg="del mod">
          <ac:chgData name="Aude Van de WIELE" userId="7317e673-04dd-415c-a4d7-718682339b40" providerId="ADAL" clId="{80D4E734-020D-4C1F-A028-1B9E9B483F9A}" dt="2021-05-24T15:13:51.448" v="5278" actId="21"/>
          <ac:spMkLst>
            <pc:docMk/>
            <pc:sldMk cId="990182598" sldId="6698"/>
            <ac:spMk id="3" creationId="{32ECC356-98C8-4CD7-8A77-D023CC5A46BE}"/>
          </ac:spMkLst>
        </pc:spChg>
        <pc:spChg chg="mod">
          <ac:chgData name="Aude Van de WIELE" userId="7317e673-04dd-415c-a4d7-718682339b40" providerId="ADAL" clId="{80D4E734-020D-4C1F-A028-1B9E9B483F9A}" dt="2021-05-25T08:49:48.096" v="7013" actId="790"/>
          <ac:spMkLst>
            <pc:docMk/>
            <pc:sldMk cId="990182598" sldId="6698"/>
            <ac:spMk id="4" creationId="{CB718DB5-5559-467F-A0DA-2CF7DE37F0D1}"/>
          </ac:spMkLst>
        </pc:spChg>
        <pc:spChg chg="mod">
          <ac:chgData name="Aude Van de WIELE" userId="7317e673-04dd-415c-a4d7-718682339b40" providerId="ADAL" clId="{80D4E734-020D-4C1F-A028-1B9E9B483F9A}" dt="2021-05-25T08:49:48.097" v="7014" actId="790"/>
          <ac:spMkLst>
            <pc:docMk/>
            <pc:sldMk cId="990182598" sldId="6698"/>
            <ac:spMk id="5" creationId="{66D7E5E2-F6D8-4CD1-9E4C-BA6E4832ECB1}"/>
          </ac:spMkLst>
        </pc:spChg>
        <pc:spChg chg="mod">
          <ac:chgData name="Aude Van de WIELE" userId="7317e673-04dd-415c-a4d7-718682339b40" providerId="ADAL" clId="{80D4E734-020D-4C1F-A028-1B9E9B483F9A}" dt="2021-05-25T08:49:48.098" v="7015" actId="790"/>
          <ac:spMkLst>
            <pc:docMk/>
            <pc:sldMk cId="990182598" sldId="6698"/>
            <ac:spMk id="6" creationId="{8409BC71-E09A-476D-8F8B-B9C1E7F3B761}"/>
          </ac:spMkLst>
        </pc:spChg>
        <pc:spChg chg="mod">
          <ac:chgData name="Aude Van de WIELE" userId="7317e673-04dd-415c-a4d7-718682339b40" providerId="ADAL" clId="{80D4E734-020D-4C1F-A028-1B9E9B483F9A}" dt="2021-05-25T08:49:48.099" v="7016" actId="790"/>
          <ac:spMkLst>
            <pc:docMk/>
            <pc:sldMk cId="990182598" sldId="6698"/>
            <ac:spMk id="8" creationId="{D66A6AF9-248B-41D6-940F-289AF3A39824}"/>
          </ac:spMkLst>
        </pc:spChg>
        <pc:spChg chg="mod">
          <ac:chgData name="Aude Van de WIELE" userId="7317e673-04dd-415c-a4d7-718682339b40" providerId="ADAL" clId="{80D4E734-020D-4C1F-A028-1B9E9B483F9A}" dt="2021-05-25T12:36:46.527" v="11526" actId="20577"/>
          <ac:spMkLst>
            <pc:docMk/>
            <pc:sldMk cId="990182598" sldId="6698"/>
            <ac:spMk id="9" creationId="{E538F6C0-C1A1-4303-86AF-B22F07447549}"/>
          </ac:spMkLst>
        </pc:spChg>
        <pc:spChg chg="mod">
          <ac:chgData name="Aude Van de WIELE" userId="7317e673-04dd-415c-a4d7-718682339b40" providerId="ADAL" clId="{80D4E734-020D-4C1F-A028-1B9E9B483F9A}" dt="2021-05-25T12:37:37.399" v="11635" actId="20577"/>
          <ac:spMkLst>
            <pc:docMk/>
            <pc:sldMk cId="990182598" sldId="6698"/>
            <ac:spMk id="10" creationId="{81259CFA-79AD-4D12-96A5-F00740341C71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12" creationId="{D6BDBE5F-2EC1-438A-8AD8-41BC8BD99AE0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13" creationId="{FAE7D437-ACE1-4F18-B3AA-A6793B00B916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14" creationId="{EBDE63C7-25C0-47F8-8B57-3804ED8C50AC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16" creationId="{1C6F5482-DF56-46D0-AA0E-474856878530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17" creationId="{36D1D236-A137-49FF-A356-C435525D13CC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18" creationId="{17C88137-282A-4DFC-8B2B-DF27D493C328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19" creationId="{98FF1E5F-A1E2-4934-A499-CD7FB757624E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20" creationId="{DB0BC351-9347-44E5-9432-2FB5074E986C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21" creationId="{92B84980-DB97-4945-85A0-65635E87CD41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22" creationId="{44538800-24DF-49CC-847D-A27CAC648DBD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23" creationId="{AFF0084B-6935-45D8-B140-9BFFC66DB89B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24" creationId="{88F0C464-178D-4917-88A6-45107610822D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27" creationId="{E67DBC14-C7B9-4BF4-895F-E9D69589A550}"/>
          </ac:spMkLst>
        </pc:spChg>
        <pc:spChg chg="mod">
          <ac:chgData name="Aude Van de WIELE" userId="7317e673-04dd-415c-a4d7-718682339b40" providerId="ADAL" clId="{80D4E734-020D-4C1F-A028-1B9E9B483F9A}" dt="2021-05-25T08:49:48.102" v="7022" actId="790"/>
          <ac:spMkLst>
            <pc:docMk/>
            <pc:sldMk cId="990182598" sldId="6698"/>
            <ac:spMk id="28" creationId="{7777DC2C-56F7-4A75-B50C-72EFED78B76E}"/>
          </ac:spMkLst>
        </pc:spChg>
        <pc:spChg chg="mod">
          <ac:chgData name="Aude Van de WIELE" userId="7317e673-04dd-415c-a4d7-718682339b40" providerId="ADAL" clId="{80D4E734-020D-4C1F-A028-1B9E9B483F9A}" dt="2021-05-25T08:49:48.102" v="7023" actId="790"/>
          <ac:spMkLst>
            <pc:docMk/>
            <pc:sldMk cId="990182598" sldId="6698"/>
            <ac:spMk id="29" creationId="{15863018-612D-48F3-8E22-BBA8251E97A9}"/>
          </ac:spMkLst>
        </pc:spChg>
        <pc:spChg chg="mod">
          <ac:chgData name="Aude Van de WIELE" userId="7317e673-04dd-415c-a4d7-718682339b40" providerId="ADAL" clId="{80D4E734-020D-4C1F-A028-1B9E9B483F9A}" dt="2021-05-25T08:49:48.105" v="7024" actId="790"/>
          <ac:spMkLst>
            <pc:docMk/>
            <pc:sldMk cId="990182598" sldId="6698"/>
            <ac:spMk id="30" creationId="{F8930804-5FDC-4893-8E81-C3B6EC3A8C43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31" creationId="{6E9285BE-D9AF-4D22-AD9B-01A739ED5A9E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32" creationId="{B7DC5ECE-15BF-4B04-9297-1F8E623AAA71}"/>
          </ac:spMkLst>
        </pc:spChg>
        <pc:spChg chg="mod">
          <ac:chgData name="Aude Van de WIELE" userId="7317e673-04dd-415c-a4d7-718682339b40" providerId="ADAL" clId="{80D4E734-020D-4C1F-A028-1B9E9B483F9A}" dt="2021-05-25T12:47:17.052" v="11990" actId="20577"/>
          <ac:spMkLst>
            <pc:docMk/>
            <pc:sldMk cId="990182598" sldId="6698"/>
            <ac:spMk id="33" creationId="{5F7A1659-5F5C-4AE3-BA70-1FF90045628A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33" creationId="{E5332B13-9C76-4384-A3DC-23954B1FC898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34" creationId="{301C649F-C3F2-4E28-A98F-2040D2ED0BAB}"/>
          </ac:spMkLst>
        </pc:spChg>
        <pc:spChg chg="mod">
          <ac:chgData name="Aude Van de WIELE" userId="7317e673-04dd-415c-a4d7-718682339b40" providerId="ADAL" clId="{80D4E734-020D-4C1F-A028-1B9E9B483F9A}" dt="2021-05-25T12:47:31.070" v="11992" actId="20577"/>
          <ac:spMkLst>
            <pc:docMk/>
            <pc:sldMk cId="990182598" sldId="6698"/>
            <ac:spMk id="34" creationId="{584D0FC5-E262-4974-A406-E202CFA26BF5}"/>
          </ac:spMkLst>
        </pc:spChg>
        <pc:spChg chg="del">
          <ac:chgData name="Aude Van de WIELE" userId="7317e673-04dd-415c-a4d7-718682339b40" providerId="ADAL" clId="{80D4E734-020D-4C1F-A028-1B9E9B483F9A}" dt="2021-05-24T14:19:30.225" v="4759" actId="478"/>
          <ac:spMkLst>
            <pc:docMk/>
            <pc:sldMk cId="990182598" sldId="6698"/>
            <ac:spMk id="35" creationId="{210E43A0-6F12-46D6-9BFB-69657B83383B}"/>
          </ac:spMkLst>
        </pc:spChg>
        <pc:spChg chg="del">
          <ac:chgData name="Aude Van de WIELE" userId="7317e673-04dd-415c-a4d7-718682339b40" providerId="ADAL" clId="{80D4E734-020D-4C1F-A028-1B9E9B483F9A}" dt="2021-05-25T12:47:23.827" v="11991" actId="478"/>
          <ac:spMkLst>
            <pc:docMk/>
            <pc:sldMk cId="990182598" sldId="6698"/>
            <ac:spMk id="35" creationId="{66E9D8F4-1C54-4FE6-BAA6-6620DB81E2C4}"/>
          </ac:spMkLst>
        </pc:spChg>
        <pc:spChg chg="mod">
          <ac:chgData name="Aude Van de WIELE" userId="7317e673-04dd-415c-a4d7-718682339b40" providerId="ADAL" clId="{80D4E734-020D-4C1F-A028-1B9E9B483F9A}" dt="2021-05-25T08:49:48.106" v="7025" actId="790"/>
          <ac:spMkLst>
            <pc:docMk/>
            <pc:sldMk cId="990182598" sldId="6698"/>
            <ac:spMk id="36" creationId="{8CB92FE7-E5D8-41A4-B988-EF32549C8205}"/>
          </ac:spMkLst>
        </pc:spChg>
        <pc:spChg chg="mod">
          <ac:chgData name="Aude Van de WIELE" userId="7317e673-04dd-415c-a4d7-718682339b40" providerId="ADAL" clId="{80D4E734-020D-4C1F-A028-1B9E9B483F9A}" dt="2021-05-25T08:49:48.106" v="7026" actId="790"/>
          <ac:spMkLst>
            <pc:docMk/>
            <pc:sldMk cId="990182598" sldId="6698"/>
            <ac:spMk id="37" creationId="{C6AEEC41-30BE-4E36-A252-6237D6B480CD}"/>
          </ac:spMkLst>
        </pc:spChg>
        <pc:spChg chg="mod">
          <ac:chgData name="Aude Van de WIELE" userId="7317e673-04dd-415c-a4d7-718682339b40" providerId="ADAL" clId="{80D4E734-020D-4C1F-A028-1B9E9B483F9A}" dt="2021-05-25T08:49:48.107" v="7027" actId="790"/>
          <ac:spMkLst>
            <pc:docMk/>
            <pc:sldMk cId="990182598" sldId="6698"/>
            <ac:spMk id="38" creationId="{DEC90A7F-F3A2-47A7-97E7-3E3DC1DD4FCF}"/>
          </ac:spMkLst>
        </pc:spChg>
        <pc:spChg chg="del">
          <ac:chgData name="Aude Van de WIELE" userId="7317e673-04dd-415c-a4d7-718682339b40" providerId="ADAL" clId="{80D4E734-020D-4C1F-A028-1B9E9B483F9A}" dt="2021-05-25T12:47:23.827" v="11991" actId="478"/>
          <ac:spMkLst>
            <pc:docMk/>
            <pc:sldMk cId="990182598" sldId="6698"/>
            <ac:spMk id="39" creationId="{4DB0952B-3150-4DDC-8F21-086193D990C0}"/>
          </ac:spMkLst>
        </pc:spChg>
        <pc:spChg chg="del">
          <ac:chgData name="Aude Van de WIELE" userId="7317e673-04dd-415c-a4d7-718682339b40" providerId="ADAL" clId="{80D4E734-020D-4C1F-A028-1B9E9B483F9A}" dt="2021-05-25T12:47:23.827" v="11991" actId="478"/>
          <ac:spMkLst>
            <pc:docMk/>
            <pc:sldMk cId="990182598" sldId="6698"/>
            <ac:spMk id="40" creationId="{CB2B9714-F24A-49CE-AEEF-6FD02AB965C5}"/>
          </ac:spMkLst>
        </pc:spChg>
        <pc:spChg chg="mod">
          <ac:chgData name="Aude Van de WIELE" userId="7317e673-04dd-415c-a4d7-718682339b40" providerId="ADAL" clId="{80D4E734-020D-4C1F-A028-1B9E9B483F9A}" dt="2021-05-25T08:49:48.109" v="7028" actId="790"/>
          <ac:spMkLst>
            <pc:docMk/>
            <pc:sldMk cId="990182598" sldId="6698"/>
            <ac:spMk id="42" creationId="{21A10AF6-89F4-4DA8-AC44-170C6C9E5856}"/>
          </ac:spMkLst>
        </pc:spChg>
        <pc:spChg chg="mod">
          <ac:chgData name="Aude Van de WIELE" userId="7317e673-04dd-415c-a4d7-718682339b40" providerId="ADAL" clId="{80D4E734-020D-4C1F-A028-1B9E9B483F9A}" dt="2021-05-25T08:49:48.109" v="7029" actId="790"/>
          <ac:spMkLst>
            <pc:docMk/>
            <pc:sldMk cId="990182598" sldId="6698"/>
            <ac:spMk id="43" creationId="{17EDA2E0-110B-442F-911F-B8D10AB63B2E}"/>
          </ac:spMkLst>
        </pc:spChg>
        <pc:spChg chg="mod">
          <ac:chgData name="Aude Van de WIELE" userId="7317e673-04dd-415c-a4d7-718682339b40" providerId="ADAL" clId="{80D4E734-020D-4C1F-A028-1B9E9B483F9A}" dt="2021-05-25T12:46:40.695" v="11952" actId="207"/>
          <ac:spMkLst>
            <pc:docMk/>
            <pc:sldMk cId="990182598" sldId="6698"/>
            <ac:spMk id="44" creationId="{10A4AF48-EF50-4F85-AE20-C3B66CF088C4}"/>
          </ac:spMkLst>
        </pc:spChg>
        <pc:spChg chg="mod">
          <ac:chgData name="Aude Van de WIELE" userId="7317e673-04dd-415c-a4d7-718682339b40" providerId="ADAL" clId="{80D4E734-020D-4C1F-A028-1B9E9B483F9A}" dt="2021-05-25T08:49:48.111" v="7031" actId="790"/>
          <ac:spMkLst>
            <pc:docMk/>
            <pc:sldMk cId="990182598" sldId="6698"/>
            <ac:spMk id="45" creationId="{C1D8EA0F-A684-445D-852B-345CD83FAF4A}"/>
          </ac:spMkLst>
        </pc:spChg>
        <pc:spChg chg="mod">
          <ac:chgData name="Aude Van de WIELE" userId="7317e673-04dd-415c-a4d7-718682339b40" providerId="ADAL" clId="{80D4E734-020D-4C1F-A028-1B9E9B483F9A}" dt="2021-05-25T08:49:48.111" v="7032" actId="790"/>
          <ac:spMkLst>
            <pc:docMk/>
            <pc:sldMk cId="990182598" sldId="6698"/>
            <ac:spMk id="46" creationId="{CABC735E-A0E5-44B7-81CA-4F351EF9F050}"/>
          </ac:spMkLst>
        </pc:spChg>
        <pc:spChg chg="mod">
          <ac:chgData name="Aude Van de WIELE" userId="7317e673-04dd-415c-a4d7-718682339b40" providerId="ADAL" clId="{80D4E734-020D-4C1F-A028-1B9E9B483F9A}" dt="2021-05-25T08:49:48.112" v="7033" actId="790"/>
          <ac:spMkLst>
            <pc:docMk/>
            <pc:sldMk cId="990182598" sldId="6698"/>
            <ac:spMk id="47" creationId="{803EE2E9-E271-4CD9-A494-FACE270F179E}"/>
          </ac:spMkLst>
        </pc:spChg>
        <pc:spChg chg="add mod">
          <ac:chgData name="Aude Van de WIELE" userId="7317e673-04dd-415c-a4d7-718682339b40" providerId="ADAL" clId="{80D4E734-020D-4C1F-A028-1B9E9B483F9A}" dt="2021-05-25T08:49:48.113" v="7034" actId="790"/>
          <ac:spMkLst>
            <pc:docMk/>
            <pc:sldMk cId="990182598" sldId="6698"/>
            <ac:spMk id="48" creationId="{C7C3F071-26CB-4F08-9CED-97C7698D30BF}"/>
          </ac:spMkLst>
        </pc:spChg>
        <pc:spChg chg="add mod">
          <ac:chgData name="Aude Van de WIELE" userId="7317e673-04dd-415c-a4d7-718682339b40" providerId="ADAL" clId="{80D4E734-020D-4C1F-A028-1B9E9B483F9A}" dt="2021-05-25T12:39:06.677" v="11695" actId="20577"/>
          <ac:spMkLst>
            <pc:docMk/>
            <pc:sldMk cId="990182598" sldId="6698"/>
            <ac:spMk id="49" creationId="{073A6D66-B62C-4727-9AE2-691BDFAD7BA8}"/>
          </ac:spMkLst>
        </pc:spChg>
        <pc:spChg chg="add mod">
          <ac:chgData name="Aude Van de WIELE" userId="7317e673-04dd-415c-a4d7-718682339b40" providerId="ADAL" clId="{80D4E734-020D-4C1F-A028-1B9E9B483F9A}" dt="2021-05-25T12:44:12.228" v="11862" actId="20577"/>
          <ac:spMkLst>
            <pc:docMk/>
            <pc:sldMk cId="990182598" sldId="6698"/>
            <ac:spMk id="50" creationId="{22FD2612-8A28-4DFD-8887-ACAC783C1714}"/>
          </ac:spMkLst>
        </pc:spChg>
        <pc:spChg chg="add mod">
          <ac:chgData name="Aude Van de WIELE" userId="7317e673-04dd-415c-a4d7-718682339b40" providerId="ADAL" clId="{80D4E734-020D-4C1F-A028-1B9E9B483F9A}" dt="2021-05-25T08:49:48.115" v="7037" actId="790"/>
          <ac:spMkLst>
            <pc:docMk/>
            <pc:sldMk cId="990182598" sldId="6698"/>
            <ac:spMk id="51" creationId="{20782AA8-B0B8-4114-BAE2-48FF78B565A4}"/>
          </ac:spMkLst>
        </pc:spChg>
        <pc:spChg chg="add mod">
          <ac:chgData name="Aude Van de WIELE" userId="7317e673-04dd-415c-a4d7-718682339b40" providerId="ADAL" clId="{80D4E734-020D-4C1F-A028-1B9E9B483F9A}" dt="2021-05-25T12:47:04.101" v="11973" actId="114"/>
          <ac:spMkLst>
            <pc:docMk/>
            <pc:sldMk cId="990182598" sldId="6698"/>
            <ac:spMk id="52" creationId="{D11A7283-E4B1-418D-83B3-3F4FD0C037B4}"/>
          </ac:spMkLst>
        </pc:spChg>
        <pc:spChg chg="add mod">
          <ac:chgData name="Aude Van de WIELE" userId="7317e673-04dd-415c-a4d7-718682339b40" providerId="ADAL" clId="{80D4E734-020D-4C1F-A028-1B9E9B483F9A}" dt="2021-05-25T12:46:45.098" v="11968" actId="20577"/>
          <ac:spMkLst>
            <pc:docMk/>
            <pc:sldMk cId="990182598" sldId="6698"/>
            <ac:spMk id="53" creationId="{EDA30FC2-7439-417B-92CB-BD69D883C8BB}"/>
          </ac:spMkLst>
        </pc:spChg>
        <pc:spChg chg="add del mod">
          <ac:chgData name="Aude Van de WIELE" userId="7317e673-04dd-415c-a4d7-718682339b40" providerId="ADAL" clId="{80D4E734-020D-4C1F-A028-1B9E9B483F9A}" dt="2021-05-25T12:49:00.983" v="12302" actId="478"/>
          <ac:spMkLst>
            <pc:docMk/>
            <pc:sldMk cId="990182598" sldId="6698"/>
            <ac:spMk id="54" creationId="{79230EA9-8216-4C68-BB57-34D6DBAA8DAE}"/>
          </ac:spMkLst>
        </pc:spChg>
        <pc:spChg chg="mod">
          <ac:chgData name="Aude Van de WIELE" userId="7317e673-04dd-415c-a4d7-718682339b40" providerId="ADAL" clId="{80D4E734-020D-4C1F-A028-1B9E9B483F9A}" dt="2021-05-25T12:00:27.811" v="11333" actId="20577"/>
          <ac:spMkLst>
            <pc:docMk/>
            <pc:sldMk cId="990182598" sldId="6698"/>
            <ac:spMk id="55" creationId="{CCAAEDDA-021D-4A00-97A5-F63ED7BB258D}"/>
          </ac:spMkLst>
        </pc:spChg>
        <pc:spChg chg="mod">
          <ac:chgData name="Aude Van de WIELE" userId="7317e673-04dd-415c-a4d7-718682339b40" providerId="ADAL" clId="{80D4E734-020D-4C1F-A028-1B9E9B483F9A}" dt="2021-05-25T08:49:48.100" v="7019" actId="790"/>
          <ac:spMkLst>
            <pc:docMk/>
            <pc:sldMk cId="990182598" sldId="6698"/>
            <ac:spMk id="56" creationId="{27893590-1F59-43C2-9C0C-0120C309BA8A}"/>
          </ac:spMkLst>
        </pc:spChg>
        <pc:spChg chg="mod">
          <ac:chgData name="Aude Van de WIELE" userId="7317e673-04dd-415c-a4d7-718682339b40" providerId="ADAL" clId="{80D4E734-020D-4C1F-A028-1B9E9B483F9A}" dt="2021-05-25T12:39:14.995" v="11706" actId="20577"/>
          <ac:spMkLst>
            <pc:docMk/>
            <pc:sldMk cId="990182598" sldId="6698"/>
            <ac:spMk id="57" creationId="{CE631BE4-AB26-45EF-8883-741069A2DDB6}"/>
          </ac:spMkLst>
        </pc:spChg>
        <pc:spChg chg="mod">
          <ac:chgData name="Aude Van de WIELE" userId="7317e673-04dd-415c-a4d7-718682339b40" providerId="ADAL" clId="{80D4E734-020D-4C1F-A028-1B9E9B483F9A}" dt="2021-05-25T12:44:13.122" v="11863" actId="20577"/>
          <ac:spMkLst>
            <pc:docMk/>
            <pc:sldMk cId="990182598" sldId="6698"/>
            <ac:spMk id="58" creationId="{DDA40389-1778-47B0-A0F2-FC90D736D7D2}"/>
          </ac:spMkLst>
        </pc:spChg>
        <pc:spChg chg="mod">
          <ac:chgData name="Aude Van de WIELE" userId="7317e673-04dd-415c-a4d7-718682339b40" providerId="ADAL" clId="{80D4E734-020D-4C1F-A028-1B9E9B483F9A}" dt="2021-05-25T12:48:28.683" v="12173" actId="20577"/>
          <ac:spMkLst>
            <pc:docMk/>
            <pc:sldMk cId="990182598" sldId="6698"/>
            <ac:spMk id="59" creationId="{965BC9B1-B429-4170-B5F6-B2CD96B6CA11}"/>
          </ac:spMkLst>
        </pc:spChg>
        <pc:spChg chg="mod">
          <ac:chgData name="Aude Van de WIELE" userId="7317e673-04dd-415c-a4d7-718682339b40" providerId="ADAL" clId="{80D4E734-020D-4C1F-A028-1B9E9B483F9A}" dt="2021-05-25T12:00:19.113" v="11297" actId="20577"/>
          <ac:spMkLst>
            <pc:docMk/>
            <pc:sldMk cId="990182598" sldId="6698"/>
            <ac:spMk id="61" creationId="{CCE2DDAF-0021-4B78-A396-6AC6179A8B52}"/>
          </ac:spMkLst>
        </pc:spChg>
        <pc:spChg chg="mod">
          <ac:chgData name="Aude Van de WIELE" userId="7317e673-04dd-415c-a4d7-718682339b40" providerId="ADAL" clId="{80D4E734-020D-4C1F-A028-1B9E9B483F9A}" dt="2021-05-25T12:48:58.277" v="12301" actId="20577"/>
          <ac:spMkLst>
            <pc:docMk/>
            <pc:sldMk cId="990182598" sldId="6698"/>
            <ac:spMk id="62" creationId="{8E2507AD-32B2-417D-AAF6-12E72512B916}"/>
          </ac:spMkLst>
        </pc:spChg>
        <pc:spChg chg="mod">
          <ac:chgData name="Aude Van de WIELE" userId="7317e673-04dd-415c-a4d7-718682339b40" providerId="ADAL" clId="{80D4E734-020D-4C1F-A028-1B9E9B483F9A}" dt="2021-05-25T12:42:12.124" v="11750" actId="20577"/>
          <ac:spMkLst>
            <pc:docMk/>
            <pc:sldMk cId="990182598" sldId="6698"/>
            <ac:spMk id="64" creationId="{1F408666-62CF-4F7F-B76F-AF4EDC436FDE}"/>
          </ac:spMkLst>
        </pc:spChg>
        <pc:spChg chg="mod">
          <ac:chgData name="Aude Van de WIELE" userId="7317e673-04dd-415c-a4d7-718682339b40" providerId="ADAL" clId="{80D4E734-020D-4C1F-A028-1B9E9B483F9A}" dt="2021-05-25T12:42:51.184" v="11861" actId="20577"/>
          <ac:spMkLst>
            <pc:docMk/>
            <pc:sldMk cId="990182598" sldId="6698"/>
            <ac:spMk id="65" creationId="{5B754191-73C8-4BF5-A8EF-611A56EF3C03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13:31:40.156" v="12764" actId="404"/>
        <pc:sldMkLst>
          <pc:docMk/>
          <pc:sldMk cId="740701424" sldId="6959"/>
        </pc:sldMkLst>
        <pc:spChg chg="mod">
          <ac:chgData name="Aude Van de WIELE" userId="7317e673-04dd-415c-a4d7-718682339b40" providerId="ADAL" clId="{80D4E734-020D-4C1F-A028-1B9E9B483F9A}" dt="2021-05-25T13:27:49.469" v="12745"/>
          <ac:spMkLst>
            <pc:docMk/>
            <pc:sldMk cId="740701424" sldId="6959"/>
            <ac:spMk id="7" creationId="{F59BFDDC-63FF-4CDF-9FA9-5814668C648B}"/>
          </ac:spMkLst>
        </pc:spChg>
        <pc:spChg chg="mod">
          <ac:chgData name="Aude Van de WIELE" userId="7317e673-04dd-415c-a4d7-718682339b40" providerId="ADAL" clId="{80D4E734-020D-4C1F-A028-1B9E9B483F9A}" dt="2021-05-25T08:49:51.323" v="9669" actId="790"/>
          <ac:spMkLst>
            <pc:docMk/>
            <pc:sldMk cId="740701424" sldId="6959"/>
            <ac:spMk id="9" creationId="{49F50324-8FE3-49D2-AC0C-64BB9668D89C}"/>
          </ac:spMkLst>
        </pc:spChg>
        <pc:spChg chg="mod">
          <ac:chgData name="Aude Van de WIELE" userId="7317e673-04dd-415c-a4d7-718682339b40" providerId="ADAL" clId="{80D4E734-020D-4C1F-A028-1B9E9B483F9A}" dt="2021-05-25T08:49:51.325" v="9670" actId="790"/>
          <ac:spMkLst>
            <pc:docMk/>
            <pc:sldMk cId="740701424" sldId="6959"/>
            <ac:spMk id="17" creationId="{18E4EC05-2AF6-4906-B53C-3312003D909B}"/>
          </ac:spMkLst>
        </pc:spChg>
        <pc:spChg chg="mod">
          <ac:chgData name="Aude Van de WIELE" userId="7317e673-04dd-415c-a4d7-718682339b40" providerId="ADAL" clId="{80D4E734-020D-4C1F-A028-1B9E9B483F9A}" dt="2021-05-25T08:49:51.326" v="9671" actId="790"/>
          <ac:spMkLst>
            <pc:docMk/>
            <pc:sldMk cId="740701424" sldId="6959"/>
            <ac:spMk id="20" creationId="{F4497158-D34C-4419-B3D0-F17C1F7D7709}"/>
          </ac:spMkLst>
        </pc:spChg>
        <pc:spChg chg="mod">
          <ac:chgData name="Aude Van de WIELE" userId="7317e673-04dd-415c-a4d7-718682339b40" providerId="ADAL" clId="{80D4E734-020D-4C1F-A028-1B9E9B483F9A}" dt="2021-05-25T13:28:03.774" v="12746" actId="1035"/>
          <ac:spMkLst>
            <pc:docMk/>
            <pc:sldMk cId="740701424" sldId="6959"/>
            <ac:spMk id="21" creationId="{C08B3B04-74BD-4387-A846-860B933AEE15}"/>
          </ac:spMkLst>
        </pc:spChg>
        <pc:spChg chg="mod">
          <ac:chgData name="Aude Van de WIELE" userId="7317e673-04dd-415c-a4d7-718682339b40" providerId="ADAL" clId="{80D4E734-020D-4C1F-A028-1B9E9B483F9A}" dt="2021-05-25T08:49:51.327" v="9673" actId="790"/>
          <ac:spMkLst>
            <pc:docMk/>
            <pc:sldMk cId="740701424" sldId="6959"/>
            <ac:spMk id="26" creationId="{6CF5A286-62AE-4EAD-96EE-EA84E93052E2}"/>
          </ac:spMkLst>
        </pc:spChg>
        <pc:spChg chg="mod">
          <ac:chgData name="Aude Van de WIELE" userId="7317e673-04dd-415c-a4d7-718682339b40" providerId="ADAL" clId="{80D4E734-020D-4C1F-A028-1B9E9B483F9A}" dt="2021-05-25T08:49:51.329" v="9674" actId="790"/>
          <ac:spMkLst>
            <pc:docMk/>
            <pc:sldMk cId="740701424" sldId="6959"/>
            <ac:spMk id="29" creationId="{424718BD-FEEC-42C2-BA94-3948DB62C7BC}"/>
          </ac:spMkLst>
        </pc:spChg>
        <pc:spChg chg="mod">
          <ac:chgData name="Aude Van de WIELE" userId="7317e673-04dd-415c-a4d7-718682339b40" providerId="ADAL" clId="{80D4E734-020D-4C1F-A028-1B9E9B483F9A}" dt="2021-05-25T13:28:03.774" v="12746" actId="1035"/>
          <ac:spMkLst>
            <pc:docMk/>
            <pc:sldMk cId="740701424" sldId="6959"/>
            <ac:spMk id="30" creationId="{F6963B07-4E20-4979-920A-F73372DEAA03}"/>
          </ac:spMkLst>
        </pc:spChg>
        <pc:spChg chg="mod">
          <ac:chgData name="Aude Van de WIELE" userId="7317e673-04dd-415c-a4d7-718682339b40" providerId="ADAL" clId="{80D4E734-020D-4C1F-A028-1B9E9B483F9A}" dt="2021-05-25T08:49:51.331" v="9676" actId="790"/>
          <ac:spMkLst>
            <pc:docMk/>
            <pc:sldMk cId="740701424" sldId="6959"/>
            <ac:spMk id="32" creationId="{C13EEF92-6C77-4133-9353-B4FBF57D95B4}"/>
          </ac:spMkLst>
        </pc:spChg>
        <pc:spChg chg="mod">
          <ac:chgData name="Aude Van de WIELE" userId="7317e673-04dd-415c-a4d7-718682339b40" providerId="ADAL" clId="{80D4E734-020D-4C1F-A028-1B9E9B483F9A}" dt="2021-05-25T08:49:51.334" v="9677" actId="790"/>
          <ac:spMkLst>
            <pc:docMk/>
            <pc:sldMk cId="740701424" sldId="6959"/>
            <ac:spMk id="33" creationId="{044C515C-AB92-4EFF-B0C5-B157114ACC30}"/>
          </ac:spMkLst>
        </pc:spChg>
        <pc:spChg chg="mod">
          <ac:chgData name="Aude Van de WIELE" userId="7317e673-04dd-415c-a4d7-718682339b40" providerId="ADAL" clId="{80D4E734-020D-4C1F-A028-1B9E9B483F9A}" dt="2021-05-25T13:28:03.774" v="12746" actId="1035"/>
          <ac:spMkLst>
            <pc:docMk/>
            <pc:sldMk cId="740701424" sldId="6959"/>
            <ac:spMk id="34" creationId="{95747EA9-B0FD-4326-B394-D81C6A6378A6}"/>
          </ac:spMkLst>
        </pc:spChg>
        <pc:spChg chg="mod">
          <ac:chgData name="Aude Van de WIELE" userId="7317e673-04dd-415c-a4d7-718682339b40" providerId="ADAL" clId="{80D4E734-020D-4C1F-A028-1B9E9B483F9A}" dt="2021-05-25T13:31:40.156" v="12764" actId="404"/>
          <ac:spMkLst>
            <pc:docMk/>
            <pc:sldMk cId="740701424" sldId="6959"/>
            <ac:spMk id="36" creationId="{93A41892-9175-4003-9FFE-2BD4CC56AE96}"/>
          </ac:spMkLst>
        </pc:spChg>
        <pc:spChg chg="mod">
          <ac:chgData name="Aude Van de WIELE" userId="7317e673-04dd-415c-a4d7-718682339b40" providerId="ADAL" clId="{80D4E734-020D-4C1F-A028-1B9E9B483F9A}" dt="2021-05-25T08:49:51.338" v="9680" actId="790"/>
          <ac:spMkLst>
            <pc:docMk/>
            <pc:sldMk cId="740701424" sldId="6959"/>
            <ac:spMk id="38" creationId="{DED28D0A-D139-4A93-95E1-E1BD7899482F}"/>
          </ac:spMkLst>
        </pc:spChg>
        <pc:spChg chg="mod">
          <ac:chgData name="Aude Van de WIELE" userId="7317e673-04dd-415c-a4d7-718682339b40" providerId="ADAL" clId="{80D4E734-020D-4C1F-A028-1B9E9B483F9A}" dt="2021-05-25T08:49:51.349" v="9693" actId="790"/>
          <ac:spMkLst>
            <pc:docMk/>
            <pc:sldMk cId="740701424" sldId="6959"/>
            <ac:spMk id="40" creationId="{8B78A48D-A92E-4D2A-B97F-61F5808A1067}"/>
          </ac:spMkLst>
        </pc:spChg>
        <pc:spChg chg="add del mod">
          <ac:chgData name="Aude Van de WIELE" userId="7317e673-04dd-415c-a4d7-718682339b40" providerId="ADAL" clId="{80D4E734-020D-4C1F-A028-1B9E9B483F9A}" dt="2021-05-24T15:33:27.225" v="5851"/>
          <ac:spMkLst>
            <pc:docMk/>
            <pc:sldMk cId="740701424" sldId="6959"/>
            <ac:spMk id="41" creationId="{54B256F7-EAD7-40DD-A2B3-669043AED7B4}"/>
          </ac:spMkLst>
        </pc:spChg>
        <pc:spChg chg="mod">
          <ac:chgData name="Aude Van de WIELE" userId="7317e673-04dd-415c-a4d7-718682339b40" providerId="ADAL" clId="{80D4E734-020D-4C1F-A028-1B9E9B483F9A}" dt="2021-05-25T08:49:51.339" v="9681" actId="790"/>
          <ac:spMkLst>
            <pc:docMk/>
            <pc:sldMk cId="740701424" sldId="6959"/>
            <ac:spMk id="42" creationId="{AA014D92-B2A7-4508-93BA-2C0134CC9621}"/>
          </ac:spMkLst>
        </pc:spChg>
        <pc:spChg chg="mod">
          <ac:chgData name="Aude Van de WIELE" userId="7317e673-04dd-415c-a4d7-718682339b40" providerId="ADAL" clId="{80D4E734-020D-4C1F-A028-1B9E9B483F9A}" dt="2021-05-25T08:49:51.340" v="9682" actId="790"/>
          <ac:spMkLst>
            <pc:docMk/>
            <pc:sldMk cId="740701424" sldId="6959"/>
            <ac:spMk id="43" creationId="{F14F51AA-0542-42F6-8057-9788E1A01863}"/>
          </ac:spMkLst>
        </pc:spChg>
        <pc:spChg chg="add del mod">
          <ac:chgData name="Aude Van de WIELE" userId="7317e673-04dd-415c-a4d7-718682339b40" providerId="ADAL" clId="{80D4E734-020D-4C1F-A028-1B9E9B483F9A}" dt="2021-05-24T15:33:43.309" v="5859"/>
          <ac:spMkLst>
            <pc:docMk/>
            <pc:sldMk cId="740701424" sldId="6959"/>
            <ac:spMk id="44" creationId="{C2DCF903-271F-46E2-ADEA-A60CEEF8745F}"/>
          </ac:spMkLst>
        </pc:spChg>
        <pc:spChg chg="del mod">
          <ac:chgData name="Aude Van de WIELE" userId="7317e673-04dd-415c-a4d7-718682339b40" providerId="ADAL" clId="{80D4E734-020D-4C1F-A028-1B9E9B483F9A}" dt="2021-05-24T15:33:25.149" v="5849" actId="21"/>
          <ac:spMkLst>
            <pc:docMk/>
            <pc:sldMk cId="740701424" sldId="6959"/>
            <ac:spMk id="46" creationId="{D0732B73-36A8-44AB-AD72-5BBDE284D010}"/>
          </ac:spMkLst>
        </pc:spChg>
        <pc:spChg chg="mod">
          <ac:chgData name="Aude Van de WIELE" userId="7317e673-04dd-415c-a4d7-718682339b40" providerId="ADAL" clId="{80D4E734-020D-4C1F-A028-1B9E9B483F9A}" dt="2021-05-25T08:49:51.341" v="9683" actId="790"/>
          <ac:spMkLst>
            <pc:docMk/>
            <pc:sldMk cId="740701424" sldId="6959"/>
            <ac:spMk id="54" creationId="{38B7306C-C51D-4644-865B-6AE19B24B543}"/>
          </ac:spMkLst>
        </pc:spChg>
        <pc:spChg chg="mod">
          <ac:chgData name="Aude Van de WIELE" userId="7317e673-04dd-415c-a4d7-718682339b40" providerId="ADAL" clId="{80D4E734-020D-4C1F-A028-1B9E9B483F9A}" dt="2021-05-25T08:49:51.342" v="9684" actId="790"/>
          <ac:spMkLst>
            <pc:docMk/>
            <pc:sldMk cId="740701424" sldId="6959"/>
            <ac:spMk id="55" creationId="{BB50F5C0-B75D-439C-9D59-F4F6D679A946}"/>
          </ac:spMkLst>
        </pc:spChg>
        <pc:spChg chg="mod">
          <ac:chgData name="Aude Van de WIELE" userId="7317e673-04dd-415c-a4d7-718682339b40" providerId="ADAL" clId="{80D4E734-020D-4C1F-A028-1B9E9B483F9A}" dt="2021-05-25T08:49:51.343" v="9685" actId="790"/>
          <ac:spMkLst>
            <pc:docMk/>
            <pc:sldMk cId="740701424" sldId="6959"/>
            <ac:spMk id="57" creationId="{E0F76770-D097-4940-99DE-18677AF56B89}"/>
          </ac:spMkLst>
        </pc:spChg>
        <pc:spChg chg="mod">
          <ac:chgData name="Aude Van de WIELE" userId="7317e673-04dd-415c-a4d7-718682339b40" providerId="ADAL" clId="{80D4E734-020D-4C1F-A028-1B9E9B483F9A}" dt="2021-05-25T08:49:51.344" v="9686" actId="790"/>
          <ac:spMkLst>
            <pc:docMk/>
            <pc:sldMk cId="740701424" sldId="6959"/>
            <ac:spMk id="58" creationId="{BA0537E7-3AFE-415D-B637-E3A80D9AB377}"/>
          </ac:spMkLst>
        </pc:spChg>
        <pc:spChg chg="mod">
          <ac:chgData name="Aude Van de WIELE" userId="7317e673-04dd-415c-a4d7-718682339b40" providerId="ADAL" clId="{80D4E734-020D-4C1F-A028-1B9E9B483F9A}" dt="2021-05-25T08:49:51.344" v="9687" actId="790"/>
          <ac:spMkLst>
            <pc:docMk/>
            <pc:sldMk cId="740701424" sldId="6959"/>
            <ac:spMk id="64" creationId="{FB0966A3-7BFB-4B97-B5BA-687C10B91E0A}"/>
          </ac:spMkLst>
        </pc:spChg>
        <pc:spChg chg="mod">
          <ac:chgData name="Aude Van de WIELE" userId="7317e673-04dd-415c-a4d7-718682339b40" providerId="ADAL" clId="{80D4E734-020D-4C1F-A028-1B9E9B483F9A}" dt="2021-05-25T08:49:51.345" v="9688" actId="790"/>
          <ac:spMkLst>
            <pc:docMk/>
            <pc:sldMk cId="740701424" sldId="6959"/>
            <ac:spMk id="65" creationId="{8DC4DF31-E991-4394-B4EA-1B6846F1017B}"/>
          </ac:spMkLst>
        </pc:spChg>
        <pc:spChg chg="mod">
          <ac:chgData name="Aude Van de WIELE" userId="7317e673-04dd-415c-a4d7-718682339b40" providerId="ADAL" clId="{80D4E734-020D-4C1F-A028-1B9E9B483F9A}" dt="2021-05-25T08:49:51.346" v="9689" actId="790"/>
          <ac:spMkLst>
            <pc:docMk/>
            <pc:sldMk cId="740701424" sldId="6959"/>
            <ac:spMk id="66" creationId="{033643DA-06F1-467E-94E0-6AFEDAD56E10}"/>
          </ac:spMkLst>
        </pc:spChg>
        <pc:spChg chg="mod">
          <ac:chgData name="Aude Van de WIELE" userId="7317e673-04dd-415c-a4d7-718682339b40" providerId="ADAL" clId="{80D4E734-020D-4C1F-A028-1B9E9B483F9A}" dt="2021-05-25T08:49:51.347" v="9690" actId="790"/>
          <ac:spMkLst>
            <pc:docMk/>
            <pc:sldMk cId="740701424" sldId="6959"/>
            <ac:spMk id="67" creationId="{E92DAD5B-79EE-48F6-9FEF-73E7D9DC575B}"/>
          </ac:spMkLst>
        </pc:spChg>
        <pc:spChg chg="mod">
          <ac:chgData name="Aude Van de WIELE" userId="7317e673-04dd-415c-a4d7-718682339b40" providerId="ADAL" clId="{80D4E734-020D-4C1F-A028-1B9E9B483F9A}" dt="2021-05-25T08:49:51.348" v="9691" actId="790"/>
          <ac:spMkLst>
            <pc:docMk/>
            <pc:sldMk cId="740701424" sldId="6959"/>
            <ac:spMk id="68" creationId="{DEE456DD-FFB7-4348-806E-D22284A10DB1}"/>
          </ac:spMkLst>
        </pc:spChg>
        <pc:spChg chg="mod">
          <ac:chgData name="Aude Van de WIELE" userId="7317e673-04dd-415c-a4d7-718682339b40" providerId="ADAL" clId="{80D4E734-020D-4C1F-A028-1B9E9B483F9A}" dt="2021-05-25T08:49:51.348" v="9692" actId="790"/>
          <ac:spMkLst>
            <pc:docMk/>
            <pc:sldMk cId="740701424" sldId="6959"/>
            <ac:spMk id="69" creationId="{67C22FF6-4756-4F0B-BC28-1A1B73AC89C8}"/>
          </ac:spMkLst>
        </pc:spChg>
        <pc:picChg chg="mod">
          <ac:chgData name="Aude Van de WIELE" userId="7317e673-04dd-415c-a4d7-718682339b40" providerId="ADAL" clId="{80D4E734-020D-4C1F-A028-1B9E9B483F9A}" dt="2021-05-24T15:30:31.061" v="5676" actId="207"/>
          <ac:picMkLst>
            <pc:docMk/>
            <pc:sldMk cId="740701424" sldId="6959"/>
            <ac:picMk id="31" creationId="{49D14625-BDAE-4C07-8D5E-7DF89A2DC844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08:49:49.231" v="7981" actId="790"/>
        <pc:sldMkLst>
          <pc:docMk/>
          <pc:sldMk cId="2808160924" sldId="6961"/>
        </pc:sldMkLst>
        <pc:spChg chg="mod">
          <ac:chgData name="Aude Van de WIELE" userId="7317e673-04dd-415c-a4d7-718682339b40" providerId="ADAL" clId="{80D4E734-020D-4C1F-A028-1B9E9B483F9A}" dt="2021-05-25T08:49:49.206" v="7956" actId="790"/>
          <ac:spMkLst>
            <pc:docMk/>
            <pc:sldMk cId="2808160924" sldId="6961"/>
            <ac:spMk id="3" creationId="{EEAF1987-D318-4165-8539-CE9944DDE20A}"/>
          </ac:spMkLst>
        </pc:spChg>
        <pc:spChg chg="mod">
          <ac:chgData name="Aude Van de WIELE" userId="7317e673-04dd-415c-a4d7-718682339b40" providerId="ADAL" clId="{80D4E734-020D-4C1F-A028-1B9E9B483F9A}" dt="2021-05-25T08:49:49.204" v="7955" actId="790"/>
          <ac:spMkLst>
            <pc:docMk/>
            <pc:sldMk cId="2808160924" sldId="6961"/>
            <ac:spMk id="7" creationId="{F59BFDDC-63FF-4CDF-9FA9-5814668C648B}"/>
          </ac:spMkLst>
        </pc:spChg>
        <pc:spChg chg="mod">
          <ac:chgData name="Aude Van de WIELE" userId="7317e673-04dd-415c-a4d7-718682339b40" providerId="ADAL" clId="{80D4E734-020D-4C1F-A028-1B9E9B483F9A}" dt="2021-05-25T08:49:49.203" v="7954" actId="790"/>
          <ac:spMkLst>
            <pc:docMk/>
            <pc:sldMk cId="2808160924" sldId="6961"/>
            <ac:spMk id="22" creationId="{915D1B6E-612E-40C3-AAAD-AD7DCE1807AA}"/>
          </ac:spMkLst>
        </pc:spChg>
        <pc:spChg chg="mod">
          <ac:chgData name="Aude Van de WIELE" userId="7317e673-04dd-415c-a4d7-718682339b40" providerId="ADAL" clId="{80D4E734-020D-4C1F-A028-1B9E9B483F9A}" dt="2021-05-25T08:49:49.208" v="7957" actId="790"/>
          <ac:spMkLst>
            <pc:docMk/>
            <pc:sldMk cId="2808160924" sldId="6961"/>
            <ac:spMk id="32" creationId="{F11BA718-5E1F-4D56-A080-7306BA71EC56}"/>
          </ac:spMkLst>
        </pc:spChg>
        <pc:spChg chg="mod">
          <ac:chgData name="Aude Van de WIELE" userId="7317e673-04dd-415c-a4d7-718682339b40" providerId="ADAL" clId="{80D4E734-020D-4C1F-A028-1B9E9B483F9A}" dt="2021-05-25T08:49:49.209" v="7958" actId="790"/>
          <ac:spMkLst>
            <pc:docMk/>
            <pc:sldMk cId="2808160924" sldId="6961"/>
            <ac:spMk id="33" creationId="{5A86DC5E-7562-4215-BCC6-159FD163B5F0}"/>
          </ac:spMkLst>
        </pc:spChg>
        <pc:spChg chg="mod">
          <ac:chgData name="Aude Van de WIELE" userId="7317e673-04dd-415c-a4d7-718682339b40" providerId="ADAL" clId="{80D4E734-020D-4C1F-A028-1B9E9B483F9A}" dt="2021-05-25T08:49:49.210" v="7959" actId="790"/>
          <ac:spMkLst>
            <pc:docMk/>
            <pc:sldMk cId="2808160924" sldId="6961"/>
            <ac:spMk id="34" creationId="{4541F8E9-9C1C-4528-A806-CF225757AA45}"/>
          </ac:spMkLst>
        </pc:spChg>
        <pc:spChg chg="mod">
          <ac:chgData name="Aude Van de WIELE" userId="7317e673-04dd-415c-a4d7-718682339b40" providerId="ADAL" clId="{80D4E734-020D-4C1F-A028-1B9E9B483F9A}" dt="2021-05-25T08:49:49.211" v="7960" actId="790"/>
          <ac:spMkLst>
            <pc:docMk/>
            <pc:sldMk cId="2808160924" sldId="6961"/>
            <ac:spMk id="35" creationId="{A32B9102-CB94-48AF-94DC-EBC6A8AD50B2}"/>
          </ac:spMkLst>
        </pc:spChg>
        <pc:spChg chg="mod">
          <ac:chgData name="Aude Van de WIELE" userId="7317e673-04dd-415c-a4d7-718682339b40" providerId="ADAL" clId="{80D4E734-020D-4C1F-A028-1B9E9B483F9A}" dt="2021-05-25T08:49:49.214" v="7961" actId="790"/>
          <ac:spMkLst>
            <pc:docMk/>
            <pc:sldMk cId="2808160924" sldId="6961"/>
            <ac:spMk id="36" creationId="{A3146F46-B983-45FC-984A-23D11CF92CF3}"/>
          </ac:spMkLst>
        </pc:spChg>
        <pc:spChg chg="mod">
          <ac:chgData name="Aude Van de WIELE" userId="7317e673-04dd-415c-a4d7-718682339b40" providerId="ADAL" clId="{80D4E734-020D-4C1F-A028-1B9E9B483F9A}" dt="2021-05-25T08:49:49.214" v="7962" actId="790"/>
          <ac:spMkLst>
            <pc:docMk/>
            <pc:sldMk cId="2808160924" sldId="6961"/>
            <ac:spMk id="38" creationId="{60E82FDA-D8F3-4F51-A70E-C2463A95644C}"/>
          </ac:spMkLst>
        </pc:spChg>
        <pc:spChg chg="mod">
          <ac:chgData name="Aude Van de WIELE" userId="7317e673-04dd-415c-a4d7-718682339b40" providerId="ADAL" clId="{80D4E734-020D-4C1F-A028-1B9E9B483F9A}" dt="2021-05-25T08:49:49.215" v="7963" actId="790"/>
          <ac:spMkLst>
            <pc:docMk/>
            <pc:sldMk cId="2808160924" sldId="6961"/>
            <ac:spMk id="39" creationId="{70CEDCAE-DD9E-4FEB-A03A-70A9B2A27108}"/>
          </ac:spMkLst>
        </pc:spChg>
        <pc:spChg chg="mod">
          <ac:chgData name="Aude Van de WIELE" userId="7317e673-04dd-415c-a4d7-718682339b40" providerId="ADAL" clId="{80D4E734-020D-4C1F-A028-1B9E9B483F9A}" dt="2021-05-25T08:49:49.217" v="7964" actId="790"/>
          <ac:spMkLst>
            <pc:docMk/>
            <pc:sldMk cId="2808160924" sldId="6961"/>
            <ac:spMk id="42" creationId="{C007AC2B-F031-4544-B0C5-B373DA55A59B}"/>
          </ac:spMkLst>
        </pc:spChg>
        <pc:spChg chg="mod">
          <ac:chgData name="Aude Van de WIELE" userId="7317e673-04dd-415c-a4d7-718682339b40" providerId="ADAL" clId="{80D4E734-020D-4C1F-A028-1B9E9B483F9A}" dt="2021-05-25T08:49:49.218" v="7965" actId="790"/>
          <ac:spMkLst>
            <pc:docMk/>
            <pc:sldMk cId="2808160924" sldId="6961"/>
            <ac:spMk id="43" creationId="{622D55B0-DD9C-4023-AB94-CE089994EC75}"/>
          </ac:spMkLst>
        </pc:spChg>
        <pc:spChg chg="add mod">
          <ac:chgData name="Aude Van de WIELE" userId="7317e673-04dd-415c-a4d7-718682339b40" providerId="ADAL" clId="{80D4E734-020D-4C1F-A028-1B9E9B483F9A}" dt="2021-05-25T08:49:49.231" v="7981" actId="790"/>
          <ac:spMkLst>
            <pc:docMk/>
            <pc:sldMk cId="2808160924" sldId="6961"/>
            <ac:spMk id="44" creationId="{4D0A5FEF-026E-4EBA-94EA-A88280A92840}"/>
          </ac:spMkLst>
        </pc:spChg>
        <pc:spChg chg="mod">
          <ac:chgData name="Aude Van de WIELE" userId="7317e673-04dd-415c-a4d7-718682339b40" providerId="ADAL" clId="{80D4E734-020D-4C1F-A028-1B9E9B483F9A}" dt="2021-05-25T08:49:49.219" v="7966" actId="790"/>
          <ac:spMkLst>
            <pc:docMk/>
            <pc:sldMk cId="2808160924" sldId="6961"/>
            <ac:spMk id="45" creationId="{5CE85AE7-FEE1-44CA-80B3-D0DC0F17E39C}"/>
          </ac:spMkLst>
        </pc:spChg>
        <pc:spChg chg="mod">
          <ac:chgData name="Aude Van de WIELE" userId="7317e673-04dd-415c-a4d7-718682339b40" providerId="ADAL" clId="{80D4E734-020D-4C1F-A028-1B9E9B483F9A}" dt="2021-05-25T08:49:49.220" v="7967" actId="790"/>
          <ac:spMkLst>
            <pc:docMk/>
            <pc:sldMk cId="2808160924" sldId="6961"/>
            <ac:spMk id="53" creationId="{728C0255-F34F-4735-B701-0C6DB6A82697}"/>
          </ac:spMkLst>
        </pc:spChg>
        <pc:spChg chg="mod">
          <ac:chgData name="Aude Van de WIELE" userId="7317e673-04dd-415c-a4d7-718682339b40" providerId="ADAL" clId="{80D4E734-020D-4C1F-A028-1B9E9B483F9A}" dt="2021-05-25T08:49:49.221" v="7968" actId="790"/>
          <ac:spMkLst>
            <pc:docMk/>
            <pc:sldMk cId="2808160924" sldId="6961"/>
            <ac:spMk id="54" creationId="{85B1C81A-231D-48C8-84AE-5EE295244265}"/>
          </ac:spMkLst>
        </pc:spChg>
        <pc:spChg chg="mod">
          <ac:chgData name="Aude Van de WIELE" userId="7317e673-04dd-415c-a4d7-718682339b40" providerId="ADAL" clId="{80D4E734-020D-4C1F-A028-1B9E9B483F9A}" dt="2021-05-25T08:49:49.221" v="7969" actId="790"/>
          <ac:spMkLst>
            <pc:docMk/>
            <pc:sldMk cId="2808160924" sldId="6961"/>
            <ac:spMk id="55" creationId="{CB6B9718-F135-45F8-AEBA-74FA63710745}"/>
          </ac:spMkLst>
        </pc:spChg>
        <pc:spChg chg="mod">
          <ac:chgData name="Aude Van de WIELE" userId="7317e673-04dd-415c-a4d7-718682339b40" providerId="ADAL" clId="{80D4E734-020D-4C1F-A028-1B9E9B483F9A}" dt="2021-05-25T08:49:49.222" v="7970" actId="790"/>
          <ac:spMkLst>
            <pc:docMk/>
            <pc:sldMk cId="2808160924" sldId="6961"/>
            <ac:spMk id="56" creationId="{50EEAD72-D1CC-4940-A4B5-C62651B81DA1}"/>
          </ac:spMkLst>
        </pc:spChg>
        <pc:spChg chg="mod">
          <ac:chgData name="Aude Van de WIELE" userId="7317e673-04dd-415c-a4d7-718682339b40" providerId="ADAL" clId="{80D4E734-020D-4C1F-A028-1B9E9B483F9A}" dt="2021-05-25T08:49:49.223" v="7971" actId="790"/>
          <ac:spMkLst>
            <pc:docMk/>
            <pc:sldMk cId="2808160924" sldId="6961"/>
            <ac:spMk id="58" creationId="{A128AB00-1EA4-4DD2-B033-484B5E768D2A}"/>
          </ac:spMkLst>
        </pc:spChg>
        <pc:spChg chg="mod">
          <ac:chgData name="Aude Van de WIELE" userId="7317e673-04dd-415c-a4d7-718682339b40" providerId="ADAL" clId="{80D4E734-020D-4C1F-A028-1B9E9B483F9A}" dt="2021-05-25T08:49:49.223" v="7972" actId="790"/>
          <ac:spMkLst>
            <pc:docMk/>
            <pc:sldMk cId="2808160924" sldId="6961"/>
            <ac:spMk id="59" creationId="{C527F4D9-5F1F-4346-8985-91CF05F3AB01}"/>
          </ac:spMkLst>
        </pc:spChg>
        <pc:spChg chg="mod">
          <ac:chgData name="Aude Van de WIELE" userId="7317e673-04dd-415c-a4d7-718682339b40" providerId="ADAL" clId="{80D4E734-020D-4C1F-A028-1B9E9B483F9A}" dt="2021-05-25T08:49:49.225" v="7973" actId="790"/>
          <ac:spMkLst>
            <pc:docMk/>
            <pc:sldMk cId="2808160924" sldId="6961"/>
            <ac:spMk id="60" creationId="{4C6CAE5C-6B57-43FF-B10B-91C28E2AAA79}"/>
          </ac:spMkLst>
        </pc:spChg>
        <pc:spChg chg="mod">
          <ac:chgData name="Aude Van de WIELE" userId="7317e673-04dd-415c-a4d7-718682339b40" providerId="ADAL" clId="{80D4E734-020D-4C1F-A028-1B9E9B483F9A}" dt="2021-05-25T08:49:49.226" v="7974" actId="790"/>
          <ac:spMkLst>
            <pc:docMk/>
            <pc:sldMk cId="2808160924" sldId="6961"/>
            <ac:spMk id="61" creationId="{A6E8C61E-CFC4-41EC-AC3C-0CE01414D934}"/>
          </ac:spMkLst>
        </pc:spChg>
        <pc:spChg chg="mod">
          <ac:chgData name="Aude Van de WIELE" userId="7317e673-04dd-415c-a4d7-718682339b40" providerId="ADAL" clId="{80D4E734-020D-4C1F-A028-1B9E9B483F9A}" dt="2021-05-25T08:49:49.227" v="7975" actId="790"/>
          <ac:spMkLst>
            <pc:docMk/>
            <pc:sldMk cId="2808160924" sldId="6961"/>
            <ac:spMk id="62" creationId="{58DB2BE3-F0D9-432A-9451-97145834550C}"/>
          </ac:spMkLst>
        </pc:spChg>
        <pc:spChg chg="mod">
          <ac:chgData name="Aude Van de WIELE" userId="7317e673-04dd-415c-a4d7-718682339b40" providerId="ADAL" clId="{80D4E734-020D-4C1F-A028-1B9E9B483F9A}" dt="2021-05-25T08:49:49.227" v="7976" actId="790"/>
          <ac:spMkLst>
            <pc:docMk/>
            <pc:sldMk cId="2808160924" sldId="6961"/>
            <ac:spMk id="63" creationId="{71290402-55BD-44D1-85A0-25FCF4D125A5}"/>
          </ac:spMkLst>
        </pc:spChg>
        <pc:spChg chg="mod">
          <ac:chgData name="Aude Van de WIELE" userId="7317e673-04dd-415c-a4d7-718682339b40" providerId="ADAL" clId="{80D4E734-020D-4C1F-A028-1B9E9B483F9A}" dt="2021-05-25T08:49:49.228" v="7977" actId="790"/>
          <ac:spMkLst>
            <pc:docMk/>
            <pc:sldMk cId="2808160924" sldId="6961"/>
            <ac:spMk id="69" creationId="{C5FB799E-CDDD-4EC0-A3FD-67B30854E1F4}"/>
          </ac:spMkLst>
        </pc:spChg>
        <pc:spChg chg="del">
          <ac:chgData name="Aude Van de WIELE" userId="7317e673-04dd-415c-a4d7-718682339b40" providerId="ADAL" clId="{80D4E734-020D-4C1F-A028-1B9E9B483F9A}" dt="2021-05-25T07:54:27.292" v="6799" actId="478"/>
          <ac:spMkLst>
            <pc:docMk/>
            <pc:sldMk cId="2808160924" sldId="6961"/>
            <ac:spMk id="71" creationId="{8D12D69A-4821-400B-80C7-03B7B701F3B3}"/>
          </ac:spMkLst>
        </pc:spChg>
        <pc:spChg chg="mod">
          <ac:chgData name="Aude Van de WIELE" userId="7317e673-04dd-415c-a4d7-718682339b40" providerId="ADAL" clId="{80D4E734-020D-4C1F-A028-1B9E9B483F9A}" dt="2021-05-25T08:49:49.229" v="7978" actId="790"/>
          <ac:spMkLst>
            <pc:docMk/>
            <pc:sldMk cId="2808160924" sldId="6961"/>
            <ac:spMk id="72" creationId="{4C7576A4-CD03-46B5-B5BA-A0EDD03204C7}"/>
          </ac:spMkLst>
        </pc:spChg>
        <pc:spChg chg="mod">
          <ac:chgData name="Aude Van de WIELE" userId="7317e673-04dd-415c-a4d7-718682339b40" providerId="ADAL" clId="{80D4E734-020D-4C1F-A028-1B9E9B483F9A}" dt="2021-05-25T08:49:49.229" v="7979" actId="790"/>
          <ac:spMkLst>
            <pc:docMk/>
            <pc:sldMk cId="2808160924" sldId="6961"/>
            <ac:spMk id="73" creationId="{8C709857-1A4D-47D5-82BB-1AE431A7DE7A}"/>
          </ac:spMkLst>
        </pc:spChg>
        <pc:spChg chg="mod">
          <ac:chgData name="Aude Van de WIELE" userId="7317e673-04dd-415c-a4d7-718682339b40" providerId="ADAL" clId="{80D4E734-020D-4C1F-A028-1B9E9B483F9A}" dt="2021-05-25T08:49:49.230" v="7980" actId="790"/>
          <ac:spMkLst>
            <pc:docMk/>
            <pc:sldMk cId="2808160924" sldId="6961"/>
            <ac:spMk id="75" creationId="{EBF05075-15DD-4716-858A-7420380CCB29}"/>
          </ac:spMkLst>
        </pc:spChg>
        <pc:picChg chg="del">
          <ac:chgData name="Aude Van de WIELE" userId="7317e673-04dd-415c-a4d7-718682339b40" providerId="ADAL" clId="{80D4E734-020D-4C1F-A028-1B9E9B483F9A}" dt="2021-05-24T14:30:59.907" v="4859" actId="478"/>
          <ac:picMkLst>
            <pc:docMk/>
            <pc:sldMk cId="2808160924" sldId="6961"/>
            <ac:picMk id="31" creationId="{49D14625-BDAE-4C07-8D5E-7DF89A2DC844}"/>
          </ac:picMkLst>
        </pc:picChg>
        <pc:picChg chg="add mod">
          <ac:chgData name="Aude Van de WIELE" userId="7317e673-04dd-415c-a4d7-718682339b40" providerId="ADAL" clId="{80D4E734-020D-4C1F-A028-1B9E9B483F9A}" dt="2021-05-24T14:31:00.129" v="4860"/>
          <ac:picMkLst>
            <pc:docMk/>
            <pc:sldMk cId="2808160924" sldId="6961"/>
            <ac:picMk id="41" creationId="{D1D2AA74-AA5F-4829-82F3-0CD6A67C60C6}"/>
          </ac:picMkLst>
        </pc:picChg>
      </pc:sldChg>
      <pc:sldChg chg="addSp delSp modSp del mod">
        <pc:chgData name="Aude Van de WIELE" userId="7317e673-04dd-415c-a4d7-718682339b40" providerId="ADAL" clId="{80D4E734-020D-4C1F-A028-1B9E9B483F9A}" dt="2021-05-24T15:39:57.041" v="5902" actId="47"/>
        <pc:sldMkLst>
          <pc:docMk/>
          <pc:sldMk cId="349867828" sldId="6963"/>
        </pc:sldMkLst>
        <pc:spChg chg="del">
          <ac:chgData name="Aude Van de WIELE" userId="7317e673-04dd-415c-a4d7-718682339b40" providerId="ADAL" clId="{80D4E734-020D-4C1F-A028-1B9E9B483F9A}" dt="2021-05-24T15:39:49.105" v="5900" actId="478"/>
          <ac:spMkLst>
            <pc:docMk/>
            <pc:sldMk cId="349867828" sldId="6963"/>
            <ac:spMk id="21" creationId="{D344FCB0-B0A7-4A61-93F9-799B17589073}"/>
          </ac:spMkLst>
        </pc:spChg>
        <pc:spChg chg="del">
          <ac:chgData name="Aude Van de WIELE" userId="7317e673-04dd-415c-a4d7-718682339b40" providerId="ADAL" clId="{80D4E734-020D-4C1F-A028-1B9E9B483F9A}" dt="2021-05-24T15:39:49.105" v="5900" actId="478"/>
          <ac:spMkLst>
            <pc:docMk/>
            <pc:sldMk cId="349867828" sldId="6963"/>
            <ac:spMk id="22" creationId="{5E9577AE-DB16-4914-90F2-9FAA91CFE570}"/>
          </ac:spMkLst>
        </pc:spChg>
        <pc:spChg chg="add mod">
          <ac:chgData name="Aude Van de WIELE" userId="7317e673-04dd-415c-a4d7-718682339b40" providerId="ADAL" clId="{80D4E734-020D-4C1F-A028-1B9E9B483F9A}" dt="2021-05-24T15:39:49.376" v="5901"/>
          <ac:spMkLst>
            <pc:docMk/>
            <pc:sldMk cId="349867828" sldId="6963"/>
            <ac:spMk id="25" creationId="{F66EB226-02BF-4C23-B51A-9ACE48E46607}"/>
          </ac:spMkLst>
        </pc:spChg>
        <pc:spChg chg="add mod">
          <ac:chgData name="Aude Van de WIELE" userId="7317e673-04dd-415c-a4d7-718682339b40" providerId="ADAL" clId="{80D4E734-020D-4C1F-A028-1B9E9B483F9A}" dt="2021-05-24T15:39:49.376" v="5901"/>
          <ac:spMkLst>
            <pc:docMk/>
            <pc:sldMk cId="349867828" sldId="6963"/>
            <ac:spMk id="28" creationId="{CD40111D-04CC-4809-9A39-55B503BC34BD}"/>
          </ac:spMkLst>
        </pc:spChg>
      </pc:sldChg>
      <pc:sldChg chg="modSp mod">
        <pc:chgData name="Aude Van de WIELE" userId="7317e673-04dd-415c-a4d7-718682339b40" providerId="ADAL" clId="{80D4E734-020D-4C1F-A028-1B9E9B483F9A}" dt="2021-05-25T08:49:51.470" v="9782" actId="790"/>
        <pc:sldMkLst>
          <pc:docMk/>
          <pc:sldMk cId="1433535088" sldId="7074"/>
        </pc:sldMkLst>
        <pc:spChg chg="mod">
          <ac:chgData name="Aude Van de WIELE" userId="7317e673-04dd-415c-a4d7-718682339b40" providerId="ADAL" clId="{80D4E734-020D-4C1F-A028-1B9E9B483F9A}" dt="2021-05-25T08:49:51.448" v="9762" actId="790"/>
          <ac:spMkLst>
            <pc:docMk/>
            <pc:sldMk cId="1433535088" sldId="7074"/>
            <ac:spMk id="2" creationId="{E11FB28C-EA62-443C-A15A-AAB599A17838}"/>
          </ac:spMkLst>
        </pc:spChg>
        <pc:spChg chg="mod">
          <ac:chgData name="Aude Van de WIELE" userId="7317e673-04dd-415c-a4d7-718682339b40" providerId="ADAL" clId="{80D4E734-020D-4C1F-A028-1B9E9B483F9A}" dt="2021-05-25T08:49:51.453" v="9765" actId="790"/>
          <ac:spMkLst>
            <pc:docMk/>
            <pc:sldMk cId="1433535088" sldId="7074"/>
            <ac:spMk id="36" creationId="{5B304F32-669D-4617-B813-9668ACAB3A66}"/>
          </ac:spMkLst>
        </pc:spChg>
        <pc:spChg chg="mod">
          <ac:chgData name="Aude Van de WIELE" userId="7317e673-04dd-415c-a4d7-718682339b40" providerId="ADAL" clId="{80D4E734-020D-4C1F-A028-1B9E9B483F9A}" dt="2021-05-25T08:49:51.452" v="9764" actId="790"/>
          <ac:spMkLst>
            <pc:docMk/>
            <pc:sldMk cId="1433535088" sldId="7074"/>
            <ac:spMk id="38" creationId="{A4C2A37B-6FD6-4FBD-A267-5996CA794A1D}"/>
          </ac:spMkLst>
        </pc:spChg>
        <pc:spChg chg="mod">
          <ac:chgData name="Aude Van de WIELE" userId="7317e673-04dd-415c-a4d7-718682339b40" providerId="ADAL" clId="{80D4E734-020D-4C1F-A028-1B9E9B483F9A}" dt="2021-05-25T08:49:51.454" v="9766" actId="790"/>
          <ac:spMkLst>
            <pc:docMk/>
            <pc:sldMk cId="1433535088" sldId="7074"/>
            <ac:spMk id="40" creationId="{1E34CE50-B42C-493A-8A65-2E1C630B1461}"/>
          </ac:spMkLst>
        </pc:spChg>
        <pc:spChg chg="mod">
          <ac:chgData name="Aude Van de WIELE" userId="7317e673-04dd-415c-a4d7-718682339b40" providerId="ADAL" clId="{80D4E734-020D-4C1F-A028-1B9E9B483F9A}" dt="2021-05-25T08:49:51.455" v="9767" actId="790"/>
          <ac:spMkLst>
            <pc:docMk/>
            <pc:sldMk cId="1433535088" sldId="7074"/>
            <ac:spMk id="42" creationId="{ABE94C2F-281A-4A0F-BB46-93E553E8DAB5}"/>
          </ac:spMkLst>
        </pc:spChg>
        <pc:spChg chg="mod">
          <ac:chgData name="Aude Van de WIELE" userId="7317e673-04dd-415c-a4d7-718682339b40" providerId="ADAL" clId="{80D4E734-020D-4C1F-A028-1B9E9B483F9A}" dt="2021-05-25T08:49:51.456" v="9768" actId="790"/>
          <ac:spMkLst>
            <pc:docMk/>
            <pc:sldMk cId="1433535088" sldId="7074"/>
            <ac:spMk id="43" creationId="{464160BF-0C2D-477F-8E0A-B5374A5CF8CC}"/>
          </ac:spMkLst>
        </pc:spChg>
        <pc:spChg chg="mod">
          <ac:chgData name="Aude Van de WIELE" userId="7317e673-04dd-415c-a4d7-718682339b40" providerId="ADAL" clId="{80D4E734-020D-4C1F-A028-1B9E9B483F9A}" dt="2021-05-25T08:49:51.457" v="9769" actId="790"/>
          <ac:spMkLst>
            <pc:docMk/>
            <pc:sldMk cId="1433535088" sldId="7074"/>
            <ac:spMk id="44" creationId="{CEC0C3CE-C72B-4E26-AD8C-6285EB99FEA8}"/>
          </ac:spMkLst>
        </pc:spChg>
        <pc:spChg chg="mod">
          <ac:chgData name="Aude Van de WIELE" userId="7317e673-04dd-415c-a4d7-718682339b40" providerId="ADAL" clId="{80D4E734-020D-4C1F-A028-1B9E9B483F9A}" dt="2021-05-25T08:49:51.458" v="9770" actId="790"/>
          <ac:spMkLst>
            <pc:docMk/>
            <pc:sldMk cId="1433535088" sldId="7074"/>
            <ac:spMk id="47" creationId="{59BF761D-D244-4043-BC24-197C0EF04199}"/>
          </ac:spMkLst>
        </pc:spChg>
        <pc:spChg chg="mod">
          <ac:chgData name="Aude Van de WIELE" userId="7317e673-04dd-415c-a4d7-718682339b40" providerId="ADAL" clId="{80D4E734-020D-4C1F-A028-1B9E9B483F9A}" dt="2021-05-25T08:49:51.459" v="9771" actId="790"/>
          <ac:spMkLst>
            <pc:docMk/>
            <pc:sldMk cId="1433535088" sldId="7074"/>
            <ac:spMk id="49" creationId="{DB2B13AE-E8EA-4A7B-AF05-458DA199A58C}"/>
          </ac:spMkLst>
        </pc:spChg>
        <pc:spChg chg="mod">
          <ac:chgData name="Aude Van de WIELE" userId="7317e673-04dd-415c-a4d7-718682339b40" providerId="ADAL" clId="{80D4E734-020D-4C1F-A028-1B9E9B483F9A}" dt="2021-05-25T08:49:51.450" v="9763" actId="790"/>
          <ac:spMkLst>
            <pc:docMk/>
            <pc:sldMk cId="1433535088" sldId="7074"/>
            <ac:spMk id="51" creationId="{C08C3576-2044-44D6-9EDB-D62814A23048}"/>
          </ac:spMkLst>
        </pc:spChg>
        <pc:spChg chg="mod">
          <ac:chgData name="Aude Van de WIELE" userId="7317e673-04dd-415c-a4d7-718682339b40" providerId="ADAL" clId="{80D4E734-020D-4C1F-A028-1B9E9B483F9A}" dt="2021-05-25T08:49:51.463" v="9775" actId="790"/>
          <ac:spMkLst>
            <pc:docMk/>
            <pc:sldMk cId="1433535088" sldId="7074"/>
            <ac:spMk id="52" creationId="{E9C33DA4-9F3F-4FCD-985A-64AB255691AF}"/>
          </ac:spMkLst>
        </pc:spChg>
        <pc:spChg chg="mod">
          <ac:chgData name="Aude Van de WIELE" userId="7317e673-04dd-415c-a4d7-718682339b40" providerId="ADAL" clId="{80D4E734-020D-4C1F-A028-1B9E9B483F9A}" dt="2021-05-25T08:49:51.464" v="9776" actId="790"/>
          <ac:spMkLst>
            <pc:docMk/>
            <pc:sldMk cId="1433535088" sldId="7074"/>
            <ac:spMk id="53" creationId="{B53C2CF1-47C4-432E-A5C7-C61820E7498E}"/>
          </ac:spMkLst>
        </pc:spChg>
        <pc:spChg chg="mod">
          <ac:chgData name="Aude Van de WIELE" userId="7317e673-04dd-415c-a4d7-718682339b40" providerId="ADAL" clId="{80D4E734-020D-4C1F-A028-1B9E9B483F9A}" dt="2021-05-25T08:49:51.459" v="9772" actId="790"/>
          <ac:spMkLst>
            <pc:docMk/>
            <pc:sldMk cId="1433535088" sldId="7074"/>
            <ac:spMk id="54" creationId="{FBE633D4-8A56-4858-8275-A20FDC1811AC}"/>
          </ac:spMkLst>
        </pc:spChg>
        <pc:spChg chg="mod">
          <ac:chgData name="Aude Van de WIELE" userId="7317e673-04dd-415c-a4d7-718682339b40" providerId="ADAL" clId="{80D4E734-020D-4C1F-A028-1B9E9B483F9A}" dt="2021-05-25T08:49:51.465" v="9777" actId="790"/>
          <ac:spMkLst>
            <pc:docMk/>
            <pc:sldMk cId="1433535088" sldId="7074"/>
            <ac:spMk id="55" creationId="{E11E68D3-D439-41C8-BEFA-B3727306481D}"/>
          </ac:spMkLst>
        </pc:spChg>
        <pc:spChg chg="mod">
          <ac:chgData name="Aude Van de WIELE" userId="7317e673-04dd-415c-a4d7-718682339b40" providerId="ADAL" clId="{80D4E734-020D-4C1F-A028-1B9E9B483F9A}" dt="2021-05-25T08:49:51.466" v="9778" actId="790"/>
          <ac:spMkLst>
            <pc:docMk/>
            <pc:sldMk cId="1433535088" sldId="7074"/>
            <ac:spMk id="56" creationId="{D3D9AD89-A2E3-498F-9D56-70CB3C3126A9}"/>
          </ac:spMkLst>
        </pc:spChg>
        <pc:spChg chg="mod">
          <ac:chgData name="Aude Van de WIELE" userId="7317e673-04dd-415c-a4d7-718682339b40" providerId="ADAL" clId="{80D4E734-020D-4C1F-A028-1B9E9B483F9A}" dt="2021-05-25T08:49:51.467" v="9779" actId="790"/>
          <ac:spMkLst>
            <pc:docMk/>
            <pc:sldMk cId="1433535088" sldId="7074"/>
            <ac:spMk id="57" creationId="{8CB413C3-5BE4-4569-A2AC-CE9822ED10E7}"/>
          </ac:spMkLst>
        </pc:spChg>
        <pc:spChg chg="mod">
          <ac:chgData name="Aude Van de WIELE" userId="7317e673-04dd-415c-a4d7-718682339b40" providerId="ADAL" clId="{80D4E734-020D-4C1F-A028-1B9E9B483F9A}" dt="2021-05-25T08:49:51.468" v="9780" actId="790"/>
          <ac:spMkLst>
            <pc:docMk/>
            <pc:sldMk cId="1433535088" sldId="7074"/>
            <ac:spMk id="58" creationId="{3065D908-1B57-4BF6-BBE5-E99535F75686}"/>
          </ac:spMkLst>
        </pc:spChg>
        <pc:spChg chg="mod">
          <ac:chgData name="Aude Van de WIELE" userId="7317e673-04dd-415c-a4d7-718682339b40" providerId="ADAL" clId="{80D4E734-020D-4C1F-A028-1B9E9B483F9A}" dt="2021-05-25T08:49:51.461" v="9773" actId="790"/>
          <ac:spMkLst>
            <pc:docMk/>
            <pc:sldMk cId="1433535088" sldId="7074"/>
            <ac:spMk id="59" creationId="{A4BA87CA-33FF-4853-BAE7-4B75AA2EFEDC}"/>
          </ac:spMkLst>
        </pc:spChg>
        <pc:spChg chg="mod">
          <ac:chgData name="Aude Van de WIELE" userId="7317e673-04dd-415c-a4d7-718682339b40" providerId="ADAL" clId="{80D4E734-020D-4C1F-A028-1B9E9B483F9A}" dt="2021-05-25T08:49:51.470" v="9782" actId="790"/>
          <ac:spMkLst>
            <pc:docMk/>
            <pc:sldMk cId="1433535088" sldId="7074"/>
            <ac:spMk id="64" creationId="{4BBEE2FE-3E58-45FF-AE6D-CAF83420733F}"/>
          </ac:spMkLst>
        </pc:spChg>
        <pc:spChg chg="mod">
          <ac:chgData name="Aude Van de WIELE" userId="7317e673-04dd-415c-a4d7-718682339b40" providerId="ADAL" clId="{80D4E734-020D-4C1F-A028-1B9E9B483F9A}" dt="2021-05-25T08:49:51.462" v="9774" actId="790"/>
          <ac:spMkLst>
            <pc:docMk/>
            <pc:sldMk cId="1433535088" sldId="7074"/>
            <ac:spMk id="65" creationId="{B8594696-07D0-4360-88BD-9887E2084D42}"/>
          </ac:spMkLst>
        </pc:spChg>
        <pc:spChg chg="mod">
          <ac:chgData name="Aude Van de WIELE" userId="7317e673-04dd-415c-a4d7-718682339b40" providerId="ADAL" clId="{80D4E734-020D-4C1F-A028-1B9E9B483F9A}" dt="2021-05-25T08:49:51.448" v="9761" actId="790"/>
          <ac:spMkLst>
            <pc:docMk/>
            <pc:sldMk cId="1433535088" sldId="7074"/>
            <ac:spMk id="66" creationId="{AC81A5B2-A052-402B-A5B3-8F7A8F78A79F}"/>
          </ac:spMkLst>
        </pc:spChg>
        <pc:spChg chg="mod">
          <ac:chgData name="Aude Van de WIELE" userId="7317e673-04dd-415c-a4d7-718682339b40" providerId="ADAL" clId="{80D4E734-020D-4C1F-A028-1B9E9B483F9A}" dt="2021-05-25T08:49:51.447" v="9760" actId="790"/>
          <ac:spMkLst>
            <pc:docMk/>
            <pc:sldMk cId="1433535088" sldId="7074"/>
            <ac:spMk id="67" creationId="{8503A05F-0393-49C9-8F68-3786AF21832C}"/>
          </ac:spMkLst>
        </pc:spChg>
        <pc:spChg chg="mod">
          <ac:chgData name="Aude Van de WIELE" userId="7317e673-04dd-415c-a4d7-718682339b40" providerId="ADAL" clId="{80D4E734-020D-4C1F-A028-1B9E9B483F9A}" dt="2021-05-25T08:49:51.446" v="9759" actId="790"/>
          <ac:spMkLst>
            <pc:docMk/>
            <pc:sldMk cId="1433535088" sldId="7074"/>
            <ac:spMk id="68" creationId="{31E81307-722E-4E83-96CF-10C7A30E0BC7}"/>
          </ac:spMkLst>
        </pc:spChg>
        <pc:spChg chg="mod">
          <ac:chgData name="Aude Van de WIELE" userId="7317e673-04dd-415c-a4d7-718682339b40" providerId="ADAL" clId="{80D4E734-020D-4C1F-A028-1B9E9B483F9A}" dt="2021-05-25T08:49:51.445" v="9758" actId="790"/>
          <ac:spMkLst>
            <pc:docMk/>
            <pc:sldMk cId="1433535088" sldId="7074"/>
            <ac:spMk id="71" creationId="{4A4E2D76-7F9A-42A4-8FBD-FF1B01D6FB98}"/>
          </ac:spMkLst>
        </pc:spChg>
        <pc:spChg chg="mod">
          <ac:chgData name="Aude Van de WIELE" userId="7317e673-04dd-415c-a4d7-718682339b40" providerId="ADAL" clId="{80D4E734-020D-4C1F-A028-1B9E9B483F9A}" dt="2021-05-25T08:49:51.469" v="9781" actId="790"/>
          <ac:spMkLst>
            <pc:docMk/>
            <pc:sldMk cId="1433535088" sldId="7074"/>
            <ac:spMk id="76" creationId="{96CDAEC3-2CB5-4621-8C9A-FD66BD9EA46B}"/>
          </ac:spMkLst>
        </pc:spChg>
      </pc:sldChg>
      <pc:sldChg chg="modSp mod">
        <pc:chgData name="Aude Van de WIELE" userId="7317e673-04dd-415c-a4d7-718682339b40" providerId="ADAL" clId="{80D4E734-020D-4C1F-A028-1B9E9B483F9A}" dt="2021-05-25T08:49:51.517" v="9828" actId="790"/>
        <pc:sldMkLst>
          <pc:docMk/>
          <pc:sldMk cId="2066302433" sldId="10151"/>
        </pc:sldMkLst>
        <pc:spChg chg="mod">
          <ac:chgData name="Aude Van de WIELE" userId="7317e673-04dd-415c-a4d7-718682339b40" providerId="ADAL" clId="{80D4E734-020D-4C1F-A028-1B9E9B483F9A}" dt="2021-05-25T08:49:51.471" v="9783" actId="790"/>
          <ac:spMkLst>
            <pc:docMk/>
            <pc:sldMk cId="2066302433" sldId="10151"/>
            <ac:spMk id="2" creationId="{485D8258-C799-4DEB-8426-A87B09E12535}"/>
          </ac:spMkLst>
        </pc:spChg>
        <pc:spChg chg="mod">
          <ac:chgData name="Aude Van de WIELE" userId="7317e673-04dd-415c-a4d7-718682339b40" providerId="ADAL" clId="{80D4E734-020D-4C1F-A028-1B9E9B483F9A}" dt="2021-05-25T08:49:51.473" v="9784" actId="790"/>
          <ac:spMkLst>
            <pc:docMk/>
            <pc:sldMk cId="2066302433" sldId="10151"/>
            <ac:spMk id="6" creationId="{FD961D00-BB87-4820-B54D-EC87367CB5D8}"/>
          </ac:spMkLst>
        </pc:spChg>
        <pc:spChg chg="mod">
          <ac:chgData name="Aude Van de WIELE" userId="7317e673-04dd-415c-a4d7-718682339b40" providerId="ADAL" clId="{80D4E734-020D-4C1F-A028-1B9E9B483F9A}" dt="2021-05-25T08:49:51.474" v="9785" actId="790"/>
          <ac:spMkLst>
            <pc:docMk/>
            <pc:sldMk cId="2066302433" sldId="10151"/>
            <ac:spMk id="8" creationId="{CBFABE72-6131-464D-BAFB-D76422C2A4AB}"/>
          </ac:spMkLst>
        </pc:spChg>
        <pc:spChg chg="mod">
          <ac:chgData name="Aude Van de WIELE" userId="7317e673-04dd-415c-a4d7-718682339b40" providerId="ADAL" clId="{80D4E734-020D-4C1F-A028-1B9E9B483F9A}" dt="2021-05-25T08:49:51.475" v="9786" actId="790"/>
          <ac:spMkLst>
            <pc:docMk/>
            <pc:sldMk cId="2066302433" sldId="10151"/>
            <ac:spMk id="9" creationId="{AA892EF1-BA93-4257-8E96-FCE386827377}"/>
          </ac:spMkLst>
        </pc:spChg>
        <pc:spChg chg="mod">
          <ac:chgData name="Aude Van de WIELE" userId="7317e673-04dd-415c-a4d7-718682339b40" providerId="ADAL" clId="{80D4E734-020D-4C1F-A028-1B9E9B483F9A}" dt="2021-05-25T08:49:51.475" v="9787" actId="790"/>
          <ac:spMkLst>
            <pc:docMk/>
            <pc:sldMk cId="2066302433" sldId="10151"/>
            <ac:spMk id="10" creationId="{D1385551-0DEE-495D-8846-99041144B7D6}"/>
          </ac:spMkLst>
        </pc:spChg>
        <pc:spChg chg="mod">
          <ac:chgData name="Aude Van de WIELE" userId="7317e673-04dd-415c-a4d7-718682339b40" providerId="ADAL" clId="{80D4E734-020D-4C1F-A028-1B9E9B483F9A}" dt="2021-05-25T08:49:51.476" v="9788" actId="790"/>
          <ac:spMkLst>
            <pc:docMk/>
            <pc:sldMk cId="2066302433" sldId="10151"/>
            <ac:spMk id="11" creationId="{95F74EDD-FC62-4AE0-B009-91BD1F0F42CD}"/>
          </ac:spMkLst>
        </pc:spChg>
        <pc:spChg chg="mod">
          <ac:chgData name="Aude Van de WIELE" userId="7317e673-04dd-415c-a4d7-718682339b40" providerId="ADAL" clId="{80D4E734-020D-4C1F-A028-1B9E9B483F9A}" dt="2021-05-25T08:49:51.477" v="9789" actId="790"/>
          <ac:spMkLst>
            <pc:docMk/>
            <pc:sldMk cId="2066302433" sldId="10151"/>
            <ac:spMk id="12" creationId="{D1785210-4F58-4DEA-A9E2-D867169A909C}"/>
          </ac:spMkLst>
        </pc:spChg>
        <pc:spChg chg="mod">
          <ac:chgData name="Aude Van de WIELE" userId="7317e673-04dd-415c-a4d7-718682339b40" providerId="ADAL" clId="{80D4E734-020D-4C1F-A028-1B9E9B483F9A}" dt="2021-05-25T08:49:51.478" v="9790" actId="790"/>
          <ac:spMkLst>
            <pc:docMk/>
            <pc:sldMk cId="2066302433" sldId="10151"/>
            <ac:spMk id="13" creationId="{F68747A9-0286-423B-B19B-BDD80CFD99AA}"/>
          </ac:spMkLst>
        </pc:spChg>
        <pc:spChg chg="mod">
          <ac:chgData name="Aude Van de WIELE" userId="7317e673-04dd-415c-a4d7-718682339b40" providerId="ADAL" clId="{80D4E734-020D-4C1F-A028-1B9E9B483F9A}" dt="2021-05-25T08:49:51.479" v="9791" actId="790"/>
          <ac:spMkLst>
            <pc:docMk/>
            <pc:sldMk cId="2066302433" sldId="10151"/>
            <ac:spMk id="14" creationId="{1B668D90-1CA6-4BF2-A28C-A37ADF4CEC55}"/>
          </ac:spMkLst>
        </pc:spChg>
        <pc:spChg chg="mod">
          <ac:chgData name="Aude Van de WIELE" userId="7317e673-04dd-415c-a4d7-718682339b40" providerId="ADAL" clId="{80D4E734-020D-4C1F-A028-1B9E9B483F9A}" dt="2021-05-25T08:49:51.479" v="9792" actId="790"/>
          <ac:spMkLst>
            <pc:docMk/>
            <pc:sldMk cId="2066302433" sldId="10151"/>
            <ac:spMk id="15" creationId="{DC368EB4-4DDD-4407-BE94-38F23DA27B16}"/>
          </ac:spMkLst>
        </pc:spChg>
        <pc:spChg chg="mod">
          <ac:chgData name="Aude Van de WIELE" userId="7317e673-04dd-415c-a4d7-718682339b40" providerId="ADAL" clId="{80D4E734-020D-4C1F-A028-1B9E9B483F9A}" dt="2021-05-25T08:49:51.482" v="9793" actId="790"/>
          <ac:spMkLst>
            <pc:docMk/>
            <pc:sldMk cId="2066302433" sldId="10151"/>
            <ac:spMk id="16" creationId="{80F851B1-0B14-48BE-A51C-7881B7C8FE41}"/>
          </ac:spMkLst>
        </pc:spChg>
        <pc:spChg chg="mod">
          <ac:chgData name="Aude Van de WIELE" userId="7317e673-04dd-415c-a4d7-718682339b40" providerId="ADAL" clId="{80D4E734-020D-4C1F-A028-1B9E9B483F9A}" dt="2021-05-25T08:49:51.483" v="9794" actId="790"/>
          <ac:spMkLst>
            <pc:docMk/>
            <pc:sldMk cId="2066302433" sldId="10151"/>
            <ac:spMk id="17" creationId="{7CE1AF65-B94A-4628-80BC-0D290E998B7C}"/>
          </ac:spMkLst>
        </pc:spChg>
        <pc:spChg chg="mod">
          <ac:chgData name="Aude Van de WIELE" userId="7317e673-04dd-415c-a4d7-718682339b40" providerId="ADAL" clId="{80D4E734-020D-4C1F-A028-1B9E9B483F9A}" dt="2021-05-25T08:49:51.484" v="9795" actId="790"/>
          <ac:spMkLst>
            <pc:docMk/>
            <pc:sldMk cId="2066302433" sldId="10151"/>
            <ac:spMk id="18" creationId="{4D52F71B-746D-44F2-85EB-546A9C67D415}"/>
          </ac:spMkLst>
        </pc:spChg>
        <pc:spChg chg="mod">
          <ac:chgData name="Aude Van de WIELE" userId="7317e673-04dd-415c-a4d7-718682339b40" providerId="ADAL" clId="{80D4E734-020D-4C1F-A028-1B9E9B483F9A}" dt="2021-05-25T08:49:51.485" v="9796" actId="790"/>
          <ac:spMkLst>
            <pc:docMk/>
            <pc:sldMk cId="2066302433" sldId="10151"/>
            <ac:spMk id="19" creationId="{7BFC3453-D5E5-4B80-95E1-53BCDB119B16}"/>
          </ac:spMkLst>
        </pc:spChg>
        <pc:spChg chg="mod">
          <ac:chgData name="Aude Van de WIELE" userId="7317e673-04dd-415c-a4d7-718682339b40" providerId="ADAL" clId="{80D4E734-020D-4C1F-A028-1B9E9B483F9A}" dt="2021-05-25T08:49:51.486" v="9797" actId="790"/>
          <ac:spMkLst>
            <pc:docMk/>
            <pc:sldMk cId="2066302433" sldId="10151"/>
            <ac:spMk id="20" creationId="{ABEEDC27-82A8-46CB-8CE2-2D10293A50C9}"/>
          </ac:spMkLst>
        </pc:spChg>
        <pc:spChg chg="mod">
          <ac:chgData name="Aude Van de WIELE" userId="7317e673-04dd-415c-a4d7-718682339b40" providerId="ADAL" clId="{80D4E734-020D-4C1F-A028-1B9E9B483F9A}" dt="2021-05-25T08:49:51.488" v="9798" actId="790"/>
          <ac:spMkLst>
            <pc:docMk/>
            <pc:sldMk cId="2066302433" sldId="10151"/>
            <ac:spMk id="21" creationId="{79263F93-BD89-481F-813A-6C0F901C9C08}"/>
          </ac:spMkLst>
        </pc:spChg>
        <pc:spChg chg="mod">
          <ac:chgData name="Aude Van de WIELE" userId="7317e673-04dd-415c-a4d7-718682339b40" providerId="ADAL" clId="{80D4E734-020D-4C1F-A028-1B9E9B483F9A}" dt="2021-05-25T08:49:51.489" v="9799" actId="790"/>
          <ac:spMkLst>
            <pc:docMk/>
            <pc:sldMk cId="2066302433" sldId="10151"/>
            <ac:spMk id="22" creationId="{A17328B4-1579-4E16-8289-48E49F417694}"/>
          </ac:spMkLst>
        </pc:spChg>
        <pc:spChg chg="mod">
          <ac:chgData name="Aude Van de WIELE" userId="7317e673-04dd-415c-a4d7-718682339b40" providerId="ADAL" clId="{80D4E734-020D-4C1F-A028-1B9E9B483F9A}" dt="2021-05-25T08:49:51.490" v="9800" actId="790"/>
          <ac:spMkLst>
            <pc:docMk/>
            <pc:sldMk cId="2066302433" sldId="10151"/>
            <ac:spMk id="23" creationId="{9FFABFA5-D560-4B57-A403-E79C1BD6BD3D}"/>
          </ac:spMkLst>
        </pc:spChg>
        <pc:spChg chg="mod">
          <ac:chgData name="Aude Van de WIELE" userId="7317e673-04dd-415c-a4d7-718682339b40" providerId="ADAL" clId="{80D4E734-020D-4C1F-A028-1B9E9B483F9A}" dt="2021-05-25T08:49:51.491" v="9801" actId="790"/>
          <ac:spMkLst>
            <pc:docMk/>
            <pc:sldMk cId="2066302433" sldId="10151"/>
            <ac:spMk id="24" creationId="{C6DE36B4-63F9-49BF-9393-6D814DCD3ADB}"/>
          </ac:spMkLst>
        </pc:spChg>
        <pc:spChg chg="mod">
          <ac:chgData name="Aude Van de WIELE" userId="7317e673-04dd-415c-a4d7-718682339b40" providerId="ADAL" clId="{80D4E734-020D-4C1F-A028-1B9E9B483F9A}" dt="2021-05-25T08:49:51.491" v="9802" actId="790"/>
          <ac:spMkLst>
            <pc:docMk/>
            <pc:sldMk cId="2066302433" sldId="10151"/>
            <ac:spMk id="25" creationId="{87636E38-C9EE-47F8-83D6-6504B63CFEC1}"/>
          </ac:spMkLst>
        </pc:spChg>
        <pc:spChg chg="mod">
          <ac:chgData name="Aude Van de WIELE" userId="7317e673-04dd-415c-a4d7-718682339b40" providerId="ADAL" clId="{80D4E734-020D-4C1F-A028-1B9E9B483F9A}" dt="2021-05-25T08:49:51.492" v="9803" actId="790"/>
          <ac:spMkLst>
            <pc:docMk/>
            <pc:sldMk cId="2066302433" sldId="10151"/>
            <ac:spMk id="26" creationId="{5E993EC9-B819-46BE-808C-6BF87D7C6173}"/>
          </ac:spMkLst>
        </pc:spChg>
        <pc:spChg chg="mod">
          <ac:chgData name="Aude Van de WIELE" userId="7317e673-04dd-415c-a4d7-718682339b40" providerId="ADAL" clId="{80D4E734-020D-4C1F-A028-1B9E9B483F9A}" dt="2021-05-25T08:49:51.493" v="9804" actId="790"/>
          <ac:spMkLst>
            <pc:docMk/>
            <pc:sldMk cId="2066302433" sldId="10151"/>
            <ac:spMk id="27" creationId="{8C4589F2-B7BC-4572-BB11-469A62A1B6C6}"/>
          </ac:spMkLst>
        </pc:spChg>
        <pc:spChg chg="mod">
          <ac:chgData name="Aude Van de WIELE" userId="7317e673-04dd-415c-a4d7-718682339b40" providerId="ADAL" clId="{80D4E734-020D-4C1F-A028-1B9E9B483F9A}" dt="2021-05-25T08:49:51.494" v="9805" actId="790"/>
          <ac:spMkLst>
            <pc:docMk/>
            <pc:sldMk cId="2066302433" sldId="10151"/>
            <ac:spMk id="28" creationId="{77771E76-DFA4-4D19-B2E3-74B7FBF71D1E}"/>
          </ac:spMkLst>
        </pc:spChg>
        <pc:spChg chg="mod">
          <ac:chgData name="Aude Van de WIELE" userId="7317e673-04dd-415c-a4d7-718682339b40" providerId="ADAL" clId="{80D4E734-020D-4C1F-A028-1B9E9B483F9A}" dt="2021-05-25T08:49:51.494" v="9806" actId="790"/>
          <ac:spMkLst>
            <pc:docMk/>
            <pc:sldMk cId="2066302433" sldId="10151"/>
            <ac:spMk id="29" creationId="{5E08754A-8970-4715-8A7A-F623D767FAB9}"/>
          </ac:spMkLst>
        </pc:spChg>
        <pc:spChg chg="mod">
          <ac:chgData name="Aude Van de WIELE" userId="7317e673-04dd-415c-a4d7-718682339b40" providerId="ADAL" clId="{80D4E734-020D-4C1F-A028-1B9E9B483F9A}" dt="2021-05-25T08:49:51.495" v="9807" actId="790"/>
          <ac:spMkLst>
            <pc:docMk/>
            <pc:sldMk cId="2066302433" sldId="10151"/>
            <ac:spMk id="30" creationId="{16C0C029-6359-44F4-B7C0-B040B0D8942B}"/>
          </ac:spMkLst>
        </pc:spChg>
        <pc:spChg chg="mod">
          <ac:chgData name="Aude Van de WIELE" userId="7317e673-04dd-415c-a4d7-718682339b40" providerId="ADAL" clId="{80D4E734-020D-4C1F-A028-1B9E9B483F9A}" dt="2021-05-25T08:49:51.497" v="9808" actId="790"/>
          <ac:spMkLst>
            <pc:docMk/>
            <pc:sldMk cId="2066302433" sldId="10151"/>
            <ac:spMk id="31" creationId="{AC0EA32D-54FE-4F9B-9CF8-4DAFEBC29666}"/>
          </ac:spMkLst>
        </pc:spChg>
        <pc:spChg chg="mod">
          <ac:chgData name="Aude Van de WIELE" userId="7317e673-04dd-415c-a4d7-718682339b40" providerId="ADAL" clId="{80D4E734-020D-4C1F-A028-1B9E9B483F9A}" dt="2021-05-25T08:49:51.499" v="9809" actId="790"/>
          <ac:spMkLst>
            <pc:docMk/>
            <pc:sldMk cId="2066302433" sldId="10151"/>
            <ac:spMk id="32" creationId="{8CE27222-24DA-4462-BF94-A8D5736BB7B7}"/>
          </ac:spMkLst>
        </pc:spChg>
        <pc:spChg chg="mod">
          <ac:chgData name="Aude Van de WIELE" userId="7317e673-04dd-415c-a4d7-718682339b40" providerId="ADAL" clId="{80D4E734-020D-4C1F-A028-1B9E9B483F9A}" dt="2021-05-25T08:49:51.500" v="9810" actId="790"/>
          <ac:spMkLst>
            <pc:docMk/>
            <pc:sldMk cId="2066302433" sldId="10151"/>
            <ac:spMk id="33" creationId="{7B850491-5D22-4445-B8DD-2E7DA22A1582}"/>
          </ac:spMkLst>
        </pc:spChg>
        <pc:spChg chg="mod">
          <ac:chgData name="Aude Van de WIELE" userId="7317e673-04dd-415c-a4d7-718682339b40" providerId="ADAL" clId="{80D4E734-020D-4C1F-A028-1B9E9B483F9A}" dt="2021-05-25T08:49:51.501" v="9811" actId="790"/>
          <ac:spMkLst>
            <pc:docMk/>
            <pc:sldMk cId="2066302433" sldId="10151"/>
            <ac:spMk id="34" creationId="{87B245AE-748D-4766-AAA8-E79644D27CF2}"/>
          </ac:spMkLst>
        </pc:spChg>
        <pc:spChg chg="mod">
          <ac:chgData name="Aude Van de WIELE" userId="7317e673-04dd-415c-a4d7-718682339b40" providerId="ADAL" clId="{80D4E734-020D-4C1F-A028-1B9E9B483F9A}" dt="2021-05-25T08:49:51.502" v="9812" actId="790"/>
          <ac:spMkLst>
            <pc:docMk/>
            <pc:sldMk cId="2066302433" sldId="10151"/>
            <ac:spMk id="35" creationId="{3B6324BE-5137-4BFE-8DA4-799A77B8D45E}"/>
          </ac:spMkLst>
        </pc:spChg>
        <pc:spChg chg="mod">
          <ac:chgData name="Aude Van de WIELE" userId="7317e673-04dd-415c-a4d7-718682339b40" providerId="ADAL" clId="{80D4E734-020D-4C1F-A028-1B9E9B483F9A}" dt="2021-05-25T08:49:51.503" v="9813" actId="790"/>
          <ac:spMkLst>
            <pc:docMk/>
            <pc:sldMk cId="2066302433" sldId="10151"/>
            <ac:spMk id="36" creationId="{E6D54B53-5D24-489F-9B67-95A762E58289}"/>
          </ac:spMkLst>
        </pc:spChg>
        <pc:spChg chg="mod">
          <ac:chgData name="Aude Van de WIELE" userId="7317e673-04dd-415c-a4d7-718682339b40" providerId="ADAL" clId="{80D4E734-020D-4C1F-A028-1B9E9B483F9A}" dt="2021-05-25T08:49:51.504" v="9814" actId="790"/>
          <ac:spMkLst>
            <pc:docMk/>
            <pc:sldMk cId="2066302433" sldId="10151"/>
            <ac:spMk id="37" creationId="{B1B3F98D-4D9B-442E-8C7B-A1756F2C34E5}"/>
          </ac:spMkLst>
        </pc:spChg>
        <pc:spChg chg="mod">
          <ac:chgData name="Aude Van de WIELE" userId="7317e673-04dd-415c-a4d7-718682339b40" providerId="ADAL" clId="{80D4E734-020D-4C1F-A028-1B9E9B483F9A}" dt="2021-05-25T08:49:51.505" v="9815" actId="790"/>
          <ac:spMkLst>
            <pc:docMk/>
            <pc:sldMk cId="2066302433" sldId="10151"/>
            <ac:spMk id="38" creationId="{1136920C-BA8F-43C0-8C16-F1AAC39166BF}"/>
          </ac:spMkLst>
        </pc:spChg>
        <pc:spChg chg="mod">
          <ac:chgData name="Aude Van de WIELE" userId="7317e673-04dd-415c-a4d7-718682339b40" providerId="ADAL" clId="{80D4E734-020D-4C1F-A028-1B9E9B483F9A}" dt="2021-05-25T08:49:51.506" v="9816" actId="790"/>
          <ac:spMkLst>
            <pc:docMk/>
            <pc:sldMk cId="2066302433" sldId="10151"/>
            <ac:spMk id="39" creationId="{EFF788FD-AC32-46E7-9D4E-4BC36F5959B9}"/>
          </ac:spMkLst>
        </pc:spChg>
        <pc:spChg chg="mod">
          <ac:chgData name="Aude Van de WIELE" userId="7317e673-04dd-415c-a4d7-718682339b40" providerId="ADAL" clId="{80D4E734-020D-4C1F-A028-1B9E9B483F9A}" dt="2021-05-25T08:49:51.508" v="9817" actId="790"/>
          <ac:spMkLst>
            <pc:docMk/>
            <pc:sldMk cId="2066302433" sldId="10151"/>
            <ac:spMk id="40" creationId="{A3E8FC77-79BA-4BF6-9229-A50D8390B0B0}"/>
          </ac:spMkLst>
        </pc:spChg>
        <pc:spChg chg="mod">
          <ac:chgData name="Aude Van de WIELE" userId="7317e673-04dd-415c-a4d7-718682339b40" providerId="ADAL" clId="{80D4E734-020D-4C1F-A028-1B9E9B483F9A}" dt="2021-05-25T08:49:51.509" v="9818" actId="790"/>
          <ac:spMkLst>
            <pc:docMk/>
            <pc:sldMk cId="2066302433" sldId="10151"/>
            <ac:spMk id="41" creationId="{0576C5B5-205F-4700-BDBA-CB236CF202E5}"/>
          </ac:spMkLst>
        </pc:spChg>
        <pc:spChg chg="mod">
          <ac:chgData name="Aude Van de WIELE" userId="7317e673-04dd-415c-a4d7-718682339b40" providerId="ADAL" clId="{80D4E734-020D-4C1F-A028-1B9E9B483F9A}" dt="2021-05-25T08:49:51.510" v="9819" actId="790"/>
          <ac:spMkLst>
            <pc:docMk/>
            <pc:sldMk cId="2066302433" sldId="10151"/>
            <ac:spMk id="42" creationId="{10178595-DB31-448D-B26C-282499D9E2AB}"/>
          </ac:spMkLst>
        </pc:spChg>
        <pc:spChg chg="mod">
          <ac:chgData name="Aude Van de WIELE" userId="7317e673-04dd-415c-a4d7-718682339b40" providerId="ADAL" clId="{80D4E734-020D-4C1F-A028-1B9E9B483F9A}" dt="2021-05-25T08:49:51.511" v="9820" actId="790"/>
          <ac:spMkLst>
            <pc:docMk/>
            <pc:sldMk cId="2066302433" sldId="10151"/>
            <ac:spMk id="43" creationId="{7A99688D-221A-4009-B9DD-DA6C7D20F69E}"/>
          </ac:spMkLst>
        </pc:spChg>
        <pc:spChg chg="mod">
          <ac:chgData name="Aude Van de WIELE" userId="7317e673-04dd-415c-a4d7-718682339b40" providerId="ADAL" clId="{80D4E734-020D-4C1F-A028-1B9E9B483F9A}" dt="2021-05-25T08:49:51.511" v="9821" actId="790"/>
          <ac:spMkLst>
            <pc:docMk/>
            <pc:sldMk cId="2066302433" sldId="10151"/>
            <ac:spMk id="44" creationId="{A821D0F1-6745-4FB4-960B-A65CD44A148F}"/>
          </ac:spMkLst>
        </pc:spChg>
        <pc:spChg chg="mod">
          <ac:chgData name="Aude Van de WIELE" userId="7317e673-04dd-415c-a4d7-718682339b40" providerId="ADAL" clId="{80D4E734-020D-4C1F-A028-1B9E9B483F9A}" dt="2021-05-25T08:49:51.513" v="9822" actId="790"/>
          <ac:spMkLst>
            <pc:docMk/>
            <pc:sldMk cId="2066302433" sldId="10151"/>
            <ac:spMk id="45" creationId="{94585B0F-E803-4576-9DB3-FAF173D08F43}"/>
          </ac:spMkLst>
        </pc:spChg>
        <pc:spChg chg="mod">
          <ac:chgData name="Aude Van de WIELE" userId="7317e673-04dd-415c-a4d7-718682339b40" providerId="ADAL" clId="{80D4E734-020D-4C1F-A028-1B9E9B483F9A}" dt="2021-05-25T08:49:51.513" v="9823" actId="790"/>
          <ac:spMkLst>
            <pc:docMk/>
            <pc:sldMk cId="2066302433" sldId="10151"/>
            <ac:spMk id="46" creationId="{60B47F91-9ED1-4064-B0F1-0F150436DBA4}"/>
          </ac:spMkLst>
        </pc:spChg>
        <pc:spChg chg="mod">
          <ac:chgData name="Aude Van de WIELE" userId="7317e673-04dd-415c-a4d7-718682339b40" providerId="ADAL" clId="{80D4E734-020D-4C1F-A028-1B9E9B483F9A}" dt="2021-05-25T08:49:51.514" v="9824" actId="790"/>
          <ac:spMkLst>
            <pc:docMk/>
            <pc:sldMk cId="2066302433" sldId="10151"/>
            <ac:spMk id="47" creationId="{17468E73-86AE-459C-946F-AFFBB7E789DD}"/>
          </ac:spMkLst>
        </pc:spChg>
        <pc:spChg chg="mod">
          <ac:chgData name="Aude Van de WIELE" userId="7317e673-04dd-415c-a4d7-718682339b40" providerId="ADAL" clId="{80D4E734-020D-4C1F-A028-1B9E9B483F9A}" dt="2021-05-25T08:49:51.515" v="9825" actId="790"/>
          <ac:spMkLst>
            <pc:docMk/>
            <pc:sldMk cId="2066302433" sldId="10151"/>
            <ac:spMk id="48" creationId="{44B8897D-6B27-465B-A723-BF615C31D100}"/>
          </ac:spMkLst>
        </pc:spChg>
        <pc:spChg chg="mod">
          <ac:chgData name="Aude Van de WIELE" userId="7317e673-04dd-415c-a4d7-718682339b40" providerId="ADAL" clId="{80D4E734-020D-4C1F-A028-1B9E9B483F9A}" dt="2021-05-25T08:49:51.516" v="9826" actId="790"/>
          <ac:spMkLst>
            <pc:docMk/>
            <pc:sldMk cId="2066302433" sldId="10151"/>
            <ac:spMk id="49" creationId="{3CAB94CE-464D-4A6D-BF0D-B9E076D55E68}"/>
          </ac:spMkLst>
        </pc:spChg>
        <pc:spChg chg="mod">
          <ac:chgData name="Aude Van de WIELE" userId="7317e673-04dd-415c-a4d7-718682339b40" providerId="ADAL" clId="{80D4E734-020D-4C1F-A028-1B9E9B483F9A}" dt="2021-05-25T08:49:51.517" v="9827" actId="790"/>
          <ac:spMkLst>
            <pc:docMk/>
            <pc:sldMk cId="2066302433" sldId="10151"/>
            <ac:spMk id="50" creationId="{DB23E4EA-8CC3-4D51-8B49-7C52B0496041}"/>
          </ac:spMkLst>
        </pc:spChg>
        <pc:spChg chg="mod">
          <ac:chgData name="Aude Van de WIELE" userId="7317e673-04dd-415c-a4d7-718682339b40" providerId="ADAL" clId="{80D4E734-020D-4C1F-A028-1B9E9B483F9A}" dt="2021-05-25T08:49:51.517" v="9828" actId="790"/>
          <ac:spMkLst>
            <pc:docMk/>
            <pc:sldMk cId="2066302433" sldId="10151"/>
            <ac:spMk id="51" creationId="{6EAF2701-A2C6-4614-9A6E-C85168C5E062}"/>
          </ac:spMkLst>
        </pc:spChg>
      </pc:sldChg>
      <pc:sldChg chg="modSp mod">
        <pc:chgData name="Aude Van de WIELE" userId="7317e673-04dd-415c-a4d7-718682339b40" providerId="ADAL" clId="{80D4E734-020D-4C1F-A028-1B9E9B483F9A}" dt="2021-05-25T08:49:48.125" v="7046" actId="790"/>
        <pc:sldMkLst>
          <pc:docMk/>
          <pc:sldMk cId="3884321799" sldId="10291"/>
        </pc:sldMkLst>
        <pc:spChg chg="mod">
          <ac:chgData name="Aude Van de WIELE" userId="7317e673-04dd-415c-a4d7-718682339b40" providerId="ADAL" clId="{80D4E734-020D-4C1F-A028-1B9E9B483F9A}" dt="2021-05-25T08:49:48.117" v="7041" actId="790"/>
          <ac:spMkLst>
            <pc:docMk/>
            <pc:sldMk cId="3884321799" sldId="10291"/>
            <ac:spMk id="3" creationId="{DC0B6CE0-071E-44A6-82A3-BC4FF5D83B27}"/>
          </ac:spMkLst>
        </pc:spChg>
        <pc:spChg chg="mod">
          <ac:chgData name="Aude Van de WIELE" userId="7317e673-04dd-415c-a4d7-718682339b40" providerId="ADAL" clId="{80D4E734-020D-4C1F-A028-1B9E9B483F9A}" dt="2021-05-25T08:49:48.118" v="7042" actId="790"/>
          <ac:spMkLst>
            <pc:docMk/>
            <pc:sldMk cId="3884321799" sldId="10291"/>
            <ac:spMk id="4" creationId="{2DE3B9FB-389E-44C4-A5C5-F3E880E483DD}"/>
          </ac:spMkLst>
        </pc:spChg>
        <pc:spChg chg="mod">
          <ac:chgData name="Aude Van de WIELE" userId="7317e673-04dd-415c-a4d7-718682339b40" providerId="ADAL" clId="{80D4E734-020D-4C1F-A028-1B9E9B483F9A}" dt="2021-05-24T15:15:47.260" v="5293" actId="20577"/>
          <ac:spMkLst>
            <pc:docMk/>
            <pc:sldMk cId="3884321799" sldId="10291"/>
            <ac:spMk id="6" creationId="{242A9D11-D3DE-4F7E-826C-227A04F22B12}"/>
          </ac:spMkLst>
        </pc:spChg>
        <pc:spChg chg="mod">
          <ac:chgData name="Aude Van de WIELE" userId="7317e673-04dd-415c-a4d7-718682339b40" providerId="ADAL" clId="{80D4E734-020D-4C1F-A028-1B9E9B483F9A}" dt="2021-05-25T08:49:48.120" v="7043" actId="790"/>
          <ac:spMkLst>
            <pc:docMk/>
            <pc:sldMk cId="3884321799" sldId="10291"/>
            <ac:spMk id="7" creationId="{ED3DDDA4-13C0-4B5E-BF69-1052ACC41BFF}"/>
          </ac:spMkLst>
        </pc:spChg>
        <pc:spChg chg="mod">
          <ac:chgData name="Aude Van de WIELE" userId="7317e673-04dd-415c-a4d7-718682339b40" providerId="ADAL" clId="{80D4E734-020D-4C1F-A028-1B9E9B483F9A}" dt="2021-05-24T15:15:35.539" v="5292" actId="207"/>
          <ac:spMkLst>
            <pc:docMk/>
            <pc:sldMk cId="3884321799" sldId="10291"/>
            <ac:spMk id="9" creationId="{0F4EEDA1-A552-47C1-9DED-CAE86E2B5460}"/>
          </ac:spMkLst>
        </pc:spChg>
        <pc:spChg chg="mod">
          <ac:chgData name="Aude Van de WIELE" userId="7317e673-04dd-415c-a4d7-718682339b40" providerId="ADAL" clId="{80D4E734-020D-4C1F-A028-1B9E9B483F9A}" dt="2021-05-25T08:49:48.122" v="7044" actId="790"/>
          <ac:spMkLst>
            <pc:docMk/>
            <pc:sldMk cId="3884321799" sldId="10291"/>
            <ac:spMk id="13" creationId="{B1098745-8BF6-4065-AFBD-2424FEF2474A}"/>
          </ac:spMkLst>
        </pc:spChg>
        <pc:spChg chg="mod">
          <ac:chgData name="Aude Van de WIELE" userId="7317e673-04dd-415c-a4d7-718682339b40" providerId="ADAL" clId="{80D4E734-020D-4C1F-A028-1B9E9B483F9A}" dt="2021-05-24T15:14:47.015" v="5289" actId="20577"/>
          <ac:spMkLst>
            <pc:docMk/>
            <pc:sldMk cId="3884321799" sldId="10291"/>
            <ac:spMk id="15" creationId="{37F79159-1614-406A-B438-7BE1E6E3101D}"/>
          </ac:spMkLst>
        </pc:spChg>
        <pc:spChg chg="mod">
          <ac:chgData name="Aude Van de WIELE" userId="7317e673-04dd-415c-a4d7-718682339b40" providerId="ADAL" clId="{80D4E734-020D-4C1F-A028-1B9E9B483F9A}" dt="2021-05-25T08:49:48.123" v="7045" actId="790"/>
          <ac:spMkLst>
            <pc:docMk/>
            <pc:sldMk cId="3884321799" sldId="10291"/>
            <ac:spMk id="16" creationId="{FFF23C2F-78E0-477D-90B5-6C5DA8402A80}"/>
          </ac:spMkLst>
        </pc:spChg>
        <pc:spChg chg="mod">
          <ac:chgData name="Aude Van de WIELE" userId="7317e673-04dd-415c-a4d7-718682339b40" providerId="ADAL" clId="{80D4E734-020D-4C1F-A028-1B9E9B483F9A}" dt="2021-05-24T15:14:44.030" v="5287" actId="20577"/>
          <ac:spMkLst>
            <pc:docMk/>
            <pc:sldMk cId="3884321799" sldId="10291"/>
            <ac:spMk id="18" creationId="{9C7BC9B1-6A93-47CF-9A30-660E932A58B7}"/>
          </ac:spMkLst>
        </pc:spChg>
        <pc:spChg chg="mod">
          <ac:chgData name="Aude Van de WIELE" userId="7317e673-04dd-415c-a4d7-718682339b40" providerId="ADAL" clId="{80D4E734-020D-4C1F-A028-1B9E9B483F9A}" dt="2021-05-25T08:49:48.125" v="7046" actId="790"/>
          <ac:spMkLst>
            <pc:docMk/>
            <pc:sldMk cId="3884321799" sldId="10291"/>
            <ac:spMk id="19" creationId="{BC48846A-ECA8-4A6F-8CFC-15261D21AF27}"/>
          </ac:spMkLst>
        </pc:spChg>
      </pc:sldChg>
      <pc:sldChg chg="modSp mod">
        <pc:chgData name="Aude Van de WIELE" userId="7317e673-04dd-415c-a4d7-718682339b40" providerId="ADAL" clId="{80D4E734-020D-4C1F-A028-1B9E9B483F9A}" dt="2021-05-25T08:49:48.133" v="7054" actId="790"/>
        <pc:sldMkLst>
          <pc:docMk/>
          <pc:sldMk cId="3536028850" sldId="10321"/>
        </pc:sldMkLst>
        <pc:spChg chg="mod">
          <ac:chgData name="Aude Van de WIELE" userId="7317e673-04dd-415c-a4d7-718682339b40" providerId="ADAL" clId="{80D4E734-020D-4C1F-A028-1B9E9B483F9A}" dt="2021-05-25T08:49:48.126" v="7047" actId="790"/>
          <ac:spMkLst>
            <pc:docMk/>
            <pc:sldMk cId="3536028850" sldId="10321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8:49:48.127" v="7048" actId="790"/>
          <ac:spMkLst>
            <pc:docMk/>
            <pc:sldMk cId="3536028850" sldId="10321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48.128" v="7049" actId="790"/>
          <ac:spMkLst>
            <pc:docMk/>
            <pc:sldMk cId="3536028850" sldId="10321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48.133" v="7054" actId="790"/>
          <ac:spMkLst>
            <pc:docMk/>
            <pc:sldMk cId="3536028850" sldId="10321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48.129" v="7050" actId="790"/>
          <ac:spMkLst>
            <pc:docMk/>
            <pc:sldMk cId="3536028850" sldId="10321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48.130" v="7051" actId="790"/>
          <ac:spMkLst>
            <pc:docMk/>
            <pc:sldMk cId="3536028850" sldId="10321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48.131" v="7052" actId="790"/>
          <ac:spMkLst>
            <pc:docMk/>
            <pc:sldMk cId="3536028850" sldId="10321"/>
            <ac:spMk id="22" creationId="{C002634F-3FA9-4AC3-90E2-0D253FC97BF7}"/>
          </ac:spMkLst>
        </pc:spChg>
        <pc:spChg chg="mod">
          <ac:chgData name="Aude Van de WIELE" userId="7317e673-04dd-415c-a4d7-718682339b40" providerId="ADAL" clId="{80D4E734-020D-4C1F-A028-1B9E9B483F9A}" dt="2021-05-25T08:49:48.132" v="7053" actId="790"/>
          <ac:spMkLst>
            <pc:docMk/>
            <pc:sldMk cId="3536028850" sldId="10321"/>
            <ac:spMk id="24" creationId="{9523976D-7994-4445-A7A3-F04F6C533708}"/>
          </ac:spMkLst>
        </pc:spChg>
      </pc:sldChg>
      <pc:sldChg chg="addSp delSp modSp mod ord">
        <pc:chgData name="Aude Van de WIELE" userId="7317e673-04dd-415c-a4d7-718682339b40" providerId="ADAL" clId="{80D4E734-020D-4C1F-A028-1B9E9B483F9A}" dt="2021-05-25T09:56:20.822" v="10104" actId="20577"/>
        <pc:sldMkLst>
          <pc:docMk/>
          <pc:sldMk cId="3812200160" sldId="10324"/>
        </pc:sldMkLst>
        <pc:spChg chg="mod">
          <ac:chgData name="Aude Van de WIELE" userId="7317e673-04dd-415c-a4d7-718682339b40" providerId="ADAL" clId="{80D4E734-020D-4C1F-A028-1B9E9B483F9A}" dt="2021-05-25T08:49:49.782" v="8508" actId="790"/>
          <ac:spMkLst>
            <pc:docMk/>
            <pc:sldMk cId="3812200160" sldId="10324"/>
            <ac:spMk id="2" creationId="{806A24BD-A309-4114-BCBE-1F8520216A75}"/>
          </ac:spMkLst>
        </pc:spChg>
        <pc:spChg chg="mod">
          <ac:chgData name="Aude Van de WIELE" userId="7317e673-04dd-415c-a4d7-718682339b40" providerId="ADAL" clId="{80D4E734-020D-4C1F-A028-1B9E9B483F9A}" dt="2021-05-25T08:49:49.829" v="8558" actId="790"/>
          <ac:spMkLst>
            <pc:docMk/>
            <pc:sldMk cId="3812200160" sldId="10324"/>
            <ac:spMk id="5" creationId="{5EC0279C-C6B9-4AB1-8775-2653854AC40C}"/>
          </ac:spMkLst>
        </pc:spChg>
        <pc:spChg chg="mod">
          <ac:chgData name="Aude Van de WIELE" userId="7317e673-04dd-415c-a4d7-718682339b40" providerId="ADAL" clId="{80D4E734-020D-4C1F-A028-1B9E9B483F9A}" dt="2021-05-25T08:49:49.783" v="8509" actId="790"/>
          <ac:spMkLst>
            <pc:docMk/>
            <pc:sldMk cId="3812200160" sldId="10324"/>
            <ac:spMk id="6" creationId="{4E6E5141-7FBC-4E06-91AB-778C41045C7B}"/>
          </ac:spMkLst>
        </pc:spChg>
        <pc:spChg chg="mod">
          <ac:chgData name="Aude Van de WIELE" userId="7317e673-04dd-415c-a4d7-718682339b40" providerId="ADAL" clId="{80D4E734-020D-4C1F-A028-1B9E9B483F9A}" dt="2021-05-25T08:49:49.783" v="8510" actId="790"/>
          <ac:spMkLst>
            <pc:docMk/>
            <pc:sldMk cId="3812200160" sldId="10324"/>
            <ac:spMk id="7" creationId="{8D09AD6F-BFA9-4E94-83DF-0661F98B9019}"/>
          </ac:spMkLst>
        </pc:spChg>
        <pc:spChg chg="mod">
          <ac:chgData name="Aude Van de WIELE" userId="7317e673-04dd-415c-a4d7-718682339b40" providerId="ADAL" clId="{80D4E734-020D-4C1F-A028-1B9E9B483F9A}" dt="2021-05-25T08:49:49.784" v="8511" actId="790"/>
          <ac:spMkLst>
            <pc:docMk/>
            <pc:sldMk cId="3812200160" sldId="10324"/>
            <ac:spMk id="8" creationId="{77A429D6-B3A3-42B0-BAD3-1B353FC28B08}"/>
          </ac:spMkLst>
        </pc:spChg>
        <pc:spChg chg="mod">
          <ac:chgData name="Aude Van de WIELE" userId="7317e673-04dd-415c-a4d7-718682339b40" providerId="ADAL" clId="{80D4E734-020D-4C1F-A028-1B9E9B483F9A}" dt="2021-05-25T08:49:49.785" v="8512" actId="790"/>
          <ac:spMkLst>
            <pc:docMk/>
            <pc:sldMk cId="3812200160" sldId="10324"/>
            <ac:spMk id="9" creationId="{C1790DA0-3655-475E-9CEE-4FBE153BB3F2}"/>
          </ac:spMkLst>
        </pc:spChg>
        <pc:spChg chg="mod">
          <ac:chgData name="Aude Van de WIELE" userId="7317e673-04dd-415c-a4d7-718682339b40" providerId="ADAL" clId="{80D4E734-020D-4C1F-A028-1B9E9B483F9A}" dt="2021-05-25T08:49:49.816" v="8542" actId="790"/>
          <ac:spMkLst>
            <pc:docMk/>
            <pc:sldMk cId="3812200160" sldId="10324"/>
            <ac:spMk id="13" creationId="{93256D83-834B-4334-B9DB-6D53960A9062}"/>
          </ac:spMkLst>
        </pc:spChg>
        <pc:spChg chg="mod">
          <ac:chgData name="Aude Van de WIELE" userId="7317e673-04dd-415c-a4d7-718682339b40" providerId="ADAL" clId="{80D4E734-020D-4C1F-A028-1B9E9B483F9A}" dt="2021-05-25T08:49:49.786" v="8513" actId="790"/>
          <ac:spMkLst>
            <pc:docMk/>
            <pc:sldMk cId="3812200160" sldId="10324"/>
            <ac:spMk id="14" creationId="{B8D529E0-B56F-42E9-9413-B04B09D1BC35}"/>
          </ac:spMkLst>
        </pc:spChg>
        <pc:spChg chg="mod">
          <ac:chgData name="Aude Van de WIELE" userId="7317e673-04dd-415c-a4d7-718682339b40" providerId="ADAL" clId="{80D4E734-020D-4C1F-A028-1B9E9B483F9A}" dt="2021-05-25T08:49:49.787" v="8514" actId="790"/>
          <ac:spMkLst>
            <pc:docMk/>
            <pc:sldMk cId="3812200160" sldId="10324"/>
            <ac:spMk id="15" creationId="{BD17CEC9-4298-48C2-A07A-B6966AE88E71}"/>
          </ac:spMkLst>
        </pc:spChg>
        <pc:spChg chg="mod">
          <ac:chgData name="Aude Van de WIELE" userId="7317e673-04dd-415c-a4d7-718682339b40" providerId="ADAL" clId="{80D4E734-020D-4C1F-A028-1B9E9B483F9A}" dt="2021-05-25T08:49:49.788" v="8515" actId="790"/>
          <ac:spMkLst>
            <pc:docMk/>
            <pc:sldMk cId="3812200160" sldId="10324"/>
            <ac:spMk id="16" creationId="{B886F05E-DC2A-4B28-89B2-BAEBC0591254}"/>
          </ac:spMkLst>
        </pc:spChg>
        <pc:spChg chg="mod">
          <ac:chgData name="Aude Van de WIELE" userId="7317e673-04dd-415c-a4d7-718682339b40" providerId="ADAL" clId="{80D4E734-020D-4C1F-A028-1B9E9B483F9A}" dt="2021-05-25T08:49:49.789" v="8516" actId="790"/>
          <ac:spMkLst>
            <pc:docMk/>
            <pc:sldMk cId="3812200160" sldId="10324"/>
            <ac:spMk id="17" creationId="{FD9BD1A8-B133-4ED7-9402-59FE79DE23EC}"/>
          </ac:spMkLst>
        </pc:spChg>
        <pc:spChg chg="mod">
          <ac:chgData name="Aude Van de WIELE" userId="7317e673-04dd-415c-a4d7-718682339b40" providerId="ADAL" clId="{80D4E734-020D-4C1F-A028-1B9E9B483F9A}" dt="2021-05-25T08:49:49.789" v="8517" actId="790"/>
          <ac:spMkLst>
            <pc:docMk/>
            <pc:sldMk cId="3812200160" sldId="10324"/>
            <ac:spMk id="18" creationId="{4373ED4E-D1FF-488D-BEFE-69AC7F528CA4}"/>
          </ac:spMkLst>
        </pc:spChg>
        <pc:spChg chg="mod">
          <ac:chgData name="Aude Van de WIELE" userId="7317e673-04dd-415c-a4d7-718682339b40" providerId="ADAL" clId="{80D4E734-020D-4C1F-A028-1B9E9B483F9A}" dt="2021-05-25T08:49:49.790" v="8518" actId="790"/>
          <ac:spMkLst>
            <pc:docMk/>
            <pc:sldMk cId="3812200160" sldId="10324"/>
            <ac:spMk id="19" creationId="{BC760060-ABD5-412D-8045-EF97EC543341}"/>
          </ac:spMkLst>
        </pc:spChg>
        <pc:spChg chg="mod">
          <ac:chgData name="Aude Van de WIELE" userId="7317e673-04dd-415c-a4d7-718682339b40" providerId="ADAL" clId="{80D4E734-020D-4C1F-A028-1B9E9B483F9A}" dt="2021-05-25T08:49:49.791" v="8519" actId="790"/>
          <ac:spMkLst>
            <pc:docMk/>
            <pc:sldMk cId="3812200160" sldId="10324"/>
            <ac:spMk id="20" creationId="{388BECFA-DD33-47B0-8DCF-EFF4D8D243DB}"/>
          </ac:spMkLst>
        </pc:spChg>
        <pc:spChg chg="mod">
          <ac:chgData name="Aude Van de WIELE" userId="7317e673-04dd-415c-a4d7-718682339b40" providerId="ADAL" clId="{80D4E734-020D-4C1F-A028-1B9E9B483F9A}" dt="2021-05-25T08:49:49.791" v="8520" actId="790"/>
          <ac:spMkLst>
            <pc:docMk/>
            <pc:sldMk cId="3812200160" sldId="10324"/>
            <ac:spMk id="21" creationId="{F90680D2-5DA9-4AD6-8E64-FE8EA1410BC0}"/>
          </ac:spMkLst>
        </pc:spChg>
        <pc:spChg chg="mod">
          <ac:chgData name="Aude Van de WIELE" userId="7317e673-04dd-415c-a4d7-718682339b40" providerId="ADAL" clId="{80D4E734-020D-4C1F-A028-1B9E9B483F9A}" dt="2021-05-25T08:49:49.792" v="8521" actId="790"/>
          <ac:spMkLst>
            <pc:docMk/>
            <pc:sldMk cId="3812200160" sldId="10324"/>
            <ac:spMk id="22" creationId="{F54D9E31-C7E1-4619-8AB2-AF3F57E25D8C}"/>
          </ac:spMkLst>
        </pc:spChg>
        <pc:spChg chg="mod">
          <ac:chgData name="Aude Van de WIELE" userId="7317e673-04dd-415c-a4d7-718682339b40" providerId="ADAL" clId="{80D4E734-020D-4C1F-A028-1B9E9B483F9A}" dt="2021-05-25T08:49:49.794" v="8522" actId="790"/>
          <ac:spMkLst>
            <pc:docMk/>
            <pc:sldMk cId="3812200160" sldId="10324"/>
            <ac:spMk id="23" creationId="{E942F219-9D1D-4A73-B97D-EC48BD66AF15}"/>
          </ac:spMkLst>
        </pc:spChg>
        <pc:spChg chg="mod">
          <ac:chgData name="Aude Van de WIELE" userId="7317e673-04dd-415c-a4d7-718682339b40" providerId="ADAL" clId="{80D4E734-020D-4C1F-A028-1B9E9B483F9A}" dt="2021-05-25T08:49:49.795" v="8523" actId="790"/>
          <ac:spMkLst>
            <pc:docMk/>
            <pc:sldMk cId="3812200160" sldId="10324"/>
            <ac:spMk id="24" creationId="{C2FF144E-7C70-4F58-8690-D05F03C7B743}"/>
          </ac:spMkLst>
        </pc:spChg>
        <pc:spChg chg="mod">
          <ac:chgData name="Aude Van de WIELE" userId="7317e673-04dd-415c-a4d7-718682339b40" providerId="ADAL" clId="{80D4E734-020D-4C1F-A028-1B9E9B483F9A}" dt="2021-05-25T08:49:49.796" v="8524" actId="790"/>
          <ac:spMkLst>
            <pc:docMk/>
            <pc:sldMk cId="3812200160" sldId="10324"/>
            <ac:spMk id="43" creationId="{C59EF210-5B50-40A7-A6B4-DDAD799020BA}"/>
          </ac:spMkLst>
        </pc:spChg>
        <pc:spChg chg="mod">
          <ac:chgData name="Aude Van de WIELE" userId="7317e673-04dd-415c-a4d7-718682339b40" providerId="ADAL" clId="{80D4E734-020D-4C1F-A028-1B9E9B483F9A}" dt="2021-05-25T08:49:49.797" v="8525" actId="790"/>
          <ac:spMkLst>
            <pc:docMk/>
            <pc:sldMk cId="3812200160" sldId="10324"/>
            <ac:spMk id="45" creationId="{A30046C9-7286-442E-B5D2-9182D2F71B12}"/>
          </ac:spMkLst>
        </pc:spChg>
        <pc:spChg chg="mod">
          <ac:chgData name="Aude Van de WIELE" userId="7317e673-04dd-415c-a4d7-718682339b40" providerId="ADAL" clId="{80D4E734-020D-4C1F-A028-1B9E9B483F9A}" dt="2021-05-25T08:49:49.799" v="8526" actId="790"/>
          <ac:spMkLst>
            <pc:docMk/>
            <pc:sldMk cId="3812200160" sldId="10324"/>
            <ac:spMk id="56" creationId="{F37F2C7C-4651-46F1-B548-F75D15102AEA}"/>
          </ac:spMkLst>
        </pc:spChg>
        <pc:spChg chg="mod">
          <ac:chgData name="Aude Van de WIELE" userId="7317e673-04dd-415c-a4d7-718682339b40" providerId="ADAL" clId="{80D4E734-020D-4C1F-A028-1B9E9B483F9A}" dt="2021-05-25T08:49:49.800" v="8527" actId="790"/>
          <ac:spMkLst>
            <pc:docMk/>
            <pc:sldMk cId="3812200160" sldId="10324"/>
            <ac:spMk id="61" creationId="{86718822-02E2-4F9A-B0D6-5A2C08F0884A}"/>
          </ac:spMkLst>
        </pc:spChg>
        <pc:spChg chg="mod">
          <ac:chgData name="Aude Van de WIELE" userId="7317e673-04dd-415c-a4d7-718682339b40" providerId="ADAL" clId="{80D4E734-020D-4C1F-A028-1B9E9B483F9A}" dt="2021-05-25T08:49:49.800" v="8528" actId="790"/>
          <ac:spMkLst>
            <pc:docMk/>
            <pc:sldMk cId="3812200160" sldId="10324"/>
            <ac:spMk id="62" creationId="{27537C42-90B1-4AE2-8853-9E14C9C3CD5A}"/>
          </ac:spMkLst>
        </pc:spChg>
        <pc:spChg chg="mod">
          <ac:chgData name="Aude Van de WIELE" userId="7317e673-04dd-415c-a4d7-718682339b40" providerId="ADAL" clId="{80D4E734-020D-4C1F-A028-1B9E9B483F9A}" dt="2021-05-25T08:49:49.802" v="8529" actId="790"/>
          <ac:spMkLst>
            <pc:docMk/>
            <pc:sldMk cId="3812200160" sldId="10324"/>
            <ac:spMk id="63" creationId="{09962DE7-FED3-45A7-A785-60D4A1764C81}"/>
          </ac:spMkLst>
        </pc:spChg>
        <pc:spChg chg="mod">
          <ac:chgData name="Aude Van de WIELE" userId="7317e673-04dd-415c-a4d7-718682339b40" providerId="ADAL" clId="{80D4E734-020D-4C1F-A028-1B9E9B483F9A}" dt="2021-05-25T08:49:49.803" v="8530" actId="790"/>
          <ac:spMkLst>
            <pc:docMk/>
            <pc:sldMk cId="3812200160" sldId="10324"/>
            <ac:spMk id="74" creationId="{DD8929B4-3FC0-4A80-B005-DECF49E5F03E}"/>
          </ac:spMkLst>
        </pc:spChg>
        <pc:spChg chg="mod">
          <ac:chgData name="Aude Van de WIELE" userId="7317e673-04dd-415c-a4d7-718682339b40" providerId="ADAL" clId="{80D4E734-020D-4C1F-A028-1B9E9B483F9A}" dt="2021-05-25T08:49:49.804" v="8531" actId="790"/>
          <ac:spMkLst>
            <pc:docMk/>
            <pc:sldMk cId="3812200160" sldId="10324"/>
            <ac:spMk id="85" creationId="{2D2CFECC-1DAE-45A7-BC98-5B3781537431}"/>
          </ac:spMkLst>
        </pc:spChg>
        <pc:spChg chg="mod">
          <ac:chgData name="Aude Van de WIELE" userId="7317e673-04dd-415c-a4d7-718682339b40" providerId="ADAL" clId="{80D4E734-020D-4C1F-A028-1B9E9B483F9A}" dt="2021-05-25T08:49:49.805" v="8532" actId="790"/>
          <ac:spMkLst>
            <pc:docMk/>
            <pc:sldMk cId="3812200160" sldId="10324"/>
            <ac:spMk id="91" creationId="{7D5F7D48-55E2-4B20-BCE4-576336C3156A}"/>
          </ac:spMkLst>
        </pc:spChg>
        <pc:spChg chg="mod">
          <ac:chgData name="Aude Van de WIELE" userId="7317e673-04dd-415c-a4d7-718682339b40" providerId="ADAL" clId="{80D4E734-020D-4C1F-A028-1B9E9B483F9A}" dt="2021-05-25T08:49:49.808" v="8533" actId="790"/>
          <ac:spMkLst>
            <pc:docMk/>
            <pc:sldMk cId="3812200160" sldId="10324"/>
            <ac:spMk id="110" creationId="{D112EAE9-1C24-4AF0-B3DD-273BF2FF5A59}"/>
          </ac:spMkLst>
        </pc:spChg>
        <pc:spChg chg="del">
          <ac:chgData name="Aude Van de WIELE" userId="7317e673-04dd-415c-a4d7-718682339b40" providerId="ADAL" clId="{80D4E734-020D-4C1F-A028-1B9E9B483F9A}" dt="2021-05-25T07:55:44.409" v="6852" actId="478"/>
          <ac:spMkLst>
            <pc:docMk/>
            <pc:sldMk cId="3812200160" sldId="10324"/>
            <ac:spMk id="111" creationId="{9B916422-AB4B-4397-9CE1-E4BDD0AED7FE}"/>
          </ac:spMkLst>
        </pc:spChg>
        <pc:spChg chg="mod">
          <ac:chgData name="Aude Van de WIELE" userId="7317e673-04dd-415c-a4d7-718682339b40" providerId="ADAL" clId="{80D4E734-020D-4C1F-A028-1B9E9B483F9A}" dt="2021-05-25T08:49:49.809" v="8534" actId="790"/>
          <ac:spMkLst>
            <pc:docMk/>
            <pc:sldMk cId="3812200160" sldId="10324"/>
            <ac:spMk id="122" creationId="{4BB1FB59-BBA0-4C1D-99BF-B17C66F28105}"/>
          </ac:spMkLst>
        </pc:spChg>
        <pc:spChg chg="mod">
          <ac:chgData name="Aude Van de WIELE" userId="7317e673-04dd-415c-a4d7-718682339b40" providerId="ADAL" clId="{80D4E734-020D-4C1F-A028-1B9E9B483F9A}" dt="2021-05-25T08:49:49.810" v="8535" actId="790"/>
          <ac:spMkLst>
            <pc:docMk/>
            <pc:sldMk cId="3812200160" sldId="10324"/>
            <ac:spMk id="123" creationId="{BA1295D8-39D5-452E-8452-EBFDE65B613E}"/>
          </ac:spMkLst>
        </pc:spChg>
        <pc:spChg chg="mod">
          <ac:chgData name="Aude Van de WIELE" userId="7317e673-04dd-415c-a4d7-718682339b40" providerId="ADAL" clId="{80D4E734-020D-4C1F-A028-1B9E9B483F9A}" dt="2021-05-25T08:49:49.811" v="8536" actId="790"/>
          <ac:spMkLst>
            <pc:docMk/>
            <pc:sldMk cId="3812200160" sldId="10324"/>
            <ac:spMk id="129" creationId="{41C22EBB-F88D-45C4-8EEC-7D82784A1DFD}"/>
          </ac:spMkLst>
        </pc:spChg>
        <pc:spChg chg="mod">
          <ac:chgData name="Aude Van de WIELE" userId="7317e673-04dd-415c-a4d7-718682339b40" providerId="ADAL" clId="{80D4E734-020D-4C1F-A028-1B9E9B483F9A}" dt="2021-05-25T08:49:49.812" v="8537" actId="790"/>
          <ac:spMkLst>
            <pc:docMk/>
            <pc:sldMk cId="3812200160" sldId="10324"/>
            <ac:spMk id="130" creationId="{163A8F1B-F414-4330-AC35-FC60619A3D17}"/>
          </ac:spMkLst>
        </pc:spChg>
        <pc:spChg chg="mod">
          <ac:chgData name="Aude Van de WIELE" userId="7317e673-04dd-415c-a4d7-718682339b40" providerId="ADAL" clId="{80D4E734-020D-4C1F-A028-1B9E9B483F9A}" dt="2021-05-25T08:49:49.828" v="8557" actId="790"/>
          <ac:spMkLst>
            <pc:docMk/>
            <pc:sldMk cId="3812200160" sldId="10324"/>
            <ac:spMk id="131" creationId="{F8E98C50-1E86-491D-9DCE-46388404D244}"/>
          </ac:spMkLst>
        </pc:spChg>
        <pc:spChg chg="mod">
          <ac:chgData name="Aude Van de WIELE" userId="7317e673-04dd-415c-a4d7-718682339b40" providerId="ADAL" clId="{80D4E734-020D-4C1F-A028-1B9E9B483F9A}" dt="2021-05-25T08:49:49.813" v="8538" actId="790"/>
          <ac:spMkLst>
            <pc:docMk/>
            <pc:sldMk cId="3812200160" sldId="10324"/>
            <ac:spMk id="132" creationId="{1A3DE5F6-DC50-4B3E-8712-4F7931E9D3D4}"/>
          </ac:spMkLst>
        </pc:spChg>
        <pc:spChg chg="mod">
          <ac:chgData name="Aude Van de WIELE" userId="7317e673-04dd-415c-a4d7-718682339b40" providerId="ADAL" clId="{80D4E734-020D-4C1F-A028-1B9E9B483F9A}" dt="2021-05-25T08:49:49.814" v="8539" actId="790"/>
          <ac:spMkLst>
            <pc:docMk/>
            <pc:sldMk cId="3812200160" sldId="10324"/>
            <ac:spMk id="133" creationId="{DC661DF3-2B60-4258-8A3C-6DA55E7974BD}"/>
          </ac:spMkLst>
        </pc:spChg>
        <pc:spChg chg="mod">
          <ac:chgData name="Aude Van de WIELE" userId="7317e673-04dd-415c-a4d7-718682339b40" providerId="ADAL" clId="{80D4E734-020D-4C1F-A028-1B9E9B483F9A}" dt="2021-05-25T08:49:49.814" v="8540" actId="790"/>
          <ac:spMkLst>
            <pc:docMk/>
            <pc:sldMk cId="3812200160" sldId="10324"/>
            <ac:spMk id="134" creationId="{D5795A40-7B7E-4315-876A-A38D6610B661}"/>
          </ac:spMkLst>
        </pc:spChg>
        <pc:spChg chg="mod">
          <ac:chgData name="Aude Van de WIELE" userId="7317e673-04dd-415c-a4d7-718682339b40" providerId="ADAL" clId="{80D4E734-020D-4C1F-A028-1B9E9B483F9A}" dt="2021-05-25T08:49:49.855" v="8586" actId="790"/>
          <ac:spMkLst>
            <pc:docMk/>
            <pc:sldMk cId="3812200160" sldId="10324"/>
            <ac:spMk id="135" creationId="{FD862AA3-AF38-4B7A-971E-323EE96133C2}"/>
          </ac:spMkLst>
        </pc:spChg>
        <pc:spChg chg="mod">
          <ac:chgData name="Aude Van de WIELE" userId="7317e673-04dd-415c-a4d7-718682339b40" providerId="ADAL" clId="{80D4E734-020D-4C1F-A028-1B9E9B483F9A}" dt="2021-05-25T08:49:49.815" v="8541" actId="790"/>
          <ac:spMkLst>
            <pc:docMk/>
            <pc:sldMk cId="3812200160" sldId="10324"/>
            <ac:spMk id="136" creationId="{005E694E-10BD-41C7-B221-883736CCCEFB}"/>
          </ac:spMkLst>
        </pc:spChg>
        <pc:spChg chg="mod">
          <ac:chgData name="Aude Van de WIELE" userId="7317e673-04dd-415c-a4d7-718682339b40" providerId="ADAL" clId="{80D4E734-020D-4C1F-A028-1B9E9B483F9A}" dt="2021-05-25T08:49:49.817" v="8543" actId="790"/>
          <ac:spMkLst>
            <pc:docMk/>
            <pc:sldMk cId="3812200160" sldId="10324"/>
            <ac:spMk id="137" creationId="{AF67C425-8708-4B3E-9B2A-E5C85D989489}"/>
          </ac:spMkLst>
        </pc:spChg>
        <pc:spChg chg="mod">
          <ac:chgData name="Aude Van de WIELE" userId="7317e673-04dd-415c-a4d7-718682339b40" providerId="ADAL" clId="{80D4E734-020D-4C1F-A028-1B9E9B483F9A}" dt="2021-05-25T08:49:49.830" v="8559" actId="790"/>
          <ac:spMkLst>
            <pc:docMk/>
            <pc:sldMk cId="3812200160" sldId="10324"/>
            <ac:spMk id="139" creationId="{D81795AE-6E56-400B-B079-B0B457EC71B9}"/>
          </ac:spMkLst>
        </pc:spChg>
        <pc:spChg chg="mod">
          <ac:chgData name="Aude Van de WIELE" userId="7317e673-04dd-415c-a4d7-718682339b40" providerId="ADAL" clId="{80D4E734-020D-4C1F-A028-1B9E9B483F9A}" dt="2021-05-25T08:49:49.831" v="8560" actId="790"/>
          <ac:spMkLst>
            <pc:docMk/>
            <pc:sldMk cId="3812200160" sldId="10324"/>
            <ac:spMk id="140" creationId="{D67E5A69-EEF9-4466-B400-1F4314F96908}"/>
          </ac:spMkLst>
        </pc:spChg>
        <pc:spChg chg="mod">
          <ac:chgData name="Aude Van de WIELE" userId="7317e673-04dd-415c-a4d7-718682339b40" providerId="ADAL" clId="{80D4E734-020D-4C1F-A028-1B9E9B483F9A}" dt="2021-05-25T08:49:49.832" v="8561" actId="790"/>
          <ac:spMkLst>
            <pc:docMk/>
            <pc:sldMk cId="3812200160" sldId="10324"/>
            <ac:spMk id="141" creationId="{F17F2A21-E008-48DD-B2E8-A16930C7D703}"/>
          </ac:spMkLst>
        </pc:spChg>
        <pc:spChg chg="mod">
          <ac:chgData name="Aude Van de WIELE" userId="7317e673-04dd-415c-a4d7-718682339b40" providerId="ADAL" clId="{80D4E734-020D-4C1F-A028-1B9E9B483F9A}" dt="2021-05-25T08:49:49.833" v="8562" actId="790"/>
          <ac:spMkLst>
            <pc:docMk/>
            <pc:sldMk cId="3812200160" sldId="10324"/>
            <ac:spMk id="142" creationId="{CEC60E3F-428F-4D01-91EC-F6C8001FE3D1}"/>
          </ac:spMkLst>
        </pc:spChg>
        <pc:spChg chg="mod">
          <ac:chgData name="Aude Van de WIELE" userId="7317e673-04dd-415c-a4d7-718682339b40" providerId="ADAL" clId="{80D4E734-020D-4C1F-A028-1B9E9B483F9A}" dt="2021-05-25T08:49:49.856" v="8587" actId="790"/>
          <ac:spMkLst>
            <pc:docMk/>
            <pc:sldMk cId="3812200160" sldId="10324"/>
            <ac:spMk id="143" creationId="{F7488878-04D1-4389-A4F8-1D88F29777F1}"/>
          </ac:spMkLst>
        </pc:spChg>
        <pc:spChg chg="mod">
          <ac:chgData name="Aude Van de WIELE" userId="7317e673-04dd-415c-a4d7-718682339b40" providerId="ADAL" clId="{80D4E734-020D-4C1F-A028-1B9E9B483F9A}" dt="2021-05-25T08:49:49.856" v="8588" actId="790"/>
          <ac:spMkLst>
            <pc:docMk/>
            <pc:sldMk cId="3812200160" sldId="10324"/>
            <ac:spMk id="144" creationId="{D56AE4E1-BC53-4099-9A45-97E9D932BCAC}"/>
          </ac:spMkLst>
        </pc:spChg>
        <pc:spChg chg="mod">
          <ac:chgData name="Aude Van de WIELE" userId="7317e673-04dd-415c-a4d7-718682339b40" providerId="ADAL" clId="{80D4E734-020D-4C1F-A028-1B9E9B483F9A}" dt="2021-05-25T09:35:18.867" v="9938"/>
          <ac:spMkLst>
            <pc:docMk/>
            <pc:sldMk cId="3812200160" sldId="10324"/>
            <ac:spMk id="145" creationId="{F15D3BB1-159B-47EC-922F-EB80675D3EEC}"/>
          </ac:spMkLst>
        </pc:spChg>
        <pc:spChg chg="mod">
          <ac:chgData name="Aude Van de WIELE" userId="7317e673-04dd-415c-a4d7-718682339b40" providerId="ADAL" clId="{80D4E734-020D-4C1F-A028-1B9E9B483F9A}" dt="2021-05-25T08:49:49.857" v="8589" actId="790"/>
          <ac:spMkLst>
            <pc:docMk/>
            <pc:sldMk cId="3812200160" sldId="10324"/>
            <ac:spMk id="146" creationId="{CB1AFC02-2042-4393-936C-35B65A386EA5}"/>
          </ac:spMkLst>
        </pc:spChg>
        <pc:spChg chg="mod">
          <ac:chgData name="Aude Van de WIELE" userId="7317e673-04dd-415c-a4d7-718682339b40" providerId="ADAL" clId="{80D4E734-020D-4C1F-A028-1B9E9B483F9A}" dt="2021-05-25T08:49:49.851" v="8581" actId="790"/>
          <ac:spMkLst>
            <pc:docMk/>
            <pc:sldMk cId="3812200160" sldId="10324"/>
            <ac:spMk id="147" creationId="{CCF21D30-C589-4543-B239-440CDB562FB9}"/>
          </ac:spMkLst>
        </pc:spChg>
        <pc:spChg chg="mod">
          <ac:chgData name="Aude Van de WIELE" userId="7317e673-04dd-415c-a4d7-718682339b40" providerId="ADAL" clId="{80D4E734-020D-4C1F-A028-1B9E9B483F9A}" dt="2021-05-25T08:49:49.845" v="8574" actId="790"/>
          <ac:spMkLst>
            <pc:docMk/>
            <pc:sldMk cId="3812200160" sldId="10324"/>
            <ac:spMk id="148" creationId="{EBB51B76-CB68-42F5-97A6-FBBED1871205}"/>
          </ac:spMkLst>
        </pc:spChg>
        <pc:spChg chg="mod">
          <ac:chgData name="Aude Van de WIELE" userId="7317e673-04dd-415c-a4d7-718682339b40" providerId="ADAL" clId="{80D4E734-020D-4C1F-A028-1B9E9B483F9A}" dt="2021-05-25T08:49:49.846" v="8575" actId="790"/>
          <ac:spMkLst>
            <pc:docMk/>
            <pc:sldMk cId="3812200160" sldId="10324"/>
            <ac:spMk id="149" creationId="{E8255177-A877-4442-95F5-4D3D40779B46}"/>
          </ac:spMkLst>
        </pc:spChg>
        <pc:spChg chg="mod">
          <ac:chgData name="Aude Van de WIELE" userId="7317e673-04dd-415c-a4d7-718682339b40" providerId="ADAL" clId="{80D4E734-020D-4C1F-A028-1B9E9B483F9A}" dt="2021-05-25T08:49:49.846" v="8576" actId="790"/>
          <ac:spMkLst>
            <pc:docMk/>
            <pc:sldMk cId="3812200160" sldId="10324"/>
            <ac:spMk id="150" creationId="{06FE88BA-F1AE-4935-87DB-1EA9528E630D}"/>
          </ac:spMkLst>
        </pc:spChg>
        <pc:spChg chg="mod">
          <ac:chgData name="Aude Van de WIELE" userId="7317e673-04dd-415c-a4d7-718682339b40" providerId="ADAL" clId="{80D4E734-020D-4C1F-A028-1B9E9B483F9A}" dt="2021-05-25T08:49:49.848" v="8578" actId="790"/>
          <ac:spMkLst>
            <pc:docMk/>
            <pc:sldMk cId="3812200160" sldId="10324"/>
            <ac:spMk id="151" creationId="{945919F5-1F6F-4979-90CA-397384E59334}"/>
          </ac:spMkLst>
        </pc:spChg>
        <pc:spChg chg="mod">
          <ac:chgData name="Aude Van de WIELE" userId="7317e673-04dd-415c-a4d7-718682339b40" providerId="ADAL" clId="{80D4E734-020D-4C1F-A028-1B9E9B483F9A}" dt="2021-05-25T09:37:10.333" v="9967" actId="20577"/>
          <ac:spMkLst>
            <pc:docMk/>
            <pc:sldMk cId="3812200160" sldId="10324"/>
            <ac:spMk id="152" creationId="{2D48A5B8-C2CC-4F3A-B66A-BB33615C274E}"/>
          </ac:spMkLst>
        </pc:spChg>
        <pc:spChg chg="mod">
          <ac:chgData name="Aude Van de WIELE" userId="7317e673-04dd-415c-a4d7-718682339b40" providerId="ADAL" clId="{80D4E734-020D-4C1F-A028-1B9E9B483F9A}" dt="2021-05-25T08:49:49.852" v="8582" actId="790"/>
          <ac:spMkLst>
            <pc:docMk/>
            <pc:sldMk cId="3812200160" sldId="10324"/>
            <ac:spMk id="153" creationId="{6069B520-1F77-45E7-BE1C-AF4ABF40CC36}"/>
          </ac:spMkLst>
        </pc:spChg>
        <pc:spChg chg="mod">
          <ac:chgData name="Aude Van de WIELE" userId="7317e673-04dd-415c-a4d7-718682339b40" providerId="ADAL" clId="{80D4E734-020D-4C1F-A028-1B9E9B483F9A}" dt="2021-05-25T08:49:49.853" v="8583" actId="790"/>
          <ac:spMkLst>
            <pc:docMk/>
            <pc:sldMk cId="3812200160" sldId="10324"/>
            <ac:spMk id="154" creationId="{1C3C88C2-890C-4033-A44F-07984ADACF1E}"/>
          </ac:spMkLst>
        </pc:spChg>
        <pc:spChg chg="mod">
          <ac:chgData name="Aude Van de WIELE" userId="7317e673-04dd-415c-a4d7-718682339b40" providerId="ADAL" clId="{80D4E734-020D-4C1F-A028-1B9E9B483F9A}" dt="2021-05-25T08:49:49.853" v="8584" actId="790"/>
          <ac:spMkLst>
            <pc:docMk/>
            <pc:sldMk cId="3812200160" sldId="10324"/>
            <ac:spMk id="155" creationId="{603032E7-E878-4838-BCFE-A23E1846D45A}"/>
          </ac:spMkLst>
        </pc:spChg>
        <pc:spChg chg="mod">
          <ac:chgData name="Aude Van de WIELE" userId="7317e673-04dd-415c-a4d7-718682339b40" providerId="ADAL" clId="{80D4E734-020D-4C1F-A028-1B9E9B483F9A}" dt="2021-05-25T08:49:49.854" v="8585" actId="790"/>
          <ac:spMkLst>
            <pc:docMk/>
            <pc:sldMk cId="3812200160" sldId="10324"/>
            <ac:spMk id="156" creationId="{006E1FAA-A1D7-4C4C-875A-40103B24FEA4}"/>
          </ac:spMkLst>
        </pc:spChg>
        <pc:spChg chg="mod">
          <ac:chgData name="Aude Van de WIELE" userId="7317e673-04dd-415c-a4d7-718682339b40" providerId="ADAL" clId="{80D4E734-020D-4C1F-A028-1B9E9B483F9A}" dt="2021-05-25T08:49:49.858" v="8590" actId="790"/>
          <ac:spMkLst>
            <pc:docMk/>
            <pc:sldMk cId="3812200160" sldId="10324"/>
            <ac:spMk id="157" creationId="{A416B439-E09F-4FEA-A65A-8F2414D40144}"/>
          </ac:spMkLst>
        </pc:spChg>
        <pc:spChg chg="mod">
          <ac:chgData name="Aude Van de WIELE" userId="7317e673-04dd-415c-a4d7-718682339b40" providerId="ADAL" clId="{80D4E734-020D-4C1F-A028-1B9E9B483F9A}" dt="2021-05-25T08:49:49.859" v="8591" actId="790"/>
          <ac:spMkLst>
            <pc:docMk/>
            <pc:sldMk cId="3812200160" sldId="10324"/>
            <ac:spMk id="158" creationId="{09DF8D2C-9A8D-4BA6-96C6-E31AD19683BC}"/>
          </ac:spMkLst>
        </pc:spChg>
        <pc:spChg chg="mod">
          <ac:chgData name="Aude Van de WIELE" userId="7317e673-04dd-415c-a4d7-718682339b40" providerId="ADAL" clId="{80D4E734-020D-4C1F-A028-1B9E9B483F9A}" dt="2021-05-25T08:49:49.818" v="8544" actId="790"/>
          <ac:spMkLst>
            <pc:docMk/>
            <pc:sldMk cId="3812200160" sldId="10324"/>
            <ac:spMk id="160" creationId="{A8A94204-7780-44D2-9F69-E6D88D81CCC9}"/>
          </ac:spMkLst>
        </pc:spChg>
        <pc:spChg chg="mod">
          <ac:chgData name="Aude Van de WIELE" userId="7317e673-04dd-415c-a4d7-718682339b40" providerId="ADAL" clId="{80D4E734-020D-4C1F-A028-1B9E9B483F9A}" dt="2021-05-25T08:49:49.818" v="8545" actId="790"/>
          <ac:spMkLst>
            <pc:docMk/>
            <pc:sldMk cId="3812200160" sldId="10324"/>
            <ac:spMk id="162" creationId="{7C77AD03-3049-47E7-8DA8-DA2A5283D6AD}"/>
          </ac:spMkLst>
        </pc:spChg>
        <pc:spChg chg="mod">
          <ac:chgData name="Aude Van de WIELE" userId="7317e673-04dd-415c-a4d7-718682339b40" providerId="ADAL" clId="{80D4E734-020D-4C1F-A028-1B9E9B483F9A}" dt="2021-05-25T08:49:49.819" v="8546" actId="790"/>
          <ac:spMkLst>
            <pc:docMk/>
            <pc:sldMk cId="3812200160" sldId="10324"/>
            <ac:spMk id="164" creationId="{93C1D0C1-3E96-4568-A5A8-D1E40A41B534}"/>
          </ac:spMkLst>
        </pc:spChg>
        <pc:spChg chg="mod">
          <ac:chgData name="Aude Van de WIELE" userId="7317e673-04dd-415c-a4d7-718682339b40" providerId="ADAL" clId="{80D4E734-020D-4C1F-A028-1B9E9B483F9A}" dt="2021-05-25T08:49:49.820" v="8547" actId="790"/>
          <ac:spMkLst>
            <pc:docMk/>
            <pc:sldMk cId="3812200160" sldId="10324"/>
            <ac:spMk id="165" creationId="{04CC173B-ACB2-4E38-A71A-E7D9BE239612}"/>
          </ac:spMkLst>
        </pc:spChg>
        <pc:spChg chg="mod">
          <ac:chgData name="Aude Van de WIELE" userId="7317e673-04dd-415c-a4d7-718682339b40" providerId="ADAL" clId="{80D4E734-020D-4C1F-A028-1B9E9B483F9A}" dt="2021-05-25T08:49:49.820" v="8548" actId="790"/>
          <ac:spMkLst>
            <pc:docMk/>
            <pc:sldMk cId="3812200160" sldId="10324"/>
            <ac:spMk id="166" creationId="{408328D6-F8C9-4E92-BD84-F73B4B2AC62C}"/>
          </ac:spMkLst>
        </pc:spChg>
        <pc:spChg chg="mod">
          <ac:chgData name="Aude Van de WIELE" userId="7317e673-04dd-415c-a4d7-718682339b40" providerId="ADAL" clId="{80D4E734-020D-4C1F-A028-1B9E9B483F9A}" dt="2021-05-25T08:49:49.821" v="8549" actId="790"/>
          <ac:spMkLst>
            <pc:docMk/>
            <pc:sldMk cId="3812200160" sldId="10324"/>
            <ac:spMk id="167" creationId="{17EE3082-4468-4DEE-B266-46A543DCABD0}"/>
          </ac:spMkLst>
        </pc:spChg>
        <pc:spChg chg="mod">
          <ac:chgData name="Aude Van de WIELE" userId="7317e673-04dd-415c-a4d7-718682339b40" providerId="ADAL" clId="{80D4E734-020D-4C1F-A028-1B9E9B483F9A}" dt="2021-05-25T08:49:49.822" v="8550" actId="790"/>
          <ac:spMkLst>
            <pc:docMk/>
            <pc:sldMk cId="3812200160" sldId="10324"/>
            <ac:spMk id="168" creationId="{28407757-D3B7-4C31-94D2-92CD0D0F6FE6}"/>
          </ac:spMkLst>
        </pc:spChg>
        <pc:spChg chg="mod">
          <ac:chgData name="Aude Van de WIELE" userId="7317e673-04dd-415c-a4d7-718682339b40" providerId="ADAL" clId="{80D4E734-020D-4C1F-A028-1B9E9B483F9A}" dt="2021-05-25T08:49:49.823" v="8551" actId="790"/>
          <ac:spMkLst>
            <pc:docMk/>
            <pc:sldMk cId="3812200160" sldId="10324"/>
            <ac:spMk id="169" creationId="{4F9ED36F-6688-4A56-91E4-07C47EF29B36}"/>
          </ac:spMkLst>
        </pc:spChg>
        <pc:spChg chg="mod">
          <ac:chgData name="Aude Van de WIELE" userId="7317e673-04dd-415c-a4d7-718682339b40" providerId="ADAL" clId="{80D4E734-020D-4C1F-A028-1B9E9B483F9A}" dt="2021-05-25T08:49:49.823" v="8552" actId="790"/>
          <ac:spMkLst>
            <pc:docMk/>
            <pc:sldMk cId="3812200160" sldId="10324"/>
            <ac:spMk id="170" creationId="{15723705-43BD-4D59-894C-26527F3480E1}"/>
          </ac:spMkLst>
        </pc:spChg>
        <pc:spChg chg="add mod">
          <ac:chgData name="Aude Van de WIELE" userId="7317e673-04dd-415c-a4d7-718682339b40" providerId="ADAL" clId="{80D4E734-020D-4C1F-A028-1B9E9B483F9A}" dt="2021-05-25T08:49:49.861" v="8592" actId="790"/>
          <ac:spMkLst>
            <pc:docMk/>
            <pc:sldMk cId="3812200160" sldId="10324"/>
            <ac:spMk id="171" creationId="{1D095F48-4B50-4366-BF90-2013CC17233D}"/>
          </ac:spMkLst>
        </pc:spChg>
        <pc:spChg chg="mod">
          <ac:chgData name="Aude Van de WIELE" userId="7317e673-04dd-415c-a4d7-718682339b40" providerId="ADAL" clId="{80D4E734-020D-4C1F-A028-1B9E9B483F9A}" dt="2021-05-25T08:49:49.824" v="8553" actId="790"/>
          <ac:spMkLst>
            <pc:docMk/>
            <pc:sldMk cId="3812200160" sldId="10324"/>
            <ac:spMk id="172" creationId="{F63C3E3D-03B5-45E4-AE5F-8218AD68B59F}"/>
          </ac:spMkLst>
        </pc:spChg>
        <pc:spChg chg="mod">
          <ac:chgData name="Aude Van de WIELE" userId="7317e673-04dd-415c-a4d7-718682339b40" providerId="ADAL" clId="{80D4E734-020D-4C1F-A028-1B9E9B483F9A}" dt="2021-05-25T08:49:49.825" v="8554" actId="790"/>
          <ac:spMkLst>
            <pc:docMk/>
            <pc:sldMk cId="3812200160" sldId="10324"/>
            <ac:spMk id="173" creationId="{B47A53C0-6120-4845-A424-B0DE21ABFD5A}"/>
          </ac:spMkLst>
        </pc:spChg>
        <pc:spChg chg="mod">
          <ac:chgData name="Aude Van de WIELE" userId="7317e673-04dd-415c-a4d7-718682339b40" providerId="ADAL" clId="{80D4E734-020D-4C1F-A028-1B9E9B483F9A}" dt="2021-05-25T08:49:49.833" v="8563" actId="790"/>
          <ac:spMkLst>
            <pc:docMk/>
            <pc:sldMk cId="3812200160" sldId="10324"/>
            <ac:spMk id="174" creationId="{AA773D3A-551D-462E-A85C-1540A9EA2436}"/>
          </ac:spMkLst>
        </pc:spChg>
        <pc:spChg chg="mod">
          <ac:chgData name="Aude Van de WIELE" userId="7317e673-04dd-415c-a4d7-718682339b40" providerId="ADAL" clId="{80D4E734-020D-4C1F-A028-1B9E9B483F9A}" dt="2021-05-25T08:49:49.825" v="8555" actId="790"/>
          <ac:spMkLst>
            <pc:docMk/>
            <pc:sldMk cId="3812200160" sldId="10324"/>
            <ac:spMk id="175" creationId="{FDB066EE-C818-4367-A745-02F85B173916}"/>
          </ac:spMkLst>
        </pc:spChg>
        <pc:spChg chg="mod">
          <ac:chgData name="Aude Van de WIELE" userId="7317e673-04dd-415c-a4d7-718682339b40" providerId="ADAL" clId="{80D4E734-020D-4C1F-A028-1B9E9B483F9A}" dt="2021-05-25T09:56:20.822" v="10104" actId="20577"/>
          <ac:spMkLst>
            <pc:docMk/>
            <pc:sldMk cId="3812200160" sldId="10324"/>
            <ac:spMk id="180" creationId="{FEB4CC53-2CBE-4D11-A1A1-337C72BD1095}"/>
          </ac:spMkLst>
        </pc:spChg>
        <pc:spChg chg="mod">
          <ac:chgData name="Aude Van de WIELE" userId="7317e673-04dd-415c-a4d7-718682339b40" providerId="ADAL" clId="{80D4E734-020D-4C1F-A028-1B9E9B483F9A}" dt="2021-05-25T08:49:49.844" v="8573" actId="790"/>
          <ac:spMkLst>
            <pc:docMk/>
            <pc:sldMk cId="3812200160" sldId="10324"/>
            <ac:spMk id="193" creationId="{9E4141DE-4A79-4509-A482-38EBBF749B2F}"/>
          </ac:spMkLst>
        </pc:spChg>
        <pc:spChg chg="mod">
          <ac:chgData name="Aude Van de WIELE" userId="7317e673-04dd-415c-a4d7-718682339b40" providerId="ADAL" clId="{80D4E734-020D-4C1F-A028-1B9E9B483F9A}" dt="2021-05-25T08:49:49.851" v="8580" actId="790"/>
          <ac:spMkLst>
            <pc:docMk/>
            <pc:sldMk cId="3812200160" sldId="10324"/>
            <ac:spMk id="203" creationId="{66C82CEB-26AA-4A34-B009-15C754ADD95F}"/>
          </ac:spMkLst>
        </pc:spChg>
        <pc:spChg chg="mod">
          <ac:chgData name="Aude Van de WIELE" userId="7317e673-04dd-415c-a4d7-718682339b40" providerId="ADAL" clId="{80D4E734-020D-4C1F-A028-1B9E9B483F9A}" dt="2021-05-25T08:49:49.834" v="8564" actId="790"/>
          <ac:spMkLst>
            <pc:docMk/>
            <pc:sldMk cId="3812200160" sldId="10324"/>
            <ac:spMk id="204" creationId="{B9E50749-E979-4C7E-8561-0FD702BC8F6C}"/>
          </ac:spMkLst>
        </pc:spChg>
        <pc:spChg chg="mod">
          <ac:chgData name="Aude Van de WIELE" userId="7317e673-04dd-415c-a4d7-718682339b40" providerId="ADAL" clId="{80D4E734-020D-4C1F-A028-1B9E9B483F9A}" dt="2021-05-25T08:49:49.835" v="8565" actId="790"/>
          <ac:spMkLst>
            <pc:docMk/>
            <pc:sldMk cId="3812200160" sldId="10324"/>
            <ac:spMk id="205" creationId="{9425B00E-AD18-47AF-89FD-B1C93C3D8803}"/>
          </ac:spMkLst>
        </pc:spChg>
        <pc:spChg chg="mod">
          <ac:chgData name="Aude Van de WIELE" userId="7317e673-04dd-415c-a4d7-718682339b40" providerId="ADAL" clId="{80D4E734-020D-4C1F-A028-1B9E9B483F9A}" dt="2021-05-25T08:49:49.836" v="8566" actId="790"/>
          <ac:spMkLst>
            <pc:docMk/>
            <pc:sldMk cId="3812200160" sldId="10324"/>
            <ac:spMk id="206" creationId="{8273D81A-6766-4312-B496-D03B81AC9BBC}"/>
          </ac:spMkLst>
        </pc:spChg>
        <pc:spChg chg="mod">
          <ac:chgData name="Aude Van de WIELE" userId="7317e673-04dd-415c-a4d7-718682339b40" providerId="ADAL" clId="{80D4E734-020D-4C1F-A028-1B9E9B483F9A}" dt="2021-05-25T08:49:49.837" v="8567" actId="790"/>
          <ac:spMkLst>
            <pc:docMk/>
            <pc:sldMk cId="3812200160" sldId="10324"/>
            <ac:spMk id="207" creationId="{A933E967-1C72-464C-8FDF-9DFEC63FFCA6}"/>
          </ac:spMkLst>
        </pc:spChg>
        <pc:spChg chg="mod">
          <ac:chgData name="Aude Van de WIELE" userId="7317e673-04dd-415c-a4d7-718682339b40" providerId="ADAL" clId="{80D4E734-020D-4C1F-A028-1B9E9B483F9A}" dt="2021-05-25T08:49:49.838" v="8568" actId="790"/>
          <ac:spMkLst>
            <pc:docMk/>
            <pc:sldMk cId="3812200160" sldId="10324"/>
            <ac:spMk id="208" creationId="{20BA7029-F038-4867-9622-E4D9CE90F684}"/>
          </ac:spMkLst>
        </pc:spChg>
        <pc:spChg chg="mod">
          <ac:chgData name="Aude Van de WIELE" userId="7317e673-04dd-415c-a4d7-718682339b40" providerId="ADAL" clId="{80D4E734-020D-4C1F-A028-1B9E9B483F9A}" dt="2021-05-25T08:49:49.839" v="8569" actId="790"/>
          <ac:spMkLst>
            <pc:docMk/>
            <pc:sldMk cId="3812200160" sldId="10324"/>
            <ac:spMk id="209" creationId="{62BFE40B-D8D4-4437-85DD-9E87507AB151}"/>
          </ac:spMkLst>
        </pc:spChg>
        <pc:spChg chg="mod">
          <ac:chgData name="Aude Van de WIELE" userId="7317e673-04dd-415c-a4d7-718682339b40" providerId="ADAL" clId="{80D4E734-020D-4C1F-A028-1B9E9B483F9A}" dt="2021-05-25T08:49:49.841" v="8570" actId="790"/>
          <ac:spMkLst>
            <pc:docMk/>
            <pc:sldMk cId="3812200160" sldId="10324"/>
            <ac:spMk id="213" creationId="{41EC974A-FB49-45E0-8A39-D090AE5F5C76}"/>
          </ac:spMkLst>
        </pc:spChg>
        <pc:spChg chg="mod">
          <ac:chgData name="Aude Van de WIELE" userId="7317e673-04dd-415c-a4d7-718682339b40" providerId="ADAL" clId="{80D4E734-020D-4C1F-A028-1B9E9B483F9A}" dt="2021-05-25T08:49:49.842" v="8571" actId="790"/>
          <ac:spMkLst>
            <pc:docMk/>
            <pc:sldMk cId="3812200160" sldId="10324"/>
            <ac:spMk id="214" creationId="{B54C460B-4B10-4BF9-9EFF-2D814845DF1B}"/>
          </ac:spMkLst>
        </pc:spChg>
        <pc:spChg chg="mod">
          <ac:chgData name="Aude Van de WIELE" userId="7317e673-04dd-415c-a4d7-718682339b40" providerId="ADAL" clId="{80D4E734-020D-4C1F-A028-1B9E9B483F9A}" dt="2021-05-25T08:49:49.843" v="8572" actId="790"/>
          <ac:spMkLst>
            <pc:docMk/>
            <pc:sldMk cId="3812200160" sldId="10324"/>
            <ac:spMk id="220" creationId="{4007CE4A-35CC-4574-B129-C8CD16A428D5}"/>
          </ac:spMkLst>
        </pc:spChg>
      </pc:sldChg>
      <pc:sldChg chg="modSp mod">
        <pc:chgData name="Aude Van de WIELE" userId="7317e673-04dd-415c-a4d7-718682339b40" providerId="ADAL" clId="{80D4E734-020D-4C1F-A028-1B9E9B483F9A}" dt="2021-05-25T08:49:48.993" v="7779" actId="790"/>
        <pc:sldMkLst>
          <pc:docMk/>
          <pc:sldMk cId="738382440" sldId="10326"/>
        </pc:sldMkLst>
        <pc:spChg chg="mod">
          <ac:chgData name="Aude Van de WIELE" userId="7317e673-04dd-415c-a4d7-718682339b40" providerId="ADAL" clId="{80D4E734-020D-4C1F-A028-1B9E9B483F9A}" dt="2021-05-25T08:49:48.984" v="7772" actId="790"/>
          <ac:spMkLst>
            <pc:docMk/>
            <pc:sldMk cId="738382440" sldId="10326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8:49:48.985" v="7773" actId="790"/>
          <ac:spMkLst>
            <pc:docMk/>
            <pc:sldMk cId="738382440" sldId="10326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48.986" v="7774" actId="790"/>
          <ac:spMkLst>
            <pc:docMk/>
            <pc:sldMk cId="738382440" sldId="10326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48.993" v="7779" actId="790"/>
          <ac:spMkLst>
            <pc:docMk/>
            <pc:sldMk cId="738382440" sldId="10326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48.987" v="7775" actId="790"/>
          <ac:spMkLst>
            <pc:docMk/>
            <pc:sldMk cId="738382440" sldId="10326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48.988" v="7776" actId="790"/>
          <ac:spMkLst>
            <pc:docMk/>
            <pc:sldMk cId="738382440" sldId="10326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48.990" v="7777" actId="790"/>
          <ac:spMkLst>
            <pc:docMk/>
            <pc:sldMk cId="738382440" sldId="10326"/>
            <ac:spMk id="22" creationId="{C002634F-3FA9-4AC3-90E2-0D253FC97BF7}"/>
          </ac:spMkLst>
        </pc:spChg>
        <pc:spChg chg="mod">
          <ac:chgData name="Aude Van de WIELE" userId="7317e673-04dd-415c-a4d7-718682339b40" providerId="ADAL" clId="{80D4E734-020D-4C1F-A028-1B9E9B483F9A}" dt="2021-05-25T08:49:48.991" v="7778" actId="790"/>
          <ac:spMkLst>
            <pc:docMk/>
            <pc:sldMk cId="738382440" sldId="10326"/>
            <ac:spMk id="24" creationId="{9523976D-7994-4445-A7A3-F04F6C533708}"/>
          </ac:spMkLst>
        </pc:spChg>
      </pc:sldChg>
      <pc:sldChg chg="modSp mod">
        <pc:chgData name="Aude Van de WIELE" userId="7317e673-04dd-415c-a4d7-718682339b40" providerId="ADAL" clId="{80D4E734-020D-4C1F-A028-1B9E9B483F9A}" dt="2021-05-25T09:51:56.405" v="10053" actId="20577"/>
        <pc:sldMkLst>
          <pc:docMk/>
          <pc:sldMk cId="1730204151" sldId="10328"/>
        </pc:sldMkLst>
        <pc:spChg chg="mod">
          <ac:chgData name="Aude Van de WIELE" userId="7317e673-04dd-415c-a4d7-718682339b40" providerId="ADAL" clId="{80D4E734-020D-4C1F-A028-1B9E9B483F9A}" dt="2021-05-25T08:49:50.193" v="8837" actId="790"/>
          <ac:spMkLst>
            <pc:docMk/>
            <pc:sldMk cId="1730204151" sldId="10328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9:51:56.405" v="10053" actId="20577"/>
          <ac:spMkLst>
            <pc:docMk/>
            <pc:sldMk cId="1730204151" sldId="10328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50.198" v="8839" actId="790"/>
          <ac:spMkLst>
            <pc:docMk/>
            <pc:sldMk cId="1730204151" sldId="10328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50.204" v="8844" actId="790"/>
          <ac:spMkLst>
            <pc:docMk/>
            <pc:sldMk cId="1730204151" sldId="10328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50.199" v="8840" actId="790"/>
          <ac:spMkLst>
            <pc:docMk/>
            <pc:sldMk cId="1730204151" sldId="10328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50.200" v="8841" actId="790"/>
          <ac:spMkLst>
            <pc:docMk/>
            <pc:sldMk cId="1730204151" sldId="10328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50.201" v="8842" actId="790"/>
          <ac:spMkLst>
            <pc:docMk/>
            <pc:sldMk cId="1730204151" sldId="10328"/>
            <ac:spMk id="24" creationId="{9523976D-7994-4445-A7A3-F04F6C533708}"/>
          </ac:spMkLst>
        </pc:spChg>
        <pc:spChg chg="mod">
          <ac:chgData name="Aude Van de WIELE" userId="7317e673-04dd-415c-a4d7-718682339b40" providerId="ADAL" clId="{80D4E734-020D-4C1F-A028-1B9E9B483F9A}" dt="2021-05-25T08:49:50.202" v="8843" actId="790"/>
          <ac:spMkLst>
            <pc:docMk/>
            <pc:sldMk cId="1730204151" sldId="10328"/>
            <ac:spMk id="26" creationId="{D70D99D8-5440-4867-B8A0-57942A3EA3D2}"/>
          </ac:spMkLst>
        </pc:sp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2667120321" sldId="10329"/>
        </pc:sldMkLst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1341973798" sldId="10330"/>
        </pc:sldMkLst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1716130790" sldId="10333"/>
        </pc:sldMkLst>
      </pc:sldChg>
      <pc:sldChg chg="modSp mod">
        <pc:chgData name="Aude Van de WIELE" userId="7317e673-04dd-415c-a4d7-718682339b40" providerId="ADAL" clId="{80D4E734-020D-4C1F-A028-1B9E9B483F9A}" dt="2021-05-25T08:49:50.406" v="8976" actId="790"/>
        <pc:sldMkLst>
          <pc:docMk/>
          <pc:sldMk cId="1424870296" sldId="10335"/>
        </pc:sldMkLst>
        <pc:spChg chg="mod">
          <ac:chgData name="Aude Van de WIELE" userId="7317e673-04dd-415c-a4d7-718682339b40" providerId="ADAL" clId="{80D4E734-020D-4C1F-A028-1B9E9B483F9A}" dt="2021-05-25T08:49:50.325" v="8945" actId="790"/>
          <ac:spMkLst>
            <pc:docMk/>
            <pc:sldMk cId="1424870296" sldId="10335"/>
            <ac:spMk id="2" creationId="{13177ED9-F236-4FEB-A676-BB6F2C98ABD8}"/>
          </ac:spMkLst>
        </pc:spChg>
        <pc:spChg chg="mod">
          <ac:chgData name="Aude Van de WIELE" userId="7317e673-04dd-415c-a4d7-718682339b40" providerId="ADAL" clId="{80D4E734-020D-4C1F-A028-1B9E9B483F9A}" dt="2021-05-25T08:49:50.397" v="8967" actId="790"/>
          <ac:spMkLst>
            <pc:docMk/>
            <pc:sldMk cId="1424870296" sldId="10335"/>
            <ac:spMk id="3" creationId="{A69D2220-5822-4C7B-AC0B-BB560C608D4E}"/>
          </ac:spMkLst>
        </pc:spChg>
        <pc:spChg chg="mod">
          <ac:chgData name="Aude Van de WIELE" userId="7317e673-04dd-415c-a4d7-718682339b40" providerId="ADAL" clId="{80D4E734-020D-4C1F-A028-1B9E9B483F9A}" dt="2021-05-25T08:49:50.333" v="8946" actId="790"/>
          <ac:spMkLst>
            <pc:docMk/>
            <pc:sldMk cId="1424870296" sldId="10335"/>
            <ac:spMk id="17" creationId="{BFF3869E-C746-432E-B5CA-FCF542B2C3B9}"/>
          </ac:spMkLst>
        </pc:spChg>
        <pc:spChg chg="mod">
          <ac:chgData name="Aude Van de WIELE" userId="7317e673-04dd-415c-a4d7-718682339b40" providerId="ADAL" clId="{80D4E734-020D-4C1F-A028-1B9E9B483F9A}" dt="2021-05-25T08:49:50.336" v="8947" actId="790"/>
          <ac:spMkLst>
            <pc:docMk/>
            <pc:sldMk cId="1424870296" sldId="10335"/>
            <ac:spMk id="19" creationId="{92BEB8F1-C1CF-4E36-805E-A6856F8CDD12}"/>
          </ac:spMkLst>
        </pc:spChg>
        <pc:spChg chg="mod">
          <ac:chgData name="Aude Van de WIELE" userId="7317e673-04dd-415c-a4d7-718682339b40" providerId="ADAL" clId="{80D4E734-020D-4C1F-A028-1B9E9B483F9A}" dt="2021-05-25T08:49:50.337" v="8948" actId="790"/>
          <ac:spMkLst>
            <pc:docMk/>
            <pc:sldMk cId="1424870296" sldId="10335"/>
            <ac:spMk id="57" creationId="{AACC9758-A2ED-4421-A4F8-A76E33C47C70}"/>
          </ac:spMkLst>
        </pc:spChg>
        <pc:spChg chg="mod">
          <ac:chgData name="Aude Van de WIELE" userId="7317e673-04dd-415c-a4d7-718682339b40" providerId="ADAL" clId="{80D4E734-020D-4C1F-A028-1B9E9B483F9A}" dt="2021-05-25T08:49:50.339" v="8949" actId="790"/>
          <ac:spMkLst>
            <pc:docMk/>
            <pc:sldMk cId="1424870296" sldId="10335"/>
            <ac:spMk id="67" creationId="{F56A9879-6797-4938-987E-8B0EA9BBCD37}"/>
          </ac:spMkLst>
        </pc:spChg>
        <pc:spChg chg="mod">
          <ac:chgData name="Aude Van de WIELE" userId="7317e673-04dd-415c-a4d7-718682339b40" providerId="ADAL" clId="{80D4E734-020D-4C1F-A028-1B9E9B483F9A}" dt="2021-05-25T08:49:50.399" v="8968" actId="790"/>
          <ac:spMkLst>
            <pc:docMk/>
            <pc:sldMk cId="1424870296" sldId="10335"/>
            <ac:spMk id="69" creationId="{6BCEED63-BE62-4F1E-8657-3C5CE3B64B40}"/>
          </ac:spMkLst>
        </pc:spChg>
        <pc:spChg chg="mod">
          <ac:chgData name="Aude Van de WIELE" userId="7317e673-04dd-415c-a4d7-718682339b40" providerId="ADAL" clId="{80D4E734-020D-4C1F-A028-1B9E9B483F9A}" dt="2021-05-25T08:49:50.396" v="8966" actId="790"/>
          <ac:spMkLst>
            <pc:docMk/>
            <pc:sldMk cId="1424870296" sldId="10335"/>
            <ac:spMk id="71" creationId="{CBB8A796-2090-4136-81B3-DD25F2B14E0D}"/>
          </ac:spMkLst>
        </pc:spChg>
        <pc:spChg chg="mod">
          <ac:chgData name="Aude Van de WIELE" userId="7317e673-04dd-415c-a4d7-718682339b40" providerId="ADAL" clId="{80D4E734-020D-4C1F-A028-1B9E9B483F9A}" dt="2021-05-25T08:49:50.340" v="8950" actId="790"/>
          <ac:spMkLst>
            <pc:docMk/>
            <pc:sldMk cId="1424870296" sldId="10335"/>
            <ac:spMk id="77" creationId="{2AD3025A-834E-47AF-BF62-355274B6372C}"/>
          </ac:spMkLst>
        </pc:spChg>
        <pc:spChg chg="mod">
          <ac:chgData name="Aude Van de WIELE" userId="7317e673-04dd-415c-a4d7-718682339b40" providerId="ADAL" clId="{80D4E734-020D-4C1F-A028-1B9E9B483F9A}" dt="2021-05-25T08:49:50.341" v="8951" actId="790"/>
          <ac:spMkLst>
            <pc:docMk/>
            <pc:sldMk cId="1424870296" sldId="10335"/>
            <ac:spMk id="78" creationId="{AE4EF315-F328-4682-8B75-485D8875BA5E}"/>
          </ac:spMkLst>
        </pc:spChg>
        <pc:spChg chg="mod">
          <ac:chgData name="Aude Van de WIELE" userId="7317e673-04dd-415c-a4d7-718682339b40" providerId="ADAL" clId="{80D4E734-020D-4C1F-A028-1B9E9B483F9A}" dt="2021-05-25T08:49:50.344" v="8952" actId="790"/>
          <ac:spMkLst>
            <pc:docMk/>
            <pc:sldMk cId="1424870296" sldId="10335"/>
            <ac:spMk id="83" creationId="{79B13BAC-5AF8-4002-A1EB-410345754704}"/>
          </ac:spMkLst>
        </pc:spChg>
        <pc:spChg chg="mod">
          <ac:chgData name="Aude Van de WIELE" userId="7317e673-04dd-415c-a4d7-718682339b40" providerId="ADAL" clId="{80D4E734-020D-4C1F-A028-1B9E9B483F9A}" dt="2021-05-25T08:49:50.352" v="8958" actId="790"/>
          <ac:spMkLst>
            <pc:docMk/>
            <pc:sldMk cId="1424870296" sldId="10335"/>
            <ac:spMk id="86" creationId="{C61072E4-514A-4B47-8169-8FCBDA18612C}"/>
          </ac:spMkLst>
        </pc:spChg>
        <pc:spChg chg="mod">
          <ac:chgData name="Aude Van de WIELE" userId="7317e673-04dd-415c-a4d7-718682339b40" providerId="ADAL" clId="{80D4E734-020D-4C1F-A028-1B9E9B483F9A}" dt="2021-05-25T08:49:50.344" v="8953" actId="790"/>
          <ac:spMkLst>
            <pc:docMk/>
            <pc:sldMk cId="1424870296" sldId="10335"/>
            <ac:spMk id="87" creationId="{CC75CEBD-D0F7-494C-B0E8-E10F7802B25A}"/>
          </ac:spMkLst>
        </pc:spChg>
        <pc:spChg chg="mod">
          <ac:chgData name="Aude Van de WIELE" userId="7317e673-04dd-415c-a4d7-718682339b40" providerId="ADAL" clId="{80D4E734-020D-4C1F-A028-1B9E9B483F9A}" dt="2021-05-25T08:49:50.345" v="8954" actId="790"/>
          <ac:spMkLst>
            <pc:docMk/>
            <pc:sldMk cId="1424870296" sldId="10335"/>
            <ac:spMk id="88" creationId="{002A8146-6C05-413C-9359-F34D34BD36CC}"/>
          </ac:spMkLst>
        </pc:spChg>
        <pc:spChg chg="mod">
          <ac:chgData name="Aude Van de WIELE" userId="7317e673-04dd-415c-a4d7-718682339b40" providerId="ADAL" clId="{80D4E734-020D-4C1F-A028-1B9E9B483F9A}" dt="2021-05-25T08:49:50.346" v="8955" actId="790"/>
          <ac:spMkLst>
            <pc:docMk/>
            <pc:sldMk cId="1424870296" sldId="10335"/>
            <ac:spMk id="89" creationId="{CC8692CD-2725-4A24-8138-E9D717F44FBF}"/>
          </ac:spMkLst>
        </pc:spChg>
        <pc:spChg chg="mod">
          <ac:chgData name="Aude Van de WIELE" userId="7317e673-04dd-415c-a4d7-718682339b40" providerId="ADAL" clId="{80D4E734-020D-4C1F-A028-1B9E9B483F9A}" dt="2021-05-25T08:49:50.349" v="8956" actId="790"/>
          <ac:spMkLst>
            <pc:docMk/>
            <pc:sldMk cId="1424870296" sldId="10335"/>
            <ac:spMk id="100" creationId="{9FCC959C-37AB-4DE6-96D6-8D512E39D78C}"/>
          </ac:spMkLst>
        </pc:spChg>
        <pc:spChg chg="mod">
          <ac:chgData name="Aude Van de WIELE" userId="7317e673-04dd-415c-a4d7-718682339b40" providerId="ADAL" clId="{80D4E734-020D-4C1F-A028-1B9E9B483F9A}" dt="2021-05-25T08:49:50.350" v="8957" actId="790"/>
          <ac:spMkLst>
            <pc:docMk/>
            <pc:sldMk cId="1424870296" sldId="10335"/>
            <ac:spMk id="102" creationId="{6D0B3FD5-2182-421F-9A88-C1673460DB2B}"/>
          </ac:spMkLst>
        </pc:spChg>
        <pc:spChg chg="mod">
          <ac:chgData name="Aude Van de WIELE" userId="7317e673-04dd-415c-a4d7-718682339b40" providerId="ADAL" clId="{80D4E734-020D-4C1F-A028-1B9E9B483F9A}" dt="2021-05-25T08:49:50.354" v="8959" actId="790"/>
          <ac:spMkLst>
            <pc:docMk/>
            <pc:sldMk cId="1424870296" sldId="10335"/>
            <ac:spMk id="104" creationId="{C4AE2C1F-9FB2-4440-8BB3-2C0E7D9EDCE0}"/>
          </ac:spMkLst>
        </pc:spChg>
        <pc:spChg chg="mod">
          <ac:chgData name="Aude Van de WIELE" userId="7317e673-04dd-415c-a4d7-718682339b40" providerId="ADAL" clId="{80D4E734-020D-4C1F-A028-1B9E9B483F9A}" dt="2021-05-25T08:49:50.355" v="8960" actId="790"/>
          <ac:spMkLst>
            <pc:docMk/>
            <pc:sldMk cId="1424870296" sldId="10335"/>
            <ac:spMk id="105" creationId="{04EF4D1A-C037-42D0-B892-5838973F1158}"/>
          </ac:spMkLst>
        </pc:spChg>
        <pc:spChg chg="mod">
          <ac:chgData name="Aude Van de WIELE" userId="7317e673-04dd-415c-a4d7-718682339b40" providerId="ADAL" clId="{80D4E734-020D-4C1F-A028-1B9E9B483F9A}" dt="2021-05-25T08:49:50.355" v="8961" actId="790"/>
          <ac:spMkLst>
            <pc:docMk/>
            <pc:sldMk cId="1424870296" sldId="10335"/>
            <ac:spMk id="106" creationId="{1A98F378-0609-47B5-A22F-B3DF98061CA5}"/>
          </ac:spMkLst>
        </pc:spChg>
        <pc:spChg chg="mod">
          <ac:chgData name="Aude Van de WIELE" userId="7317e673-04dd-415c-a4d7-718682339b40" providerId="ADAL" clId="{80D4E734-020D-4C1F-A028-1B9E9B483F9A}" dt="2021-05-25T08:49:50.356" v="8962" actId="790"/>
          <ac:spMkLst>
            <pc:docMk/>
            <pc:sldMk cId="1424870296" sldId="10335"/>
            <ac:spMk id="107" creationId="{CD736F70-A922-478A-A935-A6627A6FA958}"/>
          </ac:spMkLst>
        </pc:spChg>
        <pc:spChg chg="mod">
          <ac:chgData name="Aude Van de WIELE" userId="7317e673-04dd-415c-a4d7-718682339b40" providerId="ADAL" clId="{80D4E734-020D-4C1F-A028-1B9E9B483F9A}" dt="2021-05-25T08:49:50.358" v="8963" actId="790"/>
          <ac:spMkLst>
            <pc:docMk/>
            <pc:sldMk cId="1424870296" sldId="10335"/>
            <ac:spMk id="108" creationId="{E83BE468-E05E-4A0B-886A-54474D37CF16}"/>
          </ac:spMkLst>
        </pc:spChg>
        <pc:spChg chg="mod">
          <ac:chgData name="Aude Van de WIELE" userId="7317e673-04dd-415c-a4d7-718682339b40" providerId="ADAL" clId="{80D4E734-020D-4C1F-A028-1B9E9B483F9A}" dt="2021-05-25T08:49:50.360" v="8964" actId="790"/>
          <ac:spMkLst>
            <pc:docMk/>
            <pc:sldMk cId="1424870296" sldId="10335"/>
            <ac:spMk id="115" creationId="{A0C7CAD2-4A72-4C8D-8B97-E7D950CB9A60}"/>
          </ac:spMkLst>
        </pc:spChg>
        <pc:spChg chg="mod">
          <ac:chgData name="Aude Van de WIELE" userId="7317e673-04dd-415c-a4d7-718682339b40" providerId="ADAL" clId="{80D4E734-020D-4C1F-A028-1B9E9B483F9A}" dt="2021-05-25T08:49:50.394" v="8965" actId="790"/>
          <ac:spMkLst>
            <pc:docMk/>
            <pc:sldMk cId="1424870296" sldId="10335"/>
            <ac:spMk id="127" creationId="{0897E6F9-F2AF-4184-8F04-7C90039CB31C}"/>
          </ac:spMkLst>
        </pc:spChg>
        <pc:spChg chg="mod">
          <ac:chgData name="Aude Van de WIELE" userId="7317e673-04dd-415c-a4d7-718682339b40" providerId="ADAL" clId="{80D4E734-020D-4C1F-A028-1B9E9B483F9A}" dt="2021-05-25T08:49:50.399" v="8969" actId="790"/>
          <ac:spMkLst>
            <pc:docMk/>
            <pc:sldMk cId="1424870296" sldId="10335"/>
            <ac:spMk id="128" creationId="{19432E1B-C182-40F5-974C-28FEF1DB9BD0}"/>
          </ac:spMkLst>
        </pc:spChg>
        <pc:spChg chg="mod">
          <ac:chgData name="Aude Van de WIELE" userId="7317e673-04dd-415c-a4d7-718682339b40" providerId="ADAL" clId="{80D4E734-020D-4C1F-A028-1B9E9B483F9A}" dt="2021-05-25T08:49:50.401" v="8970" actId="790"/>
          <ac:spMkLst>
            <pc:docMk/>
            <pc:sldMk cId="1424870296" sldId="10335"/>
            <ac:spMk id="129" creationId="{1373F8DE-C6E5-4EDD-B348-F87714D996D3}"/>
          </ac:spMkLst>
        </pc:spChg>
        <pc:spChg chg="mod">
          <ac:chgData name="Aude Van de WIELE" userId="7317e673-04dd-415c-a4d7-718682339b40" providerId="ADAL" clId="{80D4E734-020D-4C1F-A028-1B9E9B483F9A}" dt="2021-05-25T08:49:50.402" v="8971" actId="790"/>
          <ac:spMkLst>
            <pc:docMk/>
            <pc:sldMk cId="1424870296" sldId="10335"/>
            <ac:spMk id="130" creationId="{A8AB0ECA-2DD9-49A2-86B4-965C21B5EB1B}"/>
          </ac:spMkLst>
        </pc:spChg>
        <pc:spChg chg="mod">
          <ac:chgData name="Aude Van de WIELE" userId="7317e673-04dd-415c-a4d7-718682339b40" providerId="ADAL" clId="{80D4E734-020D-4C1F-A028-1B9E9B483F9A}" dt="2021-05-25T08:49:50.402" v="8972" actId="790"/>
          <ac:spMkLst>
            <pc:docMk/>
            <pc:sldMk cId="1424870296" sldId="10335"/>
            <ac:spMk id="131" creationId="{B72C70AB-BF26-43EA-B3B2-FF5837AA2CEA}"/>
          </ac:spMkLst>
        </pc:spChg>
        <pc:spChg chg="mod">
          <ac:chgData name="Aude Van de WIELE" userId="7317e673-04dd-415c-a4d7-718682339b40" providerId="ADAL" clId="{80D4E734-020D-4C1F-A028-1B9E9B483F9A}" dt="2021-05-25T08:49:50.403" v="8973" actId="790"/>
          <ac:spMkLst>
            <pc:docMk/>
            <pc:sldMk cId="1424870296" sldId="10335"/>
            <ac:spMk id="132" creationId="{337A3DA2-2B3A-4D27-B69C-62537CE0118A}"/>
          </ac:spMkLst>
        </pc:spChg>
        <pc:spChg chg="mod">
          <ac:chgData name="Aude Van de WIELE" userId="7317e673-04dd-415c-a4d7-718682339b40" providerId="ADAL" clId="{80D4E734-020D-4C1F-A028-1B9E9B483F9A}" dt="2021-05-25T08:49:50.404" v="8974" actId="790"/>
          <ac:spMkLst>
            <pc:docMk/>
            <pc:sldMk cId="1424870296" sldId="10335"/>
            <ac:spMk id="133" creationId="{52FBD452-7EE2-4D11-95A8-9D2C6606FBAF}"/>
          </ac:spMkLst>
        </pc:spChg>
        <pc:spChg chg="mod">
          <ac:chgData name="Aude Van de WIELE" userId="7317e673-04dd-415c-a4d7-718682339b40" providerId="ADAL" clId="{80D4E734-020D-4C1F-A028-1B9E9B483F9A}" dt="2021-05-25T08:49:50.405" v="8975" actId="790"/>
          <ac:spMkLst>
            <pc:docMk/>
            <pc:sldMk cId="1424870296" sldId="10335"/>
            <ac:spMk id="134" creationId="{497AF38E-52FB-494B-AE7D-321864EDECA4}"/>
          </ac:spMkLst>
        </pc:spChg>
        <pc:spChg chg="mod">
          <ac:chgData name="Aude Van de WIELE" userId="7317e673-04dd-415c-a4d7-718682339b40" providerId="ADAL" clId="{80D4E734-020D-4C1F-A028-1B9E9B483F9A}" dt="2021-05-25T08:49:50.406" v="8976" actId="790"/>
          <ac:spMkLst>
            <pc:docMk/>
            <pc:sldMk cId="1424870296" sldId="10335"/>
            <ac:spMk id="135" creationId="{A8ECA603-7B12-4CFA-A4C6-7400AD9BD0ED}"/>
          </ac:spMkLst>
        </pc:sp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2753453439" sldId="10337"/>
        </pc:sldMkLst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1778169431" sldId="10339"/>
        </pc:sldMkLst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2793193694" sldId="10340"/>
        </pc:sldMkLst>
      </pc:sldChg>
      <pc:sldChg chg="modSp mod">
        <pc:chgData name="Aude Van de WIELE" userId="7317e673-04dd-415c-a4d7-718682339b40" providerId="ADAL" clId="{80D4E734-020D-4C1F-A028-1B9E9B483F9A}" dt="2021-05-25T08:49:51.316" v="9667" actId="790"/>
        <pc:sldMkLst>
          <pc:docMk/>
          <pc:sldMk cId="2888621618" sldId="10350"/>
        </pc:sldMkLst>
        <pc:spChg chg="mod">
          <ac:chgData name="Aude Van de WIELE" userId="7317e673-04dd-415c-a4d7-718682339b40" providerId="ADAL" clId="{80D4E734-020D-4C1F-A028-1B9E9B483F9A}" dt="2021-05-25T08:49:51.308" v="9660" actId="790"/>
          <ac:spMkLst>
            <pc:docMk/>
            <pc:sldMk cId="2888621618" sldId="10350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8:49:51.310" v="9661" actId="790"/>
          <ac:spMkLst>
            <pc:docMk/>
            <pc:sldMk cId="2888621618" sldId="10350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51.311" v="9662" actId="790"/>
          <ac:spMkLst>
            <pc:docMk/>
            <pc:sldMk cId="2888621618" sldId="10350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51.316" v="9667" actId="790"/>
          <ac:spMkLst>
            <pc:docMk/>
            <pc:sldMk cId="2888621618" sldId="10350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51.312" v="9663" actId="790"/>
          <ac:spMkLst>
            <pc:docMk/>
            <pc:sldMk cId="2888621618" sldId="10350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51.314" v="9664" actId="790"/>
          <ac:spMkLst>
            <pc:docMk/>
            <pc:sldMk cId="2888621618" sldId="10350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51.315" v="9665" actId="790"/>
          <ac:spMkLst>
            <pc:docMk/>
            <pc:sldMk cId="2888621618" sldId="10350"/>
            <ac:spMk id="22" creationId="{C002634F-3FA9-4AC3-90E2-0D253FC97BF7}"/>
          </ac:spMkLst>
        </pc:spChg>
        <pc:spChg chg="mod">
          <ac:chgData name="Aude Van de WIELE" userId="7317e673-04dd-415c-a4d7-718682339b40" providerId="ADAL" clId="{80D4E734-020D-4C1F-A028-1B9E9B483F9A}" dt="2021-05-25T08:49:51.315" v="9666" actId="790"/>
          <ac:spMkLst>
            <pc:docMk/>
            <pc:sldMk cId="2888621618" sldId="10350"/>
            <ac:spMk id="26" creationId="{D70D99D8-5440-4867-B8A0-57942A3EA3D2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09:33:43.332" v="9916" actId="1038"/>
        <pc:sldMkLst>
          <pc:docMk/>
          <pc:sldMk cId="1088427134" sldId="10355"/>
        </pc:sldMkLst>
        <pc:spChg chg="mod">
          <ac:chgData name="Aude Van de WIELE" userId="7317e673-04dd-415c-a4d7-718682339b40" providerId="ADAL" clId="{80D4E734-020D-4C1F-A028-1B9E9B483F9A}" dt="2021-05-25T08:49:49.347" v="8067" actId="790"/>
          <ac:spMkLst>
            <pc:docMk/>
            <pc:sldMk cId="1088427134" sldId="10355"/>
            <ac:spMk id="2" creationId="{531041C5-E8A2-412F-8DD7-D013B496B687}"/>
          </ac:spMkLst>
        </pc:spChg>
        <pc:spChg chg="mod topLvl">
          <ac:chgData name="Aude Van de WIELE" userId="7317e673-04dd-415c-a4d7-718682339b40" providerId="ADAL" clId="{80D4E734-020D-4C1F-A028-1B9E9B483F9A}" dt="2021-05-25T08:49:49.358" v="8080" actId="790"/>
          <ac:spMkLst>
            <pc:docMk/>
            <pc:sldMk cId="1088427134" sldId="10355"/>
            <ac:spMk id="3" creationId="{D941C407-20D6-482D-8915-AB38B57418D3}"/>
          </ac:spMkLst>
        </pc:spChg>
        <pc:spChg chg="mod topLvl">
          <ac:chgData name="Aude Van de WIELE" userId="7317e673-04dd-415c-a4d7-718682339b40" providerId="ADAL" clId="{80D4E734-020D-4C1F-A028-1B9E9B483F9A}" dt="2021-05-25T08:49:49.398" v="8114" actId="790"/>
          <ac:spMkLst>
            <pc:docMk/>
            <pc:sldMk cId="1088427134" sldId="10355"/>
            <ac:spMk id="4" creationId="{32F85835-036E-4F3E-8BFF-2ABE5E844311}"/>
          </ac:spMkLst>
        </pc:spChg>
        <pc:spChg chg="mod topLvl">
          <ac:chgData name="Aude Van de WIELE" userId="7317e673-04dd-415c-a4d7-718682339b40" providerId="ADAL" clId="{80D4E734-020D-4C1F-A028-1B9E9B483F9A}" dt="2021-05-25T08:49:49.378" v="8097" actId="790"/>
          <ac:spMkLst>
            <pc:docMk/>
            <pc:sldMk cId="1088427134" sldId="10355"/>
            <ac:spMk id="5" creationId="{B82F449A-DABE-4C5F-AC72-1CD88F08F3F8}"/>
          </ac:spMkLst>
        </pc:spChg>
        <pc:spChg chg="del mod">
          <ac:chgData name="Aude Van de WIELE" userId="7317e673-04dd-415c-a4d7-718682339b40" providerId="ADAL" clId="{80D4E734-020D-4C1F-A028-1B9E9B483F9A}" dt="2021-05-24T14:12:27.371" v="4584" actId="478"/>
          <ac:spMkLst>
            <pc:docMk/>
            <pc:sldMk cId="1088427134" sldId="10355"/>
            <ac:spMk id="25" creationId="{EC1EF9D0-C614-4BB0-BC35-3EDAADC576F4}"/>
          </ac:spMkLst>
        </pc:spChg>
        <pc:spChg chg="mod">
          <ac:chgData name="Aude Van de WIELE" userId="7317e673-04dd-415c-a4d7-718682339b40" providerId="ADAL" clId="{80D4E734-020D-4C1F-A028-1B9E9B483F9A}" dt="2021-05-25T08:49:49.348" v="8068" actId="790"/>
          <ac:spMkLst>
            <pc:docMk/>
            <pc:sldMk cId="1088427134" sldId="10355"/>
            <ac:spMk id="26" creationId="{72FA2C53-05D0-4DE0-9F71-130CA5ED4ADD}"/>
          </ac:spMkLst>
        </pc:spChg>
        <pc:spChg chg="mod">
          <ac:chgData name="Aude Van de WIELE" userId="7317e673-04dd-415c-a4d7-718682339b40" providerId="ADAL" clId="{80D4E734-020D-4C1F-A028-1B9E9B483F9A}" dt="2021-05-25T08:49:49.349" v="8069" actId="790"/>
          <ac:spMkLst>
            <pc:docMk/>
            <pc:sldMk cId="1088427134" sldId="10355"/>
            <ac:spMk id="27" creationId="{05E366BE-F44E-48DC-86D8-D5B5BFCE83C9}"/>
          </ac:spMkLst>
        </pc:spChg>
        <pc:spChg chg="mod">
          <ac:chgData name="Aude Van de WIELE" userId="7317e673-04dd-415c-a4d7-718682339b40" providerId="ADAL" clId="{80D4E734-020D-4C1F-A028-1B9E9B483F9A}" dt="2021-05-25T08:49:49.350" v="8070" actId="790"/>
          <ac:spMkLst>
            <pc:docMk/>
            <pc:sldMk cId="1088427134" sldId="10355"/>
            <ac:spMk id="31" creationId="{1957402C-8DED-4E94-8B10-1B28D135CC49}"/>
          </ac:spMkLst>
        </pc:spChg>
        <pc:spChg chg="mod topLvl">
          <ac:chgData name="Aude Van de WIELE" userId="7317e673-04dd-415c-a4d7-718682339b40" providerId="ADAL" clId="{80D4E734-020D-4C1F-A028-1B9E9B483F9A}" dt="2021-05-25T08:49:49.377" v="8096" actId="790"/>
          <ac:spMkLst>
            <pc:docMk/>
            <pc:sldMk cId="1088427134" sldId="10355"/>
            <ac:spMk id="44" creationId="{2F442C3A-48CA-47C5-A86D-6E48373F82F1}"/>
          </ac:spMkLst>
        </pc:spChg>
        <pc:spChg chg="mod">
          <ac:chgData name="Aude Van de WIELE" userId="7317e673-04dd-415c-a4d7-718682339b40" providerId="ADAL" clId="{80D4E734-020D-4C1F-A028-1B9E9B483F9A}" dt="2021-05-25T08:49:49.350" v="8071" actId="790"/>
          <ac:spMkLst>
            <pc:docMk/>
            <pc:sldMk cId="1088427134" sldId="10355"/>
            <ac:spMk id="69" creationId="{F3DA172A-54AD-441E-9D06-5E433C2498C6}"/>
          </ac:spMkLst>
        </pc:spChg>
        <pc:spChg chg="mod topLvl">
          <ac:chgData name="Aude Van de WIELE" userId="7317e673-04dd-415c-a4d7-718682339b40" providerId="ADAL" clId="{80D4E734-020D-4C1F-A028-1B9E9B483F9A}" dt="2021-05-25T08:49:49.359" v="8081" actId="790"/>
          <ac:spMkLst>
            <pc:docMk/>
            <pc:sldMk cId="1088427134" sldId="10355"/>
            <ac:spMk id="191" creationId="{25EF4FC4-4C8D-42FD-A802-5FC92801CA49}"/>
          </ac:spMkLst>
        </pc:spChg>
        <pc:spChg chg="mod topLvl">
          <ac:chgData name="Aude Van de WIELE" userId="7317e673-04dd-415c-a4d7-718682339b40" providerId="ADAL" clId="{80D4E734-020D-4C1F-A028-1B9E9B483F9A}" dt="2021-05-25T08:49:49.360" v="8082" actId="790"/>
          <ac:spMkLst>
            <pc:docMk/>
            <pc:sldMk cId="1088427134" sldId="10355"/>
            <ac:spMk id="192" creationId="{D4FBD805-0616-4E8A-9995-1A885D682879}"/>
          </ac:spMkLst>
        </pc:spChg>
        <pc:spChg chg="mod topLvl">
          <ac:chgData name="Aude Van de WIELE" userId="7317e673-04dd-415c-a4d7-718682339b40" providerId="ADAL" clId="{80D4E734-020D-4C1F-A028-1B9E9B483F9A}" dt="2021-05-25T08:49:49.360" v="8083" actId="790"/>
          <ac:spMkLst>
            <pc:docMk/>
            <pc:sldMk cId="1088427134" sldId="10355"/>
            <ac:spMk id="193" creationId="{D73CFB65-43C9-4808-858F-27EAAD925909}"/>
          </ac:spMkLst>
        </pc:spChg>
        <pc:spChg chg="mod topLvl">
          <ac:chgData name="Aude Van de WIELE" userId="7317e673-04dd-415c-a4d7-718682339b40" providerId="ADAL" clId="{80D4E734-020D-4C1F-A028-1B9E9B483F9A}" dt="2021-05-25T08:49:49.361" v="8084" actId="790"/>
          <ac:spMkLst>
            <pc:docMk/>
            <pc:sldMk cId="1088427134" sldId="10355"/>
            <ac:spMk id="194" creationId="{D07427E5-AAFA-4CC6-BC00-FD82DF5407AA}"/>
          </ac:spMkLst>
        </pc:spChg>
        <pc:spChg chg="add mod">
          <ac:chgData name="Aude Van de WIELE" userId="7317e673-04dd-415c-a4d7-718682339b40" providerId="ADAL" clId="{80D4E734-020D-4C1F-A028-1B9E9B483F9A}" dt="2021-05-25T08:49:49.422" v="8135" actId="790"/>
          <ac:spMkLst>
            <pc:docMk/>
            <pc:sldMk cId="1088427134" sldId="10355"/>
            <ac:spMk id="195" creationId="{1D8E904A-12F9-46A4-95EA-1ACD9EDBA1AF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196" creationId="{3B51F4C9-2E75-4ADE-83F1-C230B6BE9743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197" creationId="{0048987D-7949-4932-BAEA-1C8041716D0D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198" creationId="{7457E779-1845-4BF6-96E5-1B1CC36FD59B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199" creationId="{FF3C0F2D-0B27-4AD3-A15D-FE5AC8F5EE14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00" creationId="{B8500AC5-18CE-4086-B7CE-787AEF950F70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01" creationId="{EBAFE960-A4E4-4182-A597-EBA6C4ABB8FC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02" creationId="{37B5910F-23F6-497A-AEEA-6994FCBCC023}"/>
          </ac:spMkLst>
        </pc:spChg>
        <pc:spChg chg="mod topLvl">
          <ac:chgData name="Aude Van de WIELE" userId="7317e673-04dd-415c-a4d7-718682339b40" providerId="ADAL" clId="{80D4E734-020D-4C1F-A028-1B9E9B483F9A}" dt="2021-05-25T08:49:49.384" v="8102" actId="790"/>
          <ac:spMkLst>
            <pc:docMk/>
            <pc:sldMk cId="1088427134" sldId="10355"/>
            <ac:spMk id="203" creationId="{F9AD22C0-4F2D-4666-B38C-06A5E859DF05}"/>
          </ac:spMkLst>
        </pc:spChg>
        <pc:spChg chg="mod topLvl">
          <ac:chgData name="Aude Van de WIELE" userId="7317e673-04dd-415c-a4d7-718682339b40" providerId="ADAL" clId="{80D4E734-020D-4C1F-A028-1B9E9B483F9A}" dt="2021-05-25T08:49:49.384" v="8103" actId="790"/>
          <ac:spMkLst>
            <pc:docMk/>
            <pc:sldMk cId="1088427134" sldId="10355"/>
            <ac:spMk id="204" creationId="{76DFBFA9-56A4-42F3-A143-9F451BBC4CAB}"/>
          </ac:spMkLst>
        </pc:spChg>
        <pc:spChg chg="mod topLvl">
          <ac:chgData name="Aude Van de WIELE" userId="7317e673-04dd-415c-a4d7-718682339b40" providerId="ADAL" clId="{80D4E734-020D-4C1F-A028-1B9E9B483F9A}" dt="2021-05-25T08:49:49.385" v="8104" actId="790"/>
          <ac:spMkLst>
            <pc:docMk/>
            <pc:sldMk cId="1088427134" sldId="10355"/>
            <ac:spMk id="205" creationId="{000202B9-950B-4FE7-9197-51EB41572E4A}"/>
          </ac:spMkLst>
        </pc:spChg>
        <pc:spChg chg="mod topLvl">
          <ac:chgData name="Aude Van de WIELE" userId="7317e673-04dd-415c-a4d7-718682339b40" providerId="ADAL" clId="{80D4E734-020D-4C1F-A028-1B9E9B483F9A}" dt="2021-05-25T08:49:49.386" v="8105" actId="790"/>
          <ac:spMkLst>
            <pc:docMk/>
            <pc:sldMk cId="1088427134" sldId="10355"/>
            <ac:spMk id="206" creationId="{1D2982B8-1F76-4421-968D-2CDC637BDD84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07" creationId="{421498C7-1C58-4CF3-BD51-278BC6C89386}"/>
          </ac:spMkLst>
        </pc:spChg>
        <pc:spChg chg="mod">
          <ac:chgData name="Aude Van de WIELE" userId="7317e673-04dd-415c-a4d7-718682339b40" providerId="ADAL" clId="{80D4E734-020D-4C1F-A028-1B9E9B483F9A}" dt="2021-05-25T08:49:49.431" v="8145" actId="790"/>
          <ac:spMkLst>
            <pc:docMk/>
            <pc:sldMk cId="1088427134" sldId="10355"/>
            <ac:spMk id="207" creationId="{C77775EA-390E-4A32-B782-BAB1BE3EC7C9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08" creationId="{1F61038A-EF51-4BBA-97A9-10D40E9435F9}"/>
          </ac:spMkLst>
        </pc:spChg>
        <pc:spChg chg="mod">
          <ac:chgData name="Aude Van de WIELE" userId="7317e673-04dd-415c-a4d7-718682339b40" providerId="ADAL" clId="{80D4E734-020D-4C1F-A028-1B9E9B483F9A}" dt="2021-05-25T08:49:49.432" v="8146" actId="790"/>
          <ac:spMkLst>
            <pc:docMk/>
            <pc:sldMk cId="1088427134" sldId="10355"/>
            <ac:spMk id="208" creationId="{2CB2F9BF-C01A-4704-9110-A94AED93C7CC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09" creationId="{7990CA34-4A7F-4F7B-ACC5-EA00CE325723}"/>
          </ac:spMkLst>
        </pc:spChg>
        <pc:spChg chg="mod">
          <ac:chgData name="Aude Van de WIELE" userId="7317e673-04dd-415c-a4d7-718682339b40" providerId="ADAL" clId="{80D4E734-020D-4C1F-A028-1B9E9B483F9A}" dt="2021-05-25T08:49:49.433" v="8147" actId="790"/>
          <ac:spMkLst>
            <pc:docMk/>
            <pc:sldMk cId="1088427134" sldId="10355"/>
            <ac:spMk id="209" creationId="{BC902227-95B2-498A-BE19-2097B8481568}"/>
          </ac:spMkLst>
        </pc:spChg>
        <pc:spChg chg="mod">
          <ac:chgData name="Aude Van de WIELE" userId="7317e673-04dd-415c-a4d7-718682339b40" providerId="ADAL" clId="{80D4E734-020D-4C1F-A028-1B9E9B483F9A}" dt="2021-05-25T08:49:49.353" v="8074" actId="790"/>
          <ac:spMkLst>
            <pc:docMk/>
            <pc:sldMk cId="1088427134" sldId="10355"/>
            <ac:spMk id="210" creationId="{FAD83A7F-F110-47F4-9764-8294FCD34C3B}"/>
          </ac:spMkLst>
        </pc:spChg>
        <pc:spChg chg="mod topLvl">
          <ac:chgData name="Aude Van de WIELE" userId="7317e673-04dd-415c-a4d7-718682339b40" providerId="ADAL" clId="{80D4E734-020D-4C1F-A028-1B9E9B483F9A}" dt="2021-05-25T08:49:49.405" v="8121" actId="790"/>
          <ac:spMkLst>
            <pc:docMk/>
            <pc:sldMk cId="1088427134" sldId="10355"/>
            <ac:spMk id="211" creationId="{3DE0F630-041E-4A46-B492-486ED5FA0EC8}"/>
          </ac:spMkLst>
        </pc:spChg>
        <pc:spChg chg="mod topLvl">
          <ac:chgData name="Aude Van de WIELE" userId="7317e673-04dd-415c-a4d7-718682339b40" providerId="ADAL" clId="{80D4E734-020D-4C1F-A028-1B9E9B483F9A}" dt="2021-05-25T08:49:49.406" v="8122" actId="790"/>
          <ac:spMkLst>
            <pc:docMk/>
            <pc:sldMk cId="1088427134" sldId="10355"/>
            <ac:spMk id="212" creationId="{00D9FC3F-7E1D-41CB-A5AD-4ECBE14FA2DF}"/>
          </ac:spMkLst>
        </pc:spChg>
        <pc:spChg chg="mod topLvl">
          <ac:chgData name="Aude Van de WIELE" userId="7317e673-04dd-415c-a4d7-718682339b40" providerId="ADAL" clId="{80D4E734-020D-4C1F-A028-1B9E9B483F9A}" dt="2021-05-25T08:49:49.407" v="8123" actId="790"/>
          <ac:spMkLst>
            <pc:docMk/>
            <pc:sldMk cId="1088427134" sldId="10355"/>
            <ac:spMk id="213" creationId="{1CB17802-D8AE-406C-B7DA-DF23B6357713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14" creationId="{517893A5-6250-4874-8D13-58821C9A5288}"/>
          </ac:spMkLst>
        </pc:spChg>
        <pc:spChg chg="mod">
          <ac:chgData name="Aude Van de WIELE" userId="7317e673-04dd-415c-a4d7-718682339b40" providerId="ADAL" clId="{80D4E734-020D-4C1F-A028-1B9E9B483F9A}" dt="2021-05-25T08:49:49.434" v="8148" actId="790"/>
          <ac:spMkLst>
            <pc:docMk/>
            <pc:sldMk cId="1088427134" sldId="10355"/>
            <ac:spMk id="214" creationId="{DC59756C-B7DA-4DDA-924C-AA8BBB352C21}"/>
          </ac:spMkLst>
        </pc:spChg>
        <pc:spChg chg="mod">
          <ac:chgData name="Aude Van de WIELE" userId="7317e673-04dd-415c-a4d7-718682339b40" providerId="ADAL" clId="{80D4E734-020D-4C1F-A028-1B9E9B483F9A}" dt="2021-05-25T08:49:49.435" v="8149" actId="790"/>
          <ac:spMkLst>
            <pc:docMk/>
            <pc:sldMk cId="1088427134" sldId="10355"/>
            <ac:spMk id="215" creationId="{1E911E45-788D-4A82-A9CC-7DE8DEFD1940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15" creationId="{E4FD5630-EAFD-43A5-B16E-52E97F326473}"/>
          </ac:spMkLst>
        </pc:spChg>
        <pc:spChg chg="mod">
          <ac:chgData name="Aude Van de WIELE" userId="7317e673-04dd-415c-a4d7-718682339b40" providerId="ADAL" clId="{80D4E734-020D-4C1F-A028-1B9E9B483F9A}" dt="2021-05-25T08:49:49.436" v="8150" actId="790"/>
          <ac:spMkLst>
            <pc:docMk/>
            <pc:sldMk cId="1088427134" sldId="10355"/>
            <ac:spMk id="216" creationId="{B55021B7-A72D-46BD-93C8-F7D071B2FA3D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16" creationId="{CE0EB754-3A0F-4C32-BC3D-485E58D5D76C}"/>
          </ac:spMkLst>
        </pc:spChg>
        <pc:spChg chg="mod">
          <ac:chgData name="Aude Van de WIELE" userId="7317e673-04dd-415c-a4d7-718682339b40" providerId="ADAL" clId="{80D4E734-020D-4C1F-A028-1B9E9B483F9A}" dt="2021-05-25T08:49:49.437" v="8151" actId="790"/>
          <ac:spMkLst>
            <pc:docMk/>
            <pc:sldMk cId="1088427134" sldId="10355"/>
            <ac:spMk id="217" creationId="{9E62E839-2DD0-4F81-9D37-40746772CDB9}"/>
          </ac:spMkLst>
        </pc:spChg>
        <pc:spChg chg="add mod">
          <ac:chgData name="Aude Van de WIELE" userId="7317e673-04dd-415c-a4d7-718682339b40" providerId="ADAL" clId="{80D4E734-020D-4C1F-A028-1B9E9B483F9A}" dt="2021-05-24T13:58:12.454" v="4385" actId="1076"/>
          <ac:spMkLst>
            <pc:docMk/>
            <pc:sldMk cId="1088427134" sldId="10355"/>
            <ac:spMk id="217" creationId="{F6F26211-DAB0-4AFF-B4E4-E9860DE7E785}"/>
          </ac:spMkLst>
        </pc:spChg>
        <pc:spChg chg="add mod">
          <ac:chgData name="Aude Van de WIELE" userId="7317e673-04dd-415c-a4d7-718682339b40" providerId="ADAL" clId="{80D4E734-020D-4C1F-A028-1B9E9B483F9A}" dt="2021-05-25T08:49:49.423" v="8136" actId="790"/>
          <ac:spMkLst>
            <pc:docMk/>
            <pc:sldMk cId="1088427134" sldId="10355"/>
            <ac:spMk id="218" creationId="{0C18248F-CE9C-49C4-902E-BB259EC3F72E}"/>
          </ac:spMkLst>
        </pc:spChg>
        <pc:spChg chg="add mod">
          <ac:chgData name="Aude Van de WIELE" userId="7317e673-04dd-415c-a4d7-718682339b40" providerId="ADAL" clId="{80D4E734-020D-4C1F-A028-1B9E9B483F9A}" dt="2021-05-25T08:49:49.424" v="8137" actId="790"/>
          <ac:spMkLst>
            <pc:docMk/>
            <pc:sldMk cId="1088427134" sldId="10355"/>
            <ac:spMk id="219" creationId="{699912BB-DA44-4A9A-B10E-4A39772DE6E9}"/>
          </ac:spMkLst>
        </pc:spChg>
        <pc:spChg chg="add mod">
          <ac:chgData name="Aude Van de WIELE" userId="7317e673-04dd-415c-a4d7-718682339b40" providerId="ADAL" clId="{80D4E734-020D-4C1F-A028-1B9E9B483F9A}" dt="2021-05-25T08:49:49.424" v="8138" actId="790"/>
          <ac:spMkLst>
            <pc:docMk/>
            <pc:sldMk cId="1088427134" sldId="10355"/>
            <ac:spMk id="220" creationId="{3A6BFE8B-73D5-4CB5-AADD-F6690E4E599D}"/>
          </ac:spMkLst>
        </pc:spChg>
        <pc:spChg chg="add mod">
          <ac:chgData name="Aude Van de WIELE" userId="7317e673-04dd-415c-a4d7-718682339b40" providerId="ADAL" clId="{80D4E734-020D-4C1F-A028-1B9E9B483F9A}" dt="2021-05-25T08:49:49.425" v="8139" actId="790"/>
          <ac:spMkLst>
            <pc:docMk/>
            <pc:sldMk cId="1088427134" sldId="10355"/>
            <ac:spMk id="221" creationId="{156A4B58-CEE1-45BD-8FD1-4FD98B592434}"/>
          </ac:spMkLst>
        </pc:spChg>
        <pc:spChg chg="add mod">
          <ac:chgData name="Aude Van de WIELE" userId="7317e673-04dd-415c-a4d7-718682339b40" providerId="ADAL" clId="{80D4E734-020D-4C1F-A028-1B9E9B483F9A}" dt="2021-05-25T08:49:49.426" v="8140" actId="790"/>
          <ac:spMkLst>
            <pc:docMk/>
            <pc:sldMk cId="1088427134" sldId="10355"/>
            <ac:spMk id="222" creationId="{B664E997-E830-4082-930F-A45A251FD462}"/>
          </ac:spMkLst>
        </pc:spChg>
        <pc:spChg chg="add mod">
          <ac:chgData name="Aude Van de WIELE" userId="7317e673-04dd-415c-a4d7-718682339b40" providerId="ADAL" clId="{80D4E734-020D-4C1F-A028-1B9E9B483F9A}" dt="2021-05-25T08:49:49.426" v="8141" actId="790"/>
          <ac:spMkLst>
            <pc:docMk/>
            <pc:sldMk cId="1088427134" sldId="10355"/>
            <ac:spMk id="223" creationId="{AACFFFD0-291B-45A6-A066-6352E58C9EEB}"/>
          </ac:spMkLst>
        </pc:spChg>
        <pc:spChg chg="add mod">
          <ac:chgData name="Aude Van de WIELE" userId="7317e673-04dd-415c-a4d7-718682339b40" providerId="ADAL" clId="{80D4E734-020D-4C1F-A028-1B9E9B483F9A}" dt="2021-05-25T08:49:49.427" v="8142" actId="790"/>
          <ac:spMkLst>
            <pc:docMk/>
            <pc:sldMk cId="1088427134" sldId="10355"/>
            <ac:spMk id="224" creationId="{9CC974BC-E401-410D-895E-89F6C7E5FD6F}"/>
          </ac:spMkLst>
        </pc:spChg>
        <pc:spChg chg="add mod">
          <ac:chgData name="Aude Van de WIELE" userId="7317e673-04dd-415c-a4d7-718682339b40" providerId="ADAL" clId="{80D4E734-020D-4C1F-A028-1B9E9B483F9A}" dt="2021-05-25T08:49:49.428" v="8143" actId="790"/>
          <ac:spMkLst>
            <pc:docMk/>
            <pc:sldMk cId="1088427134" sldId="10355"/>
            <ac:spMk id="225" creationId="{2E3BF3CB-B236-4275-A4F8-DE6805D6032E}"/>
          </ac:spMkLst>
        </pc:spChg>
        <pc:spChg chg="mod topLvl">
          <ac:chgData name="Aude Van de WIELE" userId="7317e673-04dd-415c-a4d7-718682339b40" providerId="ADAL" clId="{80D4E734-020D-4C1F-A028-1B9E9B483F9A}" dt="2021-05-25T08:49:49.407" v="8124" actId="790"/>
          <ac:spMkLst>
            <pc:docMk/>
            <pc:sldMk cId="1088427134" sldId="10355"/>
            <ac:spMk id="226" creationId="{B2F4D423-6384-4EED-8A8F-FBFFC962C44E}"/>
          </ac:spMkLst>
        </pc:spChg>
        <pc:spChg chg="mod topLvl">
          <ac:chgData name="Aude Van de WIELE" userId="7317e673-04dd-415c-a4d7-718682339b40" providerId="ADAL" clId="{80D4E734-020D-4C1F-A028-1B9E9B483F9A}" dt="2021-05-25T08:49:49.408" v="8125" actId="790"/>
          <ac:spMkLst>
            <pc:docMk/>
            <pc:sldMk cId="1088427134" sldId="10355"/>
            <ac:spMk id="227" creationId="{899E4511-9356-4F55-9021-2AC75CA374F5}"/>
          </ac:spMkLst>
        </pc:spChg>
        <pc:spChg chg="mod topLvl">
          <ac:chgData name="Aude Van de WIELE" userId="7317e673-04dd-415c-a4d7-718682339b40" providerId="ADAL" clId="{80D4E734-020D-4C1F-A028-1B9E9B483F9A}" dt="2021-05-25T09:33:43.332" v="9916" actId="1038"/>
          <ac:spMkLst>
            <pc:docMk/>
            <pc:sldMk cId="1088427134" sldId="10355"/>
            <ac:spMk id="228" creationId="{5DE47477-F83C-4343-97B4-528F4E6EEC5E}"/>
          </ac:spMkLst>
        </pc:spChg>
        <pc:spChg chg="mod topLvl">
          <ac:chgData name="Aude Van de WIELE" userId="7317e673-04dd-415c-a4d7-718682339b40" providerId="ADAL" clId="{80D4E734-020D-4C1F-A028-1B9E9B483F9A}" dt="2021-05-25T08:49:49.409" v="8127" actId="790"/>
          <ac:spMkLst>
            <pc:docMk/>
            <pc:sldMk cId="1088427134" sldId="10355"/>
            <ac:spMk id="229" creationId="{4EFF5158-0EBE-46C9-A27A-E2B1C6DDC5DB}"/>
          </ac:spMkLst>
        </pc:spChg>
        <pc:spChg chg="add mod">
          <ac:chgData name="Aude Van de WIELE" userId="7317e673-04dd-415c-a4d7-718682339b40" providerId="ADAL" clId="{80D4E734-020D-4C1F-A028-1B9E9B483F9A}" dt="2021-05-24T14:00:28.332" v="4422" actId="1076"/>
          <ac:spMkLst>
            <pc:docMk/>
            <pc:sldMk cId="1088427134" sldId="10355"/>
            <ac:spMk id="230" creationId="{2032E04A-1934-4155-9F64-2304234ED891}"/>
          </ac:spMkLst>
        </pc:spChg>
        <pc:spChg chg="add mod">
          <ac:chgData name="Aude Van de WIELE" userId="7317e673-04dd-415c-a4d7-718682339b40" providerId="ADAL" clId="{80D4E734-020D-4C1F-A028-1B9E9B483F9A}" dt="2021-05-24T14:00:25.401" v="4421" actId="1076"/>
          <ac:spMkLst>
            <pc:docMk/>
            <pc:sldMk cId="1088427134" sldId="10355"/>
            <ac:spMk id="231" creationId="{DDB4BD98-E87E-4DFE-BAAE-AA399B921622}"/>
          </ac:spMkLst>
        </pc:spChg>
        <pc:spChg chg="add mod">
          <ac:chgData name="Aude Van de WIELE" userId="7317e673-04dd-415c-a4d7-718682339b40" providerId="ADAL" clId="{80D4E734-020D-4C1F-A028-1B9E9B483F9A}" dt="2021-05-24T14:00:16.699" v="4417" actId="1076"/>
          <ac:spMkLst>
            <pc:docMk/>
            <pc:sldMk cId="1088427134" sldId="10355"/>
            <ac:spMk id="232" creationId="{3FF56DF8-552F-47E5-A80B-C962A4527AEB}"/>
          </ac:spMkLst>
        </pc:spChg>
        <pc:spChg chg="add mod">
          <ac:chgData name="Aude Van de WIELE" userId="7317e673-04dd-415c-a4d7-718682339b40" providerId="ADAL" clId="{80D4E734-020D-4C1F-A028-1B9E9B483F9A}" dt="2021-05-24T13:59:49.196" v="4409" actId="1076"/>
          <ac:spMkLst>
            <pc:docMk/>
            <pc:sldMk cId="1088427134" sldId="10355"/>
            <ac:spMk id="233" creationId="{FB952112-C522-4953-879C-8E7DA6DAC82A}"/>
          </ac:spMkLst>
        </pc:spChg>
        <pc:spChg chg="mod topLvl">
          <ac:chgData name="Aude Van de WIELE" userId="7317e673-04dd-415c-a4d7-718682339b40" providerId="ADAL" clId="{80D4E734-020D-4C1F-A028-1B9E9B483F9A}" dt="2021-05-25T08:49:49.410" v="8128" actId="790"/>
          <ac:spMkLst>
            <pc:docMk/>
            <pc:sldMk cId="1088427134" sldId="10355"/>
            <ac:spMk id="234" creationId="{3930DCC7-BF1B-4C19-90DF-366A4AC6B52A}"/>
          </ac:spMkLst>
        </pc:spChg>
        <pc:spChg chg="add mod">
          <ac:chgData name="Aude Van de WIELE" userId="7317e673-04dd-415c-a4d7-718682339b40" providerId="ADAL" clId="{80D4E734-020D-4C1F-A028-1B9E9B483F9A}" dt="2021-05-24T14:00:14.363" v="4416" actId="1076"/>
          <ac:spMkLst>
            <pc:docMk/>
            <pc:sldMk cId="1088427134" sldId="10355"/>
            <ac:spMk id="235" creationId="{E571F0A5-F47B-44F9-9982-90EF77E81F16}"/>
          </ac:spMkLst>
        </pc:spChg>
        <pc:spChg chg="add mod">
          <ac:chgData name="Aude Van de WIELE" userId="7317e673-04dd-415c-a4d7-718682339b40" providerId="ADAL" clId="{80D4E734-020D-4C1F-A028-1B9E9B483F9A}" dt="2021-05-25T08:49:49.430" v="8144" actId="790"/>
          <ac:spMkLst>
            <pc:docMk/>
            <pc:sldMk cId="1088427134" sldId="10355"/>
            <ac:spMk id="236" creationId="{00F7E046-3416-4368-812E-5C119AD03ABB}"/>
          </ac:spMkLst>
        </pc:spChg>
        <pc:spChg chg="mod">
          <ac:chgData name="Aude Van de WIELE" userId="7317e673-04dd-415c-a4d7-718682339b40" providerId="ADAL" clId="{80D4E734-020D-4C1F-A028-1B9E9B483F9A}" dt="2021-05-25T08:49:49.438" v="8152" actId="790"/>
          <ac:spMkLst>
            <pc:docMk/>
            <pc:sldMk cId="1088427134" sldId="10355"/>
            <ac:spMk id="237" creationId="{6E5AF13E-321B-46A9-8A9E-118042B87B4E}"/>
          </ac:spMkLst>
        </pc:spChg>
        <pc:spChg chg="mod">
          <ac:chgData name="Aude Van de WIELE" userId="7317e673-04dd-415c-a4d7-718682339b40" providerId="ADAL" clId="{80D4E734-020D-4C1F-A028-1B9E9B483F9A}" dt="2021-05-25T08:49:49.438" v="8153" actId="790"/>
          <ac:spMkLst>
            <pc:docMk/>
            <pc:sldMk cId="1088427134" sldId="10355"/>
            <ac:spMk id="238" creationId="{AFF1494D-4D2B-458F-9EF2-6B336A081C82}"/>
          </ac:spMkLst>
        </pc:spChg>
        <pc:spChg chg="mod">
          <ac:chgData name="Aude Van de WIELE" userId="7317e673-04dd-415c-a4d7-718682339b40" providerId="ADAL" clId="{80D4E734-020D-4C1F-A028-1B9E9B483F9A}" dt="2021-05-25T08:49:49.439" v="8154" actId="790"/>
          <ac:spMkLst>
            <pc:docMk/>
            <pc:sldMk cId="1088427134" sldId="10355"/>
            <ac:spMk id="239" creationId="{D4188DE1-989E-4558-A0ED-D3E5F1AF38BF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49" creationId="{B311CDFE-CC3C-4CD7-995C-F85A80D3A23B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50" creationId="{6F66A8C1-83BB-4978-8C68-50289DCC526C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67" creationId="{6E1D96EF-6303-464A-8F18-6CB438EBB071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68" creationId="{351E5978-22C6-4977-AB72-C1BBD1D61DE8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70" creationId="{A4BB5621-1ACF-4B03-A55E-4327E946E609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71" creationId="{DE04B81F-CE3B-4CE7-8EF0-B85877201B0B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74" creationId="{004E4846-3DB4-4078-9BBC-8DE373952340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75" creationId="{89BB0335-F7E7-4958-836F-0E9B87943B19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77" creationId="{AC1529A7-6C09-4E90-894B-7D9E993725AB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79" creationId="{B4FB852A-14E4-40A5-A98D-BEC36EAFCBB9}"/>
          </ac:spMkLst>
        </pc:spChg>
        <pc:spChg chg="mod topLvl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83" creationId="{D5958965-F487-477F-AC5D-E301F9C98F5C}"/>
          </ac:spMkLst>
        </pc:spChg>
        <pc:spChg chg="mod topLvl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84" creationId="{79B8AED8-86E0-47EF-A5DF-21380B992BB9}"/>
          </ac:spMkLst>
        </pc:spChg>
        <pc:spChg chg="mod topLvl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86" creationId="{BEFD37FC-1101-4DBE-8A18-40476D5D20B0}"/>
          </ac:spMkLst>
        </pc:spChg>
        <pc:spChg chg="mod topLvl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87" creationId="{2BBBBAAC-2283-4552-A7AE-9E69EDE10E06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88" creationId="{E822721F-C4A2-478C-94B0-FF975F8B78CC}"/>
          </ac:spMkLst>
        </pc:spChg>
        <pc:spChg chg="mod topLvl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289" creationId="{08FFC2AC-F2C1-4E9F-8966-4F86C52D4348}"/>
          </ac:spMkLst>
        </pc:spChg>
        <pc:spChg chg="mod topLvl">
          <ac:chgData name="Aude Van de WIELE" userId="7317e673-04dd-415c-a4d7-718682339b40" providerId="ADAL" clId="{80D4E734-020D-4C1F-A028-1B9E9B483F9A}" dt="2021-05-25T08:49:49.379" v="8098" actId="790"/>
          <ac:spMkLst>
            <pc:docMk/>
            <pc:sldMk cId="1088427134" sldId="10355"/>
            <ac:spMk id="293" creationId="{617A7A8A-DF61-4D21-A457-8B0899095289}"/>
          </ac:spMkLst>
        </pc:spChg>
        <pc:spChg chg="mod topLvl">
          <ac:chgData name="Aude Van de WIELE" userId="7317e673-04dd-415c-a4d7-718682339b40" providerId="ADAL" clId="{80D4E734-020D-4C1F-A028-1B9E9B483F9A}" dt="2021-05-25T08:49:49.380" v="8099" actId="790"/>
          <ac:spMkLst>
            <pc:docMk/>
            <pc:sldMk cId="1088427134" sldId="10355"/>
            <ac:spMk id="294" creationId="{C2F5995A-D732-4968-B25E-B7B65E43D48B}"/>
          </ac:spMkLst>
        </pc:spChg>
        <pc:spChg chg="mod topLvl">
          <ac:chgData name="Aude Van de WIELE" userId="7317e673-04dd-415c-a4d7-718682339b40" providerId="ADAL" clId="{80D4E734-020D-4C1F-A028-1B9E9B483F9A}" dt="2021-05-25T08:49:49.382" v="8100" actId="790"/>
          <ac:spMkLst>
            <pc:docMk/>
            <pc:sldMk cId="1088427134" sldId="10355"/>
            <ac:spMk id="295" creationId="{ED22F590-D8D1-428D-826E-EE3A067F96A3}"/>
          </ac:spMkLst>
        </pc:spChg>
        <pc:spChg chg="mod topLvl">
          <ac:chgData name="Aude Van de WIELE" userId="7317e673-04dd-415c-a4d7-718682339b40" providerId="ADAL" clId="{80D4E734-020D-4C1F-A028-1B9E9B483F9A}" dt="2021-05-25T08:49:49.383" v="8101" actId="790"/>
          <ac:spMkLst>
            <pc:docMk/>
            <pc:sldMk cId="1088427134" sldId="10355"/>
            <ac:spMk id="296" creationId="{00361E1D-A8D2-4D0A-AA96-0271BCF5E084}"/>
          </ac:spMkLst>
        </pc:spChg>
        <pc:spChg chg="mod topLvl">
          <ac:chgData name="Aude Van de WIELE" userId="7317e673-04dd-415c-a4d7-718682339b40" providerId="ADAL" clId="{80D4E734-020D-4C1F-A028-1B9E9B483F9A}" dt="2021-05-25T08:49:49.399" v="8115" actId="790"/>
          <ac:spMkLst>
            <pc:docMk/>
            <pc:sldMk cId="1088427134" sldId="10355"/>
            <ac:spMk id="297" creationId="{77DC1682-4763-4F4E-8898-D304D40CEE88}"/>
          </ac:spMkLst>
        </pc:spChg>
        <pc:spChg chg="mod topLvl">
          <ac:chgData name="Aude Van de WIELE" userId="7317e673-04dd-415c-a4d7-718682339b40" providerId="ADAL" clId="{80D4E734-020D-4C1F-A028-1B9E9B483F9A}" dt="2021-05-25T08:49:49.400" v="8116" actId="790"/>
          <ac:spMkLst>
            <pc:docMk/>
            <pc:sldMk cId="1088427134" sldId="10355"/>
            <ac:spMk id="298" creationId="{7F85B45B-4746-467D-A51B-2B59987A647B}"/>
          </ac:spMkLst>
        </pc:spChg>
        <pc:spChg chg="mod topLvl">
          <ac:chgData name="Aude Van de WIELE" userId="7317e673-04dd-415c-a4d7-718682339b40" providerId="ADAL" clId="{80D4E734-020D-4C1F-A028-1B9E9B483F9A}" dt="2021-05-25T08:49:49.401" v="8117" actId="790"/>
          <ac:spMkLst>
            <pc:docMk/>
            <pc:sldMk cId="1088427134" sldId="10355"/>
            <ac:spMk id="299" creationId="{8EA1E97D-8D4C-45B3-B0ED-0309A53B6DBC}"/>
          </ac:spMkLst>
        </pc:spChg>
        <pc:spChg chg="mod topLvl">
          <ac:chgData name="Aude Van de WIELE" userId="7317e673-04dd-415c-a4d7-718682339b40" providerId="ADAL" clId="{80D4E734-020D-4C1F-A028-1B9E9B483F9A}" dt="2021-05-25T08:49:49.402" v="8118" actId="790"/>
          <ac:spMkLst>
            <pc:docMk/>
            <pc:sldMk cId="1088427134" sldId="10355"/>
            <ac:spMk id="300" creationId="{B638FE26-EA5A-4C48-B32A-22345AB071AE}"/>
          </ac:spMkLst>
        </pc:spChg>
        <pc:spChg chg="mod topLvl">
          <ac:chgData name="Aude Van de WIELE" userId="7317e673-04dd-415c-a4d7-718682339b40" providerId="ADAL" clId="{80D4E734-020D-4C1F-A028-1B9E9B483F9A}" dt="2021-05-25T08:49:49.403" v="8119" actId="790"/>
          <ac:spMkLst>
            <pc:docMk/>
            <pc:sldMk cId="1088427134" sldId="10355"/>
            <ac:spMk id="301" creationId="{89E4857A-7344-4991-94C0-6D8D83A8C52F}"/>
          </ac:spMkLst>
        </pc:spChg>
        <pc:spChg chg="mod topLvl">
          <ac:chgData name="Aude Van de WIELE" userId="7317e673-04dd-415c-a4d7-718682339b40" providerId="ADAL" clId="{80D4E734-020D-4C1F-A028-1B9E9B483F9A}" dt="2021-05-25T08:49:49.404" v="8120" actId="790"/>
          <ac:spMkLst>
            <pc:docMk/>
            <pc:sldMk cId="1088427134" sldId="10355"/>
            <ac:spMk id="302" creationId="{34B0C0D9-C504-43C9-BA61-0E82CE469A32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03" creationId="{D05C407B-F5D7-4E47-BAC5-A0F5B00AA1FF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06" creationId="{DD01B101-CFB2-4B58-A6B2-8F3D52C8B6D7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08" creationId="{9B8AD46F-4AD6-4349-9053-D16AA38F5B19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26" creationId="{B400FA7F-D54C-4542-9A2A-3AB9DC0C3F44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27" creationId="{1F375A6B-8353-4D8E-9753-317930ACEC24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29" creationId="{509ECC2A-D00A-4944-BA1E-D37AE9CC78D1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30" creationId="{F8D33E1B-E593-4D93-A305-8A1F7C6BD742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32" creationId="{6B3E2B33-EF35-42B7-A44D-1DE7AA78EC59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34" creationId="{36F0C2A9-E366-43AA-9C02-0053FCC9C598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36" creationId="{038D7E3D-679E-4ABE-8878-45F4E807D8CA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37" creationId="{836213EB-6968-4D25-B028-4540F846940F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39" creationId="{C8C5E086-3A6A-4700-8990-528AC90B091D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40" creationId="{D56B61D0-4C94-443A-BB8D-A28A2CAC9834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42" creationId="{F44DBA92-99BA-47D8-86DD-EFD738B62A8E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43" creationId="{098EEF31-6196-47F4-B45F-6E315541BF18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45" creationId="{B7B6BA5E-9868-43CC-A30B-CEAB5CD135C5}"/>
          </ac:spMkLst>
        </pc:spChg>
        <pc:spChg chg="mod">
          <ac:chgData name="Aude Van de WIELE" userId="7317e673-04dd-415c-a4d7-718682339b40" providerId="ADAL" clId="{80D4E734-020D-4C1F-A028-1B9E9B483F9A}" dt="2021-05-24T13:59:54.835" v="4412" actId="165"/>
          <ac:spMkLst>
            <pc:docMk/>
            <pc:sldMk cId="1088427134" sldId="10355"/>
            <ac:spMk id="346" creationId="{F446B0C3-5149-4F36-9B4E-8AE508DC6260}"/>
          </ac:spMkLst>
        </pc:spChg>
        <pc:spChg chg="mod topLvl">
          <ac:chgData name="Aude Van de WIELE" userId="7317e673-04dd-415c-a4d7-718682339b40" providerId="ADAL" clId="{80D4E734-020D-4C1F-A028-1B9E9B483F9A}" dt="2021-05-25T08:49:49.371" v="8090" actId="790"/>
          <ac:spMkLst>
            <pc:docMk/>
            <pc:sldMk cId="1088427134" sldId="10355"/>
            <ac:spMk id="348" creationId="{CFCBCDDB-EA95-49A6-B547-6019E50F386C}"/>
          </ac:spMkLst>
        </pc:spChg>
        <pc:spChg chg="mod topLvl">
          <ac:chgData name="Aude Van de WIELE" userId="7317e673-04dd-415c-a4d7-718682339b40" providerId="ADAL" clId="{80D4E734-020D-4C1F-A028-1B9E9B483F9A}" dt="2021-05-25T08:49:49.372" v="8091" actId="790"/>
          <ac:spMkLst>
            <pc:docMk/>
            <pc:sldMk cId="1088427134" sldId="10355"/>
            <ac:spMk id="349" creationId="{395A3F28-98E0-4ABF-A444-F427F580278A}"/>
          </ac:spMkLst>
        </pc:spChg>
        <pc:spChg chg="mod topLvl">
          <ac:chgData name="Aude Van de WIELE" userId="7317e673-04dd-415c-a4d7-718682339b40" providerId="ADAL" clId="{80D4E734-020D-4C1F-A028-1B9E9B483F9A}" dt="2021-05-25T08:49:49.373" v="8092" actId="790"/>
          <ac:spMkLst>
            <pc:docMk/>
            <pc:sldMk cId="1088427134" sldId="10355"/>
            <ac:spMk id="350" creationId="{F2865F77-BAC4-4AED-B624-0B522BF3F767}"/>
          </ac:spMkLst>
        </pc:spChg>
        <pc:spChg chg="mod topLvl">
          <ac:chgData name="Aude Van de WIELE" userId="7317e673-04dd-415c-a4d7-718682339b40" providerId="ADAL" clId="{80D4E734-020D-4C1F-A028-1B9E9B483F9A}" dt="2021-05-25T08:49:49.373" v="8093" actId="790"/>
          <ac:spMkLst>
            <pc:docMk/>
            <pc:sldMk cId="1088427134" sldId="10355"/>
            <ac:spMk id="351" creationId="{0669AB15-C923-4679-B7DC-569D79DDE370}"/>
          </ac:spMkLst>
        </pc:spChg>
        <pc:spChg chg="mod topLvl">
          <ac:chgData name="Aude Van de WIELE" userId="7317e673-04dd-415c-a4d7-718682339b40" providerId="ADAL" clId="{80D4E734-020D-4C1F-A028-1B9E9B483F9A}" dt="2021-05-25T08:49:49.374" v="8094" actId="790"/>
          <ac:spMkLst>
            <pc:docMk/>
            <pc:sldMk cId="1088427134" sldId="10355"/>
            <ac:spMk id="352" creationId="{F6B285D2-708B-421E-B5A7-4D9C77F08F6E}"/>
          </ac:spMkLst>
        </pc:spChg>
        <pc:spChg chg="mod topLvl">
          <ac:chgData name="Aude Van de WIELE" userId="7317e673-04dd-415c-a4d7-718682339b40" providerId="ADAL" clId="{80D4E734-020D-4C1F-A028-1B9E9B483F9A}" dt="2021-05-25T08:49:49.375" v="8095" actId="790"/>
          <ac:spMkLst>
            <pc:docMk/>
            <pc:sldMk cId="1088427134" sldId="10355"/>
            <ac:spMk id="353" creationId="{390E82EC-150E-4DD4-892A-477625840C31}"/>
          </ac:spMkLst>
        </pc:spChg>
        <pc:spChg chg="mod topLvl">
          <ac:chgData name="Aude Van de WIELE" userId="7317e673-04dd-415c-a4d7-718682339b40" providerId="ADAL" clId="{80D4E734-020D-4C1F-A028-1B9E9B483F9A}" dt="2021-05-25T08:49:49.394" v="8110" actId="790"/>
          <ac:spMkLst>
            <pc:docMk/>
            <pc:sldMk cId="1088427134" sldId="10355"/>
            <ac:spMk id="354" creationId="{E856EDF6-9B33-4E84-9395-01F2C852986E}"/>
          </ac:spMkLst>
        </pc:spChg>
        <pc:spChg chg="mod topLvl">
          <ac:chgData name="Aude Van de WIELE" userId="7317e673-04dd-415c-a4d7-718682339b40" providerId="ADAL" clId="{80D4E734-020D-4C1F-A028-1B9E9B483F9A}" dt="2021-05-25T08:49:49.395" v="8111" actId="790"/>
          <ac:spMkLst>
            <pc:docMk/>
            <pc:sldMk cId="1088427134" sldId="10355"/>
            <ac:spMk id="355" creationId="{F6FE6982-C59D-4903-A697-09F5B2458B91}"/>
          </ac:spMkLst>
        </pc:spChg>
        <pc:spChg chg="mod topLvl">
          <ac:chgData name="Aude Van de WIELE" userId="7317e673-04dd-415c-a4d7-718682339b40" providerId="ADAL" clId="{80D4E734-020D-4C1F-A028-1B9E9B483F9A}" dt="2021-05-25T08:49:49.396" v="8112" actId="790"/>
          <ac:spMkLst>
            <pc:docMk/>
            <pc:sldMk cId="1088427134" sldId="10355"/>
            <ac:spMk id="366" creationId="{93DF475D-D416-47B1-B3AE-DF8F8DFDB5CE}"/>
          </ac:spMkLst>
        </pc:spChg>
        <pc:spChg chg="mod topLvl">
          <ac:chgData name="Aude Van de WIELE" userId="7317e673-04dd-415c-a4d7-718682339b40" providerId="ADAL" clId="{80D4E734-020D-4C1F-A028-1B9E9B483F9A}" dt="2021-05-25T08:49:49.397" v="8113" actId="790"/>
          <ac:spMkLst>
            <pc:docMk/>
            <pc:sldMk cId="1088427134" sldId="10355"/>
            <ac:spMk id="431" creationId="{C43A5D41-8E95-4FE9-AA7F-FE80E1B41664}"/>
          </ac:spMkLst>
        </pc:spChg>
        <pc:spChg chg="mod topLvl">
          <ac:chgData name="Aude Van de WIELE" userId="7317e673-04dd-415c-a4d7-718682339b40" providerId="ADAL" clId="{80D4E734-020D-4C1F-A028-1B9E9B483F9A}" dt="2021-05-25T08:49:49.421" v="8134" actId="790"/>
          <ac:spMkLst>
            <pc:docMk/>
            <pc:sldMk cId="1088427134" sldId="10355"/>
            <ac:spMk id="432" creationId="{03857C1B-D6C5-45FC-9704-4AD21AA68E0E}"/>
          </ac:spMkLst>
        </pc:spChg>
        <pc:spChg chg="mod">
          <ac:chgData name="Aude Van de WIELE" userId="7317e673-04dd-415c-a4d7-718682339b40" providerId="ADAL" clId="{80D4E734-020D-4C1F-A028-1B9E9B483F9A}" dt="2021-05-25T08:49:49.351" v="8072" actId="790"/>
          <ac:spMkLst>
            <pc:docMk/>
            <pc:sldMk cId="1088427134" sldId="10355"/>
            <ac:spMk id="524" creationId="{9DA0C13D-FDE2-432F-842A-8FDF5BC8E38A}"/>
          </ac:spMkLst>
        </pc:spChg>
        <pc:spChg chg="mod">
          <ac:chgData name="Aude Van de WIELE" userId="7317e673-04dd-415c-a4d7-718682339b40" providerId="ADAL" clId="{80D4E734-020D-4C1F-A028-1B9E9B483F9A}" dt="2021-05-25T08:49:49.352" v="8073" actId="790"/>
          <ac:spMkLst>
            <pc:docMk/>
            <pc:sldMk cId="1088427134" sldId="10355"/>
            <ac:spMk id="526" creationId="{1E61C816-480E-4818-B936-DD577AC6BF1D}"/>
          </ac:spMkLst>
        </pc:spChg>
        <pc:spChg chg="mod">
          <ac:chgData name="Aude Van de WIELE" userId="7317e673-04dd-415c-a4d7-718682339b40" providerId="ADAL" clId="{80D4E734-020D-4C1F-A028-1B9E9B483F9A}" dt="2021-05-25T08:49:49.353" v="8075" actId="790"/>
          <ac:spMkLst>
            <pc:docMk/>
            <pc:sldMk cId="1088427134" sldId="10355"/>
            <ac:spMk id="566" creationId="{5034B735-5470-44C8-9214-2F36EE84557A}"/>
          </ac:spMkLst>
        </pc:spChg>
        <pc:spChg chg="mod">
          <ac:chgData name="Aude Van de WIELE" userId="7317e673-04dd-415c-a4d7-718682339b40" providerId="ADAL" clId="{80D4E734-020D-4C1F-A028-1B9E9B483F9A}" dt="2021-05-25T08:49:49.355" v="8076" actId="790"/>
          <ac:spMkLst>
            <pc:docMk/>
            <pc:sldMk cId="1088427134" sldId="10355"/>
            <ac:spMk id="567" creationId="{7A7AC5FD-4972-4698-9C29-EBE0BC229D2C}"/>
          </ac:spMkLst>
        </pc:spChg>
        <pc:spChg chg="mod">
          <ac:chgData name="Aude Van de WIELE" userId="7317e673-04dd-415c-a4d7-718682339b40" providerId="ADAL" clId="{80D4E734-020D-4C1F-A028-1B9E9B483F9A}" dt="2021-05-25T08:49:49.356" v="8077" actId="790"/>
          <ac:spMkLst>
            <pc:docMk/>
            <pc:sldMk cId="1088427134" sldId="10355"/>
            <ac:spMk id="568" creationId="{1BB99FC1-A755-41C4-A5B0-42BF784157D7}"/>
          </ac:spMkLst>
        </pc:spChg>
        <pc:spChg chg="mod">
          <ac:chgData name="Aude Van de WIELE" userId="7317e673-04dd-415c-a4d7-718682339b40" providerId="ADAL" clId="{80D4E734-020D-4C1F-A028-1B9E9B483F9A}" dt="2021-05-25T08:49:49.356" v="8078" actId="790"/>
          <ac:spMkLst>
            <pc:docMk/>
            <pc:sldMk cId="1088427134" sldId="10355"/>
            <ac:spMk id="569" creationId="{03B48CD2-8D5F-467F-95E5-9374434808F1}"/>
          </ac:spMkLst>
        </pc:spChg>
        <pc:spChg chg="mod">
          <ac:chgData name="Aude Van de WIELE" userId="7317e673-04dd-415c-a4d7-718682339b40" providerId="ADAL" clId="{80D4E734-020D-4C1F-A028-1B9E9B483F9A}" dt="2021-05-25T08:49:49.357" v="8079" actId="790"/>
          <ac:spMkLst>
            <pc:docMk/>
            <pc:sldMk cId="1088427134" sldId="10355"/>
            <ac:spMk id="570" creationId="{A6FC9F8E-9407-4068-9614-2C9B33825B85}"/>
          </ac:spMkLst>
        </pc:spChg>
        <pc:spChg chg="mod topLvl">
          <ac:chgData name="Aude Van de WIELE" userId="7317e673-04dd-415c-a4d7-718682339b40" providerId="ADAL" clId="{80D4E734-020D-4C1F-A028-1B9E9B483F9A}" dt="2021-05-25T08:49:49.416" v="8129" actId="790"/>
          <ac:spMkLst>
            <pc:docMk/>
            <pc:sldMk cId="1088427134" sldId="10355"/>
            <ac:spMk id="571" creationId="{83A1A957-09EF-441E-B0F3-BEA3575C3310}"/>
          </ac:spMkLst>
        </pc:spChg>
        <pc:spChg chg="mod topLvl">
          <ac:chgData name="Aude Van de WIELE" userId="7317e673-04dd-415c-a4d7-718682339b40" providerId="ADAL" clId="{80D4E734-020D-4C1F-A028-1B9E9B483F9A}" dt="2021-05-25T08:49:49.416" v="8130" actId="790"/>
          <ac:spMkLst>
            <pc:docMk/>
            <pc:sldMk cId="1088427134" sldId="10355"/>
            <ac:spMk id="572" creationId="{C8642C5B-766C-444E-B472-4CCCA91833BB}"/>
          </ac:spMkLst>
        </pc:spChg>
        <pc:spChg chg="mod topLvl">
          <ac:chgData name="Aude Van de WIELE" userId="7317e673-04dd-415c-a4d7-718682339b40" providerId="ADAL" clId="{80D4E734-020D-4C1F-A028-1B9E9B483F9A}" dt="2021-05-25T08:49:49.417" v="8131" actId="790"/>
          <ac:spMkLst>
            <pc:docMk/>
            <pc:sldMk cId="1088427134" sldId="10355"/>
            <ac:spMk id="573" creationId="{641495BC-10DB-4F75-90D3-435B0EA4AA1D}"/>
          </ac:spMkLst>
        </pc:spChg>
        <pc:spChg chg="mod topLvl">
          <ac:chgData name="Aude Van de WIELE" userId="7317e673-04dd-415c-a4d7-718682339b40" providerId="ADAL" clId="{80D4E734-020D-4C1F-A028-1B9E9B483F9A}" dt="2021-05-25T08:49:49.418" v="8132" actId="790"/>
          <ac:spMkLst>
            <pc:docMk/>
            <pc:sldMk cId="1088427134" sldId="10355"/>
            <ac:spMk id="574" creationId="{B378CEDE-C4B2-43EE-A7C1-F2D15C120DFA}"/>
          </ac:spMkLst>
        </pc:spChg>
        <pc:spChg chg="mod topLvl">
          <ac:chgData name="Aude Van de WIELE" userId="7317e673-04dd-415c-a4d7-718682339b40" providerId="ADAL" clId="{80D4E734-020D-4C1F-A028-1B9E9B483F9A}" dt="2021-05-25T08:49:49.419" v="8133" actId="790"/>
          <ac:spMkLst>
            <pc:docMk/>
            <pc:sldMk cId="1088427134" sldId="10355"/>
            <ac:spMk id="575" creationId="{670C47CD-4DA7-4D9F-AE7A-05B5C0EE79A0}"/>
          </ac:spMkLst>
        </pc:spChg>
        <pc:spChg chg="mod topLvl">
          <ac:chgData name="Aude Van de WIELE" userId="7317e673-04dd-415c-a4d7-718682339b40" providerId="ADAL" clId="{80D4E734-020D-4C1F-A028-1B9E9B483F9A}" dt="2021-05-25T08:49:49.390" v="8106" actId="790"/>
          <ac:spMkLst>
            <pc:docMk/>
            <pc:sldMk cId="1088427134" sldId="10355"/>
            <ac:spMk id="576" creationId="{5CFF709F-67CB-4B7D-B62B-5F093186EFD9}"/>
          </ac:spMkLst>
        </pc:spChg>
        <pc:spChg chg="mod topLvl">
          <ac:chgData name="Aude Van de WIELE" userId="7317e673-04dd-415c-a4d7-718682339b40" providerId="ADAL" clId="{80D4E734-020D-4C1F-A028-1B9E9B483F9A}" dt="2021-05-25T08:49:49.391" v="8107" actId="790"/>
          <ac:spMkLst>
            <pc:docMk/>
            <pc:sldMk cId="1088427134" sldId="10355"/>
            <ac:spMk id="577" creationId="{9F35AA8E-A2FF-4273-BC1C-808C2425AE43}"/>
          </ac:spMkLst>
        </pc:spChg>
        <pc:spChg chg="mod topLvl">
          <ac:chgData name="Aude Van de WIELE" userId="7317e673-04dd-415c-a4d7-718682339b40" providerId="ADAL" clId="{80D4E734-020D-4C1F-A028-1B9E9B483F9A}" dt="2021-05-25T08:49:49.392" v="8108" actId="790"/>
          <ac:spMkLst>
            <pc:docMk/>
            <pc:sldMk cId="1088427134" sldId="10355"/>
            <ac:spMk id="578" creationId="{EB266672-983F-4822-A4D2-45E27A858222}"/>
          </ac:spMkLst>
        </pc:spChg>
        <pc:spChg chg="mod topLvl">
          <ac:chgData name="Aude Van de WIELE" userId="7317e673-04dd-415c-a4d7-718682339b40" providerId="ADAL" clId="{80D4E734-020D-4C1F-A028-1B9E9B483F9A}" dt="2021-05-25T08:49:49.393" v="8109" actId="790"/>
          <ac:spMkLst>
            <pc:docMk/>
            <pc:sldMk cId="1088427134" sldId="10355"/>
            <ac:spMk id="579" creationId="{134F9CF9-9DCE-4D1A-B7EA-16DD017406BC}"/>
          </ac:spMkLst>
        </pc:spChg>
        <pc:spChg chg="mod topLvl">
          <ac:chgData name="Aude Van de WIELE" userId="7317e673-04dd-415c-a4d7-718682339b40" providerId="ADAL" clId="{80D4E734-020D-4C1F-A028-1B9E9B483F9A}" dt="2021-05-25T08:49:49.367" v="8085" actId="790"/>
          <ac:spMkLst>
            <pc:docMk/>
            <pc:sldMk cId="1088427134" sldId="10355"/>
            <ac:spMk id="580" creationId="{2B70C116-8232-4E9E-89F2-5E9CBA392143}"/>
          </ac:spMkLst>
        </pc:spChg>
        <pc:spChg chg="mod topLvl">
          <ac:chgData name="Aude Van de WIELE" userId="7317e673-04dd-415c-a4d7-718682339b40" providerId="ADAL" clId="{80D4E734-020D-4C1F-A028-1B9E9B483F9A}" dt="2021-05-25T08:49:49.367" v="8086" actId="790"/>
          <ac:spMkLst>
            <pc:docMk/>
            <pc:sldMk cId="1088427134" sldId="10355"/>
            <ac:spMk id="581" creationId="{5016B878-0E7C-4DEC-84B3-C49F41F62BB3}"/>
          </ac:spMkLst>
        </pc:spChg>
        <pc:spChg chg="mod topLvl">
          <ac:chgData name="Aude Van de WIELE" userId="7317e673-04dd-415c-a4d7-718682339b40" providerId="ADAL" clId="{80D4E734-020D-4C1F-A028-1B9E9B483F9A}" dt="2021-05-25T08:49:49.368" v="8087" actId="790"/>
          <ac:spMkLst>
            <pc:docMk/>
            <pc:sldMk cId="1088427134" sldId="10355"/>
            <ac:spMk id="582" creationId="{4CB40702-3157-4D6C-AFE1-DD055FDCDC4A}"/>
          </ac:spMkLst>
        </pc:spChg>
        <pc:spChg chg="mod topLvl">
          <ac:chgData name="Aude Van de WIELE" userId="7317e673-04dd-415c-a4d7-718682339b40" providerId="ADAL" clId="{80D4E734-020D-4C1F-A028-1B9E9B483F9A}" dt="2021-05-25T08:49:49.369" v="8088" actId="790"/>
          <ac:spMkLst>
            <pc:docMk/>
            <pc:sldMk cId="1088427134" sldId="10355"/>
            <ac:spMk id="583" creationId="{0AA0C37F-F2C9-4B44-992D-2D401C00937D}"/>
          </ac:spMkLst>
        </pc:spChg>
        <pc:spChg chg="mod topLvl">
          <ac:chgData name="Aude Van de WIELE" userId="7317e673-04dd-415c-a4d7-718682339b40" providerId="ADAL" clId="{80D4E734-020D-4C1F-A028-1B9E9B483F9A}" dt="2021-05-25T08:49:49.371" v="8089" actId="790"/>
          <ac:spMkLst>
            <pc:docMk/>
            <pc:sldMk cId="1088427134" sldId="10355"/>
            <ac:spMk id="584" creationId="{C34DD91A-F396-429A-8248-138E16DBB82B}"/>
          </ac:spMkLst>
        </pc:spChg>
        <pc:grpChg chg="add del 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6" creationId="{82AA827A-C72E-4E21-B55B-43724E562C95}"/>
          </ac:grpSpMkLst>
        </pc:grpChg>
        <pc:grpChg chg="add del 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8" creationId="{75467538-F0DE-4BC0-86EF-8DEAC6AA5CD8}"/>
          </ac:grpSpMkLst>
        </pc:grpChg>
        <pc:grpChg chg="add del 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9" creationId="{D194D92C-18ED-4AA6-9F76-64F0BAE8FF93}"/>
          </ac:grpSpMkLst>
        </pc:grpChg>
        <pc:grpChg chg="add del mod">
          <ac:chgData name="Aude Van de WIELE" userId="7317e673-04dd-415c-a4d7-718682339b40" providerId="ADAL" clId="{80D4E734-020D-4C1F-A028-1B9E9B483F9A}" dt="2021-05-24T13:59:54.510" v="4411" actId="165"/>
          <ac:grpSpMkLst>
            <pc:docMk/>
            <pc:sldMk cId="1088427134" sldId="10355"/>
            <ac:grpSpMk id="10" creationId="{633B1B12-B6B0-4910-9C61-445F18693411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102" creationId="{0A2FB828-EB1D-47C6-A494-BB4CF1CB9D0E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111" creationId="{71ED6AAA-4AE8-4A97-8354-189DB5B0D5CE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248" creationId="{238CAE78-2549-4EFA-B716-6C001F684A57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265" creationId="{8A6BBF92-B254-40DD-B391-14259CB7251B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269" creationId="{49D3575F-2D66-4297-BFE2-633DD4AC9960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273" creationId="{096D9CE9-2AD6-4EC7-B8CC-1EE98B1EAC66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276" creationId="{C2E494A5-0F2D-45CB-944B-F98BE8A470F8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280" creationId="{E4B3C72D-4C82-42AB-9951-64E2E7212561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05" creationId="{1227C4C4-77D2-43FE-8ADB-4234F568ADEA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25" creationId="{95E92C07-1CA2-4F33-B156-F18F41E031DD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28" creationId="{FC462B2C-D1D2-46DA-95FC-02D59D1F030F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31" creationId="{852F6FC3-46E0-4C42-A8E8-05753CBF512C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35" creationId="{BB31FC27-6917-4E66-9862-36A340C09B7C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38" creationId="{81C45A89-3187-414E-A19D-9E7B5D5D50EF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41" creationId="{1563A76D-FB86-4521-AFB2-A1339AB2C000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44" creationId="{AA5D35AF-5D4B-4099-8EA2-D809C225FCBC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57" creationId="{F072A464-1315-4E4A-B3D4-063E61193365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62" creationId="{C1E2C776-FC6F-4F79-8CCD-E7E251A2617D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72" creationId="{FB38594B-4541-49E6-A340-1E1193A9BA8F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77" creationId="{ED981A41-D834-4812-B432-B59CBD1F94A0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82" creationId="{767C63E0-8118-4917-A565-BAABBE60656C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87" creationId="{AA460E65-A252-41F3-832C-C859E602CCCF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394" creationId="{0ACF4873-2AB6-4F06-9B01-B7748A3461C1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402" creationId="{39F42B3D-5602-46CC-AFDB-6F6B8597B0B1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407" creationId="{B3FC3315-059B-44B4-B605-3F77C43D6BBB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412" creationId="{7952F43E-C38F-4FAF-AB56-FBE0A1D04485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417" creationId="{85AC1C61-0CF7-4C1C-B48A-7A9FDE0E881B}"/>
          </ac:grpSpMkLst>
        </pc:grpChg>
        <pc:grpChg chg="mod topLvl">
          <ac:chgData name="Aude Van de WIELE" userId="7317e673-04dd-415c-a4d7-718682339b40" providerId="ADAL" clId="{80D4E734-020D-4C1F-A028-1B9E9B483F9A}" dt="2021-05-24T13:59:54.835" v="4412" actId="165"/>
          <ac:grpSpMkLst>
            <pc:docMk/>
            <pc:sldMk cId="1088427134" sldId="10355"/>
            <ac:grpSpMk id="424" creationId="{5013FA97-B0F4-4A64-A7E9-0AD542A305AC}"/>
          </ac:grpSpMkLst>
        </pc:grp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03" creationId="{6F00F7DC-3D30-42A6-9FCC-99FCEF30F0D9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04" creationId="{C1F5EAC9-CD28-40D6-80C7-CB8BC4D82D83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05" creationId="{F726805C-D119-4BD6-8086-D4993DAF3E86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06" creationId="{2C2DEF6B-C818-472A-827E-8D6EB0076353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12" creationId="{CFA1C259-8BD3-4371-A9CA-B691E6157412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13" creationId="{41018A4B-15BC-42A0-9362-C62F377448A0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14" creationId="{AD14A185-243C-4BB2-ACD3-25BF1FBD29E1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115" creationId="{97083EC1-1C5A-4FFC-8509-F5938791549A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58" creationId="{08DC9401-6696-46AF-BE9F-936CC8677A80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59" creationId="{1D33BE7C-0922-4C96-85C2-B62CE5EFDE3B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60" creationId="{74829A94-C08E-43CC-9753-E480AC405A17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61" creationId="{9124836C-D8BB-4F6B-8DD3-476E281A6EFF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63" creationId="{76CE1D90-3D67-4961-8851-F5015FA91D69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64" creationId="{7116313B-1070-4D67-88B6-8E0578D77C06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0" creationId="{9B94CB54-06A9-46BE-B232-D4E94B81FEEF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1" creationId="{4534430B-8982-4398-ABAA-145B43E62FAF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3" creationId="{495866B3-B955-453E-A8F7-2F1441D0C56C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4" creationId="{0898CC63-CC3C-4EB1-890E-85369208AB01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5" creationId="{098BFD54-B391-4FD2-A2A2-BEFF7FAC4A70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6" creationId="{BBD191A0-B535-4173-ABCA-DEE5F366BD60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8" creationId="{9E8C60D4-3347-49D9-B02C-2D6240623CA8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79" creationId="{30BFCF20-DC6F-4799-9F23-6E53B90A0554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0" creationId="{F0C5D6B5-01EB-4914-836B-C6DEB046966A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1" creationId="{FD06DD68-40E0-4687-B0AA-054E76E27986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3" creationId="{656BB450-5757-4118-95A0-B802FD186251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4" creationId="{F6B818D0-59E2-44C2-BF3C-1D66462C5B51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5" creationId="{DF39F5D9-353C-479A-A437-F20C59F35652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6" creationId="{6E9AFD0B-2799-40DC-B7A8-1015D40705E4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8" creationId="{BFAC4307-3D5E-4DE7-AAC2-D4759AF3D117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89" creationId="{9C78CBB3-B0C4-4FA9-89BD-C7EE8DE72782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90" creationId="{DA9458D7-9870-4842-AD34-656598CAC41F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93" creationId="{FE27771D-0926-4872-A9B8-918C9C65BC6D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95" creationId="{B3455C7D-BBBB-495C-A903-6C57FEDA4FD3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399" creationId="{A6DDD825-400F-4817-B936-85F5EA42ECE4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0" creationId="{557F2FA1-289E-4D13-BA15-095E50731BA3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1" creationId="{DA19F301-A02F-4A99-A660-677B7E563E90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3" creationId="{3070328E-D50E-4DDA-87A1-DB5DFBF0D3FA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4" creationId="{013E8E7B-4AC7-47E2-938A-F6709FA12D5C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5" creationId="{708932F8-882F-4438-A2F3-C5939ACDD9A1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6" creationId="{BE910C07-4874-4637-B1BE-4CDB37C6F680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8" creationId="{E9651AA0-F7DC-4178-9D8A-F85BECAC90E3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09" creationId="{6C0C4F34-56C0-4362-84F9-EEA68B895B0E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0" creationId="{EC3887C2-C836-4EAA-8F07-89FFD1AAFF66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1" creationId="{07C450E2-2DCE-47C1-AC3E-D105F16AA081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3" creationId="{9D61B0CD-E8DE-4AFB-8F56-7A83C6F126B7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4" creationId="{A00DC5E7-56B1-4E17-A93E-2CD6ACCE9018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5" creationId="{D0B73D7B-0F79-4227-A621-A82162C02C93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6" creationId="{EED7FD1C-5A02-4222-8EF8-F716AF9E5DB0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8" creationId="{76CB3ADD-198D-42E9-ACC5-A423D0C99A85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19" creationId="{19775694-DF41-4D10-99A8-E5C50B61E113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22" creationId="{7EDFAB36-8298-4F28-88EF-88F56351C704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23" creationId="{7D7C0704-2A4D-499D-A3F9-60C073148E2B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25" creationId="{665DDE3F-6FAD-4A20-A1FE-7456D5D93FDA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26" creationId="{92FC4DF7-3103-4920-8A3E-FB04FE928314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27" creationId="{6855C70B-ED65-4336-AAAA-188576FC8ED7}"/>
          </ac:cxnSpMkLst>
        </pc:cxnChg>
        <pc:cxnChg chg="mod">
          <ac:chgData name="Aude Van de WIELE" userId="7317e673-04dd-415c-a4d7-718682339b40" providerId="ADAL" clId="{80D4E734-020D-4C1F-A028-1B9E9B483F9A}" dt="2021-05-24T13:59:54.835" v="4412" actId="165"/>
          <ac:cxnSpMkLst>
            <pc:docMk/>
            <pc:sldMk cId="1088427134" sldId="10355"/>
            <ac:cxnSpMk id="428" creationId="{38A7D380-93F3-483A-A44D-5FDDC114CA6E}"/>
          </ac:cxnSpMkLst>
        </pc:cxnChg>
      </pc:sldChg>
      <pc:sldChg chg="modSp mod">
        <pc:chgData name="Aude Van de WIELE" userId="7317e673-04dd-415c-a4d7-718682339b40" providerId="ADAL" clId="{80D4E734-020D-4C1F-A028-1B9E9B483F9A}" dt="2021-05-25T15:09:27.506" v="12795" actId="1076"/>
        <pc:sldMkLst>
          <pc:docMk/>
          <pc:sldMk cId="3990787528" sldId="10361"/>
        </pc:sldMkLst>
        <pc:spChg chg="mod">
          <ac:chgData name="Aude Van de WIELE" userId="7317e673-04dd-415c-a4d7-718682339b40" providerId="ADAL" clId="{80D4E734-020D-4C1F-A028-1B9E9B483F9A}" dt="2021-05-25T09:52:08.607" v="10069" actId="20577"/>
          <ac:spMkLst>
            <pc:docMk/>
            <pc:sldMk cId="3990787528" sldId="10361"/>
            <ac:spMk id="2" creationId="{E1481475-1FC6-4DD8-A95B-DCEE48FE195A}"/>
          </ac:spMkLst>
        </pc:spChg>
        <pc:spChg chg="mod">
          <ac:chgData name="Aude Van de WIELE" userId="7317e673-04dd-415c-a4d7-718682339b40" providerId="ADAL" clId="{80D4E734-020D-4C1F-A028-1B9E9B483F9A}" dt="2021-05-25T08:49:50.545" v="9080" actId="790"/>
          <ac:spMkLst>
            <pc:docMk/>
            <pc:sldMk cId="3990787528" sldId="10361"/>
            <ac:spMk id="5" creationId="{F46E7AF5-AD69-4AFF-8E99-CD21B448E633}"/>
          </ac:spMkLst>
        </pc:spChg>
        <pc:spChg chg="mod">
          <ac:chgData name="Aude Van de WIELE" userId="7317e673-04dd-415c-a4d7-718682339b40" providerId="ADAL" clId="{80D4E734-020D-4C1F-A028-1B9E9B483F9A}" dt="2021-05-25T08:49:50.523" v="9063" actId="790"/>
          <ac:spMkLst>
            <pc:docMk/>
            <pc:sldMk cId="3990787528" sldId="10361"/>
            <ac:spMk id="7" creationId="{42AC80FE-61C2-4CCD-8197-49DB0376671F}"/>
          </ac:spMkLst>
        </pc:spChg>
        <pc:spChg chg="mod">
          <ac:chgData name="Aude Van de WIELE" userId="7317e673-04dd-415c-a4d7-718682339b40" providerId="ADAL" clId="{80D4E734-020D-4C1F-A028-1B9E9B483F9A}" dt="2021-05-25T08:49:50.551" v="9083" actId="790"/>
          <ac:spMkLst>
            <pc:docMk/>
            <pc:sldMk cId="3990787528" sldId="10361"/>
            <ac:spMk id="8" creationId="{E10ED5A0-5661-49D4-8837-C5C101229F3B}"/>
          </ac:spMkLst>
        </pc:spChg>
        <pc:spChg chg="mod">
          <ac:chgData name="Aude Van de WIELE" userId="7317e673-04dd-415c-a4d7-718682339b40" providerId="ADAL" clId="{80D4E734-020D-4C1F-A028-1B9E9B483F9A}" dt="2021-05-25T08:49:50.525" v="9064" actId="790"/>
          <ac:spMkLst>
            <pc:docMk/>
            <pc:sldMk cId="3990787528" sldId="10361"/>
            <ac:spMk id="12" creationId="{B86E6A94-8641-434F-8002-7184D99557B6}"/>
          </ac:spMkLst>
        </pc:spChg>
        <pc:spChg chg="mod">
          <ac:chgData name="Aude Van de WIELE" userId="7317e673-04dd-415c-a4d7-718682339b40" providerId="ADAL" clId="{80D4E734-020D-4C1F-A028-1B9E9B483F9A}" dt="2021-05-25T08:49:50.528" v="9065" actId="790"/>
          <ac:spMkLst>
            <pc:docMk/>
            <pc:sldMk cId="3990787528" sldId="10361"/>
            <ac:spMk id="14" creationId="{45C4B741-EE07-4E09-933D-96C6F8C328DA}"/>
          </ac:spMkLst>
        </pc:spChg>
        <pc:spChg chg="mod">
          <ac:chgData name="Aude Van de WIELE" userId="7317e673-04dd-415c-a4d7-718682339b40" providerId="ADAL" clId="{80D4E734-020D-4C1F-A028-1B9E9B483F9A}" dt="2021-05-25T08:49:50.529" v="9066" actId="790"/>
          <ac:spMkLst>
            <pc:docMk/>
            <pc:sldMk cId="3990787528" sldId="10361"/>
            <ac:spMk id="17" creationId="{EE30131A-2764-4409-9471-08D20C6B41B7}"/>
          </ac:spMkLst>
        </pc:spChg>
        <pc:spChg chg="mod">
          <ac:chgData name="Aude Van de WIELE" userId="7317e673-04dd-415c-a4d7-718682339b40" providerId="ADAL" clId="{80D4E734-020D-4C1F-A028-1B9E9B483F9A}" dt="2021-05-25T08:49:50.530" v="9067" actId="790"/>
          <ac:spMkLst>
            <pc:docMk/>
            <pc:sldMk cId="3990787528" sldId="10361"/>
            <ac:spMk id="25" creationId="{9EDBF09F-F1CB-459E-96BE-64B7990905B5}"/>
          </ac:spMkLst>
        </pc:spChg>
        <pc:spChg chg="mod">
          <ac:chgData name="Aude Van de WIELE" userId="7317e673-04dd-415c-a4d7-718682339b40" providerId="ADAL" clId="{80D4E734-020D-4C1F-A028-1B9E9B483F9A}" dt="2021-05-25T08:49:50.532" v="9068" actId="790"/>
          <ac:spMkLst>
            <pc:docMk/>
            <pc:sldMk cId="3990787528" sldId="10361"/>
            <ac:spMk id="30" creationId="{44C62624-0F5A-42BD-A47E-BCAFCEBBE195}"/>
          </ac:spMkLst>
        </pc:spChg>
        <pc:spChg chg="mod">
          <ac:chgData name="Aude Van de WIELE" userId="7317e673-04dd-415c-a4d7-718682339b40" providerId="ADAL" clId="{80D4E734-020D-4C1F-A028-1B9E9B483F9A}" dt="2021-05-25T08:49:50.533" v="9069" actId="790"/>
          <ac:spMkLst>
            <pc:docMk/>
            <pc:sldMk cId="3990787528" sldId="10361"/>
            <ac:spMk id="47" creationId="{3632F3D2-16C2-4F36-8671-4E5BD35DD3FC}"/>
          </ac:spMkLst>
        </pc:spChg>
        <pc:spChg chg="mod">
          <ac:chgData name="Aude Van de WIELE" userId="7317e673-04dd-415c-a4d7-718682339b40" providerId="ADAL" clId="{80D4E734-020D-4C1F-A028-1B9E9B483F9A}" dt="2021-05-25T08:49:50.535" v="9070" actId="790"/>
          <ac:spMkLst>
            <pc:docMk/>
            <pc:sldMk cId="3990787528" sldId="10361"/>
            <ac:spMk id="62" creationId="{3399CC65-0E8C-4FA1-9CFF-5A3D13519D60}"/>
          </ac:spMkLst>
        </pc:spChg>
        <pc:spChg chg="mod">
          <ac:chgData name="Aude Van de WIELE" userId="7317e673-04dd-415c-a4d7-718682339b40" providerId="ADAL" clId="{80D4E734-020D-4C1F-A028-1B9E9B483F9A}" dt="2021-05-25T08:49:50.536" v="9071" actId="790"/>
          <ac:spMkLst>
            <pc:docMk/>
            <pc:sldMk cId="3990787528" sldId="10361"/>
            <ac:spMk id="63" creationId="{0E8161A6-7BE8-477D-BB6A-07B78137186B}"/>
          </ac:spMkLst>
        </pc:spChg>
        <pc:spChg chg="mod">
          <ac:chgData name="Aude Van de WIELE" userId="7317e673-04dd-415c-a4d7-718682339b40" providerId="ADAL" clId="{80D4E734-020D-4C1F-A028-1B9E9B483F9A}" dt="2021-05-25T08:49:50.537" v="9072" actId="790"/>
          <ac:spMkLst>
            <pc:docMk/>
            <pc:sldMk cId="3990787528" sldId="10361"/>
            <ac:spMk id="64" creationId="{6CF11445-FB8D-4EBB-8DC6-4790ABD159BC}"/>
          </ac:spMkLst>
        </pc:spChg>
        <pc:spChg chg="mod">
          <ac:chgData name="Aude Van de WIELE" userId="7317e673-04dd-415c-a4d7-718682339b40" providerId="ADAL" clId="{80D4E734-020D-4C1F-A028-1B9E9B483F9A}" dt="2021-05-25T08:49:50.538" v="9073" actId="790"/>
          <ac:spMkLst>
            <pc:docMk/>
            <pc:sldMk cId="3990787528" sldId="10361"/>
            <ac:spMk id="65" creationId="{FAA9234A-9E8F-44F8-87C6-4B20B87F2A07}"/>
          </ac:spMkLst>
        </pc:spChg>
        <pc:spChg chg="mod">
          <ac:chgData name="Aude Van de WIELE" userId="7317e673-04dd-415c-a4d7-718682339b40" providerId="ADAL" clId="{80D4E734-020D-4C1F-A028-1B9E9B483F9A}" dt="2021-05-25T08:49:50.539" v="9074" actId="790"/>
          <ac:spMkLst>
            <pc:docMk/>
            <pc:sldMk cId="3990787528" sldId="10361"/>
            <ac:spMk id="66" creationId="{3C171EAA-E96D-440D-AFAE-D876244B274E}"/>
          </ac:spMkLst>
        </pc:spChg>
        <pc:spChg chg="mod">
          <ac:chgData name="Aude Van de WIELE" userId="7317e673-04dd-415c-a4d7-718682339b40" providerId="ADAL" clId="{80D4E734-020D-4C1F-A028-1B9E9B483F9A}" dt="2021-05-25T08:49:50.540" v="9075" actId="790"/>
          <ac:spMkLst>
            <pc:docMk/>
            <pc:sldMk cId="3990787528" sldId="10361"/>
            <ac:spMk id="67" creationId="{1C5EC1EF-B53F-4FC1-88A8-B8FC149A30DD}"/>
          </ac:spMkLst>
        </pc:spChg>
        <pc:spChg chg="mod">
          <ac:chgData name="Aude Van de WIELE" userId="7317e673-04dd-415c-a4d7-718682339b40" providerId="ADAL" clId="{80D4E734-020D-4C1F-A028-1B9E9B483F9A}" dt="2021-05-25T08:49:50.541" v="9076" actId="790"/>
          <ac:spMkLst>
            <pc:docMk/>
            <pc:sldMk cId="3990787528" sldId="10361"/>
            <ac:spMk id="73" creationId="{368450D3-F23A-4029-B1E6-A46C77A6A2BC}"/>
          </ac:spMkLst>
        </pc:spChg>
        <pc:spChg chg="mod">
          <ac:chgData name="Aude Van de WIELE" userId="7317e673-04dd-415c-a4d7-718682339b40" providerId="ADAL" clId="{80D4E734-020D-4C1F-A028-1B9E9B483F9A}" dt="2021-05-25T08:49:50.541" v="9077" actId="790"/>
          <ac:spMkLst>
            <pc:docMk/>
            <pc:sldMk cId="3990787528" sldId="10361"/>
            <ac:spMk id="74" creationId="{CC5D3C8F-2199-4F59-9D5B-AD1B8496B82A}"/>
          </ac:spMkLst>
        </pc:spChg>
        <pc:spChg chg="mod">
          <ac:chgData name="Aude Van de WIELE" userId="7317e673-04dd-415c-a4d7-718682339b40" providerId="ADAL" clId="{80D4E734-020D-4C1F-A028-1B9E9B483F9A}" dt="2021-05-25T08:49:50.519" v="9061" actId="790"/>
          <ac:spMkLst>
            <pc:docMk/>
            <pc:sldMk cId="3990787528" sldId="10361"/>
            <ac:spMk id="77" creationId="{30B397E9-55E0-4C0A-8473-FA28414106F1}"/>
          </ac:spMkLst>
        </pc:spChg>
        <pc:spChg chg="mod">
          <ac:chgData name="Aude Van de WIELE" userId="7317e673-04dd-415c-a4d7-718682339b40" providerId="ADAL" clId="{80D4E734-020D-4C1F-A028-1B9E9B483F9A}" dt="2021-05-25T08:49:50.542" v="9078" actId="790"/>
          <ac:spMkLst>
            <pc:docMk/>
            <pc:sldMk cId="3990787528" sldId="10361"/>
            <ac:spMk id="78" creationId="{D387169E-C144-473E-BECE-421F0F5D82C5}"/>
          </ac:spMkLst>
        </pc:spChg>
        <pc:spChg chg="mod">
          <ac:chgData name="Aude Van de WIELE" userId="7317e673-04dd-415c-a4d7-718682339b40" providerId="ADAL" clId="{80D4E734-020D-4C1F-A028-1B9E9B483F9A}" dt="2021-05-25T08:49:50.554" v="9084" actId="790"/>
          <ac:spMkLst>
            <pc:docMk/>
            <pc:sldMk cId="3990787528" sldId="10361"/>
            <ac:spMk id="79" creationId="{C6BCD8BA-FD50-414E-8E10-969A70DBF09F}"/>
          </ac:spMkLst>
        </pc:spChg>
        <pc:spChg chg="mod">
          <ac:chgData name="Aude Van de WIELE" userId="7317e673-04dd-415c-a4d7-718682339b40" providerId="ADAL" clId="{80D4E734-020D-4C1F-A028-1B9E9B483F9A}" dt="2021-05-25T08:49:50.556" v="9085" actId="790"/>
          <ac:spMkLst>
            <pc:docMk/>
            <pc:sldMk cId="3990787528" sldId="10361"/>
            <ac:spMk id="80" creationId="{A5190C3C-DD49-44EE-9EA0-A0C3CEA9D193}"/>
          </ac:spMkLst>
        </pc:spChg>
        <pc:spChg chg="mod">
          <ac:chgData name="Aude Van de WIELE" userId="7317e673-04dd-415c-a4d7-718682339b40" providerId="ADAL" clId="{80D4E734-020D-4C1F-A028-1B9E9B483F9A}" dt="2021-05-25T15:09:27.506" v="12795" actId="1076"/>
          <ac:spMkLst>
            <pc:docMk/>
            <pc:sldMk cId="3990787528" sldId="10361"/>
            <ac:spMk id="82" creationId="{7F3B0FA8-45BF-4426-A8EB-845BE1ACDE14}"/>
          </ac:spMkLst>
        </pc:spChg>
        <pc:spChg chg="mod">
          <ac:chgData name="Aude Van de WIELE" userId="7317e673-04dd-415c-a4d7-718682339b40" providerId="ADAL" clId="{80D4E734-020D-4C1F-A028-1B9E9B483F9A}" dt="2021-05-25T08:49:50.557" v="9086" actId="790"/>
          <ac:spMkLst>
            <pc:docMk/>
            <pc:sldMk cId="3990787528" sldId="10361"/>
            <ac:spMk id="85" creationId="{37643E56-07E1-4531-9D93-5DF3240E9D70}"/>
          </ac:spMkLst>
        </pc:spChg>
        <pc:spChg chg="mod">
          <ac:chgData name="Aude Van de WIELE" userId="7317e673-04dd-415c-a4d7-718682339b40" providerId="ADAL" clId="{80D4E734-020D-4C1F-A028-1B9E9B483F9A}" dt="2021-05-25T08:49:50.546" v="9081" actId="790"/>
          <ac:spMkLst>
            <pc:docMk/>
            <pc:sldMk cId="3990787528" sldId="10361"/>
            <ac:spMk id="86" creationId="{C98AB48F-B81A-4068-863B-54101303C664}"/>
          </ac:spMkLst>
        </pc:spChg>
        <pc:spChg chg="mod">
          <ac:chgData name="Aude Van de WIELE" userId="7317e673-04dd-415c-a4d7-718682339b40" providerId="ADAL" clId="{80D4E734-020D-4C1F-A028-1B9E9B483F9A}" dt="2021-05-25T08:49:50.544" v="9079" actId="790"/>
          <ac:spMkLst>
            <pc:docMk/>
            <pc:sldMk cId="3990787528" sldId="10361"/>
            <ac:spMk id="93" creationId="{2D10063C-A37E-4938-ADE5-D06A69E4F58F}"/>
          </ac:spMkLst>
        </pc:spChg>
        <pc:spChg chg="mod">
          <ac:chgData name="Aude Van de WIELE" userId="7317e673-04dd-415c-a4d7-718682339b40" providerId="ADAL" clId="{80D4E734-020D-4C1F-A028-1B9E9B483F9A}" dt="2021-05-25T08:49:50.558" v="9087" actId="790"/>
          <ac:spMkLst>
            <pc:docMk/>
            <pc:sldMk cId="3990787528" sldId="10361"/>
            <ac:spMk id="99" creationId="{B70259D1-496B-4FA4-8AB0-5678A7DCACAC}"/>
          </ac:spMkLst>
        </pc:spChg>
        <pc:spChg chg="mod">
          <ac:chgData name="Aude Van de WIELE" userId="7317e673-04dd-415c-a4d7-718682339b40" providerId="ADAL" clId="{80D4E734-020D-4C1F-A028-1B9E9B483F9A}" dt="2021-05-25T08:49:50.559" v="9088" actId="790"/>
          <ac:spMkLst>
            <pc:docMk/>
            <pc:sldMk cId="3990787528" sldId="10361"/>
            <ac:spMk id="100" creationId="{9DFBA0E2-22B3-4913-A48C-A850DEE5DD17}"/>
          </ac:spMkLst>
        </pc:spChg>
        <pc:spChg chg="mod">
          <ac:chgData name="Aude Van de WIELE" userId="7317e673-04dd-415c-a4d7-718682339b40" providerId="ADAL" clId="{80D4E734-020D-4C1F-A028-1B9E9B483F9A}" dt="2021-05-25T08:49:50.549" v="9082" actId="790"/>
          <ac:spMkLst>
            <pc:docMk/>
            <pc:sldMk cId="3990787528" sldId="10361"/>
            <ac:spMk id="101" creationId="{6159CB1C-01D8-47B1-BB59-74EC9867438A}"/>
          </ac:spMkLst>
        </pc:spChg>
        <pc:spChg chg="mod">
          <ac:chgData name="Aude Van de WIELE" userId="7317e673-04dd-415c-a4d7-718682339b40" providerId="ADAL" clId="{80D4E734-020D-4C1F-A028-1B9E9B483F9A}" dt="2021-05-25T08:49:50.560" v="9089" actId="790"/>
          <ac:spMkLst>
            <pc:docMk/>
            <pc:sldMk cId="3990787528" sldId="10361"/>
            <ac:spMk id="102" creationId="{DC422F14-3E35-413D-8067-79B4CD17DE63}"/>
          </ac:spMkLst>
        </pc:spChg>
        <pc:spChg chg="mod">
          <ac:chgData name="Aude Van de WIELE" userId="7317e673-04dd-415c-a4d7-718682339b40" providerId="ADAL" clId="{80D4E734-020D-4C1F-A028-1B9E9B483F9A}" dt="2021-05-25T08:49:50.561" v="9090" actId="790"/>
          <ac:spMkLst>
            <pc:docMk/>
            <pc:sldMk cId="3990787528" sldId="10361"/>
            <ac:spMk id="103" creationId="{DA13FF81-D473-4B45-8DAA-5B85C8F8E648}"/>
          </ac:spMkLst>
        </pc:spChg>
        <pc:spChg chg="mod">
          <ac:chgData name="Aude Van de WIELE" userId="7317e673-04dd-415c-a4d7-718682339b40" providerId="ADAL" clId="{80D4E734-020D-4C1F-A028-1B9E9B483F9A}" dt="2021-05-25T08:49:50.562" v="9091" actId="790"/>
          <ac:spMkLst>
            <pc:docMk/>
            <pc:sldMk cId="3990787528" sldId="10361"/>
            <ac:spMk id="104" creationId="{DE645363-F7B3-47B8-8FE9-9A72A42C1C29}"/>
          </ac:spMkLst>
        </pc:spChg>
        <pc:spChg chg="mod">
          <ac:chgData name="Aude Van de WIELE" userId="7317e673-04dd-415c-a4d7-718682339b40" providerId="ADAL" clId="{80D4E734-020D-4C1F-A028-1B9E9B483F9A}" dt="2021-05-25T08:49:50.563" v="9092" actId="790"/>
          <ac:spMkLst>
            <pc:docMk/>
            <pc:sldMk cId="3990787528" sldId="10361"/>
            <ac:spMk id="105" creationId="{9785242D-4F7A-4F39-8848-BAB6029A9727}"/>
          </ac:spMkLst>
        </pc:spChg>
        <pc:spChg chg="mod">
          <ac:chgData name="Aude Van de WIELE" userId="7317e673-04dd-415c-a4d7-718682339b40" providerId="ADAL" clId="{80D4E734-020D-4C1F-A028-1B9E9B483F9A}" dt="2021-05-25T08:49:50.563" v="9093" actId="790"/>
          <ac:spMkLst>
            <pc:docMk/>
            <pc:sldMk cId="3990787528" sldId="10361"/>
            <ac:spMk id="106" creationId="{9265E5C7-3D35-4462-A5AB-3040EDE183F5}"/>
          </ac:spMkLst>
        </pc:spChg>
        <pc:spChg chg="mod">
          <ac:chgData name="Aude Van de WIELE" userId="7317e673-04dd-415c-a4d7-718682339b40" providerId="ADAL" clId="{80D4E734-020D-4C1F-A028-1B9E9B483F9A}" dt="2021-05-25T08:49:50.564" v="9094" actId="790"/>
          <ac:spMkLst>
            <pc:docMk/>
            <pc:sldMk cId="3990787528" sldId="10361"/>
            <ac:spMk id="107" creationId="{94C30613-C74A-4FA2-8120-367B4D2425DC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09:36:03.433" v="9941" actId="14100"/>
        <pc:sldMkLst>
          <pc:docMk/>
          <pc:sldMk cId="2862391582" sldId="10362"/>
        </pc:sldMkLst>
        <pc:spChg chg="mod">
          <ac:chgData name="Aude Van de WIELE" userId="7317e673-04dd-415c-a4d7-718682339b40" providerId="ADAL" clId="{80D4E734-020D-4C1F-A028-1B9E9B483F9A}" dt="2021-05-25T08:49:49.660" v="8385" actId="790"/>
          <ac:spMkLst>
            <pc:docMk/>
            <pc:sldMk cId="2862391582" sldId="10362"/>
            <ac:spMk id="2" creationId="{806A24BD-A309-4114-BCBE-1F8520216A75}"/>
          </ac:spMkLst>
        </pc:spChg>
        <pc:spChg chg="mod">
          <ac:chgData name="Aude Van de WIELE" userId="7317e673-04dd-415c-a4d7-718682339b40" providerId="ADAL" clId="{80D4E734-020D-4C1F-A028-1B9E9B483F9A}" dt="2021-05-25T08:49:49.661" v="8386" actId="790"/>
          <ac:spMkLst>
            <pc:docMk/>
            <pc:sldMk cId="2862391582" sldId="10362"/>
            <ac:spMk id="6" creationId="{4E6E5141-7FBC-4E06-91AB-778C41045C7B}"/>
          </ac:spMkLst>
        </pc:spChg>
        <pc:spChg chg="mod">
          <ac:chgData name="Aude Van de WIELE" userId="7317e673-04dd-415c-a4d7-718682339b40" providerId="ADAL" clId="{80D4E734-020D-4C1F-A028-1B9E9B483F9A}" dt="2021-05-25T08:49:49.662" v="8387" actId="790"/>
          <ac:spMkLst>
            <pc:docMk/>
            <pc:sldMk cId="2862391582" sldId="10362"/>
            <ac:spMk id="7" creationId="{8D09AD6F-BFA9-4E94-83DF-0661F98B9019}"/>
          </ac:spMkLst>
        </pc:spChg>
        <pc:spChg chg="mod">
          <ac:chgData name="Aude Van de WIELE" userId="7317e673-04dd-415c-a4d7-718682339b40" providerId="ADAL" clId="{80D4E734-020D-4C1F-A028-1B9E9B483F9A}" dt="2021-05-25T08:49:49.663" v="8388" actId="790"/>
          <ac:spMkLst>
            <pc:docMk/>
            <pc:sldMk cId="2862391582" sldId="10362"/>
            <ac:spMk id="8" creationId="{77A429D6-B3A3-42B0-BAD3-1B353FC28B08}"/>
          </ac:spMkLst>
        </pc:spChg>
        <pc:spChg chg="mod">
          <ac:chgData name="Aude Van de WIELE" userId="7317e673-04dd-415c-a4d7-718682339b40" providerId="ADAL" clId="{80D4E734-020D-4C1F-A028-1B9E9B483F9A}" dt="2021-05-25T08:49:49.664" v="8389" actId="790"/>
          <ac:spMkLst>
            <pc:docMk/>
            <pc:sldMk cId="2862391582" sldId="10362"/>
            <ac:spMk id="9" creationId="{C1790DA0-3655-475E-9CEE-4FBE153BB3F2}"/>
          </ac:spMkLst>
        </pc:spChg>
        <pc:spChg chg="mod">
          <ac:chgData name="Aude Van de WIELE" userId="7317e673-04dd-415c-a4d7-718682339b40" providerId="ADAL" clId="{80D4E734-020D-4C1F-A028-1B9E9B483F9A}" dt="2021-05-25T08:49:49.684" v="8412" actId="790"/>
          <ac:spMkLst>
            <pc:docMk/>
            <pc:sldMk cId="2862391582" sldId="10362"/>
            <ac:spMk id="12" creationId="{D8C440F0-5663-4EAC-8964-248F32036591}"/>
          </ac:spMkLst>
        </pc:spChg>
        <pc:spChg chg="mod">
          <ac:chgData name="Aude Van de WIELE" userId="7317e673-04dd-415c-a4d7-718682339b40" providerId="ADAL" clId="{80D4E734-020D-4C1F-A028-1B9E9B483F9A}" dt="2021-05-25T08:49:49.665" v="8390" actId="790"/>
          <ac:spMkLst>
            <pc:docMk/>
            <pc:sldMk cId="2862391582" sldId="10362"/>
            <ac:spMk id="14" creationId="{B8D529E0-B56F-42E9-9413-B04B09D1BC35}"/>
          </ac:spMkLst>
        </pc:spChg>
        <pc:spChg chg="mod">
          <ac:chgData name="Aude Van de WIELE" userId="7317e673-04dd-415c-a4d7-718682339b40" providerId="ADAL" clId="{80D4E734-020D-4C1F-A028-1B9E9B483F9A}" dt="2021-05-25T08:49:49.666" v="8391" actId="790"/>
          <ac:spMkLst>
            <pc:docMk/>
            <pc:sldMk cId="2862391582" sldId="10362"/>
            <ac:spMk id="15" creationId="{BD17CEC9-4298-48C2-A07A-B6966AE88E71}"/>
          </ac:spMkLst>
        </pc:spChg>
        <pc:spChg chg="mod">
          <ac:chgData name="Aude Van de WIELE" userId="7317e673-04dd-415c-a4d7-718682339b40" providerId="ADAL" clId="{80D4E734-020D-4C1F-A028-1B9E9B483F9A}" dt="2021-05-25T08:49:49.666" v="8392" actId="790"/>
          <ac:spMkLst>
            <pc:docMk/>
            <pc:sldMk cId="2862391582" sldId="10362"/>
            <ac:spMk id="16" creationId="{B886F05E-DC2A-4B28-89B2-BAEBC0591254}"/>
          </ac:spMkLst>
        </pc:spChg>
        <pc:spChg chg="mod">
          <ac:chgData name="Aude Van de WIELE" userId="7317e673-04dd-415c-a4d7-718682339b40" providerId="ADAL" clId="{80D4E734-020D-4C1F-A028-1B9E9B483F9A}" dt="2021-05-25T08:49:49.667" v="8393" actId="790"/>
          <ac:spMkLst>
            <pc:docMk/>
            <pc:sldMk cId="2862391582" sldId="10362"/>
            <ac:spMk id="17" creationId="{FD9BD1A8-B133-4ED7-9402-59FE79DE23EC}"/>
          </ac:spMkLst>
        </pc:spChg>
        <pc:spChg chg="mod">
          <ac:chgData name="Aude Van de WIELE" userId="7317e673-04dd-415c-a4d7-718682339b40" providerId="ADAL" clId="{80D4E734-020D-4C1F-A028-1B9E9B483F9A}" dt="2021-05-25T08:49:49.668" v="8394" actId="790"/>
          <ac:spMkLst>
            <pc:docMk/>
            <pc:sldMk cId="2862391582" sldId="10362"/>
            <ac:spMk id="18" creationId="{4373ED4E-D1FF-488D-BEFE-69AC7F528CA4}"/>
          </ac:spMkLst>
        </pc:spChg>
        <pc:spChg chg="mod">
          <ac:chgData name="Aude Van de WIELE" userId="7317e673-04dd-415c-a4d7-718682339b40" providerId="ADAL" clId="{80D4E734-020D-4C1F-A028-1B9E9B483F9A}" dt="2021-05-25T08:49:49.668" v="8395" actId="790"/>
          <ac:spMkLst>
            <pc:docMk/>
            <pc:sldMk cId="2862391582" sldId="10362"/>
            <ac:spMk id="19" creationId="{BC760060-ABD5-412D-8045-EF97EC543341}"/>
          </ac:spMkLst>
        </pc:spChg>
        <pc:spChg chg="mod">
          <ac:chgData name="Aude Van de WIELE" userId="7317e673-04dd-415c-a4d7-718682339b40" providerId="ADAL" clId="{80D4E734-020D-4C1F-A028-1B9E9B483F9A}" dt="2021-05-25T08:49:49.669" v="8396" actId="790"/>
          <ac:spMkLst>
            <pc:docMk/>
            <pc:sldMk cId="2862391582" sldId="10362"/>
            <ac:spMk id="20" creationId="{388BECFA-DD33-47B0-8DCF-EFF4D8D243DB}"/>
          </ac:spMkLst>
        </pc:spChg>
        <pc:spChg chg="mod">
          <ac:chgData name="Aude Van de WIELE" userId="7317e673-04dd-415c-a4d7-718682339b40" providerId="ADAL" clId="{80D4E734-020D-4C1F-A028-1B9E9B483F9A}" dt="2021-05-25T08:49:49.670" v="8397" actId="790"/>
          <ac:spMkLst>
            <pc:docMk/>
            <pc:sldMk cId="2862391582" sldId="10362"/>
            <ac:spMk id="21" creationId="{F90680D2-5DA9-4AD6-8E64-FE8EA1410BC0}"/>
          </ac:spMkLst>
        </pc:spChg>
        <pc:spChg chg="mod">
          <ac:chgData name="Aude Van de WIELE" userId="7317e673-04dd-415c-a4d7-718682339b40" providerId="ADAL" clId="{80D4E734-020D-4C1F-A028-1B9E9B483F9A}" dt="2021-05-25T08:49:49.671" v="8398" actId="790"/>
          <ac:spMkLst>
            <pc:docMk/>
            <pc:sldMk cId="2862391582" sldId="10362"/>
            <ac:spMk id="22" creationId="{F54D9E31-C7E1-4619-8AB2-AF3F57E25D8C}"/>
          </ac:spMkLst>
        </pc:spChg>
        <pc:spChg chg="mod">
          <ac:chgData name="Aude Van de WIELE" userId="7317e673-04dd-415c-a4d7-718682339b40" providerId="ADAL" clId="{80D4E734-020D-4C1F-A028-1B9E9B483F9A}" dt="2021-05-25T08:49:49.672" v="8399" actId="790"/>
          <ac:spMkLst>
            <pc:docMk/>
            <pc:sldMk cId="2862391582" sldId="10362"/>
            <ac:spMk id="23" creationId="{E942F219-9D1D-4A73-B97D-EC48BD66AF15}"/>
          </ac:spMkLst>
        </pc:spChg>
        <pc:spChg chg="mod">
          <ac:chgData name="Aude Van de WIELE" userId="7317e673-04dd-415c-a4d7-718682339b40" providerId="ADAL" clId="{80D4E734-020D-4C1F-A028-1B9E9B483F9A}" dt="2021-05-25T08:49:49.673" v="8400" actId="790"/>
          <ac:spMkLst>
            <pc:docMk/>
            <pc:sldMk cId="2862391582" sldId="10362"/>
            <ac:spMk id="24" creationId="{C2FF144E-7C70-4F58-8690-D05F03C7B743}"/>
          </ac:spMkLst>
        </pc:spChg>
        <pc:spChg chg="mod">
          <ac:chgData name="Aude Van de WIELE" userId="7317e673-04dd-415c-a4d7-718682339b40" providerId="ADAL" clId="{80D4E734-020D-4C1F-A028-1B9E9B483F9A}" dt="2021-05-25T08:49:49.685" v="8414" actId="790"/>
          <ac:spMkLst>
            <pc:docMk/>
            <pc:sldMk cId="2862391582" sldId="10362"/>
            <ac:spMk id="25" creationId="{C1B3C97E-2579-4FEA-8968-54D9B75B13A4}"/>
          </ac:spMkLst>
        </pc:spChg>
        <pc:spChg chg="mod">
          <ac:chgData name="Aude Van de WIELE" userId="7317e673-04dd-415c-a4d7-718682339b40" providerId="ADAL" clId="{80D4E734-020D-4C1F-A028-1B9E9B483F9A}" dt="2021-05-25T08:49:49.674" v="8401" actId="790"/>
          <ac:spMkLst>
            <pc:docMk/>
            <pc:sldMk cId="2862391582" sldId="10362"/>
            <ac:spMk id="43" creationId="{C59EF210-5B50-40A7-A6B4-DDAD799020BA}"/>
          </ac:spMkLst>
        </pc:spChg>
        <pc:spChg chg="mod">
          <ac:chgData name="Aude Van de WIELE" userId="7317e673-04dd-415c-a4d7-718682339b40" providerId="ADAL" clId="{80D4E734-020D-4C1F-A028-1B9E9B483F9A}" dt="2021-05-25T08:49:49.675" v="8402" actId="790"/>
          <ac:spMkLst>
            <pc:docMk/>
            <pc:sldMk cId="2862391582" sldId="10362"/>
            <ac:spMk id="45" creationId="{A30046C9-7286-442E-B5D2-9182D2F71B12}"/>
          </ac:spMkLst>
        </pc:spChg>
        <pc:spChg chg="mod">
          <ac:chgData name="Aude Van de WIELE" userId="7317e673-04dd-415c-a4d7-718682339b40" providerId="ADAL" clId="{80D4E734-020D-4C1F-A028-1B9E9B483F9A}" dt="2021-05-25T08:49:49.677" v="8403" actId="790"/>
          <ac:spMkLst>
            <pc:docMk/>
            <pc:sldMk cId="2862391582" sldId="10362"/>
            <ac:spMk id="56" creationId="{F37F2C7C-4651-46F1-B548-F75D15102AEA}"/>
          </ac:spMkLst>
        </pc:spChg>
        <pc:spChg chg="mod">
          <ac:chgData name="Aude Van de WIELE" userId="7317e673-04dd-415c-a4d7-718682339b40" providerId="ADAL" clId="{80D4E734-020D-4C1F-A028-1B9E9B483F9A}" dt="2021-05-25T08:49:49.677" v="8404" actId="790"/>
          <ac:spMkLst>
            <pc:docMk/>
            <pc:sldMk cId="2862391582" sldId="10362"/>
            <ac:spMk id="61" creationId="{86718822-02E2-4F9A-B0D6-5A2C08F0884A}"/>
          </ac:spMkLst>
        </pc:spChg>
        <pc:spChg chg="mod">
          <ac:chgData name="Aude Van de WIELE" userId="7317e673-04dd-415c-a4d7-718682339b40" providerId="ADAL" clId="{80D4E734-020D-4C1F-A028-1B9E9B483F9A}" dt="2021-05-25T08:49:49.678" v="8405" actId="790"/>
          <ac:spMkLst>
            <pc:docMk/>
            <pc:sldMk cId="2862391582" sldId="10362"/>
            <ac:spMk id="74" creationId="{DD8929B4-3FC0-4A80-B005-DECF49E5F03E}"/>
          </ac:spMkLst>
        </pc:spChg>
        <pc:spChg chg="mod">
          <ac:chgData name="Aude Van de WIELE" userId="7317e673-04dd-415c-a4d7-718682339b40" providerId="ADAL" clId="{80D4E734-020D-4C1F-A028-1B9E9B483F9A}" dt="2021-05-25T08:49:49.679" v="8406" actId="790"/>
          <ac:spMkLst>
            <pc:docMk/>
            <pc:sldMk cId="2862391582" sldId="10362"/>
            <ac:spMk id="85" creationId="{2D2CFECC-1DAE-45A7-BC98-5B3781537431}"/>
          </ac:spMkLst>
        </pc:spChg>
        <pc:spChg chg="mod">
          <ac:chgData name="Aude Van de WIELE" userId="7317e673-04dd-415c-a4d7-718682339b40" providerId="ADAL" clId="{80D4E734-020D-4C1F-A028-1B9E9B483F9A}" dt="2021-05-25T08:49:49.680" v="8407" actId="790"/>
          <ac:spMkLst>
            <pc:docMk/>
            <pc:sldMk cId="2862391582" sldId="10362"/>
            <ac:spMk id="91" creationId="{7D5F7D48-55E2-4B20-BCE4-576336C3156A}"/>
          </ac:spMkLst>
        </pc:spChg>
        <pc:spChg chg="mod">
          <ac:chgData name="Aude Van de WIELE" userId="7317e673-04dd-415c-a4d7-718682339b40" providerId="ADAL" clId="{80D4E734-020D-4C1F-A028-1B9E9B483F9A}" dt="2021-05-25T08:49:49.713" v="8438" actId="790"/>
          <ac:spMkLst>
            <pc:docMk/>
            <pc:sldMk cId="2862391582" sldId="10362"/>
            <ac:spMk id="92" creationId="{72983CA2-D9C5-407E-8141-A247F8B9F12F}"/>
          </ac:spMkLst>
        </pc:spChg>
        <pc:spChg chg="mod">
          <ac:chgData name="Aude Van de WIELE" userId="7317e673-04dd-415c-a4d7-718682339b40" providerId="ADAL" clId="{80D4E734-020D-4C1F-A028-1B9E9B483F9A}" dt="2021-05-25T09:35:13.937" v="9936"/>
          <ac:spMkLst>
            <pc:docMk/>
            <pc:sldMk cId="2862391582" sldId="10362"/>
            <ac:spMk id="94" creationId="{AD365887-4EA5-44FF-844A-EA638570B896}"/>
          </ac:spMkLst>
        </pc:spChg>
        <pc:spChg chg="add mod">
          <ac:chgData name="Aude Van de WIELE" userId="7317e673-04dd-415c-a4d7-718682339b40" providerId="ADAL" clId="{80D4E734-020D-4C1F-A028-1B9E9B483F9A}" dt="2021-05-25T08:49:49.719" v="8444" actId="790"/>
          <ac:spMkLst>
            <pc:docMk/>
            <pc:sldMk cId="2862391582" sldId="10362"/>
            <ac:spMk id="95" creationId="{ACFD677C-AB61-4080-8D21-4342A29933B4}"/>
          </ac:spMkLst>
        </pc:spChg>
        <pc:spChg chg="mod">
          <ac:chgData name="Aude Van de WIELE" userId="7317e673-04dd-415c-a4d7-718682339b40" providerId="ADAL" clId="{80D4E734-020D-4C1F-A028-1B9E9B483F9A}" dt="2021-05-25T08:49:49.714" v="8440" actId="790"/>
          <ac:spMkLst>
            <pc:docMk/>
            <pc:sldMk cId="2862391582" sldId="10362"/>
            <ac:spMk id="96" creationId="{951D29B9-C9CB-4AD1-99A7-07FCB18D93AE}"/>
          </ac:spMkLst>
        </pc:spChg>
        <pc:spChg chg="mod">
          <ac:chgData name="Aude Van de WIELE" userId="7317e673-04dd-415c-a4d7-718682339b40" providerId="ADAL" clId="{80D4E734-020D-4C1F-A028-1B9E9B483F9A}" dt="2021-05-25T08:49:49.710" v="8434" actId="790"/>
          <ac:spMkLst>
            <pc:docMk/>
            <pc:sldMk cId="2862391582" sldId="10362"/>
            <ac:spMk id="97" creationId="{6F2FCB3E-67C3-40EE-A924-F4E49D27B4E5}"/>
          </ac:spMkLst>
        </pc:spChg>
        <pc:spChg chg="mod">
          <ac:chgData name="Aude Van de WIELE" userId="7317e673-04dd-415c-a4d7-718682339b40" providerId="ADAL" clId="{80D4E734-020D-4C1F-A028-1B9E9B483F9A}" dt="2021-05-25T08:49:49.688" v="8417" actId="790"/>
          <ac:spMkLst>
            <pc:docMk/>
            <pc:sldMk cId="2862391582" sldId="10362"/>
            <ac:spMk id="98" creationId="{8D6AADE9-BCE8-4859-8089-8C1D69502AF3}"/>
          </ac:spMkLst>
        </pc:spChg>
        <pc:spChg chg="mod">
          <ac:chgData name="Aude Van de WIELE" userId="7317e673-04dd-415c-a4d7-718682339b40" providerId="ADAL" clId="{80D4E734-020D-4C1F-A028-1B9E9B483F9A}" dt="2021-05-25T08:49:49.689" v="8418" actId="790"/>
          <ac:spMkLst>
            <pc:docMk/>
            <pc:sldMk cId="2862391582" sldId="10362"/>
            <ac:spMk id="99" creationId="{7BA2AB86-68BC-43EA-9484-09E9E41EBE3D}"/>
          </ac:spMkLst>
        </pc:spChg>
        <pc:spChg chg="mod">
          <ac:chgData name="Aude Van de WIELE" userId="7317e673-04dd-415c-a4d7-718682339b40" providerId="ADAL" clId="{80D4E734-020D-4C1F-A028-1B9E9B483F9A}" dt="2021-05-25T08:49:49.711" v="8435" actId="790"/>
          <ac:spMkLst>
            <pc:docMk/>
            <pc:sldMk cId="2862391582" sldId="10362"/>
            <ac:spMk id="101" creationId="{9E3EE37D-07CB-4DE8-B18C-DD97C37CE973}"/>
          </ac:spMkLst>
        </pc:spChg>
        <pc:spChg chg="del mod">
          <ac:chgData name="Aude Van de WIELE" userId="7317e673-04dd-415c-a4d7-718682339b40" providerId="ADAL" clId="{80D4E734-020D-4C1F-A028-1B9E9B483F9A}" dt="2021-05-25T09:36:00.575" v="9940" actId="478"/>
          <ac:spMkLst>
            <pc:docMk/>
            <pc:sldMk cId="2862391582" sldId="10362"/>
            <ac:spMk id="102" creationId="{4D9D690B-0949-4460-B42A-20A237A4E900}"/>
          </ac:spMkLst>
        </pc:spChg>
        <pc:spChg chg="del mod">
          <ac:chgData name="Aude Van de WIELE" userId="7317e673-04dd-415c-a4d7-718682339b40" providerId="ADAL" clId="{80D4E734-020D-4C1F-A028-1B9E9B483F9A}" dt="2021-05-25T09:36:00.575" v="9940" actId="478"/>
          <ac:spMkLst>
            <pc:docMk/>
            <pc:sldMk cId="2862391582" sldId="10362"/>
            <ac:spMk id="103" creationId="{7F9CBE8E-EB78-4F02-BF0B-E84AE7CAC7E2}"/>
          </ac:spMkLst>
        </pc:spChg>
        <pc:spChg chg="mod">
          <ac:chgData name="Aude Van de WIELE" userId="7317e673-04dd-415c-a4d7-718682339b40" providerId="ADAL" clId="{80D4E734-020D-4C1F-A028-1B9E9B483F9A}" dt="2021-05-25T08:49:49.715" v="8441" actId="790"/>
          <ac:spMkLst>
            <pc:docMk/>
            <pc:sldMk cId="2862391582" sldId="10362"/>
            <ac:spMk id="104" creationId="{E6C933C6-9D7F-4A2B-A15C-7358CD8741C9}"/>
          </ac:spMkLst>
        </pc:spChg>
        <pc:spChg chg="mod">
          <ac:chgData name="Aude Van de WIELE" userId="7317e673-04dd-415c-a4d7-718682339b40" providerId="ADAL" clId="{80D4E734-020D-4C1F-A028-1B9E9B483F9A}" dt="2021-05-25T08:49:49.716" v="8442" actId="790"/>
          <ac:spMkLst>
            <pc:docMk/>
            <pc:sldMk cId="2862391582" sldId="10362"/>
            <ac:spMk id="105" creationId="{B70D15D7-8784-42EB-9166-2515025BF185}"/>
          </ac:spMkLst>
        </pc:spChg>
        <pc:spChg chg="mod">
          <ac:chgData name="Aude Van de WIELE" userId="7317e673-04dd-415c-a4d7-718682339b40" providerId="ADAL" clId="{80D4E734-020D-4C1F-A028-1B9E9B483F9A}" dt="2021-05-25T08:49:49.717" v="8443" actId="790"/>
          <ac:spMkLst>
            <pc:docMk/>
            <pc:sldMk cId="2862391582" sldId="10362"/>
            <ac:spMk id="106" creationId="{F7358FE8-EC77-45A6-9CA9-3415CAB459EF}"/>
          </ac:spMkLst>
        </pc:spChg>
        <pc:spChg chg="mod">
          <ac:chgData name="Aude Van de WIELE" userId="7317e673-04dd-415c-a4d7-718682339b40" providerId="ADAL" clId="{80D4E734-020D-4C1F-A028-1B9E9B483F9A}" dt="2021-05-25T08:49:49.681" v="8408" actId="790"/>
          <ac:spMkLst>
            <pc:docMk/>
            <pc:sldMk cId="2862391582" sldId="10362"/>
            <ac:spMk id="110" creationId="{D112EAE9-1C24-4AF0-B3DD-273BF2FF5A59}"/>
          </ac:spMkLst>
        </pc:spChg>
        <pc:spChg chg="del">
          <ac:chgData name="Aude Van de WIELE" userId="7317e673-04dd-415c-a4d7-718682339b40" providerId="ADAL" clId="{80D4E734-020D-4C1F-A028-1B9E9B483F9A}" dt="2021-05-25T07:55:37.716" v="6848" actId="478"/>
          <ac:spMkLst>
            <pc:docMk/>
            <pc:sldMk cId="2862391582" sldId="10362"/>
            <ac:spMk id="111" creationId="{9B916422-AB4B-4397-9CE1-E4BDD0AED7FE}"/>
          </ac:spMkLst>
        </pc:spChg>
        <pc:spChg chg="mod">
          <ac:chgData name="Aude Van de WIELE" userId="7317e673-04dd-415c-a4d7-718682339b40" providerId="ADAL" clId="{80D4E734-020D-4C1F-A028-1B9E9B483F9A}" dt="2021-05-25T08:49:49.682" v="8409" actId="790"/>
          <ac:spMkLst>
            <pc:docMk/>
            <pc:sldMk cId="2862391582" sldId="10362"/>
            <ac:spMk id="132" creationId="{1A3DE5F6-DC50-4B3E-8712-4F7931E9D3D4}"/>
          </ac:spMkLst>
        </pc:spChg>
        <pc:spChg chg="mod">
          <ac:chgData name="Aude Van de WIELE" userId="7317e673-04dd-415c-a4d7-718682339b40" providerId="ADAL" clId="{80D4E734-020D-4C1F-A028-1B9E9B483F9A}" dt="2021-05-25T08:49:49.683" v="8410" actId="790"/>
          <ac:spMkLst>
            <pc:docMk/>
            <pc:sldMk cId="2862391582" sldId="10362"/>
            <ac:spMk id="133" creationId="{DC661DF3-2B60-4258-8A3C-6DA55E7974BD}"/>
          </ac:spMkLst>
        </pc:spChg>
        <pc:spChg chg="mod">
          <ac:chgData name="Aude Van de WIELE" userId="7317e673-04dd-415c-a4d7-718682339b40" providerId="ADAL" clId="{80D4E734-020D-4C1F-A028-1B9E9B483F9A}" dt="2021-05-25T08:49:49.683" v="8411" actId="790"/>
          <ac:spMkLst>
            <pc:docMk/>
            <pc:sldMk cId="2862391582" sldId="10362"/>
            <ac:spMk id="134" creationId="{D5795A40-7B7E-4315-876A-A38D6610B661}"/>
          </ac:spMkLst>
        </pc:spChg>
        <pc:spChg chg="mod">
          <ac:chgData name="Aude Van de WIELE" userId="7317e673-04dd-415c-a4d7-718682339b40" providerId="ADAL" clId="{80D4E734-020D-4C1F-A028-1B9E9B483F9A}" dt="2021-05-25T08:49:49.689" v="8419" actId="790"/>
          <ac:spMkLst>
            <pc:docMk/>
            <pc:sldMk cId="2862391582" sldId="10362"/>
            <ac:spMk id="135" creationId="{B7212166-4E04-47ED-9DA9-C1A5FADABEC1}"/>
          </ac:spMkLst>
        </pc:spChg>
        <pc:spChg chg="mod">
          <ac:chgData name="Aude Van de WIELE" userId="7317e673-04dd-415c-a4d7-718682339b40" providerId="ADAL" clId="{80D4E734-020D-4C1F-A028-1B9E9B483F9A}" dt="2021-05-25T08:49:49.685" v="8413" actId="790"/>
          <ac:spMkLst>
            <pc:docMk/>
            <pc:sldMk cId="2862391582" sldId="10362"/>
            <ac:spMk id="137" creationId="{AF67C425-8708-4B3E-9B2A-E5C85D989489}"/>
          </ac:spMkLst>
        </pc:spChg>
        <pc:spChg chg="mod">
          <ac:chgData name="Aude Van de WIELE" userId="7317e673-04dd-415c-a4d7-718682339b40" providerId="ADAL" clId="{80D4E734-020D-4C1F-A028-1B9E9B483F9A}" dt="2021-05-25T08:49:49.690" v="8420" actId="790"/>
          <ac:spMkLst>
            <pc:docMk/>
            <pc:sldMk cId="2862391582" sldId="10362"/>
            <ac:spMk id="144" creationId="{A12B0534-66DF-4768-8E62-0C019FA2B7A6}"/>
          </ac:spMkLst>
        </pc:spChg>
        <pc:spChg chg="mod">
          <ac:chgData name="Aude Van de WIELE" userId="7317e673-04dd-415c-a4d7-718682339b40" providerId="ADAL" clId="{80D4E734-020D-4C1F-A028-1B9E9B483F9A}" dt="2021-05-25T08:49:49.692" v="8421" actId="790"/>
          <ac:spMkLst>
            <pc:docMk/>
            <pc:sldMk cId="2862391582" sldId="10362"/>
            <ac:spMk id="147" creationId="{73C5DEEC-4B4E-4C6B-9A80-A63E183C6F34}"/>
          </ac:spMkLst>
        </pc:spChg>
        <pc:spChg chg="mod">
          <ac:chgData name="Aude Van de WIELE" userId="7317e673-04dd-415c-a4d7-718682339b40" providerId="ADAL" clId="{80D4E734-020D-4C1F-A028-1B9E9B483F9A}" dt="2021-05-25T09:36:03.433" v="9941" actId="14100"/>
          <ac:spMkLst>
            <pc:docMk/>
            <pc:sldMk cId="2862391582" sldId="10362"/>
            <ac:spMk id="151" creationId="{945919F5-1F6F-4979-90CA-397384E59334}"/>
          </ac:spMkLst>
        </pc:spChg>
        <pc:spChg chg="del mod">
          <ac:chgData name="Aude Van de WIELE" userId="7317e673-04dd-415c-a4d7-718682339b40" providerId="ADAL" clId="{80D4E734-020D-4C1F-A028-1B9E9B483F9A}" dt="2021-05-25T09:35:59.559" v="9939" actId="478"/>
          <ac:spMkLst>
            <pc:docMk/>
            <pc:sldMk cId="2862391582" sldId="10362"/>
            <ac:spMk id="152" creationId="{2D48A5B8-C2CC-4F3A-B66A-BB33615C274E}"/>
          </ac:spMkLst>
        </pc:spChg>
        <pc:spChg chg="mod">
          <ac:chgData name="Aude Van de WIELE" userId="7317e673-04dd-415c-a4d7-718682339b40" providerId="ADAL" clId="{80D4E734-020D-4C1F-A028-1B9E9B483F9A}" dt="2021-05-25T08:49:49.694" v="8422" actId="790"/>
          <ac:spMkLst>
            <pc:docMk/>
            <pc:sldMk cId="2862391582" sldId="10362"/>
            <ac:spMk id="156" creationId="{04F55C0D-DF11-4BD5-B439-C7F43A8E1B01}"/>
          </ac:spMkLst>
        </pc:spChg>
        <pc:spChg chg="mod">
          <ac:chgData name="Aude Van de WIELE" userId="7317e673-04dd-415c-a4d7-718682339b40" providerId="ADAL" clId="{80D4E734-020D-4C1F-A028-1B9E9B483F9A}" dt="2021-05-25T08:49:49.695" v="8423" actId="790"/>
          <ac:spMkLst>
            <pc:docMk/>
            <pc:sldMk cId="2862391582" sldId="10362"/>
            <ac:spMk id="157" creationId="{34EE808F-991C-41BC-AE3E-FB1CDE55FB3C}"/>
          </ac:spMkLst>
        </pc:spChg>
        <pc:spChg chg="mod">
          <ac:chgData name="Aude Van de WIELE" userId="7317e673-04dd-415c-a4d7-718682339b40" providerId="ADAL" clId="{80D4E734-020D-4C1F-A028-1B9E9B483F9A}" dt="2021-05-25T08:49:49.686" v="8415" actId="790"/>
          <ac:spMkLst>
            <pc:docMk/>
            <pc:sldMk cId="2862391582" sldId="10362"/>
            <ac:spMk id="160" creationId="{A8A94204-7780-44D2-9F69-E6D88D81CCC9}"/>
          </ac:spMkLst>
        </pc:spChg>
        <pc:spChg chg="mod">
          <ac:chgData name="Aude Van de WIELE" userId="7317e673-04dd-415c-a4d7-718682339b40" providerId="ADAL" clId="{80D4E734-020D-4C1F-A028-1B9E9B483F9A}" dt="2021-05-25T08:49:49.687" v="8416" actId="790"/>
          <ac:spMkLst>
            <pc:docMk/>
            <pc:sldMk cId="2862391582" sldId="10362"/>
            <ac:spMk id="162" creationId="{7C77AD03-3049-47E7-8DA8-DA2A5283D6AD}"/>
          </ac:spMkLst>
        </pc:spChg>
        <pc:spChg chg="mod">
          <ac:chgData name="Aude Van de WIELE" userId="7317e673-04dd-415c-a4d7-718682339b40" providerId="ADAL" clId="{80D4E734-020D-4C1F-A028-1B9E9B483F9A}" dt="2021-05-25T08:49:49.698" v="8424" actId="790"/>
          <ac:spMkLst>
            <pc:docMk/>
            <pc:sldMk cId="2862391582" sldId="10362"/>
            <ac:spMk id="174" creationId="{12430AE9-0E10-42CC-990F-04E0A3759BB1}"/>
          </ac:spMkLst>
        </pc:spChg>
        <pc:spChg chg="mod">
          <ac:chgData name="Aude Van de WIELE" userId="7317e673-04dd-415c-a4d7-718682339b40" providerId="ADAL" clId="{80D4E734-020D-4C1F-A028-1B9E9B483F9A}" dt="2021-05-25T08:49:49.699" v="8425" actId="790"/>
          <ac:spMkLst>
            <pc:docMk/>
            <pc:sldMk cId="2862391582" sldId="10362"/>
            <ac:spMk id="180" creationId="{0C6109FE-0AC9-4F7F-B93A-7EF8FF18A985}"/>
          </ac:spMkLst>
        </pc:spChg>
        <pc:spChg chg="mod">
          <ac:chgData name="Aude Van de WIELE" userId="7317e673-04dd-415c-a4d7-718682339b40" providerId="ADAL" clId="{80D4E734-020D-4C1F-A028-1B9E9B483F9A}" dt="2021-05-25T08:49:49.701" v="8426" actId="790"/>
          <ac:spMkLst>
            <pc:docMk/>
            <pc:sldMk cId="2862391582" sldId="10362"/>
            <ac:spMk id="181" creationId="{223AA644-A18B-43C3-911A-7F8939308A57}"/>
          </ac:spMkLst>
        </pc:spChg>
        <pc:spChg chg="mod">
          <ac:chgData name="Aude Van de WIELE" userId="7317e673-04dd-415c-a4d7-718682339b40" providerId="ADAL" clId="{80D4E734-020D-4C1F-A028-1B9E9B483F9A}" dt="2021-05-25T08:49:49.702" v="8427" actId="790"/>
          <ac:spMkLst>
            <pc:docMk/>
            <pc:sldMk cId="2862391582" sldId="10362"/>
            <ac:spMk id="187" creationId="{4B8EA5D2-6F51-489A-8CBF-5F9334968CB1}"/>
          </ac:spMkLst>
        </pc:spChg>
        <pc:spChg chg="mod">
          <ac:chgData name="Aude Van de WIELE" userId="7317e673-04dd-415c-a4d7-718682339b40" providerId="ADAL" clId="{80D4E734-020D-4C1F-A028-1B9E9B483F9A}" dt="2021-05-25T08:49:49.705" v="8428" actId="790"/>
          <ac:spMkLst>
            <pc:docMk/>
            <pc:sldMk cId="2862391582" sldId="10362"/>
            <ac:spMk id="188" creationId="{CBFDB5A1-F4BF-4077-B85B-DCBB511D131F}"/>
          </ac:spMkLst>
        </pc:spChg>
        <pc:spChg chg="mod">
          <ac:chgData name="Aude Van de WIELE" userId="7317e673-04dd-415c-a4d7-718682339b40" providerId="ADAL" clId="{80D4E734-020D-4C1F-A028-1B9E9B483F9A}" dt="2021-05-25T08:49:49.706" v="8429" actId="790"/>
          <ac:spMkLst>
            <pc:docMk/>
            <pc:sldMk cId="2862391582" sldId="10362"/>
            <ac:spMk id="198" creationId="{F6626565-104F-49E7-B218-F59B4BB9EB76}"/>
          </ac:spMkLst>
        </pc:spChg>
        <pc:spChg chg="mod">
          <ac:chgData name="Aude Van de WIELE" userId="7317e673-04dd-415c-a4d7-718682339b40" providerId="ADAL" clId="{80D4E734-020D-4C1F-A028-1B9E9B483F9A}" dt="2021-05-25T08:49:49.707" v="8430" actId="790"/>
          <ac:spMkLst>
            <pc:docMk/>
            <pc:sldMk cId="2862391582" sldId="10362"/>
            <ac:spMk id="199" creationId="{BDADADA8-65C5-4199-B657-1CB59DC43BA2}"/>
          </ac:spMkLst>
        </pc:spChg>
        <pc:spChg chg="mod">
          <ac:chgData name="Aude Van de WIELE" userId="7317e673-04dd-415c-a4d7-718682339b40" providerId="ADAL" clId="{80D4E734-020D-4C1F-A028-1B9E9B483F9A}" dt="2021-05-25T08:49:49.708" v="8431" actId="790"/>
          <ac:spMkLst>
            <pc:docMk/>
            <pc:sldMk cId="2862391582" sldId="10362"/>
            <ac:spMk id="200" creationId="{256A7760-4652-4603-A3AE-75556821C16C}"/>
          </ac:spMkLst>
        </pc:spChg>
      </pc:sldChg>
      <pc:sldChg chg="addSp delSp modSp mod ord">
        <pc:chgData name="Aude Van de WIELE" userId="7317e673-04dd-415c-a4d7-718682339b40" providerId="ADAL" clId="{80D4E734-020D-4C1F-A028-1B9E9B483F9A}" dt="2021-05-25T09:35:08.708" v="9934" actId="20577"/>
        <pc:sldMkLst>
          <pc:docMk/>
          <pc:sldMk cId="3056474185" sldId="10363"/>
        </pc:sldMkLst>
        <pc:spChg chg="mod">
          <ac:chgData name="Aude Van de WIELE" userId="7317e673-04dd-415c-a4d7-718682339b40" providerId="ADAL" clId="{80D4E734-020D-4C1F-A028-1B9E9B483F9A}" dt="2021-05-25T08:49:49.557" v="8282" actId="790"/>
          <ac:spMkLst>
            <pc:docMk/>
            <pc:sldMk cId="3056474185" sldId="10363"/>
            <ac:spMk id="2" creationId="{806A24BD-A309-4114-BCBE-1F8520216A75}"/>
          </ac:spMkLst>
        </pc:spChg>
        <pc:spChg chg="mod">
          <ac:chgData name="Aude Van de WIELE" userId="7317e673-04dd-415c-a4d7-718682339b40" providerId="ADAL" clId="{80D4E734-020D-4C1F-A028-1B9E9B483F9A}" dt="2021-05-25T08:49:49.558" v="8283" actId="790"/>
          <ac:spMkLst>
            <pc:docMk/>
            <pc:sldMk cId="3056474185" sldId="10363"/>
            <ac:spMk id="6" creationId="{4E6E5141-7FBC-4E06-91AB-778C41045C7B}"/>
          </ac:spMkLst>
        </pc:spChg>
        <pc:spChg chg="mod">
          <ac:chgData name="Aude Van de WIELE" userId="7317e673-04dd-415c-a4d7-718682339b40" providerId="ADAL" clId="{80D4E734-020D-4C1F-A028-1B9E9B483F9A}" dt="2021-05-25T08:49:49.559" v="8284" actId="790"/>
          <ac:spMkLst>
            <pc:docMk/>
            <pc:sldMk cId="3056474185" sldId="10363"/>
            <ac:spMk id="7" creationId="{8D09AD6F-BFA9-4E94-83DF-0661F98B9019}"/>
          </ac:spMkLst>
        </pc:spChg>
        <pc:spChg chg="mod">
          <ac:chgData name="Aude Van de WIELE" userId="7317e673-04dd-415c-a4d7-718682339b40" providerId="ADAL" clId="{80D4E734-020D-4C1F-A028-1B9E9B483F9A}" dt="2021-05-25T08:49:49.560" v="8285" actId="790"/>
          <ac:spMkLst>
            <pc:docMk/>
            <pc:sldMk cId="3056474185" sldId="10363"/>
            <ac:spMk id="8" creationId="{77A429D6-B3A3-42B0-BAD3-1B353FC28B08}"/>
          </ac:spMkLst>
        </pc:spChg>
        <pc:spChg chg="mod">
          <ac:chgData name="Aude Van de WIELE" userId="7317e673-04dd-415c-a4d7-718682339b40" providerId="ADAL" clId="{80D4E734-020D-4C1F-A028-1B9E9B483F9A}" dt="2021-05-25T08:49:49.561" v="8286" actId="790"/>
          <ac:spMkLst>
            <pc:docMk/>
            <pc:sldMk cId="3056474185" sldId="10363"/>
            <ac:spMk id="9" creationId="{C1790DA0-3655-475E-9CEE-4FBE153BB3F2}"/>
          </ac:spMkLst>
        </pc:spChg>
        <pc:spChg chg="mod">
          <ac:chgData name="Aude Van de WIELE" userId="7317e673-04dd-415c-a4d7-718682339b40" providerId="ADAL" clId="{80D4E734-020D-4C1F-A028-1B9E9B483F9A}" dt="2021-05-25T08:49:49.570" v="8295" actId="790"/>
          <ac:spMkLst>
            <pc:docMk/>
            <pc:sldMk cId="3056474185" sldId="10363"/>
            <ac:spMk id="12" creationId="{D8C440F0-5663-4EAC-8964-248F32036591}"/>
          </ac:spMkLst>
        </pc:spChg>
        <pc:spChg chg="mod">
          <ac:chgData name="Aude Van de WIELE" userId="7317e673-04dd-415c-a4d7-718682339b40" providerId="ADAL" clId="{80D4E734-020D-4C1F-A028-1B9E9B483F9A}" dt="2021-05-25T08:49:49.573" v="8298" actId="790"/>
          <ac:spMkLst>
            <pc:docMk/>
            <pc:sldMk cId="3056474185" sldId="10363"/>
            <ac:spMk id="14" creationId="{B8D529E0-B56F-42E9-9413-B04B09D1BC35}"/>
          </ac:spMkLst>
        </pc:spChg>
        <pc:spChg chg="mod">
          <ac:chgData name="Aude Van de WIELE" userId="7317e673-04dd-415c-a4d7-718682339b40" providerId="ADAL" clId="{80D4E734-020D-4C1F-A028-1B9E9B483F9A}" dt="2021-05-25T08:49:49.573" v="8299" actId="790"/>
          <ac:spMkLst>
            <pc:docMk/>
            <pc:sldMk cId="3056474185" sldId="10363"/>
            <ac:spMk id="15" creationId="{BD17CEC9-4298-48C2-A07A-B6966AE88E71}"/>
          </ac:spMkLst>
        </pc:spChg>
        <pc:spChg chg="mod">
          <ac:chgData name="Aude Van de WIELE" userId="7317e673-04dd-415c-a4d7-718682339b40" providerId="ADAL" clId="{80D4E734-020D-4C1F-A028-1B9E9B483F9A}" dt="2021-05-25T08:49:49.574" v="8300" actId="790"/>
          <ac:spMkLst>
            <pc:docMk/>
            <pc:sldMk cId="3056474185" sldId="10363"/>
            <ac:spMk id="16" creationId="{B886F05E-DC2A-4B28-89B2-BAEBC0591254}"/>
          </ac:spMkLst>
        </pc:spChg>
        <pc:spChg chg="mod">
          <ac:chgData name="Aude Van de WIELE" userId="7317e673-04dd-415c-a4d7-718682339b40" providerId="ADAL" clId="{80D4E734-020D-4C1F-A028-1B9E9B483F9A}" dt="2021-05-25T08:49:49.575" v="8301" actId="790"/>
          <ac:spMkLst>
            <pc:docMk/>
            <pc:sldMk cId="3056474185" sldId="10363"/>
            <ac:spMk id="17" creationId="{FD9BD1A8-B133-4ED7-9402-59FE79DE23EC}"/>
          </ac:spMkLst>
        </pc:spChg>
        <pc:spChg chg="mod">
          <ac:chgData name="Aude Van de WIELE" userId="7317e673-04dd-415c-a4d7-718682339b40" providerId="ADAL" clId="{80D4E734-020D-4C1F-A028-1B9E9B483F9A}" dt="2021-05-25T08:49:49.562" v="8287" actId="790"/>
          <ac:spMkLst>
            <pc:docMk/>
            <pc:sldMk cId="3056474185" sldId="10363"/>
            <ac:spMk id="22" creationId="{F54D9E31-C7E1-4619-8AB2-AF3F57E25D8C}"/>
          </ac:spMkLst>
        </pc:spChg>
        <pc:spChg chg="mod">
          <ac:chgData name="Aude Van de WIELE" userId="7317e673-04dd-415c-a4d7-718682339b40" providerId="ADAL" clId="{80D4E734-020D-4C1F-A028-1B9E9B483F9A}" dt="2021-05-25T08:49:49.564" v="8288" actId="790"/>
          <ac:spMkLst>
            <pc:docMk/>
            <pc:sldMk cId="3056474185" sldId="10363"/>
            <ac:spMk id="23" creationId="{E942F219-9D1D-4A73-B97D-EC48BD66AF15}"/>
          </ac:spMkLst>
        </pc:spChg>
        <pc:spChg chg="mod">
          <ac:chgData name="Aude Van de WIELE" userId="7317e673-04dd-415c-a4d7-718682339b40" providerId="ADAL" clId="{80D4E734-020D-4C1F-A028-1B9E9B483F9A}" dt="2021-05-25T08:49:49.564" v="8289" actId="790"/>
          <ac:spMkLst>
            <pc:docMk/>
            <pc:sldMk cId="3056474185" sldId="10363"/>
            <ac:spMk id="24" creationId="{C2FF144E-7C70-4F58-8690-D05F03C7B743}"/>
          </ac:spMkLst>
        </pc:spChg>
        <pc:spChg chg="mod">
          <ac:chgData name="Aude Van de WIELE" userId="7317e673-04dd-415c-a4d7-718682339b40" providerId="ADAL" clId="{80D4E734-020D-4C1F-A028-1B9E9B483F9A}" dt="2021-05-25T08:49:49.566" v="8290" actId="790"/>
          <ac:spMkLst>
            <pc:docMk/>
            <pc:sldMk cId="3056474185" sldId="10363"/>
            <ac:spMk id="43" creationId="{C59EF210-5B50-40A7-A6B4-DDAD799020BA}"/>
          </ac:spMkLst>
        </pc:spChg>
        <pc:spChg chg="mod">
          <ac:chgData name="Aude Van de WIELE" userId="7317e673-04dd-415c-a4d7-718682339b40" providerId="ADAL" clId="{80D4E734-020D-4C1F-A028-1B9E9B483F9A}" dt="2021-05-25T08:49:49.566" v="8291" actId="790"/>
          <ac:spMkLst>
            <pc:docMk/>
            <pc:sldMk cId="3056474185" sldId="10363"/>
            <ac:spMk id="45" creationId="{A30046C9-7286-442E-B5D2-9182D2F71B12}"/>
          </ac:spMkLst>
        </pc:spChg>
        <pc:spChg chg="mod">
          <ac:chgData name="Aude Van de WIELE" userId="7317e673-04dd-415c-a4d7-718682339b40" providerId="ADAL" clId="{80D4E734-020D-4C1F-A028-1B9E9B483F9A}" dt="2021-05-25T08:49:49.576" v="8302" actId="790"/>
          <ac:spMkLst>
            <pc:docMk/>
            <pc:sldMk cId="3056474185" sldId="10363"/>
            <ac:spMk id="56" creationId="{F37F2C7C-4651-46F1-B548-F75D15102AEA}"/>
          </ac:spMkLst>
        </pc:spChg>
        <pc:spChg chg="mod">
          <ac:chgData name="Aude Van de WIELE" userId="7317e673-04dd-415c-a4d7-718682339b40" providerId="ADAL" clId="{80D4E734-020D-4C1F-A028-1B9E9B483F9A}" dt="2021-05-25T08:49:49.577" v="8303" actId="790"/>
          <ac:spMkLst>
            <pc:docMk/>
            <pc:sldMk cId="3056474185" sldId="10363"/>
            <ac:spMk id="61" creationId="{86718822-02E2-4F9A-B0D6-5A2C08F0884A}"/>
          </ac:spMkLst>
        </pc:spChg>
        <pc:spChg chg="del">
          <ac:chgData name="Aude Van de WIELE" userId="7317e673-04dd-415c-a4d7-718682339b40" providerId="ADAL" clId="{80D4E734-020D-4C1F-A028-1B9E9B483F9A}" dt="2021-05-24T14:05:59.203" v="4537" actId="478"/>
          <ac:spMkLst>
            <pc:docMk/>
            <pc:sldMk cId="3056474185" sldId="10363"/>
            <ac:spMk id="75" creationId="{E503932E-C2F2-4396-9010-F3646363CE5D}"/>
          </ac:spMkLst>
        </pc:spChg>
        <pc:spChg chg="del">
          <ac:chgData name="Aude Van de WIELE" userId="7317e673-04dd-415c-a4d7-718682339b40" providerId="ADAL" clId="{80D4E734-020D-4C1F-A028-1B9E9B483F9A}" dt="2021-05-24T14:05:59.203" v="4537" actId="478"/>
          <ac:spMkLst>
            <pc:docMk/>
            <pc:sldMk cId="3056474185" sldId="10363"/>
            <ac:spMk id="76" creationId="{5047C4BE-64CE-4854-8080-6277D70AEC59}"/>
          </ac:spMkLst>
        </pc:spChg>
        <pc:spChg chg="del">
          <ac:chgData name="Aude Van de WIELE" userId="7317e673-04dd-415c-a4d7-718682339b40" providerId="ADAL" clId="{80D4E734-020D-4C1F-A028-1B9E9B483F9A}" dt="2021-05-24T14:05:59.203" v="4537" actId="478"/>
          <ac:spMkLst>
            <pc:docMk/>
            <pc:sldMk cId="3056474185" sldId="10363"/>
            <ac:spMk id="77" creationId="{CCC10CC2-64B8-476B-9B18-28173B93FCBF}"/>
          </ac:spMkLst>
        </pc:spChg>
        <pc:spChg chg="mod">
          <ac:chgData name="Aude Van de WIELE" userId="7317e673-04dd-415c-a4d7-718682339b40" providerId="ADAL" clId="{80D4E734-020D-4C1F-A028-1B9E9B483F9A}" dt="2021-05-25T08:49:49.595" v="8321" actId="790"/>
          <ac:spMkLst>
            <pc:docMk/>
            <pc:sldMk cId="3056474185" sldId="10363"/>
            <ac:spMk id="81" creationId="{13945402-02D0-4872-8AAF-B64E57336041}"/>
          </ac:spMkLst>
        </pc:spChg>
        <pc:spChg chg="mod">
          <ac:chgData name="Aude Van de WIELE" userId="7317e673-04dd-415c-a4d7-718682339b40" providerId="ADAL" clId="{80D4E734-020D-4C1F-A028-1B9E9B483F9A}" dt="2021-05-25T08:49:49.597" v="8323" actId="790"/>
          <ac:spMkLst>
            <pc:docMk/>
            <pc:sldMk cId="3056474185" sldId="10363"/>
            <ac:spMk id="82" creationId="{28D7EB63-9464-445E-8CFF-E1396E03383A}"/>
          </ac:spMkLst>
        </pc:spChg>
        <pc:spChg chg="mod">
          <ac:chgData name="Aude Van de WIELE" userId="7317e673-04dd-415c-a4d7-718682339b40" providerId="ADAL" clId="{80D4E734-020D-4C1F-A028-1B9E9B483F9A}" dt="2021-05-25T08:49:49.597" v="8324" actId="790"/>
          <ac:spMkLst>
            <pc:docMk/>
            <pc:sldMk cId="3056474185" sldId="10363"/>
            <ac:spMk id="83" creationId="{41BE5C96-44CD-4EEB-9982-85281464F14D}"/>
          </ac:spMkLst>
        </pc:spChg>
        <pc:spChg chg="mod">
          <ac:chgData name="Aude Van de WIELE" userId="7317e673-04dd-415c-a4d7-718682339b40" providerId="ADAL" clId="{80D4E734-020D-4C1F-A028-1B9E9B483F9A}" dt="2021-05-25T08:49:49.598" v="8325" actId="790"/>
          <ac:spMkLst>
            <pc:docMk/>
            <pc:sldMk cId="3056474185" sldId="10363"/>
            <ac:spMk id="84" creationId="{C8690E1B-99C6-46A0-B5DC-90C2CE09DDE2}"/>
          </ac:spMkLst>
        </pc:spChg>
        <pc:spChg chg="mod">
          <ac:chgData name="Aude Van de WIELE" userId="7317e673-04dd-415c-a4d7-718682339b40" providerId="ADAL" clId="{80D4E734-020D-4C1F-A028-1B9E9B483F9A}" dt="2021-05-25T09:35:08.708" v="9934" actId="20577"/>
          <ac:spMkLst>
            <pc:docMk/>
            <pc:sldMk cId="3056474185" sldId="10363"/>
            <ac:spMk id="85" creationId="{A58C5887-CED1-46F2-9DC6-1A8BC868ED98}"/>
          </ac:spMkLst>
        </pc:spChg>
        <pc:spChg chg="mod">
          <ac:chgData name="Aude Van de WIELE" userId="7317e673-04dd-415c-a4d7-718682339b40" providerId="ADAL" clId="{80D4E734-020D-4C1F-A028-1B9E9B483F9A}" dt="2021-05-25T08:49:49.579" v="8305" actId="790"/>
          <ac:spMkLst>
            <pc:docMk/>
            <pc:sldMk cId="3056474185" sldId="10363"/>
            <ac:spMk id="89" creationId="{0053E10B-EF20-4790-930A-27CDB580C41E}"/>
          </ac:spMkLst>
        </pc:spChg>
        <pc:spChg chg="mod">
          <ac:chgData name="Aude Van de WIELE" userId="7317e673-04dd-415c-a4d7-718682339b40" providerId="ADAL" clId="{80D4E734-020D-4C1F-A028-1B9E9B483F9A}" dt="2021-05-25T08:49:49.584" v="8311" actId="790"/>
          <ac:spMkLst>
            <pc:docMk/>
            <pc:sldMk cId="3056474185" sldId="10363"/>
            <ac:spMk id="90" creationId="{39390C9C-6887-462F-90D2-1539942362C4}"/>
          </ac:spMkLst>
        </pc:spChg>
        <pc:spChg chg="add mod">
          <ac:chgData name="Aude Van de WIELE" userId="7317e673-04dd-415c-a4d7-718682339b40" providerId="ADAL" clId="{80D4E734-020D-4C1F-A028-1B9E9B483F9A}" dt="2021-05-25T08:49:49.610" v="8340" actId="790"/>
          <ac:spMkLst>
            <pc:docMk/>
            <pc:sldMk cId="3056474185" sldId="10363"/>
            <ac:spMk id="91" creationId="{577FCDB2-218A-45A2-82F4-02441594C3A2}"/>
          </ac:spMkLst>
        </pc:spChg>
        <pc:spChg chg="mod">
          <ac:chgData name="Aude Van de WIELE" userId="7317e673-04dd-415c-a4d7-718682339b40" providerId="ADAL" clId="{80D4E734-020D-4C1F-A028-1B9E9B483F9A}" dt="2021-05-25T08:49:49.584" v="8312" actId="790"/>
          <ac:spMkLst>
            <pc:docMk/>
            <pc:sldMk cId="3056474185" sldId="10363"/>
            <ac:spMk id="92" creationId="{810A05CD-3CDC-4778-8CF3-2D331904A50E}"/>
          </ac:spMkLst>
        </pc:spChg>
        <pc:spChg chg="mod">
          <ac:chgData name="Aude Van de WIELE" userId="7317e673-04dd-415c-a4d7-718682339b40" providerId="ADAL" clId="{80D4E734-020D-4C1F-A028-1B9E9B483F9A}" dt="2021-05-25T08:49:49.585" v="8313" actId="790"/>
          <ac:spMkLst>
            <pc:docMk/>
            <pc:sldMk cId="3056474185" sldId="10363"/>
            <ac:spMk id="93" creationId="{BCC85884-BEF3-4A74-9C31-5252A2AE964C}"/>
          </ac:spMkLst>
        </pc:spChg>
        <pc:spChg chg="mod">
          <ac:chgData name="Aude Van de WIELE" userId="7317e673-04dd-415c-a4d7-718682339b40" providerId="ADAL" clId="{80D4E734-020D-4C1F-A028-1B9E9B483F9A}" dt="2021-05-25T08:49:49.586" v="8314" actId="790"/>
          <ac:spMkLst>
            <pc:docMk/>
            <pc:sldMk cId="3056474185" sldId="10363"/>
            <ac:spMk id="94" creationId="{9ED613B1-4950-469D-AF1E-7A9A224F1089}"/>
          </ac:spMkLst>
        </pc:spChg>
        <pc:spChg chg="mod">
          <ac:chgData name="Aude Van de WIELE" userId="7317e673-04dd-415c-a4d7-718682339b40" providerId="ADAL" clId="{80D4E734-020D-4C1F-A028-1B9E9B483F9A}" dt="2021-05-25T08:49:49.587" v="8315" actId="790"/>
          <ac:spMkLst>
            <pc:docMk/>
            <pc:sldMk cId="3056474185" sldId="10363"/>
            <ac:spMk id="95" creationId="{EFF4D5B6-DFB2-472A-A61F-4B7C9BBA0AD1}"/>
          </ac:spMkLst>
        </pc:spChg>
        <pc:spChg chg="add mod">
          <ac:chgData name="Aude Van de WIELE" userId="7317e673-04dd-415c-a4d7-718682339b40" providerId="ADAL" clId="{80D4E734-020D-4C1F-A028-1B9E9B483F9A}" dt="2021-05-25T08:49:49.610" v="8341" actId="790"/>
          <ac:spMkLst>
            <pc:docMk/>
            <pc:sldMk cId="3056474185" sldId="10363"/>
            <ac:spMk id="96" creationId="{CC40FAD7-199E-43E8-992A-0F93C4401E41}"/>
          </ac:spMkLst>
        </pc:spChg>
        <pc:spChg chg="mod">
          <ac:chgData name="Aude Van de WIELE" userId="7317e673-04dd-415c-a4d7-718682339b40" providerId="ADAL" clId="{80D4E734-020D-4C1F-A028-1B9E9B483F9A}" dt="2021-05-25T08:49:49.592" v="8319" actId="790"/>
          <ac:spMkLst>
            <pc:docMk/>
            <pc:sldMk cId="3056474185" sldId="10363"/>
            <ac:spMk id="98" creationId="{8D6AADE9-BCE8-4859-8089-8C1D69502AF3}"/>
          </ac:spMkLst>
        </pc:spChg>
        <pc:spChg chg="add mod">
          <ac:chgData name="Aude Van de WIELE" userId="7317e673-04dd-415c-a4d7-718682339b40" providerId="ADAL" clId="{80D4E734-020D-4C1F-A028-1B9E9B483F9A}" dt="2021-05-25T08:49:49.611" v="8342" actId="790"/>
          <ac:spMkLst>
            <pc:docMk/>
            <pc:sldMk cId="3056474185" sldId="10363"/>
            <ac:spMk id="99" creationId="{2E90D437-ECC3-48A2-A761-25A61636A952}"/>
          </ac:spMkLst>
        </pc:spChg>
        <pc:spChg chg="mod">
          <ac:chgData name="Aude Van de WIELE" userId="7317e673-04dd-415c-a4d7-718682339b40" providerId="ADAL" clId="{80D4E734-020D-4C1F-A028-1B9E9B483F9A}" dt="2021-05-25T08:49:49.600" v="8327" actId="790"/>
          <ac:spMkLst>
            <pc:docMk/>
            <pc:sldMk cId="3056474185" sldId="10363"/>
            <ac:spMk id="100" creationId="{4C2B8D89-E7A0-4A29-AA5D-4ACFB0EFA88C}"/>
          </ac:spMkLst>
        </pc:spChg>
        <pc:spChg chg="mod">
          <ac:chgData name="Aude Van de WIELE" userId="7317e673-04dd-415c-a4d7-718682339b40" providerId="ADAL" clId="{80D4E734-020D-4C1F-A028-1B9E9B483F9A}" dt="2021-05-25T08:49:49.580" v="8306" actId="790"/>
          <ac:spMkLst>
            <pc:docMk/>
            <pc:sldMk cId="3056474185" sldId="10363"/>
            <ac:spMk id="101" creationId="{B25D321F-61DD-411F-991C-2CB37FFE1364}"/>
          </ac:spMkLst>
        </pc:spChg>
        <pc:spChg chg="mod">
          <ac:chgData name="Aude Van de WIELE" userId="7317e673-04dd-415c-a4d7-718682339b40" providerId="ADAL" clId="{80D4E734-020D-4C1F-A028-1B9E9B483F9A}" dt="2021-05-25T08:49:49.601" v="8328" actId="790"/>
          <ac:spMkLst>
            <pc:docMk/>
            <pc:sldMk cId="3056474185" sldId="10363"/>
            <ac:spMk id="102" creationId="{73E0101C-2D21-489E-9E39-237DF3AEF5DA}"/>
          </ac:spMkLst>
        </pc:spChg>
        <pc:spChg chg="mod">
          <ac:chgData name="Aude Van de WIELE" userId="7317e673-04dd-415c-a4d7-718682339b40" providerId="ADAL" clId="{80D4E734-020D-4C1F-A028-1B9E9B483F9A}" dt="2021-05-25T08:49:49.596" v="8322" actId="790"/>
          <ac:spMkLst>
            <pc:docMk/>
            <pc:sldMk cId="3056474185" sldId="10363"/>
            <ac:spMk id="103" creationId="{4C048F76-9197-4599-A698-79EFF04AC9E2}"/>
          </ac:spMkLst>
        </pc:spChg>
        <pc:spChg chg="mod">
          <ac:chgData name="Aude Van de WIELE" userId="7317e673-04dd-415c-a4d7-718682339b40" providerId="ADAL" clId="{80D4E734-020D-4C1F-A028-1B9E9B483F9A}" dt="2021-05-25T08:49:49.592" v="8320" actId="790"/>
          <ac:spMkLst>
            <pc:docMk/>
            <pc:sldMk cId="3056474185" sldId="10363"/>
            <ac:spMk id="104" creationId="{24F11FDF-107F-4506-968F-7ED686528B02}"/>
          </ac:spMkLst>
        </pc:spChg>
        <pc:spChg chg="mod">
          <ac:chgData name="Aude Van de WIELE" userId="7317e673-04dd-415c-a4d7-718682339b40" providerId="ADAL" clId="{80D4E734-020D-4C1F-A028-1B9E9B483F9A}" dt="2021-05-25T08:49:49.601" v="8329" actId="790"/>
          <ac:spMkLst>
            <pc:docMk/>
            <pc:sldMk cId="3056474185" sldId="10363"/>
            <ac:spMk id="108" creationId="{330FA343-063B-4EA0-831A-E5322936360D}"/>
          </ac:spMkLst>
        </pc:spChg>
        <pc:spChg chg="mod">
          <ac:chgData name="Aude Van de WIELE" userId="7317e673-04dd-415c-a4d7-718682339b40" providerId="ADAL" clId="{80D4E734-020D-4C1F-A028-1B9E9B483F9A}" dt="2021-05-25T08:49:49.567" v="8292" actId="790"/>
          <ac:spMkLst>
            <pc:docMk/>
            <pc:sldMk cId="3056474185" sldId="10363"/>
            <ac:spMk id="110" creationId="{D112EAE9-1C24-4AF0-B3DD-273BF2FF5A59}"/>
          </ac:spMkLst>
        </pc:spChg>
        <pc:spChg chg="mod">
          <ac:chgData name="Aude Van de WIELE" userId="7317e673-04dd-415c-a4d7-718682339b40" providerId="ADAL" clId="{80D4E734-020D-4C1F-A028-1B9E9B483F9A}" dt="2021-05-25T08:49:49.569" v="8293" actId="790"/>
          <ac:spMkLst>
            <pc:docMk/>
            <pc:sldMk cId="3056474185" sldId="10363"/>
            <ac:spMk id="111" creationId="{9B916422-AB4B-4397-9CE1-E4BDD0AED7FE}"/>
          </ac:spMkLst>
        </pc:spChg>
        <pc:spChg chg="mod">
          <ac:chgData name="Aude Van de WIELE" userId="7317e673-04dd-415c-a4d7-718682339b40" providerId="ADAL" clId="{80D4E734-020D-4C1F-A028-1B9E9B483F9A}" dt="2021-05-25T08:49:49.602" v="8330" actId="790"/>
          <ac:spMkLst>
            <pc:docMk/>
            <pc:sldMk cId="3056474185" sldId="10363"/>
            <ac:spMk id="112" creationId="{9F513876-6A87-4993-A0F1-0F689FDBBF01}"/>
          </ac:spMkLst>
        </pc:spChg>
        <pc:spChg chg="mod">
          <ac:chgData name="Aude Van de WIELE" userId="7317e673-04dd-415c-a4d7-718682339b40" providerId="ADAL" clId="{80D4E734-020D-4C1F-A028-1B9E9B483F9A}" dt="2021-05-25T08:49:49.588" v="8316" actId="790"/>
          <ac:spMkLst>
            <pc:docMk/>
            <pc:sldMk cId="3056474185" sldId="10363"/>
            <ac:spMk id="115" creationId="{6F1D7D9A-4EAA-45B4-B3C8-BA5E9C1F7277}"/>
          </ac:spMkLst>
        </pc:spChg>
        <pc:spChg chg="mod">
          <ac:chgData name="Aude Van de WIELE" userId="7317e673-04dd-415c-a4d7-718682339b40" providerId="ADAL" clId="{80D4E734-020D-4C1F-A028-1B9E9B483F9A}" dt="2021-05-25T08:49:49.589" v="8317" actId="790"/>
          <ac:spMkLst>
            <pc:docMk/>
            <pc:sldMk cId="3056474185" sldId="10363"/>
            <ac:spMk id="116" creationId="{761CB428-B68A-41BA-9FC0-07DEC7039CCA}"/>
          </ac:spMkLst>
        </pc:spChg>
        <pc:spChg chg="mod">
          <ac:chgData name="Aude Van de WIELE" userId="7317e673-04dd-415c-a4d7-718682339b40" providerId="ADAL" clId="{80D4E734-020D-4C1F-A028-1B9E9B483F9A}" dt="2021-05-25T08:49:49.603" v="8331" actId="790"/>
          <ac:spMkLst>
            <pc:docMk/>
            <pc:sldMk cId="3056474185" sldId="10363"/>
            <ac:spMk id="117" creationId="{C9DD2D9D-0989-4B91-8196-A5A0B7065E99}"/>
          </ac:spMkLst>
        </pc:spChg>
        <pc:spChg chg="mod">
          <ac:chgData name="Aude Van de WIELE" userId="7317e673-04dd-415c-a4d7-718682339b40" providerId="ADAL" clId="{80D4E734-020D-4C1F-A028-1B9E9B483F9A}" dt="2021-05-25T08:49:49.590" v="8318" actId="790"/>
          <ac:spMkLst>
            <pc:docMk/>
            <pc:sldMk cId="3056474185" sldId="10363"/>
            <ac:spMk id="118" creationId="{759A0193-71DB-456E-B77A-940E35134FB3}"/>
          </ac:spMkLst>
        </pc:spChg>
        <pc:spChg chg="mod">
          <ac:chgData name="Aude Van de WIELE" userId="7317e673-04dd-415c-a4d7-718682339b40" providerId="ADAL" clId="{80D4E734-020D-4C1F-A028-1B9E9B483F9A}" dt="2021-05-25T08:49:49.581" v="8307" actId="790"/>
          <ac:spMkLst>
            <pc:docMk/>
            <pc:sldMk cId="3056474185" sldId="10363"/>
            <ac:spMk id="119" creationId="{FD3CFAEA-9629-4A61-8FC4-3292A4700536}"/>
          </ac:spMkLst>
        </pc:spChg>
        <pc:spChg chg="mod">
          <ac:chgData name="Aude Van de WIELE" userId="7317e673-04dd-415c-a4d7-718682339b40" providerId="ADAL" clId="{80D4E734-020D-4C1F-A028-1B9E9B483F9A}" dt="2021-05-25T08:49:49.582" v="8308" actId="790"/>
          <ac:spMkLst>
            <pc:docMk/>
            <pc:sldMk cId="3056474185" sldId="10363"/>
            <ac:spMk id="120" creationId="{93D09E23-6D6F-4F07-ACFD-DE8D09AD17A8}"/>
          </ac:spMkLst>
        </pc:spChg>
        <pc:spChg chg="mod">
          <ac:chgData name="Aude Van de WIELE" userId="7317e673-04dd-415c-a4d7-718682339b40" providerId="ADAL" clId="{80D4E734-020D-4C1F-A028-1B9E9B483F9A}" dt="2021-05-25T08:49:49.582" v="8309" actId="790"/>
          <ac:spMkLst>
            <pc:docMk/>
            <pc:sldMk cId="3056474185" sldId="10363"/>
            <ac:spMk id="121" creationId="{7E6B106B-E8E9-4EB0-86EC-9A7E1C474545}"/>
          </ac:spMkLst>
        </pc:spChg>
        <pc:spChg chg="mod">
          <ac:chgData name="Aude Van de WIELE" userId="7317e673-04dd-415c-a4d7-718682339b40" providerId="ADAL" clId="{80D4E734-020D-4C1F-A028-1B9E9B483F9A}" dt="2021-05-25T08:49:49.604" v="8332" actId="790"/>
          <ac:spMkLst>
            <pc:docMk/>
            <pc:sldMk cId="3056474185" sldId="10363"/>
            <ac:spMk id="122" creationId="{9D5F634F-72FC-4CD5-A0FE-78EDB7DE2470}"/>
          </ac:spMkLst>
        </pc:spChg>
        <pc:spChg chg="mod">
          <ac:chgData name="Aude Van de WIELE" userId="7317e673-04dd-415c-a4d7-718682339b40" providerId="ADAL" clId="{80D4E734-020D-4C1F-A028-1B9E9B483F9A}" dt="2021-05-25T08:49:49.604" v="8333" actId="790"/>
          <ac:spMkLst>
            <pc:docMk/>
            <pc:sldMk cId="3056474185" sldId="10363"/>
            <ac:spMk id="123" creationId="{67DC4BF4-E52A-4F77-A7A3-194C8AD16717}"/>
          </ac:spMkLst>
        </pc:spChg>
        <pc:spChg chg="mod">
          <ac:chgData name="Aude Van de WIELE" userId="7317e673-04dd-415c-a4d7-718682339b40" providerId="ADAL" clId="{80D4E734-020D-4C1F-A028-1B9E9B483F9A}" dt="2021-05-25T08:49:49.605" v="8334" actId="790"/>
          <ac:spMkLst>
            <pc:docMk/>
            <pc:sldMk cId="3056474185" sldId="10363"/>
            <ac:spMk id="124" creationId="{634C708A-905F-4423-AD59-7FAB100F7710}"/>
          </ac:spMkLst>
        </pc:spChg>
        <pc:spChg chg="mod">
          <ac:chgData name="Aude Van de WIELE" userId="7317e673-04dd-415c-a4d7-718682339b40" providerId="ADAL" clId="{80D4E734-020D-4C1F-A028-1B9E9B483F9A}" dt="2021-05-25T08:49:49.583" v="8310" actId="790"/>
          <ac:spMkLst>
            <pc:docMk/>
            <pc:sldMk cId="3056474185" sldId="10363"/>
            <ac:spMk id="125" creationId="{9058D2CA-361E-4588-B7EB-6034093739B5}"/>
          </ac:spMkLst>
        </pc:spChg>
        <pc:spChg chg="mod">
          <ac:chgData name="Aude Van de WIELE" userId="7317e673-04dd-415c-a4d7-718682339b40" providerId="ADAL" clId="{80D4E734-020D-4C1F-A028-1B9E9B483F9A}" dt="2021-05-25T08:49:49.606" v="8335" actId="790"/>
          <ac:spMkLst>
            <pc:docMk/>
            <pc:sldMk cId="3056474185" sldId="10363"/>
            <ac:spMk id="126" creationId="{30A82CFE-7F48-4AA8-AADE-7BBCDBC04817}"/>
          </ac:spMkLst>
        </pc:spChg>
        <pc:spChg chg="mod">
          <ac:chgData name="Aude Van de WIELE" userId="7317e673-04dd-415c-a4d7-718682339b40" providerId="ADAL" clId="{80D4E734-020D-4C1F-A028-1B9E9B483F9A}" dt="2021-05-25T08:49:49.606" v="8336" actId="790"/>
          <ac:spMkLst>
            <pc:docMk/>
            <pc:sldMk cId="3056474185" sldId="10363"/>
            <ac:spMk id="127" creationId="{A697451B-FBB0-4497-90C1-88CC1F6975AB}"/>
          </ac:spMkLst>
        </pc:spChg>
        <pc:spChg chg="mod">
          <ac:chgData name="Aude Van de WIELE" userId="7317e673-04dd-415c-a4d7-718682339b40" providerId="ADAL" clId="{80D4E734-020D-4C1F-A028-1B9E9B483F9A}" dt="2021-05-25T08:49:49.607" v="8337" actId="790"/>
          <ac:spMkLst>
            <pc:docMk/>
            <pc:sldMk cId="3056474185" sldId="10363"/>
            <ac:spMk id="128" creationId="{AB336A6F-5AD1-42F2-A67F-C963C0D53CE2}"/>
          </ac:spMkLst>
        </pc:spChg>
        <pc:spChg chg="mod">
          <ac:chgData name="Aude Van de WIELE" userId="7317e673-04dd-415c-a4d7-718682339b40" providerId="ADAL" clId="{80D4E734-020D-4C1F-A028-1B9E9B483F9A}" dt="2021-05-25T08:49:49.608" v="8338" actId="790"/>
          <ac:spMkLst>
            <pc:docMk/>
            <pc:sldMk cId="3056474185" sldId="10363"/>
            <ac:spMk id="129" creationId="{43EDDEAC-5EE6-45CB-B7D0-ECB8A76067E6}"/>
          </ac:spMkLst>
        </pc:spChg>
        <pc:spChg chg="mod">
          <ac:chgData name="Aude Van de WIELE" userId="7317e673-04dd-415c-a4d7-718682339b40" providerId="ADAL" clId="{80D4E734-020D-4C1F-A028-1B9E9B483F9A}" dt="2021-05-25T08:49:49.609" v="8339" actId="790"/>
          <ac:spMkLst>
            <pc:docMk/>
            <pc:sldMk cId="3056474185" sldId="10363"/>
            <ac:spMk id="130" creationId="{E99408E4-6EC9-44F1-90E4-29DE6526F3E7}"/>
          </ac:spMkLst>
        </pc:spChg>
        <pc:spChg chg="mod">
          <ac:chgData name="Aude Van de WIELE" userId="7317e673-04dd-415c-a4d7-718682339b40" providerId="ADAL" clId="{80D4E734-020D-4C1F-A028-1B9E9B483F9A}" dt="2021-05-25T08:49:49.569" v="8294" actId="790"/>
          <ac:spMkLst>
            <pc:docMk/>
            <pc:sldMk cId="3056474185" sldId="10363"/>
            <ac:spMk id="134" creationId="{D5795A40-7B7E-4315-876A-A38D6610B661}"/>
          </ac:spMkLst>
        </pc:spChg>
        <pc:spChg chg="mod">
          <ac:chgData name="Aude Van de WIELE" userId="7317e673-04dd-415c-a4d7-718682339b40" providerId="ADAL" clId="{80D4E734-020D-4C1F-A028-1B9E9B483F9A}" dt="2021-05-25T08:49:49.571" v="8296" actId="790"/>
          <ac:spMkLst>
            <pc:docMk/>
            <pc:sldMk cId="3056474185" sldId="10363"/>
            <ac:spMk id="160" creationId="{A8A94204-7780-44D2-9F69-E6D88D81CCC9}"/>
          </ac:spMkLst>
        </pc:spChg>
        <pc:spChg chg="mod">
          <ac:chgData name="Aude Van de WIELE" userId="7317e673-04dd-415c-a4d7-718682339b40" providerId="ADAL" clId="{80D4E734-020D-4C1F-A028-1B9E9B483F9A}" dt="2021-05-25T08:49:49.572" v="8297" actId="790"/>
          <ac:spMkLst>
            <pc:docMk/>
            <pc:sldMk cId="3056474185" sldId="10363"/>
            <ac:spMk id="162" creationId="{7C77AD03-3049-47E7-8DA8-DA2A5283D6AD}"/>
          </ac:spMkLst>
        </pc:spChg>
        <pc:spChg chg="mod">
          <ac:chgData name="Aude Van de WIELE" userId="7317e673-04dd-415c-a4d7-718682339b40" providerId="ADAL" clId="{80D4E734-020D-4C1F-A028-1B9E9B483F9A}" dt="2021-05-25T08:49:49.578" v="8304" actId="790"/>
          <ac:spMkLst>
            <pc:docMk/>
            <pc:sldMk cId="3056474185" sldId="10363"/>
            <ac:spMk id="188" creationId="{CBFDB5A1-F4BF-4077-B85B-DCBB511D131F}"/>
          </ac:spMkLst>
        </pc:spChg>
      </pc:sldChg>
      <pc:sldChg chg="addSp delSp modSp mod ord">
        <pc:chgData name="Aude Van de WIELE" userId="7317e673-04dd-415c-a4d7-718682339b40" providerId="ADAL" clId="{80D4E734-020D-4C1F-A028-1B9E9B483F9A}" dt="2021-05-25T09:35:11.453" v="9935"/>
        <pc:sldMkLst>
          <pc:docMk/>
          <pc:sldMk cId="511254166" sldId="10364"/>
        </pc:sldMkLst>
        <pc:spChg chg="mod">
          <ac:chgData name="Aude Van de WIELE" userId="7317e673-04dd-415c-a4d7-718682339b40" providerId="ADAL" clId="{80D4E734-020D-4C1F-A028-1B9E9B483F9A}" dt="2021-05-25T08:49:49.615" v="8343" actId="790"/>
          <ac:spMkLst>
            <pc:docMk/>
            <pc:sldMk cId="511254166" sldId="10364"/>
            <ac:spMk id="2" creationId="{806A24BD-A309-4114-BCBE-1F8520216A75}"/>
          </ac:spMkLst>
        </pc:spChg>
        <pc:spChg chg="mod">
          <ac:chgData name="Aude Van de WIELE" userId="7317e673-04dd-415c-a4d7-718682339b40" providerId="ADAL" clId="{80D4E734-020D-4C1F-A028-1B9E9B483F9A}" dt="2021-05-25T08:49:49.616" v="8344" actId="790"/>
          <ac:spMkLst>
            <pc:docMk/>
            <pc:sldMk cId="511254166" sldId="10364"/>
            <ac:spMk id="6" creationId="{4E6E5141-7FBC-4E06-91AB-778C41045C7B}"/>
          </ac:spMkLst>
        </pc:spChg>
        <pc:spChg chg="mod">
          <ac:chgData name="Aude Van de WIELE" userId="7317e673-04dd-415c-a4d7-718682339b40" providerId="ADAL" clId="{80D4E734-020D-4C1F-A028-1B9E9B483F9A}" dt="2021-05-25T08:49:49.617" v="8345" actId="790"/>
          <ac:spMkLst>
            <pc:docMk/>
            <pc:sldMk cId="511254166" sldId="10364"/>
            <ac:spMk id="7" creationId="{8D09AD6F-BFA9-4E94-83DF-0661F98B9019}"/>
          </ac:spMkLst>
        </pc:spChg>
        <pc:spChg chg="mod">
          <ac:chgData name="Aude Van de WIELE" userId="7317e673-04dd-415c-a4d7-718682339b40" providerId="ADAL" clId="{80D4E734-020D-4C1F-A028-1B9E9B483F9A}" dt="2021-05-25T08:49:49.618" v="8346" actId="790"/>
          <ac:spMkLst>
            <pc:docMk/>
            <pc:sldMk cId="511254166" sldId="10364"/>
            <ac:spMk id="8" creationId="{77A429D6-B3A3-42B0-BAD3-1B353FC28B08}"/>
          </ac:spMkLst>
        </pc:spChg>
        <pc:spChg chg="mod">
          <ac:chgData name="Aude Van de WIELE" userId="7317e673-04dd-415c-a4d7-718682339b40" providerId="ADAL" clId="{80D4E734-020D-4C1F-A028-1B9E9B483F9A}" dt="2021-05-25T08:49:49.618" v="8347" actId="790"/>
          <ac:spMkLst>
            <pc:docMk/>
            <pc:sldMk cId="511254166" sldId="10364"/>
            <ac:spMk id="9" creationId="{C1790DA0-3655-475E-9CEE-4FBE153BB3F2}"/>
          </ac:spMkLst>
        </pc:spChg>
        <pc:spChg chg="mod">
          <ac:chgData name="Aude Van de WIELE" userId="7317e673-04dd-415c-a4d7-718682339b40" providerId="ADAL" clId="{80D4E734-020D-4C1F-A028-1B9E9B483F9A}" dt="2021-05-25T08:49:49.632" v="8360" actId="790"/>
          <ac:spMkLst>
            <pc:docMk/>
            <pc:sldMk cId="511254166" sldId="10364"/>
            <ac:spMk id="12" creationId="{D8C440F0-5663-4EAC-8964-248F32036591}"/>
          </ac:spMkLst>
        </pc:spChg>
        <pc:spChg chg="mod">
          <ac:chgData name="Aude Van de WIELE" userId="7317e673-04dd-415c-a4d7-718682339b40" providerId="ADAL" clId="{80D4E734-020D-4C1F-A028-1B9E9B483F9A}" dt="2021-05-25T08:49:49.619" v="8348" actId="790"/>
          <ac:spMkLst>
            <pc:docMk/>
            <pc:sldMk cId="511254166" sldId="10364"/>
            <ac:spMk id="15" creationId="{BD17CEC9-4298-48C2-A07A-B6966AE88E71}"/>
          </ac:spMkLst>
        </pc:spChg>
        <pc:spChg chg="mod">
          <ac:chgData name="Aude Van de WIELE" userId="7317e673-04dd-415c-a4d7-718682339b40" providerId="ADAL" clId="{80D4E734-020D-4C1F-A028-1B9E9B483F9A}" dt="2021-05-25T08:49:49.620" v="8349" actId="790"/>
          <ac:spMkLst>
            <pc:docMk/>
            <pc:sldMk cId="511254166" sldId="10364"/>
            <ac:spMk id="22" creationId="{F54D9E31-C7E1-4619-8AB2-AF3F57E25D8C}"/>
          </ac:spMkLst>
        </pc:spChg>
        <pc:spChg chg="mod">
          <ac:chgData name="Aude Van de WIELE" userId="7317e673-04dd-415c-a4d7-718682339b40" providerId="ADAL" clId="{80D4E734-020D-4C1F-A028-1B9E9B483F9A}" dt="2021-05-25T08:49:49.623" v="8350" actId="790"/>
          <ac:spMkLst>
            <pc:docMk/>
            <pc:sldMk cId="511254166" sldId="10364"/>
            <ac:spMk id="23" creationId="{E942F219-9D1D-4A73-B97D-EC48BD66AF15}"/>
          </ac:spMkLst>
        </pc:spChg>
        <pc:spChg chg="mod">
          <ac:chgData name="Aude Van de WIELE" userId="7317e673-04dd-415c-a4d7-718682339b40" providerId="ADAL" clId="{80D4E734-020D-4C1F-A028-1B9E9B483F9A}" dt="2021-05-25T08:49:49.624" v="8351" actId="790"/>
          <ac:spMkLst>
            <pc:docMk/>
            <pc:sldMk cId="511254166" sldId="10364"/>
            <ac:spMk id="24" creationId="{C2FF144E-7C70-4F58-8690-D05F03C7B743}"/>
          </ac:spMkLst>
        </pc:spChg>
        <pc:spChg chg="mod">
          <ac:chgData name="Aude Van de WIELE" userId="7317e673-04dd-415c-a4d7-718682339b40" providerId="ADAL" clId="{80D4E734-020D-4C1F-A028-1B9E9B483F9A}" dt="2021-05-25T08:49:49.625" v="8352" actId="790"/>
          <ac:spMkLst>
            <pc:docMk/>
            <pc:sldMk cId="511254166" sldId="10364"/>
            <ac:spMk id="43" creationId="{C59EF210-5B50-40A7-A6B4-DDAD799020BA}"/>
          </ac:spMkLst>
        </pc:spChg>
        <pc:spChg chg="mod">
          <ac:chgData name="Aude Van de WIELE" userId="7317e673-04dd-415c-a4d7-718682339b40" providerId="ADAL" clId="{80D4E734-020D-4C1F-A028-1B9E9B483F9A}" dt="2021-05-25T08:49:49.626" v="8353" actId="790"/>
          <ac:spMkLst>
            <pc:docMk/>
            <pc:sldMk cId="511254166" sldId="10364"/>
            <ac:spMk id="45" creationId="{A30046C9-7286-442E-B5D2-9182D2F71B12}"/>
          </ac:spMkLst>
        </pc:spChg>
        <pc:spChg chg="mod">
          <ac:chgData name="Aude Van de WIELE" userId="7317e673-04dd-415c-a4d7-718682339b40" providerId="ADAL" clId="{80D4E734-020D-4C1F-A028-1B9E9B483F9A}" dt="2021-05-25T08:49:49.628" v="8354" actId="790"/>
          <ac:spMkLst>
            <pc:docMk/>
            <pc:sldMk cId="511254166" sldId="10364"/>
            <ac:spMk id="56" creationId="{F37F2C7C-4651-46F1-B548-F75D15102AEA}"/>
          </ac:spMkLst>
        </pc:spChg>
        <pc:spChg chg="mod">
          <ac:chgData name="Aude Van de WIELE" userId="7317e673-04dd-415c-a4d7-718682339b40" providerId="ADAL" clId="{80D4E734-020D-4C1F-A028-1B9E9B483F9A}" dt="2021-05-25T08:49:49.650" v="8376" actId="790"/>
          <ac:spMkLst>
            <pc:docMk/>
            <pc:sldMk cId="511254166" sldId="10364"/>
            <ac:spMk id="59" creationId="{E9DD7081-9497-4CB5-9A8D-3B1D818747D9}"/>
          </ac:spMkLst>
        </pc:spChg>
        <pc:spChg chg="mod">
          <ac:chgData name="Aude Van de WIELE" userId="7317e673-04dd-415c-a4d7-718682339b40" providerId="ADAL" clId="{80D4E734-020D-4C1F-A028-1B9E9B483F9A}" dt="2021-05-25T08:49:49.651" v="8377" actId="790"/>
          <ac:spMkLst>
            <pc:docMk/>
            <pc:sldMk cId="511254166" sldId="10364"/>
            <ac:spMk id="60" creationId="{6486CA03-FF59-4183-9DA0-8D77062A94DB}"/>
          </ac:spMkLst>
        </pc:spChg>
        <pc:spChg chg="mod">
          <ac:chgData name="Aude Van de WIELE" userId="7317e673-04dd-415c-a4d7-718682339b40" providerId="ADAL" clId="{80D4E734-020D-4C1F-A028-1B9E9B483F9A}" dt="2021-05-25T08:49:49.629" v="8355" actId="790"/>
          <ac:spMkLst>
            <pc:docMk/>
            <pc:sldMk cId="511254166" sldId="10364"/>
            <ac:spMk id="61" creationId="{86718822-02E2-4F9A-B0D6-5A2C08F0884A}"/>
          </ac:spMkLst>
        </pc:spChg>
        <pc:spChg chg="add mod">
          <ac:chgData name="Aude Van de WIELE" userId="7317e673-04dd-415c-a4d7-718682339b40" providerId="ADAL" clId="{80D4E734-020D-4C1F-A028-1B9E9B483F9A}" dt="2021-05-25T08:49:49.659" v="8384" actId="790"/>
          <ac:spMkLst>
            <pc:docMk/>
            <pc:sldMk cId="511254166" sldId="10364"/>
            <ac:spMk id="62" creationId="{79C87638-3FCC-4CDB-9AA2-DB98B1D15143}"/>
          </ac:spMkLst>
        </pc:spChg>
        <pc:spChg chg="mod">
          <ac:chgData name="Aude Van de WIELE" userId="7317e673-04dd-415c-a4d7-718682339b40" providerId="ADAL" clId="{80D4E734-020D-4C1F-A028-1B9E9B483F9A}" dt="2021-05-25T08:49:49.652" v="8378" actId="790"/>
          <ac:spMkLst>
            <pc:docMk/>
            <pc:sldMk cId="511254166" sldId="10364"/>
            <ac:spMk id="64" creationId="{1089F2A6-D239-4C3A-AD45-C08911A80D82}"/>
          </ac:spMkLst>
        </pc:spChg>
        <pc:spChg chg="mod">
          <ac:chgData name="Aude Van de WIELE" userId="7317e673-04dd-415c-a4d7-718682339b40" providerId="ADAL" clId="{80D4E734-020D-4C1F-A028-1B9E9B483F9A}" dt="2021-05-25T09:35:11.453" v="9935"/>
          <ac:spMkLst>
            <pc:docMk/>
            <pc:sldMk cId="511254166" sldId="10364"/>
            <ac:spMk id="65" creationId="{2675BB59-C17E-400B-9555-ADF6AE8ABB41}"/>
          </ac:spMkLst>
        </pc:spChg>
        <pc:spChg chg="mod">
          <ac:chgData name="Aude Van de WIELE" userId="7317e673-04dd-415c-a4d7-718682339b40" providerId="ADAL" clId="{80D4E734-020D-4C1F-A028-1B9E9B483F9A}" dt="2021-05-25T08:49:49.653" v="8380" actId="790"/>
          <ac:spMkLst>
            <pc:docMk/>
            <pc:sldMk cId="511254166" sldId="10364"/>
            <ac:spMk id="66" creationId="{68124A35-6E5D-40F6-A0BB-91A8B4125C7B}"/>
          </ac:spMkLst>
        </pc:spChg>
        <pc:spChg chg="mod">
          <ac:chgData name="Aude Van de WIELE" userId="7317e673-04dd-415c-a4d7-718682339b40" providerId="ADAL" clId="{80D4E734-020D-4C1F-A028-1B9E9B483F9A}" dt="2021-05-25T08:49:49.654" v="8381" actId="790"/>
          <ac:spMkLst>
            <pc:docMk/>
            <pc:sldMk cId="511254166" sldId="10364"/>
            <ac:spMk id="67" creationId="{14DBD2BF-71F7-477C-BD84-A4BEF3A1255F}"/>
          </ac:spMkLst>
        </pc:spChg>
        <pc:spChg chg="mod">
          <ac:chgData name="Aude Van de WIELE" userId="7317e673-04dd-415c-a4d7-718682339b40" providerId="ADAL" clId="{80D4E734-020D-4C1F-A028-1B9E9B483F9A}" dt="2021-05-25T08:49:49.655" v="8382" actId="790"/>
          <ac:spMkLst>
            <pc:docMk/>
            <pc:sldMk cId="511254166" sldId="10364"/>
            <ac:spMk id="68" creationId="{D3B7C6B4-06E8-42C2-83C4-8C0C0FCA814E}"/>
          </ac:spMkLst>
        </pc:spChg>
        <pc:spChg chg="mod">
          <ac:chgData name="Aude Van de WIELE" userId="7317e673-04dd-415c-a4d7-718682339b40" providerId="ADAL" clId="{80D4E734-020D-4C1F-A028-1B9E9B483F9A}" dt="2021-05-25T08:49:49.656" v="8383" actId="790"/>
          <ac:spMkLst>
            <pc:docMk/>
            <pc:sldMk cId="511254166" sldId="10364"/>
            <ac:spMk id="69" creationId="{32EDACA9-787C-4252-8EE4-4D23F3D66534}"/>
          </ac:spMkLst>
        </pc:spChg>
        <pc:spChg chg="mod">
          <ac:chgData name="Aude Van de WIELE" userId="7317e673-04dd-415c-a4d7-718682339b40" providerId="ADAL" clId="{80D4E734-020D-4C1F-A028-1B9E9B483F9A}" dt="2021-05-25T08:49:49.634" v="8361" actId="790"/>
          <ac:spMkLst>
            <pc:docMk/>
            <pc:sldMk cId="511254166" sldId="10364"/>
            <ac:spMk id="87" creationId="{B12B01F7-2C02-43C2-81BF-CA4C399D06F4}"/>
          </ac:spMkLst>
        </pc:spChg>
        <pc:spChg chg="mod">
          <ac:chgData name="Aude Van de WIELE" userId="7317e673-04dd-415c-a4d7-718682339b40" providerId="ADAL" clId="{80D4E734-020D-4C1F-A028-1B9E9B483F9A}" dt="2021-05-25T08:49:49.635" v="8362" actId="790"/>
          <ac:spMkLst>
            <pc:docMk/>
            <pc:sldMk cId="511254166" sldId="10364"/>
            <ac:spMk id="88" creationId="{23735882-1AA1-4E74-8AC7-A468BFE35F3C}"/>
          </ac:spMkLst>
        </pc:spChg>
        <pc:spChg chg="mod">
          <ac:chgData name="Aude Van de WIELE" userId="7317e673-04dd-415c-a4d7-718682339b40" providerId="ADAL" clId="{80D4E734-020D-4C1F-A028-1B9E9B483F9A}" dt="2021-05-25T08:49:49.636" v="8363" actId="790"/>
          <ac:spMkLst>
            <pc:docMk/>
            <pc:sldMk cId="511254166" sldId="10364"/>
            <ac:spMk id="92" creationId="{175224E4-B9F3-466D-BBE2-3AD95EAFDEF3}"/>
          </ac:spMkLst>
        </pc:spChg>
        <pc:spChg chg="mod">
          <ac:chgData name="Aude Van de WIELE" userId="7317e673-04dd-415c-a4d7-718682339b40" providerId="ADAL" clId="{80D4E734-020D-4C1F-A028-1B9E9B483F9A}" dt="2021-05-25T08:49:49.638" v="8364" actId="790"/>
          <ac:spMkLst>
            <pc:docMk/>
            <pc:sldMk cId="511254166" sldId="10364"/>
            <ac:spMk id="93" creationId="{071E6E2D-787C-478A-B85D-6B8795BCABBF}"/>
          </ac:spMkLst>
        </pc:spChg>
        <pc:spChg chg="mod">
          <ac:chgData name="Aude Van de WIELE" userId="7317e673-04dd-415c-a4d7-718682339b40" providerId="ADAL" clId="{80D4E734-020D-4C1F-A028-1B9E9B483F9A}" dt="2021-05-25T08:49:49.638" v="8365" actId="790"/>
          <ac:spMkLst>
            <pc:docMk/>
            <pc:sldMk cId="511254166" sldId="10364"/>
            <ac:spMk id="94" creationId="{51D1811C-B66B-419E-9ABA-EA4C922F5446}"/>
          </ac:spMkLst>
        </pc:spChg>
        <pc:spChg chg="mod">
          <ac:chgData name="Aude Van de WIELE" userId="7317e673-04dd-415c-a4d7-718682339b40" providerId="ADAL" clId="{80D4E734-020D-4C1F-A028-1B9E9B483F9A}" dt="2021-05-25T08:49:49.639" v="8366" actId="790"/>
          <ac:spMkLst>
            <pc:docMk/>
            <pc:sldMk cId="511254166" sldId="10364"/>
            <ac:spMk id="95" creationId="{F3B897A9-107D-4E9F-A970-BDA202F8026B}"/>
          </ac:spMkLst>
        </pc:spChg>
        <pc:spChg chg="mod">
          <ac:chgData name="Aude Van de WIELE" userId="7317e673-04dd-415c-a4d7-718682339b40" providerId="ADAL" clId="{80D4E734-020D-4C1F-A028-1B9E9B483F9A}" dt="2021-05-25T08:49:49.640" v="8367" actId="790"/>
          <ac:spMkLst>
            <pc:docMk/>
            <pc:sldMk cId="511254166" sldId="10364"/>
            <ac:spMk id="96" creationId="{8D78B14F-64C7-43F3-8AF6-03F038FEC429}"/>
          </ac:spMkLst>
        </pc:spChg>
        <pc:spChg chg="mod">
          <ac:chgData name="Aude Van de WIELE" userId="7317e673-04dd-415c-a4d7-718682339b40" providerId="ADAL" clId="{80D4E734-020D-4C1F-A028-1B9E9B483F9A}" dt="2021-05-25T08:49:49.642" v="8368" actId="790"/>
          <ac:spMkLst>
            <pc:docMk/>
            <pc:sldMk cId="511254166" sldId="10364"/>
            <ac:spMk id="103" creationId="{F2635A05-557C-4DF8-9DAB-C0A75150008D}"/>
          </ac:spMkLst>
        </pc:spChg>
        <pc:spChg chg="mod">
          <ac:chgData name="Aude Van de WIELE" userId="7317e673-04dd-415c-a4d7-718682339b40" providerId="ADAL" clId="{80D4E734-020D-4C1F-A028-1B9E9B483F9A}" dt="2021-05-25T08:49:49.643" v="8369" actId="790"/>
          <ac:spMkLst>
            <pc:docMk/>
            <pc:sldMk cId="511254166" sldId="10364"/>
            <ac:spMk id="104" creationId="{1AA4E0C4-1C43-4B17-A6A7-3CBF5A7A550C}"/>
          </ac:spMkLst>
        </pc:spChg>
        <pc:spChg chg="mod">
          <ac:chgData name="Aude Van de WIELE" userId="7317e673-04dd-415c-a4d7-718682339b40" providerId="ADAL" clId="{80D4E734-020D-4C1F-A028-1B9E9B483F9A}" dt="2021-05-25T08:49:49.630" v="8356" actId="790"/>
          <ac:spMkLst>
            <pc:docMk/>
            <pc:sldMk cId="511254166" sldId="10364"/>
            <ac:spMk id="110" creationId="{D112EAE9-1C24-4AF0-B3DD-273BF2FF5A59}"/>
          </ac:spMkLst>
        </pc:spChg>
        <pc:spChg chg="del">
          <ac:chgData name="Aude Van de WIELE" userId="7317e673-04dd-415c-a4d7-718682339b40" providerId="ADAL" clId="{80D4E734-020D-4C1F-A028-1B9E9B483F9A}" dt="2021-05-25T07:55:33.261" v="6846" actId="478"/>
          <ac:spMkLst>
            <pc:docMk/>
            <pc:sldMk cId="511254166" sldId="10364"/>
            <ac:spMk id="111" creationId="{9B916422-AB4B-4397-9CE1-E4BDD0AED7FE}"/>
          </ac:spMkLst>
        </pc:spChg>
        <pc:spChg chg="mod">
          <ac:chgData name="Aude Van de WIELE" userId="7317e673-04dd-415c-a4d7-718682339b40" providerId="ADAL" clId="{80D4E734-020D-4C1F-A028-1B9E9B483F9A}" dt="2021-05-25T08:49:49.644" v="8370" actId="790"/>
          <ac:spMkLst>
            <pc:docMk/>
            <pc:sldMk cId="511254166" sldId="10364"/>
            <ac:spMk id="115" creationId="{DC7E2D8A-29A3-44C4-8371-FF818D017905}"/>
          </ac:spMkLst>
        </pc:spChg>
        <pc:spChg chg="mod">
          <ac:chgData name="Aude Van de WIELE" userId="7317e673-04dd-415c-a4d7-718682339b40" providerId="ADAL" clId="{80D4E734-020D-4C1F-A028-1B9E9B483F9A}" dt="2021-05-25T08:49:49.646" v="8371" actId="790"/>
          <ac:spMkLst>
            <pc:docMk/>
            <pc:sldMk cId="511254166" sldId="10364"/>
            <ac:spMk id="116" creationId="{0FD3FE0D-C57C-45A0-B908-600B41E06491}"/>
          </ac:spMkLst>
        </pc:spChg>
        <pc:spChg chg="mod">
          <ac:chgData name="Aude Van de WIELE" userId="7317e673-04dd-415c-a4d7-718682339b40" providerId="ADAL" clId="{80D4E734-020D-4C1F-A028-1B9E9B483F9A}" dt="2021-05-25T08:49:49.647" v="8372" actId="790"/>
          <ac:spMkLst>
            <pc:docMk/>
            <pc:sldMk cId="511254166" sldId="10364"/>
            <ac:spMk id="121" creationId="{E99EBA96-FB36-49CA-ACEA-74F5EC949F8F}"/>
          </ac:spMkLst>
        </pc:spChg>
        <pc:spChg chg="mod">
          <ac:chgData name="Aude Van de WIELE" userId="7317e673-04dd-415c-a4d7-718682339b40" providerId="ADAL" clId="{80D4E734-020D-4C1F-A028-1B9E9B483F9A}" dt="2021-05-25T08:49:49.648" v="8373" actId="790"/>
          <ac:spMkLst>
            <pc:docMk/>
            <pc:sldMk cId="511254166" sldId="10364"/>
            <ac:spMk id="122" creationId="{42742870-E854-4251-A47C-41413DEDB0F1}"/>
          </ac:spMkLst>
        </pc:spChg>
        <pc:spChg chg="mod">
          <ac:chgData name="Aude Van de WIELE" userId="7317e673-04dd-415c-a4d7-718682339b40" providerId="ADAL" clId="{80D4E734-020D-4C1F-A028-1B9E9B483F9A}" dt="2021-05-25T08:49:49.648" v="8374" actId="790"/>
          <ac:spMkLst>
            <pc:docMk/>
            <pc:sldMk cId="511254166" sldId="10364"/>
            <ac:spMk id="123" creationId="{D96542B9-EDC6-4ED8-A3C6-D367FDA0E05C}"/>
          </ac:spMkLst>
        </pc:spChg>
        <pc:spChg chg="mod">
          <ac:chgData name="Aude Van de WIELE" userId="7317e673-04dd-415c-a4d7-718682339b40" providerId="ADAL" clId="{80D4E734-020D-4C1F-A028-1B9E9B483F9A}" dt="2021-05-25T08:49:49.630" v="8357" actId="790"/>
          <ac:spMkLst>
            <pc:docMk/>
            <pc:sldMk cId="511254166" sldId="10364"/>
            <ac:spMk id="132" creationId="{1A3DE5F6-DC50-4B3E-8712-4F7931E9D3D4}"/>
          </ac:spMkLst>
        </pc:spChg>
        <pc:spChg chg="mod">
          <ac:chgData name="Aude Van de WIELE" userId="7317e673-04dd-415c-a4d7-718682339b40" providerId="ADAL" clId="{80D4E734-020D-4C1F-A028-1B9E9B483F9A}" dt="2021-05-25T08:49:49.631" v="8358" actId="790"/>
          <ac:spMkLst>
            <pc:docMk/>
            <pc:sldMk cId="511254166" sldId="10364"/>
            <ac:spMk id="133" creationId="{DC661DF3-2B60-4258-8A3C-6DA55E7974BD}"/>
          </ac:spMkLst>
        </pc:spChg>
        <pc:spChg chg="mod">
          <ac:chgData name="Aude Van de WIELE" userId="7317e673-04dd-415c-a4d7-718682339b40" providerId="ADAL" clId="{80D4E734-020D-4C1F-A028-1B9E9B483F9A}" dt="2021-05-25T08:49:49.632" v="8359" actId="790"/>
          <ac:spMkLst>
            <pc:docMk/>
            <pc:sldMk cId="511254166" sldId="10364"/>
            <ac:spMk id="134" creationId="{D5795A40-7B7E-4315-876A-A38D6610B661}"/>
          </ac:spMkLst>
        </pc:spChg>
        <pc:spChg chg="mod">
          <ac:chgData name="Aude Van de WIELE" userId="7317e673-04dd-415c-a4d7-718682339b40" providerId="ADAL" clId="{80D4E734-020D-4C1F-A028-1B9E9B483F9A}" dt="2021-05-25T08:49:49.649" v="8375" actId="790"/>
          <ac:spMkLst>
            <pc:docMk/>
            <pc:sldMk cId="511254166" sldId="10364"/>
            <ac:spMk id="151" creationId="{945919F5-1F6F-4979-90CA-397384E59334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09:36:20.635" v="9944" actId="14100"/>
        <pc:sldMkLst>
          <pc:docMk/>
          <pc:sldMk cId="3481177109" sldId="10365"/>
        </pc:sldMkLst>
        <pc:spChg chg="mod">
          <ac:chgData name="Aude Van de WIELE" userId="7317e673-04dd-415c-a4d7-718682339b40" providerId="ADAL" clId="{80D4E734-020D-4C1F-A028-1B9E9B483F9A}" dt="2021-05-25T08:49:49.720" v="8445" actId="790"/>
          <ac:spMkLst>
            <pc:docMk/>
            <pc:sldMk cId="3481177109" sldId="10365"/>
            <ac:spMk id="2" creationId="{806A24BD-A309-4114-BCBE-1F8520216A75}"/>
          </ac:spMkLst>
        </pc:spChg>
        <pc:spChg chg="mod">
          <ac:chgData name="Aude Van de WIELE" userId="7317e673-04dd-415c-a4d7-718682339b40" providerId="ADAL" clId="{80D4E734-020D-4C1F-A028-1B9E9B483F9A}" dt="2021-05-25T08:49:49.751" v="8478" actId="790"/>
          <ac:spMkLst>
            <pc:docMk/>
            <pc:sldMk cId="3481177109" sldId="10365"/>
            <ac:spMk id="5" creationId="{13E5CBFB-209B-4F56-956E-E99A02FE36C6}"/>
          </ac:spMkLst>
        </pc:spChg>
        <pc:spChg chg="mod">
          <ac:chgData name="Aude Van de WIELE" userId="7317e673-04dd-415c-a4d7-718682339b40" providerId="ADAL" clId="{80D4E734-020D-4C1F-A028-1B9E9B483F9A}" dt="2021-05-25T08:49:49.721" v="8446" actId="790"/>
          <ac:spMkLst>
            <pc:docMk/>
            <pc:sldMk cId="3481177109" sldId="10365"/>
            <ac:spMk id="6" creationId="{4E6E5141-7FBC-4E06-91AB-778C41045C7B}"/>
          </ac:spMkLst>
        </pc:spChg>
        <pc:spChg chg="mod">
          <ac:chgData name="Aude Van de WIELE" userId="7317e673-04dd-415c-a4d7-718682339b40" providerId="ADAL" clId="{80D4E734-020D-4C1F-A028-1B9E9B483F9A}" dt="2021-05-25T08:49:49.722" v="8447" actId="790"/>
          <ac:spMkLst>
            <pc:docMk/>
            <pc:sldMk cId="3481177109" sldId="10365"/>
            <ac:spMk id="7" creationId="{8D09AD6F-BFA9-4E94-83DF-0661F98B9019}"/>
          </ac:spMkLst>
        </pc:spChg>
        <pc:spChg chg="mod">
          <ac:chgData name="Aude Van de WIELE" userId="7317e673-04dd-415c-a4d7-718682339b40" providerId="ADAL" clId="{80D4E734-020D-4C1F-A028-1B9E9B483F9A}" dt="2021-05-25T08:49:49.723" v="8448" actId="790"/>
          <ac:spMkLst>
            <pc:docMk/>
            <pc:sldMk cId="3481177109" sldId="10365"/>
            <ac:spMk id="8" creationId="{77A429D6-B3A3-42B0-BAD3-1B353FC28B08}"/>
          </ac:spMkLst>
        </pc:spChg>
        <pc:spChg chg="mod">
          <ac:chgData name="Aude Van de WIELE" userId="7317e673-04dd-415c-a4d7-718682339b40" providerId="ADAL" clId="{80D4E734-020D-4C1F-A028-1B9E9B483F9A}" dt="2021-05-25T08:49:49.725" v="8449" actId="790"/>
          <ac:spMkLst>
            <pc:docMk/>
            <pc:sldMk cId="3481177109" sldId="10365"/>
            <ac:spMk id="9" creationId="{C1790DA0-3655-475E-9CEE-4FBE153BB3F2}"/>
          </ac:spMkLst>
        </pc:spChg>
        <pc:spChg chg="mod">
          <ac:chgData name="Aude Van de WIELE" userId="7317e673-04dd-415c-a4d7-718682339b40" providerId="ADAL" clId="{80D4E734-020D-4C1F-A028-1B9E9B483F9A}" dt="2021-05-25T08:49:49.746" v="8472" actId="790"/>
          <ac:spMkLst>
            <pc:docMk/>
            <pc:sldMk cId="3481177109" sldId="10365"/>
            <ac:spMk id="12" creationId="{D8C440F0-5663-4EAC-8964-248F32036591}"/>
          </ac:spMkLst>
        </pc:spChg>
        <pc:spChg chg="mod">
          <ac:chgData name="Aude Van de WIELE" userId="7317e673-04dd-415c-a4d7-718682339b40" providerId="ADAL" clId="{80D4E734-020D-4C1F-A028-1B9E9B483F9A}" dt="2021-05-25T08:49:49.753" v="8480" actId="790"/>
          <ac:spMkLst>
            <pc:docMk/>
            <pc:sldMk cId="3481177109" sldId="10365"/>
            <ac:spMk id="13" creationId="{58C15C1C-7B0D-4DD0-BF55-D67B02416600}"/>
          </ac:spMkLst>
        </pc:spChg>
        <pc:spChg chg="mod">
          <ac:chgData name="Aude Van de WIELE" userId="7317e673-04dd-415c-a4d7-718682339b40" providerId="ADAL" clId="{80D4E734-020D-4C1F-A028-1B9E9B483F9A}" dt="2021-05-25T08:49:49.726" v="8450" actId="790"/>
          <ac:spMkLst>
            <pc:docMk/>
            <pc:sldMk cId="3481177109" sldId="10365"/>
            <ac:spMk id="14" creationId="{B8D529E0-B56F-42E9-9413-B04B09D1BC35}"/>
          </ac:spMkLst>
        </pc:spChg>
        <pc:spChg chg="mod">
          <ac:chgData name="Aude Van de WIELE" userId="7317e673-04dd-415c-a4d7-718682339b40" providerId="ADAL" clId="{80D4E734-020D-4C1F-A028-1B9E9B483F9A}" dt="2021-05-25T08:49:49.727" v="8451" actId="790"/>
          <ac:spMkLst>
            <pc:docMk/>
            <pc:sldMk cId="3481177109" sldId="10365"/>
            <ac:spMk id="15" creationId="{BD17CEC9-4298-48C2-A07A-B6966AE88E71}"/>
          </ac:spMkLst>
        </pc:spChg>
        <pc:spChg chg="mod">
          <ac:chgData name="Aude Van de WIELE" userId="7317e673-04dd-415c-a4d7-718682339b40" providerId="ADAL" clId="{80D4E734-020D-4C1F-A028-1B9E9B483F9A}" dt="2021-05-25T08:49:49.728" v="8452" actId="790"/>
          <ac:spMkLst>
            <pc:docMk/>
            <pc:sldMk cId="3481177109" sldId="10365"/>
            <ac:spMk id="16" creationId="{B886F05E-DC2A-4B28-89B2-BAEBC0591254}"/>
          </ac:spMkLst>
        </pc:spChg>
        <pc:spChg chg="mod">
          <ac:chgData name="Aude Van de WIELE" userId="7317e673-04dd-415c-a4d7-718682339b40" providerId="ADAL" clId="{80D4E734-020D-4C1F-A028-1B9E9B483F9A}" dt="2021-05-25T08:49:49.729" v="8453" actId="790"/>
          <ac:spMkLst>
            <pc:docMk/>
            <pc:sldMk cId="3481177109" sldId="10365"/>
            <ac:spMk id="17" creationId="{FD9BD1A8-B133-4ED7-9402-59FE79DE23EC}"/>
          </ac:spMkLst>
        </pc:spChg>
        <pc:spChg chg="mod">
          <ac:chgData name="Aude Van de WIELE" userId="7317e673-04dd-415c-a4d7-718682339b40" providerId="ADAL" clId="{80D4E734-020D-4C1F-A028-1B9E9B483F9A}" dt="2021-05-25T08:49:49.729" v="8454" actId="790"/>
          <ac:spMkLst>
            <pc:docMk/>
            <pc:sldMk cId="3481177109" sldId="10365"/>
            <ac:spMk id="18" creationId="{4373ED4E-D1FF-488D-BEFE-69AC7F528CA4}"/>
          </ac:spMkLst>
        </pc:spChg>
        <pc:spChg chg="mod">
          <ac:chgData name="Aude Van de WIELE" userId="7317e673-04dd-415c-a4d7-718682339b40" providerId="ADAL" clId="{80D4E734-020D-4C1F-A028-1B9E9B483F9A}" dt="2021-05-25T08:49:49.730" v="8455" actId="790"/>
          <ac:spMkLst>
            <pc:docMk/>
            <pc:sldMk cId="3481177109" sldId="10365"/>
            <ac:spMk id="19" creationId="{BC760060-ABD5-412D-8045-EF97EC543341}"/>
          </ac:spMkLst>
        </pc:spChg>
        <pc:spChg chg="mod">
          <ac:chgData name="Aude Van de WIELE" userId="7317e673-04dd-415c-a4d7-718682339b40" providerId="ADAL" clId="{80D4E734-020D-4C1F-A028-1B9E9B483F9A}" dt="2021-05-25T08:49:49.731" v="8456" actId="790"/>
          <ac:spMkLst>
            <pc:docMk/>
            <pc:sldMk cId="3481177109" sldId="10365"/>
            <ac:spMk id="20" creationId="{388BECFA-DD33-47B0-8DCF-EFF4D8D243DB}"/>
          </ac:spMkLst>
        </pc:spChg>
        <pc:spChg chg="mod">
          <ac:chgData name="Aude Van de WIELE" userId="7317e673-04dd-415c-a4d7-718682339b40" providerId="ADAL" clId="{80D4E734-020D-4C1F-A028-1B9E9B483F9A}" dt="2021-05-25T08:49:49.732" v="8457" actId="790"/>
          <ac:spMkLst>
            <pc:docMk/>
            <pc:sldMk cId="3481177109" sldId="10365"/>
            <ac:spMk id="21" creationId="{F90680D2-5DA9-4AD6-8E64-FE8EA1410BC0}"/>
          </ac:spMkLst>
        </pc:spChg>
        <pc:spChg chg="mod">
          <ac:chgData name="Aude Van de WIELE" userId="7317e673-04dd-415c-a4d7-718682339b40" providerId="ADAL" clId="{80D4E734-020D-4C1F-A028-1B9E9B483F9A}" dt="2021-05-25T08:49:49.732" v="8458" actId="790"/>
          <ac:spMkLst>
            <pc:docMk/>
            <pc:sldMk cId="3481177109" sldId="10365"/>
            <ac:spMk id="22" creationId="{F54D9E31-C7E1-4619-8AB2-AF3F57E25D8C}"/>
          </ac:spMkLst>
        </pc:spChg>
        <pc:spChg chg="mod">
          <ac:chgData name="Aude Van de WIELE" userId="7317e673-04dd-415c-a4d7-718682339b40" providerId="ADAL" clId="{80D4E734-020D-4C1F-A028-1B9E9B483F9A}" dt="2021-05-25T08:49:49.734" v="8459" actId="790"/>
          <ac:spMkLst>
            <pc:docMk/>
            <pc:sldMk cId="3481177109" sldId="10365"/>
            <ac:spMk id="23" creationId="{E942F219-9D1D-4A73-B97D-EC48BD66AF15}"/>
          </ac:spMkLst>
        </pc:spChg>
        <pc:spChg chg="mod">
          <ac:chgData name="Aude Van de WIELE" userId="7317e673-04dd-415c-a4d7-718682339b40" providerId="ADAL" clId="{80D4E734-020D-4C1F-A028-1B9E9B483F9A}" dt="2021-05-25T08:49:49.735" v="8460" actId="790"/>
          <ac:spMkLst>
            <pc:docMk/>
            <pc:sldMk cId="3481177109" sldId="10365"/>
            <ac:spMk id="24" creationId="{C2FF144E-7C70-4F58-8690-D05F03C7B743}"/>
          </ac:spMkLst>
        </pc:spChg>
        <pc:spChg chg="mod">
          <ac:chgData name="Aude Van de WIELE" userId="7317e673-04dd-415c-a4d7-718682339b40" providerId="ADAL" clId="{80D4E734-020D-4C1F-A028-1B9E9B483F9A}" dt="2021-05-25T08:49:49.748" v="8474" actId="790"/>
          <ac:spMkLst>
            <pc:docMk/>
            <pc:sldMk cId="3481177109" sldId="10365"/>
            <ac:spMk id="25" creationId="{C1B3C97E-2579-4FEA-8968-54D9B75B13A4}"/>
          </ac:spMkLst>
        </pc:spChg>
        <pc:spChg chg="mod">
          <ac:chgData name="Aude Van de WIELE" userId="7317e673-04dd-415c-a4d7-718682339b40" providerId="ADAL" clId="{80D4E734-020D-4C1F-A028-1B9E9B483F9A}" dt="2021-05-25T08:49:49.736" v="8461" actId="790"/>
          <ac:spMkLst>
            <pc:docMk/>
            <pc:sldMk cId="3481177109" sldId="10365"/>
            <ac:spMk id="43" creationId="{C59EF210-5B50-40A7-A6B4-DDAD799020BA}"/>
          </ac:spMkLst>
        </pc:spChg>
        <pc:spChg chg="mod">
          <ac:chgData name="Aude Van de WIELE" userId="7317e673-04dd-415c-a4d7-718682339b40" providerId="ADAL" clId="{80D4E734-020D-4C1F-A028-1B9E9B483F9A}" dt="2021-05-25T08:49:49.737" v="8462" actId="790"/>
          <ac:spMkLst>
            <pc:docMk/>
            <pc:sldMk cId="3481177109" sldId="10365"/>
            <ac:spMk id="45" creationId="{A30046C9-7286-442E-B5D2-9182D2F71B12}"/>
          </ac:spMkLst>
        </pc:spChg>
        <pc:spChg chg="mod">
          <ac:chgData name="Aude Van de WIELE" userId="7317e673-04dd-415c-a4d7-718682339b40" providerId="ADAL" clId="{80D4E734-020D-4C1F-A028-1B9E9B483F9A}" dt="2021-05-25T08:49:49.738" v="8463" actId="790"/>
          <ac:spMkLst>
            <pc:docMk/>
            <pc:sldMk cId="3481177109" sldId="10365"/>
            <ac:spMk id="56" creationId="{F37F2C7C-4651-46F1-B548-F75D15102AEA}"/>
          </ac:spMkLst>
        </pc:spChg>
        <pc:spChg chg="mod">
          <ac:chgData name="Aude Van de WIELE" userId="7317e673-04dd-415c-a4d7-718682339b40" providerId="ADAL" clId="{80D4E734-020D-4C1F-A028-1B9E9B483F9A}" dt="2021-05-25T08:49:49.739" v="8464" actId="790"/>
          <ac:spMkLst>
            <pc:docMk/>
            <pc:sldMk cId="3481177109" sldId="10365"/>
            <ac:spMk id="61" creationId="{86718822-02E2-4F9A-B0D6-5A2C08F0884A}"/>
          </ac:spMkLst>
        </pc:spChg>
        <pc:spChg chg="mod">
          <ac:chgData name="Aude Van de WIELE" userId="7317e673-04dd-415c-a4d7-718682339b40" providerId="ADAL" clId="{80D4E734-020D-4C1F-A028-1B9E9B483F9A}" dt="2021-05-25T08:49:49.740" v="8465" actId="790"/>
          <ac:spMkLst>
            <pc:docMk/>
            <pc:sldMk cId="3481177109" sldId="10365"/>
            <ac:spMk id="74" creationId="{DD8929B4-3FC0-4A80-B005-DECF49E5F03E}"/>
          </ac:spMkLst>
        </pc:spChg>
        <pc:spChg chg="mod">
          <ac:chgData name="Aude Van de WIELE" userId="7317e673-04dd-415c-a4d7-718682339b40" providerId="ADAL" clId="{80D4E734-020D-4C1F-A028-1B9E9B483F9A}" dt="2021-05-25T08:49:49.773" v="8499" actId="790"/>
          <ac:spMkLst>
            <pc:docMk/>
            <pc:sldMk cId="3481177109" sldId="10365"/>
            <ac:spMk id="84" creationId="{F3F4C91C-743E-4444-AECA-0D6841521732}"/>
          </ac:spMkLst>
        </pc:spChg>
        <pc:spChg chg="mod">
          <ac:chgData name="Aude Van de WIELE" userId="7317e673-04dd-415c-a4d7-718682339b40" providerId="ADAL" clId="{80D4E734-020D-4C1F-A028-1B9E9B483F9A}" dt="2021-05-25T08:49:49.742" v="8466" actId="790"/>
          <ac:spMkLst>
            <pc:docMk/>
            <pc:sldMk cId="3481177109" sldId="10365"/>
            <ac:spMk id="85" creationId="{2D2CFECC-1DAE-45A7-BC98-5B3781537431}"/>
          </ac:spMkLst>
        </pc:spChg>
        <pc:spChg chg="mod">
          <ac:chgData name="Aude Van de WIELE" userId="7317e673-04dd-415c-a4d7-718682339b40" providerId="ADAL" clId="{80D4E734-020D-4C1F-A028-1B9E9B483F9A}" dt="2021-05-25T08:49:49.774" v="8500" actId="790"/>
          <ac:spMkLst>
            <pc:docMk/>
            <pc:sldMk cId="3481177109" sldId="10365"/>
            <ac:spMk id="86" creationId="{652974F9-0AD6-4BFB-AFF5-C0C3FC6F5C77}"/>
          </ac:spMkLst>
        </pc:spChg>
        <pc:spChg chg="mod">
          <ac:chgData name="Aude Van de WIELE" userId="7317e673-04dd-415c-a4d7-718682339b40" providerId="ADAL" clId="{80D4E734-020D-4C1F-A028-1B9E9B483F9A}" dt="2021-05-25T08:49:49.758" v="8483" actId="790"/>
          <ac:spMkLst>
            <pc:docMk/>
            <pc:sldMk cId="3481177109" sldId="10365"/>
            <ac:spMk id="89" creationId="{B47A3DB8-9139-48EF-A1D5-332DFA662FE1}"/>
          </ac:spMkLst>
        </pc:spChg>
        <pc:spChg chg="mod">
          <ac:chgData name="Aude Van de WIELE" userId="7317e673-04dd-415c-a4d7-718682339b40" providerId="ADAL" clId="{80D4E734-020D-4C1F-A028-1B9E9B483F9A}" dt="2021-05-25T08:49:49.759" v="8484" actId="790"/>
          <ac:spMkLst>
            <pc:docMk/>
            <pc:sldMk cId="3481177109" sldId="10365"/>
            <ac:spMk id="90" creationId="{C66CF5E1-B6D0-4D96-BE64-98F9EAE4B375}"/>
          </ac:spMkLst>
        </pc:spChg>
        <pc:spChg chg="mod">
          <ac:chgData name="Aude Van de WIELE" userId="7317e673-04dd-415c-a4d7-718682339b40" providerId="ADAL" clId="{80D4E734-020D-4C1F-A028-1B9E9B483F9A}" dt="2021-05-25T08:49:49.743" v="8467" actId="790"/>
          <ac:spMkLst>
            <pc:docMk/>
            <pc:sldMk cId="3481177109" sldId="10365"/>
            <ac:spMk id="91" creationId="{7D5F7D48-55E2-4B20-BCE4-576336C3156A}"/>
          </ac:spMkLst>
        </pc:spChg>
        <pc:spChg chg="mod">
          <ac:chgData name="Aude Van de WIELE" userId="7317e673-04dd-415c-a4d7-718682339b40" providerId="ADAL" clId="{80D4E734-020D-4C1F-A028-1B9E9B483F9A}" dt="2021-05-25T08:49:49.760" v="8485" actId="790"/>
          <ac:spMkLst>
            <pc:docMk/>
            <pc:sldMk cId="3481177109" sldId="10365"/>
            <ac:spMk id="92" creationId="{67FF61C9-18C3-4997-B836-C9A4DE5C0B1A}"/>
          </ac:spMkLst>
        </pc:spChg>
        <pc:spChg chg="mod">
          <ac:chgData name="Aude Van de WIELE" userId="7317e673-04dd-415c-a4d7-718682339b40" providerId="ADAL" clId="{80D4E734-020D-4C1F-A028-1B9E9B483F9A}" dt="2021-05-25T08:49:49.775" v="8501" actId="790"/>
          <ac:spMkLst>
            <pc:docMk/>
            <pc:sldMk cId="3481177109" sldId="10365"/>
            <ac:spMk id="98" creationId="{9CBF02D0-6E6C-443D-BD28-BADFE60CE816}"/>
          </ac:spMkLst>
        </pc:spChg>
        <pc:spChg chg="mod">
          <ac:chgData name="Aude Van de WIELE" userId="7317e673-04dd-415c-a4d7-718682339b40" providerId="ADAL" clId="{80D4E734-020D-4C1F-A028-1B9E9B483F9A}" dt="2021-05-25T08:49:49.770" v="8495" actId="790"/>
          <ac:spMkLst>
            <pc:docMk/>
            <pc:sldMk cId="3481177109" sldId="10365"/>
            <ac:spMk id="99" creationId="{0728E46C-D470-4FB7-8B67-755380F9091D}"/>
          </ac:spMkLst>
        </pc:spChg>
        <pc:spChg chg="mod">
          <ac:chgData name="Aude Van de WIELE" userId="7317e673-04dd-415c-a4d7-718682339b40" providerId="ADAL" clId="{80D4E734-020D-4C1F-A028-1B9E9B483F9A}" dt="2021-05-25T09:36:20.635" v="9944" actId="14100"/>
          <ac:spMkLst>
            <pc:docMk/>
            <pc:sldMk cId="3481177109" sldId="10365"/>
            <ac:spMk id="100" creationId="{0A7B2634-5762-429B-9619-91CD098127C7}"/>
          </ac:spMkLst>
        </pc:spChg>
        <pc:spChg chg="mod">
          <ac:chgData name="Aude Van de WIELE" userId="7317e673-04dd-415c-a4d7-718682339b40" providerId="ADAL" clId="{80D4E734-020D-4C1F-A028-1B9E9B483F9A}" dt="2021-05-25T08:49:49.761" v="8486" actId="790"/>
          <ac:spMkLst>
            <pc:docMk/>
            <pc:sldMk cId="3481177109" sldId="10365"/>
            <ac:spMk id="101" creationId="{47E5C573-2437-48D3-83C0-A62206F6167E}"/>
          </ac:spMkLst>
        </pc:spChg>
        <pc:spChg chg="mod">
          <ac:chgData name="Aude Van de WIELE" userId="7317e673-04dd-415c-a4d7-718682339b40" providerId="ADAL" clId="{80D4E734-020D-4C1F-A028-1B9E9B483F9A}" dt="2021-05-25T08:49:49.762" v="8487" actId="790"/>
          <ac:spMkLst>
            <pc:docMk/>
            <pc:sldMk cId="3481177109" sldId="10365"/>
            <ac:spMk id="102" creationId="{0EF112A9-506F-46B1-918C-7F37B35F42FF}"/>
          </ac:spMkLst>
        </pc:spChg>
        <pc:spChg chg="mod">
          <ac:chgData name="Aude Van de WIELE" userId="7317e673-04dd-415c-a4d7-718682339b40" providerId="ADAL" clId="{80D4E734-020D-4C1F-A028-1B9E9B483F9A}" dt="2021-05-25T08:49:49.744" v="8468" actId="790"/>
          <ac:spMkLst>
            <pc:docMk/>
            <pc:sldMk cId="3481177109" sldId="10365"/>
            <ac:spMk id="110" creationId="{D112EAE9-1C24-4AF0-B3DD-273BF2FF5A59}"/>
          </ac:spMkLst>
        </pc:spChg>
        <pc:spChg chg="del">
          <ac:chgData name="Aude Van de WIELE" userId="7317e673-04dd-415c-a4d7-718682339b40" providerId="ADAL" clId="{80D4E734-020D-4C1F-A028-1B9E9B483F9A}" dt="2021-05-25T07:55:41.854" v="6850" actId="478"/>
          <ac:spMkLst>
            <pc:docMk/>
            <pc:sldMk cId="3481177109" sldId="10365"/>
            <ac:spMk id="111" creationId="{9B916422-AB4B-4397-9CE1-E4BDD0AED7FE}"/>
          </ac:spMkLst>
        </pc:spChg>
        <pc:spChg chg="del mod">
          <ac:chgData name="Aude Van de WIELE" userId="7317e673-04dd-415c-a4d7-718682339b40" providerId="ADAL" clId="{80D4E734-020D-4C1F-A028-1B9E9B483F9A}" dt="2021-05-25T09:36:10.429" v="9942" actId="478"/>
          <ac:spMkLst>
            <pc:docMk/>
            <pc:sldMk cId="3481177109" sldId="10365"/>
            <ac:spMk id="112" creationId="{ABC009E4-55F3-444B-BF59-1D6AF27B8ADA}"/>
          </ac:spMkLst>
        </pc:spChg>
        <pc:spChg chg="mod">
          <ac:chgData name="Aude Van de WIELE" userId="7317e673-04dd-415c-a4d7-718682339b40" providerId="ADAL" clId="{80D4E734-020D-4C1F-A028-1B9E9B483F9A}" dt="2021-05-25T08:49:49.763" v="8488" actId="790"/>
          <ac:spMkLst>
            <pc:docMk/>
            <pc:sldMk cId="3481177109" sldId="10365"/>
            <ac:spMk id="113" creationId="{8AB2B031-55F1-456D-A367-EF921531395A}"/>
          </ac:spMkLst>
        </pc:spChg>
        <pc:spChg chg="mod">
          <ac:chgData name="Aude Van de WIELE" userId="7317e673-04dd-415c-a4d7-718682339b40" providerId="ADAL" clId="{80D4E734-020D-4C1F-A028-1B9E9B483F9A}" dt="2021-05-25T08:49:49.765" v="8489" actId="790"/>
          <ac:spMkLst>
            <pc:docMk/>
            <pc:sldMk cId="3481177109" sldId="10365"/>
            <ac:spMk id="114" creationId="{06590379-9741-4022-9133-AEC4DE224495}"/>
          </ac:spMkLst>
        </pc:spChg>
        <pc:spChg chg="del mod">
          <ac:chgData name="Aude Van de WIELE" userId="7317e673-04dd-415c-a4d7-718682339b40" providerId="ADAL" clId="{80D4E734-020D-4C1F-A028-1B9E9B483F9A}" dt="2021-05-25T09:36:10.429" v="9942" actId="478"/>
          <ac:spMkLst>
            <pc:docMk/>
            <pc:sldMk cId="3481177109" sldId="10365"/>
            <ac:spMk id="115" creationId="{28E51741-D57B-49B8-9576-30A70003A743}"/>
          </ac:spMkLst>
        </pc:spChg>
        <pc:spChg chg="mod">
          <ac:chgData name="Aude Van de WIELE" userId="7317e673-04dd-415c-a4d7-718682339b40" providerId="ADAL" clId="{80D4E734-020D-4C1F-A028-1B9E9B483F9A}" dt="2021-05-25T09:35:16.732" v="9937"/>
          <ac:spMkLst>
            <pc:docMk/>
            <pc:sldMk cId="3481177109" sldId="10365"/>
            <ac:spMk id="116" creationId="{8488B800-D5B0-40AD-B3A9-9617E760D44D}"/>
          </ac:spMkLst>
        </pc:spChg>
        <pc:spChg chg="mod">
          <ac:chgData name="Aude Van de WIELE" userId="7317e673-04dd-415c-a4d7-718682339b40" providerId="ADAL" clId="{80D4E734-020D-4C1F-A028-1B9E9B483F9A}" dt="2021-05-25T08:49:49.777" v="8503" actId="790"/>
          <ac:spMkLst>
            <pc:docMk/>
            <pc:sldMk cId="3481177109" sldId="10365"/>
            <ac:spMk id="117" creationId="{77034DE9-3F95-4BC1-95CC-263F30060D00}"/>
          </ac:spMkLst>
        </pc:spChg>
        <pc:spChg chg="mod">
          <ac:chgData name="Aude Van de WIELE" userId="7317e673-04dd-415c-a4d7-718682339b40" providerId="ADAL" clId="{80D4E734-020D-4C1F-A028-1B9E9B483F9A}" dt="2021-05-25T08:49:49.766" v="8490" actId="790"/>
          <ac:spMkLst>
            <pc:docMk/>
            <pc:sldMk cId="3481177109" sldId="10365"/>
            <ac:spMk id="118" creationId="{0F1E82D3-6478-4EF5-A235-941CA9AC7A9D}"/>
          </ac:spMkLst>
        </pc:spChg>
        <pc:spChg chg="mod">
          <ac:chgData name="Aude Van de WIELE" userId="7317e673-04dd-415c-a4d7-718682339b40" providerId="ADAL" clId="{80D4E734-020D-4C1F-A028-1B9E9B483F9A}" dt="2021-05-25T08:49:49.767" v="8491" actId="790"/>
          <ac:spMkLst>
            <pc:docMk/>
            <pc:sldMk cId="3481177109" sldId="10365"/>
            <ac:spMk id="119" creationId="{B0FD5BF3-7754-42E2-BF6F-CA0E68277C45}"/>
          </ac:spMkLst>
        </pc:spChg>
        <pc:spChg chg="mod">
          <ac:chgData name="Aude Van de WIELE" userId="7317e673-04dd-415c-a4d7-718682339b40" providerId="ADAL" clId="{80D4E734-020D-4C1F-A028-1B9E9B483F9A}" dt="2021-05-25T08:49:49.767" v="8492" actId="790"/>
          <ac:spMkLst>
            <pc:docMk/>
            <pc:sldMk cId="3481177109" sldId="10365"/>
            <ac:spMk id="120" creationId="{69E76E60-0392-4B3A-80C6-9F0B75723180}"/>
          </ac:spMkLst>
        </pc:spChg>
        <pc:spChg chg="mod">
          <ac:chgData name="Aude Van de WIELE" userId="7317e673-04dd-415c-a4d7-718682339b40" providerId="ADAL" clId="{80D4E734-020D-4C1F-A028-1B9E9B483F9A}" dt="2021-05-25T08:49:49.778" v="8504" actId="790"/>
          <ac:spMkLst>
            <pc:docMk/>
            <pc:sldMk cId="3481177109" sldId="10365"/>
            <ac:spMk id="121" creationId="{265FE9A3-D207-4BB8-971F-530C2E3230F4}"/>
          </ac:spMkLst>
        </pc:spChg>
        <pc:spChg chg="mod">
          <ac:chgData name="Aude Van de WIELE" userId="7317e673-04dd-415c-a4d7-718682339b40" providerId="ADAL" clId="{80D4E734-020D-4C1F-A028-1B9E9B483F9A}" dt="2021-05-25T08:49:49.778" v="8505" actId="790"/>
          <ac:spMkLst>
            <pc:docMk/>
            <pc:sldMk cId="3481177109" sldId="10365"/>
            <ac:spMk id="122" creationId="{DA342386-E20C-4E21-A3A1-6FC6959D5FE0}"/>
          </ac:spMkLst>
        </pc:spChg>
        <pc:spChg chg="mod">
          <ac:chgData name="Aude Van de WIELE" userId="7317e673-04dd-415c-a4d7-718682339b40" providerId="ADAL" clId="{80D4E734-020D-4C1F-A028-1B9E9B483F9A}" dt="2021-05-25T08:49:49.779" v="8506" actId="790"/>
          <ac:spMkLst>
            <pc:docMk/>
            <pc:sldMk cId="3481177109" sldId="10365"/>
            <ac:spMk id="123" creationId="{7B7FAAE5-C0B8-4F91-A90C-5DA3A9782F98}"/>
          </ac:spMkLst>
        </pc:spChg>
        <pc:spChg chg="add mod">
          <ac:chgData name="Aude Van de WIELE" userId="7317e673-04dd-415c-a4d7-718682339b40" providerId="ADAL" clId="{80D4E734-020D-4C1F-A028-1B9E9B483F9A}" dt="2021-05-25T08:49:49.781" v="8507" actId="790"/>
          <ac:spMkLst>
            <pc:docMk/>
            <pc:sldMk cId="3481177109" sldId="10365"/>
            <ac:spMk id="124" creationId="{1A60081D-F278-496C-B815-C8CABE62B38F}"/>
          </ac:spMkLst>
        </pc:spChg>
        <pc:spChg chg="mod">
          <ac:chgData name="Aude Van de WIELE" userId="7317e673-04dd-415c-a4d7-718682339b40" providerId="ADAL" clId="{80D4E734-020D-4C1F-A028-1B9E9B483F9A}" dt="2021-05-25T08:49:49.744" v="8469" actId="790"/>
          <ac:spMkLst>
            <pc:docMk/>
            <pc:sldMk cId="3481177109" sldId="10365"/>
            <ac:spMk id="132" creationId="{1A3DE5F6-DC50-4B3E-8712-4F7931E9D3D4}"/>
          </ac:spMkLst>
        </pc:spChg>
        <pc:spChg chg="mod">
          <ac:chgData name="Aude Van de WIELE" userId="7317e673-04dd-415c-a4d7-718682339b40" providerId="ADAL" clId="{80D4E734-020D-4C1F-A028-1B9E9B483F9A}" dt="2021-05-25T08:49:49.745" v="8470" actId="790"/>
          <ac:spMkLst>
            <pc:docMk/>
            <pc:sldMk cId="3481177109" sldId="10365"/>
            <ac:spMk id="133" creationId="{DC661DF3-2B60-4258-8A3C-6DA55E7974BD}"/>
          </ac:spMkLst>
        </pc:spChg>
        <pc:spChg chg="mod">
          <ac:chgData name="Aude Van de WIELE" userId="7317e673-04dd-415c-a4d7-718682339b40" providerId="ADAL" clId="{80D4E734-020D-4C1F-A028-1B9E9B483F9A}" dt="2021-05-25T08:49:49.746" v="8471" actId="790"/>
          <ac:spMkLst>
            <pc:docMk/>
            <pc:sldMk cId="3481177109" sldId="10365"/>
            <ac:spMk id="134" creationId="{D5795A40-7B7E-4315-876A-A38D6610B661}"/>
          </ac:spMkLst>
        </pc:spChg>
        <pc:spChg chg="mod">
          <ac:chgData name="Aude Van de WIELE" userId="7317e673-04dd-415c-a4d7-718682339b40" providerId="ADAL" clId="{80D4E734-020D-4C1F-A028-1B9E9B483F9A}" dt="2021-05-25T08:49:49.750" v="8477" actId="790"/>
          <ac:spMkLst>
            <pc:docMk/>
            <pc:sldMk cId="3481177109" sldId="10365"/>
            <ac:spMk id="135" creationId="{B7212166-4E04-47ED-9DA9-C1A5FADABEC1}"/>
          </ac:spMkLst>
        </pc:spChg>
        <pc:spChg chg="mod">
          <ac:chgData name="Aude Van de WIELE" userId="7317e673-04dd-415c-a4d7-718682339b40" providerId="ADAL" clId="{80D4E734-020D-4C1F-A028-1B9E9B483F9A}" dt="2021-05-25T08:49:49.747" v="8473" actId="790"/>
          <ac:spMkLst>
            <pc:docMk/>
            <pc:sldMk cId="3481177109" sldId="10365"/>
            <ac:spMk id="137" creationId="{AF67C425-8708-4B3E-9B2A-E5C85D989489}"/>
          </ac:spMkLst>
        </pc:spChg>
        <pc:spChg chg="mod">
          <ac:chgData name="Aude Van de WIELE" userId="7317e673-04dd-415c-a4d7-718682339b40" providerId="ADAL" clId="{80D4E734-020D-4C1F-A028-1B9E9B483F9A}" dt="2021-05-25T08:49:49.752" v="8479" actId="790"/>
          <ac:spMkLst>
            <pc:docMk/>
            <pc:sldMk cId="3481177109" sldId="10365"/>
            <ac:spMk id="144" creationId="{A12B0534-66DF-4768-8E62-0C019FA2B7A6}"/>
          </ac:spMkLst>
        </pc:spChg>
        <pc:spChg chg="mod">
          <ac:chgData name="Aude Van de WIELE" userId="7317e673-04dd-415c-a4d7-718682339b40" providerId="ADAL" clId="{80D4E734-020D-4C1F-A028-1B9E9B483F9A}" dt="2021-05-25T08:49:49.754" v="8481" actId="790"/>
          <ac:spMkLst>
            <pc:docMk/>
            <pc:sldMk cId="3481177109" sldId="10365"/>
            <ac:spMk id="147" creationId="{73C5DEEC-4B4E-4C6B-9A80-A63E183C6F34}"/>
          </ac:spMkLst>
        </pc:spChg>
        <pc:spChg chg="mod">
          <ac:chgData name="Aude Van de WIELE" userId="7317e673-04dd-415c-a4d7-718682339b40" providerId="ADAL" clId="{80D4E734-020D-4C1F-A028-1B9E9B483F9A}" dt="2021-05-25T09:36:12.840" v="9943" actId="14100"/>
          <ac:spMkLst>
            <pc:docMk/>
            <pc:sldMk cId="3481177109" sldId="10365"/>
            <ac:spMk id="151" creationId="{945919F5-1F6F-4979-90CA-397384E59334}"/>
          </ac:spMkLst>
        </pc:spChg>
        <pc:spChg chg="del mod">
          <ac:chgData name="Aude Van de WIELE" userId="7317e673-04dd-415c-a4d7-718682339b40" providerId="ADAL" clId="{80D4E734-020D-4C1F-A028-1B9E9B483F9A}" dt="2021-05-25T09:36:10.429" v="9942" actId="478"/>
          <ac:spMkLst>
            <pc:docMk/>
            <pc:sldMk cId="3481177109" sldId="10365"/>
            <ac:spMk id="152" creationId="{2D48A5B8-C2CC-4F3A-B66A-BB33615C274E}"/>
          </ac:spMkLst>
        </pc:spChg>
        <pc:spChg chg="mod">
          <ac:chgData name="Aude Van de WIELE" userId="7317e673-04dd-415c-a4d7-718682339b40" providerId="ADAL" clId="{80D4E734-020D-4C1F-A028-1B9E9B483F9A}" dt="2021-05-25T08:49:49.749" v="8475" actId="790"/>
          <ac:spMkLst>
            <pc:docMk/>
            <pc:sldMk cId="3481177109" sldId="10365"/>
            <ac:spMk id="160" creationId="{A8A94204-7780-44D2-9F69-E6D88D81CCC9}"/>
          </ac:spMkLst>
        </pc:spChg>
        <pc:spChg chg="mod">
          <ac:chgData name="Aude Van de WIELE" userId="7317e673-04dd-415c-a4d7-718682339b40" providerId="ADAL" clId="{80D4E734-020D-4C1F-A028-1B9E9B483F9A}" dt="2021-05-25T08:49:49.750" v="8476" actId="790"/>
          <ac:spMkLst>
            <pc:docMk/>
            <pc:sldMk cId="3481177109" sldId="10365"/>
            <ac:spMk id="162" creationId="{7C77AD03-3049-47E7-8DA8-DA2A5283D6AD}"/>
          </ac:spMkLst>
        </pc:spChg>
        <pc:spChg chg="mod">
          <ac:chgData name="Aude Van de WIELE" userId="7317e673-04dd-415c-a4d7-718682339b40" providerId="ADAL" clId="{80D4E734-020D-4C1F-A028-1B9E9B483F9A}" dt="2021-05-25T08:49:49.757" v="8482" actId="790"/>
          <ac:spMkLst>
            <pc:docMk/>
            <pc:sldMk cId="3481177109" sldId="10365"/>
            <ac:spMk id="174" creationId="{12430AE9-0E10-42CC-990F-04E0A3759BB1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08:49:49.259" v="8006" actId="790"/>
        <pc:sldMkLst>
          <pc:docMk/>
          <pc:sldMk cId="330702512" sldId="10369"/>
        </pc:sldMkLst>
        <pc:spChg chg="mod">
          <ac:chgData name="Aude Van de WIELE" userId="7317e673-04dd-415c-a4d7-718682339b40" providerId="ADAL" clId="{80D4E734-020D-4C1F-A028-1B9E9B483F9A}" dt="2021-05-25T08:49:49.245" v="7995" actId="790"/>
          <ac:spMkLst>
            <pc:docMk/>
            <pc:sldMk cId="330702512" sldId="10369"/>
            <ac:spMk id="6" creationId="{32B89438-97F1-4509-BECF-A6230F6CA9E2}"/>
          </ac:spMkLst>
        </pc:spChg>
        <pc:spChg chg="del">
          <ac:chgData name="Aude Van de WIELE" userId="7317e673-04dd-415c-a4d7-718682339b40" providerId="ADAL" clId="{80D4E734-020D-4C1F-A028-1B9E9B483F9A}" dt="2021-05-24T13:55:19.885" v="4356" actId="478"/>
          <ac:spMkLst>
            <pc:docMk/>
            <pc:sldMk cId="330702512" sldId="10369"/>
            <ac:spMk id="7" creationId="{A08FD634-B1E0-4CD7-9E4C-B07F748E8EDF}"/>
          </ac:spMkLst>
        </pc:spChg>
        <pc:spChg chg="del">
          <ac:chgData name="Aude Van de WIELE" userId="7317e673-04dd-415c-a4d7-718682339b40" providerId="ADAL" clId="{80D4E734-020D-4C1F-A028-1B9E9B483F9A}" dt="2021-05-24T13:55:19.885" v="4356" actId="478"/>
          <ac:spMkLst>
            <pc:docMk/>
            <pc:sldMk cId="330702512" sldId="10369"/>
            <ac:spMk id="8" creationId="{DB8F7A95-5BC4-428F-9B48-30CF639B22BC}"/>
          </ac:spMkLst>
        </pc:spChg>
        <pc:spChg chg="del">
          <ac:chgData name="Aude Van de WIELE" userId="7317e673-04dd-415c-a4d7-718682339b40" providerId="ADAL" clId="{80D4E734-020D-4C1F-A028-1B9E9B483F9A}" dt="2021-05-24T13:55:19.885" v="4356" actId="478"/>
          <ac:spMkLst>
            <pc:docMk/>
            <pc:sldMk cId="330702512" sldId="10369"/>
            <ac:spMk id="9" creationId="{C8EE7641-24CB-4213-99EB-847946D0175C}"/>
          </ac:spMkLst>
        </pc:spChg>
        <pc:spChg chg="mod">
          <ac:chgData name="Aude Van de WIELE" userId="7317e673-04dd-415c-a4d7-718682339b40" providerId="ADAL" clId="{80D4E734-020D-4C1F-A028-1B9E9B483F9A}" dt="2021-05-25T08:49:49.244" v="7994" actId="790"/>
          <ac:spMkLst>
            <pc:docMk/>
            <pc:sldMk cId="330702512" sldId="10369"/>
            <ac:spMk id="11" creationId="{2FAA6969-30E2-4F5B-AA44-122B557F5258}"/>
          </ac:spMkLst>
        </pc:spChg>
        <pc:spChg chg="mod">
          <ac:chgData name="Aude Van de WIELE" userId="7317e673-04dd-415c-a4d7-718682339b40" providerId="ADAL" clId="{80D4E734-020D-4C1F-A028-1B9E9B483F9A}" dt="2021-05-25T08:49:49.246" v="7996" actId="790"/>
          <ac:spMkLst>
            <pc:docMk/>
            <pc:sldMk cId="330702512" sldId="10369"/>
            <ac:spMk id="12" creationId="{CAE59F71-3A11-45D3-91ED-BB7437BAF64F}"/>
          </ac:spMkLst>
        </pc:spChg>
        <pc:spChg chg="mod">
          <ac:chgData name="Aude Van de WIELE" userId="7317e673-04dd-415c-a4d7-718682339b40" providerId="ADAL" clId="{80D4E734-020D-4C1F-A028-1B9E9B483F9A}" dt="2021-05-25T08:49:49.247" v="7997" actId="790"/>
          <ac:spMkLst>
            <pc:docMk/>
            <pc:sldMk cId="330702512" sldId="10369"/>
            <ac:spMk id="13" creationId="{97B677E7-CA86-4646-8BEC-57A1E9192264}"/>
          </ac:spMkLst>
        </pc:spChg>
        <pc:spChg chg="mod">
          <ac:chgData name="Aude Van de WIELE" userId="7317e673-04dd-415c-a4d7-718682339b40" providerId="ADAL" clId="{80D4E734-020D-4C1F-A028-1B9E9B483F9A}" dt="2021-05-25T08:49:49.248" v="7998" actId="790"/>
          <ac:spMkLst>
            <pc:docMk/>
            <pc:sldMk cId="330702512" sldId="10369"/>
            <ac:spMk id="14" creationId="{26947D34-5013-4CB6-A3AF-DC921FFA9E88}"/>
          </ac:spMkLst>
        </pc:spChg>
        <pc:spChg chg="mod">
          <ac:chgData name="Aude Van de WIELE" userId="7317e673-04dd-415c-a4d7-718682339b40" providerId="ADAL" clId="{80D4E734-020D-4C1F-A028-1B9E9B483F9A}" dt="2021-05-25T08:49:49.250" v="7999" actId="790"/>
          <ac:spMkLst>
            <pc:docMk/>
            <pc:sldMk cId="330702512" sldId="10369"/>
            <ac:spMk id="19" creationId="{75701275-CEEB-4CD6-A422-23B5CDE34CE8}"/>
          </ac:spMkLst>
        </pc:spChg>
        <pc:spChg chg="mod">
          <ac:chgData name="Aude Van de WIELE" userId="7317e673-04dd-415c-a4d7-718682339b40" providerId="ADAL" clId="{80D4E734-020D-4C1F-A028-1B9E9B483F9A}" dt="2021-05-25T08:49:49.253" v="8000" actId="790"/>
          <ac:spMkLst>
            <pc:docMk/>
            <pc:sldMk cId="330702512" sldId="10369"/>
            <ac:spMk id="20" creationId="{92817152-9E7E-48EA-8A2A-34E92B8BB36D}"/>
          </ac:spMkLst>
        </pc:spChg>
        <pc:spChg chg="mod">
          <ac:chgData name="Aude Van de WIELE" userId="7317e673-04dd-415c-a4d7-718682339b40" providerId="ADAL" clId="{80D4E734-020D-4C1F-A028-1B9E9B483F9A}" dt="2021-05-25T08:49:49.254" v="8001" actId="790"/>
          <ac:spMkLst>
            <pc:docMk/>
            <pc:sldMk cId="330702512" sldId="10369"/>
            <ac:spMk id="22" creationId="{8C718D08-FD9C-424C-BFCF-B4F41BB37EAA}"/>
          </ac:spMkLst>
        </pc:spChg>
        <pc:spChg chg="mod">
          <ac:chgData name="Aude Van de WIELE" userId="7317e673-04dd-415c-a4d7-718682339b40" providerId="ADAL" clId="{80D4E734-020D-4C1F-A028-1B9E9B483F9A}" dt="2021-05-25T08:49:49.256" v="8002" actId="790"/>
          <ac:spMkLst>
            <pc:docMk/>
            <pc:sldMk cId="330702512" sldId="10369"/>
            <ac:spMk id="23" creationId="{BDFC3A87-06F7-4E23-859D-9C7286A7466E}"/>
          </ac:spMkLst>
        </pc:spChg>
        <pc:spChg chg="del mod">
          <ac:chgData name="Aude Van de WIELE" userId="7317e673-04dd-415c-a4d7-718682339b40" providerId="ADAL" clId="{80D4E734-020D-4C1F-A028-1B9E9B483F9A}" dt="2021-05-24T16:11:11.822" v="6200" actId="478"/>
          <ac:spMkLst>
            <pc:docMk/>
            <pc:sldMk cId="330702512" sldId="10369"/>
            <ac:spMk id="25" creationId="{66B5B82A-38EB-47E4-B4A1-53762F7FFB3D}"/>
          </ac:spMkLst>
        </pc:spChg>
        <pc:spChg chg="add mod">
          <ac:chgData name="Aude Van de WIELE" userId="7317e673-04dd-415c-a4d7-718682339b40" providerId="ADAL" clId="{80D4E734-020D-4C1F-A028-1B9E9B483F9A}" dt="2021-05-25T08:49:49.259" v="8006" actId="790"/>
          <ac:spMkLst>
            <pc:docMk/>
            <pc:sldMk cId="330702512" sldId="10369"/>
            <ac:spMk id="25" creationId="{6BD77359-D5F1-4455-8996-ECFACFC50F6D}"/>
          </ac:spMkLst>
        </pc:spChg>
        <pc:spChg chg="add mod">
          <ac:chgData name="Aude Van de WIELE" userId="7317e673-04dd-415c-a4d7-718682339b40" providerId="ADAL" clId="{80D4E734-020D-4C1F-A028-1B9E9B483F9A}" dt="2021-05-25T08:49:49.257" v="8003" actId="790"/>
          <ac:spMkLst>
            <pc:docMk/>
            <pc:sldMk cId="330702512" sldId="10369"/>
            <ac:spMk id="27" creationId="{2F8704B1-979B-4AEE-9C6A-D7E18ED9BF30}"/>
          </ac:spMkLst>
        </pc:spChg>
        <pc:spChg chg="add mod">
          <ac:chgData name="Aude Van de WIELE" userId="7317e673-04dd-415c-a4d7-718682339b40" providerId="ADAL" clId="{80D4E734-020D-4C1F-A028-1B9E9B483F9A}" dt="2021-05-25T08:49:49.258" v="8004" actId="790"/>
          <ac:spMkLst>
            <pc:docMk/>
            <pc:sldMk cId="330702512" sldId="10369"/>
            <ac:spMk id="28" creationId="{4031FE7F-8E48-42BA-A723-86E4FF433E47}"/>
          </ac:spMkLst>
        </pc:spChg>
        <pc:spChg chg="add mod">
          <ac:chgData name="Aude Van de WIELE" userId="7317e673-04dd-415c-a4d7-718682339b40" providerId="ADAL" clId="{80D4E734-020D-4C1F-A028-1B9E9B483F9A}" dt="2021-05-25T08:49:49.258" v="8005" actId="790"/>
          <ac:spMkLst>
            <pc:docMk/>
            <pc:sldMk cId="330702512" sldId="10369"/>
            <ac:spMk id="29" creationId="{D8C804FD-6C95-42A0-97FA-0CBF12409DEE}"/>
          </ac:spMkLst>
        </pc:spChg>
        <pc:spChg chg="add del mod">
          <ac:chgData name="Aude Van de WIELE" userId="7317e673-04dd-415c-a4d7-718682339b40" providerId="ADAL" clId="{80D4E734-020D-4C1F-A028-1B9E9B483F9A}" dt="2021-05-24T16:10:57.396" v="6199" actId="478"/>
          <ac:spMkLst>
            <pc:docMk/>
            <pc:sldMk cId="330702512" sldId="10369"/>
            <ac:spMk id="31" creationId="{8A336634-F71D-4FDA-ACAA-AED7C7327572}"/>
          </ac:spMkLst>
        </pc:spChg>
        <pc:spChg chg="add del mod">
          <ac:chgData name="Aude Van de WIELE" userId="7317e673-04dd-415c-a4d7-718682339b40" providerId="ADAL" clId="{80D4E734-020D-4C1F-A028-1B9E9B483F9A}" dt="2021-05-25T07:54:38.667" v="6804" actId="478"/>
          <ac:spMkLst>
            <pc:docMk/>
            <pc:sldMk cId="330702512" sldId="10369"/>
            <ac:spMk id="32" creationId="{57F35976-5489-4569-93E9-9115B8015AF7}"/>
          </ac:spMkLst>
        </pc:spChg>
        <pc:picChg chg="del">
          <ac:chgData name="Aude Van de WIELE" userId="7317e673-04dd-415c-a4d7-718682339b40" providerId="ADAL" clId="{80D4E734-020D-4C1F-A028-1B9E9B483F9A}" dt="2021-05-24T14:31:12.894" v="4867" actId="478"/>
          <ac:picMkLst>
            <pc:docMk/>
            <pc:sldMk cId="330702512" sldId="10369"/>
            <ac:picMk id="5" creationId="{AF4D6AC8-ACF7-4F08-B0F3-20D7B4C1C6D6}"/>
          </ac:picMkLst>
        </pc:picChg>
        <pc:picChg chg="add mod">
          <ac:chgData name="Aude Van de WIELE" userId="7317e673-04dd-415c-a4d7-718682339b40" providerId="ADAL" clId="{80D4E734-020D-4C1F-A028-1B9E9B483F9A}" dt="2021-05-24T14:31:13.098" v="4868"/>
          <ac:picMkLst>
            <pc:docMk/>
            <pc:sldMk cId="330702512" sldId="10369"/>
            <ac:picMk id="30" creationId="{D5BD9868-C3B4-4375-9499-0DD5C9254E8E}"/>
          </ac:picMkLst>
        </pc:picChg>
      </pc:sldChg>
      <pc:sldChg chg="addSp delSp modSp mod ord">
        <pc:chgData name="Aude Van de WIELE" userId="7317e673-04dd-415c-a4d7-718682339b40" providerId="ADAL" clId="{80D4E734-020D-4C1F-A028-1B9E9B483F9A}" dt="2021-05-25T08:49:49.336" v="8058" actId="790"/>
        <pc:sldMkLst>
          <pc:docMk/>
          <pc:sldMk cId="2955721572" sldId="10370"/>
        </pc:sldMkLst>
        <pc:spChg chg="mod">
          <ac:chgData name="Aude Van de WIELE" userId="7317e673-04dd-415c-a4d7-718682339b40" providerId="ADAL" clId="{80D4E734-020D-4C1F-A028-1B9E9B483F9A}" dt="2021-05-25T08:49:49.264" v="8009" actId="790"/>
          <ac:spMkLst>
            <pc:docMk/>
            <pc:sldMk cId="2955721572" sldId="10370"/>
            <ac:spMk id="7" creationId="{F59BFDDC-63FF-4CDF-9FA9-5814668C648B}"/>
          </ac:spMkLst>
        </pc:spChg>
        <pc:spChg chg="mod">
          <ac:chgData name="Aude Van de WIELE" userId="7317e673-04dd-415c-a4d7-718682339b40" providerId="ADAL" clId="{80D4E734-020D-4C1F-A028-1B9E9B483F9A}" dt="2021-05-25T08:49:49.268" v="8014" actId="790"/>
          <ac:spMkLst>
            <pc:docMk/>
            <pc:sldMk cId="2955721572" sldId="10370"/>
            <ac:spMk id="15" creationId="{DD93510C-F212-4B9C-B4AA-7688C56AA57B}"/>
          </ac:spMkLst>
        </pc:spChg>
        <pc:spChg chg="mod">
          <ac:chgData name="Aude Van de WIELE" userId="7317e673-04dd-415c-a4d7-718682339b40" providerId="ADAL" clId="{80D4E734-020D-4C1F-A028-1B9E9B483F9A}" dt="2021-05-25T08:49:49.268" v="8015" actId="790"/>
          <ac:spMkLst>
            <pc:docMk/>
            <pc:sldMk cId="2955721572" sldId="10370"/>
            <ac:spMk id="16" creationId="{DD2F7369-0B19-45E4-9E7D-D7A9CBB36DBF}"/>
          </ac:spMkLst>
        </pc:spChg>
        <pc:spChg chg="mod">
          <ac:chgData name="Aude Van de WIELE" userId="7317e673-04dd-415c-a4d7-718682339b40" providerId="ADAL" clId="{80D4E734-020D-4C1F-A028-1B9E9B483F9A}" dt="2021-05-25T08:49:49.269" v="8016" actId="790"/>
          <ac:spMkLst>
            <pc:docMk/>
            <pc:sldMk cId="2955721572" sldId="10370"/>
            <ac:spMk id="17" creationId="{35A2D263-F1E8-4336-805C-3A3C90578B9A}"/>
          </ac:spMkLst>
        </pc:spChg>
        <pc:spChg chg="mod">
          <ac:chgData name="Aude Van de WIELE" userId="7317e673-04dd-415c-a4d7-718682339b40" providerId="ADAL" clId="{80D4E734-020D-4C1F-A028-1B9E9B483F9A}" dt="2021-05-25T08:49:49.264" v="8010" actId="790"/>
          <ac:spMkLst>
            <pc:docMk/>
            <pc:sldMk cId="2955721572" sldId="10370"/>
            <ac:spMk id="30" creationId="{E210ECA7-4EC0-43B6-8991-3EE93D92563A}"/>
          </ac:spMkLst>
        </pc:spChg>
        <pc:spChg chg="mod">
          <ac:chgData name="Aude Van de WIELE" userId="7317e673-04dd-415c-a4d7-718682339b40" providerId="ADAL" clId="{80D4E734-020D-4C1F-A028-1B9E9B483F9A}" dt="2021-05-25T08:49:49.265" v="8011" actId="790"/>
          <ac:spMkLst>
            <pc:docMk/>
            <pc:sldMk cId="2955721572" sldId="10370"/>
            <ac:spMk id="32" creationId="{3D718E0A-6EB5-4EB6-A469-033DED5862ED}"/>
          </ac:spMkLst>
        </pc:spChg>
        <pc:spChg chg="mod">
          <ac:chgData name="Aude Van de WIELE" userId="7317e673-04dd-415c-a4d7-718682339b40" providerId="ADAL" clId="{80D4E734-020D-4C1F-A028-1B9E9B483F9A}" dt="2021-05-25T08:49:49.266" v="8012" actId="790"/>
          <ac:spMkLst>
            <pc:docMk/>
            <pc:sldMk cId="2955721572" sldId="10370"/>
            <ac:spMk id="33" creationId="{1425BC84-9BD6-40AE-8AA7-A449BE2DC074}"/>
          </ac:spMkLst>
        </pc:spChg>
        <pc:spChg chg="mod">
          <ac:chgData name="Aude Van de WIELE" userId="7317e673-04dd-415c-a4d7-718682339b40" providerId="ADAL" clId="{80D4E734-020D-4C1F-A028-1B9E9B483F9A}" dt="2021-05-25T08:49:49.267" v="8013" actId="790"/>
          <ac:spMkLst>
            <pc:docMk/>
            <pc:sldMk cId="2955721572" sldId="10370"/>
            <ac:spMk id="34" creationId="{96BFF402-7EE2-467A-A9EE-FC406996A703}"/>
          </ac:spMkLst>
        </pc:spChg>
        <pc:spChg chg="mod">
          <ac:chgData name="Aude Van de WIELE" userId="7317e673-04dd-415c-a4d7-718682339b40" providerId="ADAL" clId="{80D4E734-020D-4C1F-A028-1B9E9B483F9A}" dt="2021-05-25T08:49:49.272" v="8017" actId="790"/>
          <ac:spMkLst>
            <pc:docMk/>
            <pc:sldMk cId="2955721572" sldId="10370"/>
            <ac:spMk id="35" creationId="{6C60F887-CB3D-485B-83EC-84CECF5356FB}"/>
          </ac:spMkLst>
        </pc:spChg>
        <pc:spChg chg="mod">
          <ac:chgData name="Aude Van de WIELE" userId="7317e673-04dd-415c-a4d7-718682339b40" providerId="ADAL" clId="{80D4E734-020D-4C1F-A028-1B9E9B483F9A}" dt="2021-05-25T08:49:49.273" v="8018" actId="790"/>
          <ac:spMkLst>
            <pc:docMk/>
            <pc:sldMk cId="2955721572" sldId="10370"/>
            <ac:spMk id="36" creationId="{5703B377-341D-4D43-B2C4-5232194F7B9E}"/>
          </ac:spMkLst>
        </pc:spChg>
        <pc:spChg chg="del">
          <ac:chgData name="Aude Van de WIELE" userId="7317e673-04dd-415c-a4d7-718682339b40" providerId="ADAL" clId="{80D4E734-020D-4C1F-A028-1B9E9B483F9A}" dt="2021-05-25T07:54:43.329" v="6806" actId="478"/>
          <ac:spMkLst>
            <pc:docMk/>
            <pc:sldMk cId="2955721572" sldId="10370"/>
            <ac:spMk id="39" creationId="{E13A1A57-0854-4DD7-BDFE-7BC27BD1A81F}"/>
          </ac:spMkLst>
        </pc:spChg>
        <pc:spChg chg="mod">
          <ac:chgData name="Aude Van de WIELE" userId="7317e673-04dd-415c-a4d7-718682339b40" providerId="ADAL" clId="{80D4E734-020D-4C1F-A028-1B9E9B483F9A}" dt="2021-05-25T08:49:49.260" v="8007" actId="790"/>
          <ac:spMkLst>
            <pc:docMk/>
            <pc:sldMk cId="2955721572" sldId="10370"/>
            <ac:spMk id="40" creationId="{60EEC324-686F-4C2B-9A86-1FD757E7F20F}"/>
          </ac:spMkLst>
        </pc:spChg>
        <pc:spChg chg="mod">
          <ac:chgData name="Aude Van de WIELE" userId="7317e673-04dd-415c-a4d7-718682339b40" providerId="ADAL" clId="{80D4E734-020D-4C1F-A028-1B9E9B483F9A}" dt="2021-05-25T08:49:49.261" v="8008" actId="790"/>
          <ac:spMkLst>
            <pc:docMk/>
            <pc:sldMk cId="2955721572" sldId="10370"/>
            <ac:spMk id="41" creationId="{6D8FCCD4-2F77-45E9-9A16-B87F84493FF2}"/>
          </ac:spMkLst>
        </pc:spChg>
        <pc:spChg chg="mod">
          <ac:chgData name="Aude Van de WIELE" userId="7317e673-04dd-415c-a4d7-718682339b40" providerId="ADAL" clId="{80D4E734-020D-4C1F-A028-1B9E9B483F9A}" dt="2021-05-25T08:49:49.280" v="8019" actId="790"/>
          <ac:spMkLst>
            <pc:docMk/>
            <pc:sldMk cId="2955721572" sldId="10370"/>
            <ac:spMk id="51" creationId="{770595CE-56EA-4DD0-846F-DD1BB6804D57}"/>
          </ac:spMkLst>
        </pc:spChg>
        <pc:spChg chg="mod">
          <ac:chgData name="Aude Van de WIELE" userId="7317e673-04dd-415c-a4d7-718682339b40" providerId="ADAL" clId="{80D4E734-020D-4C1F-A028-1B9E9B483F9A}" dt="2021-05-25T08:49:49.288" v="8020" actId="790"/>
          <ac:spMkLst>
            <pc:docMk/>
            <pc:sldMk cId="2955721572" sldId="10370"/>
            <ac:spMk id="68" creationId="{CB225B7D-E3BA-4249-84F2-8A9A346D1009}"/>
          </ac:spMkLst>
        </pc:spChg>
        <pc:spChg chg="mod">
          <ac:chgData name="Aude Van de WIELE" userId="7317e673-04dd-415c-a4d7-718682339b40" providerId="ADAL" clId="{80D4E734-020D-4C1F-A028-1B9E9B483F9A}" dt="2021-05-25T08:49:49.289" v="8021" actId="790"/>
          <ac:spMkLst>
            <pc:docMk/>
            <pc:sldMk cId="2955721572" sldId="10370"/>
            <ac:spMk id="69" creationId="{4CD8C0CC-AD38-47AC-900B-0B49D1D26529}"/>
          </ac:spMkLst>
        </pc:spChg>
        <pc:spChg chg="mod">
          <ac:chgData name="Aude Van de WIELE" userId="7317e673-04dd-415c-a4d7-718682339b40" providerId="ADAL" clId="{80D4E734-020D-4C1F-A028-1B9E9B483F9A}" dt="2021-05-25T08:49:49.290" v="8022" actId="790"/>
          <ac:spMkLst>
            <pc:docMk/>
            <pc:sldMk cId="2955721572" sldId="10370"/>
            <ac:spMk id="70" creationId="{EE95C7F8-515C-463E-8B44-7A99A290449C}"/>
          </ac:spMkLst>
        </pc:spChg>
        <pc:spChg chg="mod">
          <ac:chgData name="Aude Van de WIELE" userId="7317e673-04dd-415c-a4d7-718682339b40" providerId="ADAL" clId="{80D4E734-020D-4C1F-A028-1B9E9B483F9A}" dt="2021-05-25T08:49:49.291" v="8023" actId="790"/>
          <ac:spMkLst>
            <pc:docMk/>
            <pc:sldMk cId="2955721572" sldId="10370"/>
            <ac:spMk id="71" creationId="{4DCA7A5D-8D39-4876-8242-00D476A95DFD}"/>
          </ac:spMkLst>
        </pc:spChg>
        <pc:spChg chg="mod">
          <ac:chgData name="Aude Van de WIELE" userId="7317e673-04dd-415c-a4d7-718682339b40" providerId="ADAL" clId="{80D4E734-020D-4C1F-A028-1B9E9B483F9A}" dt="2021-05-25T08:49:49.293" v="8024" actId="790"/>
          <ac:spMkLst>
            <pc:docMk/>
            <pc:sldMk cId="2955721572" sldId="10370"/>
            <ac:spMk id="72" creationId="{73813AF5-2244-4CD9-9242-D0A844407EEA}"/>
          </ac:spMkLst>
        </pc:spChg>
        <pc:spChg chg="mod">
          <ac:chgData name="Aude Van de WIELE" userId="7317e673-04dd-415c-a4d7-718682339b40" providerId="ADAL" clId="{80D4E734-020D-4C1F-A028-1B9E9B483F9A}" dt="2021-05-25T08:49:49.293" v="8025" actId="790"/>
          <ac:spMkLst>
            <pc:docMk/>
            <pc:sldMk cId="2955721572" sldId="10370"/>
            <ac:spMk id="73" creationId="{6F8B7784-0C35-461C-98F9-25894FE9E4D7}"/>
          </ac:spMkLst>
        </pc:spChg>
        <pc:spChg chg="mod">
          <ac:chgData name="Aude Van de WIELE" userId="7317e673-04dd-415c-a4d7-718682339b40" providerId="ADAL" clId="{80D4E734-020D-4C1F-A028-1B9E9B483F9A}" dt="2021-05-25T08:49:49.294" v="8026" actId="790"/>
          <ac:spMkLst>
            <pc:docMk/>
            <pc:sldMk cId="2955721572" sldId="10370"/>
            <ac:spMk id="75" creationId="{052AA076-442D-4A70-9110-9952620C7892}"/>
          </ac:spMkLst>
        </pc:spChg>
        <pc:spChg chg="mod">
          <ac:chgData name="Aude Van de WIELE" userId="7317e673-04dd-415c-a4d7-718682339b40" providerId="ADAL" clId="{80D4E734-020D-4C1F-A028-1B9E9B483F9A}" dt="2021-05-25T08:49:49.295" v="8027" actId="790"/>
          <ac:spMkLst>
            <pc:docMk/>
            <pc:sldMk cId="2955721572" sldId="10370"/>
            <ac:spMk id="76" creationId="{0CCE2D43-2F7B-4A75-BB81-6B42A1503859}"/>
          </ac:spMkLst>
        </pc:spChg>
        <pc:spChg chg="mod">
          <ac:chgData name="Aude Van de WIELE" userId="7317e673-04dd-415c-a4d7-718682339b40" providerId="ADAL" clId="{80D4E734-020D-4C1F-A028-1B9E9B483F9A}" dt="2021-05-25T08:49:49.296" v="8028" actId="790"/>
          <ac:spMkLst>
            <pc:docMk/>
            <pc:sldMk cId="2955721572" sldId="10370"/>
            <ac:spMk id="77" creationId="{AA2343ED-B79C-4D54-B7A9-305C67F4F72B}"/>
          </ac:spMkLst>
        </pc:spChg>
        <pc:spChg chg="mod">
          <ac:chgData name="Aude Van de WIELE" userId="7317e673-04dd-415c-a4d7-718682339b40" providerId="ADAL" clId="{80D4E734-020D-4C1F-A028-1B9E9B483F9A}" dt="2021-05-25T08:49:49.297" v="8029" actId="790"/>
          <ac:spMkLst>
            <pc:docMk/>
            <pc:sldMk cId="2955721572" sldId="10370"/>
            <ac:spMk id="78" creationId="{09EB7E70-E288-4D1F-874B-64A138590EE5}"/>
          </ac:spMkLst>
        </pc:spChg>
        <pc:spChg chg="mod">
          <ac:chgData name="Aude Van de WIELE" userId="7317e673-04dd-415c-a4d7-718682339b40" providerId="ADAL" clId="{80D4E734-020D-4C1F-A028-1B9E9B483F9A}" dt="2021-05-25T08:49:49.300" v="8030" actId="790"/>
          <ac:spMkLst>
            <pc:docMk/>
            <pc:sldMk cId="2955721572" sldId="10370"/>
            <ac:spMk id="87" creationId="{D71FFEC0-7794-4D28-981E-1403FA8895E5}"/>
          </ac:spMkLst>
        </pc:spChg>
        <pc:spChg chg="mod">
          <ac:chgData name="Aude Van de WIELE" userId="7317e673-04dd-415c-a4d7-718682339b40" providerId="ADAL" clId="{80D4E734-020D-4C1F-A028-1B9E9B483F9A}" dt="2021-05-25T08:49:49.302" v="8031" actId="790"/>
          <ac:spMkLst>
            <pc:docMk/>
            <pc:sldMk cId="2955721572" sldId="10370"/>
            <ac:spMk id="88" creationId="{DA06BE83-AD0A-48CF-B904-30432E68B274}"/>
          </ac:spMkLst>
        </pc:spChg>
        <pc:spChg chg="mod">
          <ac:chgData name="Aude Van de WIELE" userId="7317e673-04dd-415c-a4d7-718682339b40" providerId="ADAL" clId="{80D4E734-020D-4C1F-A028-1B9E9B483F9A}" dt="2021-05-25T08:49:49.303" v="8032" actId="790"/>
          <ac:spMkLst>
            <pc:docMk/>
            <pc:sldMk cId="2955721572" sldId="10370"/>
            <ac:spMk id="89" creationId="{005E1D50-BFC5-4CA1-B008-782BA0A20D2E}"/>
          </ac:spMkLst>
        </pc:spChg>
        <pc:spChg chg="mod">
          <ac:chgData name="Aude Van de WIELE" userId="7317e673-04dd-415c-a4d7-718682339b40" providerId="ADAL" clId="{80D4E734-020D-4C1F-A028-1B9E9B483F9A}" dt="2021-05-25T08:49:49.304" v="8033" actId="790"/>
          <ac:spMkLst>
            <pc:docMk/>
            <pc:sldMk cId="2955721572" sldId="10370"/>
            <ac:spMk id="90" creationId="{92D1D856-8175-4620-AD40-7791DEAEA0FE}"/>
          </ac:spMkLst>
        </pc:spChg>
        <pc:spChg chg="mod">
          <ac:chgData name="Aude Van de WIELE" userId="7317e673-04dd-415c-a4d7-718682339b40" providerId="ADAL" clId="{80D4E734-020D-4C1F-A028-1B9E9B483F9A}" dt="2021-05-25T08:49:49.306" v="8034" actId="790"/>
          <ac:spMkLst>
            <pc:docMk/>
            <pc:sldMk cId="2955721572" sldId="10370"/>
            <ac:spMk id="91" creationId="{EC8A4F76-FD93-4C6B-934A-FB7C1AC379E2}"/>
          </ac:spMkLst>
        </pc:spChg>
        <pc:spChg chg="mod">
          <ac:chgData name="Aude Van de WIELE" userId="7317e673-04dd-415c-a4d7-718682339b40" providerId="ADAL" clId="{80D4E734-020D-4C1F-A028-1B9E9B483F9A}" dt="2021-05-25T08:49:49.307" v="8035" actId="790"/>
          <ac:spMkLst>
            <pc:docMk/>
            <pc:sldMk cId="2955721572" sldId="10370"/>
            <ac:spMk id="92" creationId="{5DBD9F8B-563B-43A1-B3BB-A3552A3D3A79}"/>
          </ac:spMkLst>
        </pc:spChg>
        <pc:spChg chg="mod">
          <ac:chgData name="Aude Van de WIELE" userId="7317e673-04dd-415c-a4d7-718682339b40" providerId="ADAL" clId="{80D4E734-020D-4C1F-A028-1B9E9B483F9A}" dt="2021-05-25T08:49:49.308" v="8036" actId="790"/>
          <ac:spMkLst>
            <pc:docMk/>
            <pc:sldMk cId="2955721572" sldId="10370"/>
            <ac:spMk id="93" creationId="{DD0AA138-44E1-4579-83DC-80DCF5B37037}"/>
          </ac:spMkLst>
        </pc:spChg>
        <pc:spChg chg="mod">
          <ac:chgData name="Aude Van de WIELE" userId="7317e673-04dd-415c-a4d7-718682339b40" providerId="ADAL" clId="{80D4E734-020D-4C1F-A028-1B9E9B483F9A}" dt="2021-05-25T08:49:49.310" v="8037" actId="790"/>
          <ac:spMkLst>
            <pc:docMk/>
            <pc:sldMk cId="2955721572" sldId="10370"/>
            <ac:spMk id="95" creationId="{1FB352C0-1F8E-4E4D-A3F3-D87C6F1D5C4F}"/>
          </ac:spMkLst>
        </pc:spChg>
        <pc:spChg chg="mod">
          <ac:chgData name="Aude Van de WIELE" userId="7317e673-04dd-415c-a4d7-718682339b40" providerId="ADAL" clId="{80D4E734-020D-4C1F-A028-1B9E9B483F9A}" dt="2021-05-25T08:49:49.312" v="8038" actId="790"/>
          <ac:spMkLst>
            <pc:docMk/>
            <pc:sldMk cId="2955721572" sldId="10370"/>
            <ac:spMk id="97" creationId="{15DB12A6-B5E2-43FF-932E-F0EA8EE26E58}"/>
          </ac:spMkLst>
        </pc:spChg>
        <pc:spChg chg="mod">
          <ac:chgData name="Aude Van de WIELE" userId="7317e673-04dd-415c-a4d7-718682339b40" providerId="ADAL" clId="{80D4E734-020D-4C1F-A028-1B9E9B483F9A}" dt="2021-05-25T08:49:49.313" v="8039" actId="790"/>
          <ac:spMkLst>
            <pc:docMk/>
            <pc:sldMk cId="2955721572" sldId="10370"/>
            <ac:spMk id="99" creationId="{926DA456-7CF3-485F-BCBE-865D187117DA}"/>
          </ac:spMkLst>
        </pc:spChg>
        <pc:spChg chg="mod">
          <ac:chgData name="Aude Van de WIELE" userId="7317e673-04dd-415c-a4d7-718682339b40" providerId="ADAL" clId="{80D4E734-020D-4C1F-A028-1B9E9B483F9A}" dt="2021-05-25T08:49:49.314" v="8040" actId="790"/>
          <ac:spMkLst>
            <pc:docMk/>
            <pc:sldMk cId="2955721572" sldId="10370"/>
            <ac:spMk id="101" creationId="{7F7BB965-1646-4AC3-9773-7C202DC198CB}"/>
          </ac:spMkLst>
        </pc:spChg>
        <pc:spChg chg="mod">
          <ac:chgData name="Aude Van de WIELE" userId="7317e673-04dd-415c-a4d7-718682339b40" providerId="ADAL" clId="{80D4E734-020D-4C1F-A028-1B9E9B483F9A}" dt="2021-05-25T08:49:49.315" v="8041" actId="790"/>
          <ac:spMkLst>
            <pc:docMk/>
            <pc:sldMk cId="2955721572" sldId="10370"/>
            <ac:spMk id="103" creationId="{651785F5-4779-4A80-B920-961EC7066FA3}"/>
          </ac:spMkLst>
        </pc:spChg>
        <pc:spChg chg="mod">
          <ac:chgData name="Aude Van de WIELE" userId="7317e673-04dd-415c-a4d7-718682339b40" providerId="ADAL" clId="{80D4E734-020D-4C1F-A028-1B9E9B483F9A}" dt="2021-05-25T08:49:49.316" v="8042" actId="790"/>
          <ac:spMkLst>
            <pc:docMk/>
            <pc:sldMk cId="2955721572" sldId="10370"/>
            <ac:spMk id="105" creationId="{0ACAFE08-962E-4BC8-8D72-1E07950C5209}"/>
          </ac:spMkLst>
        </pc:spChg>
        <pc:spChg chg="mod">
          <ac:chgData name="Aude Van de WIELE" userId="7317e673-04dd-415c-a4d7-718682339b40" providerId="ADAL" clId="{80D4E734-020D-4C1F-A028-1B9E9B483F9A}" dt="2021-05-25T08:49:49.317" v="8043" actId="790"/>
          <ac:spMkLst>
            <pc:docMk/>
            <pc:sldMk cId="2955721572" sldId="10370"/>
            <ac:spMk id="106" creationId="{415C1887-4D6A-4BFA-A542-AB31F35B094F}"/>
          </ac:spMkLst>
        </pc:spChg>
        <pc:spChg chg="mod">
          <ac:chgData name="Aude Van de WIELE" userId="7317e673-04dd-415c-a4d7-718682339b40" providerId="ADAL" clId="{80D4E734-020D-4C1F-A028-1B9E9B483F9A}" dt="2021-05-25T08:49:49.318" v="8044" actId="790"/>
          <ac:spMkLst>
            <pc:docMk/>
            <pc:sldMk cId="2955721572" sldId="10370"/>
            <ac:spMk id="109" creationId="{36D5C66A-85B6-4A41-A70D-74703A42ADC6}"/>
          </ac:spMkLst>
        </pc:spChg>
        <pc:spChg chg="mod">
          <ac:chgData name="Aude Van de WIELE" userId="7317e673-04dd-415c-a4d7-718682339b40" providerId="ADAL" clId="{80D4E734-020D-4C1F-A028-1B9E9B483F9A}" dt="2021-05-25T08:49:49.319" v="8045" actId="790"/>
          <ac:spMkLst>
            <pc:docMk/>
            <pc:sldMk cId="2955721572" sldId="10370"/>
            <ac:spMk id="110" creationId="{47E92894-6CE3-43BE-80DC-0F76B5DF980F}"/>
          </ac:spMkLst>
        </pc:spChg>
        <pc:spChg chg="mod">
          <ac:chgData name="Aude Van de WIELE" userId="7317e673-04dd-415c-a4d7-718682339b40" providerId="ADAL" clId="{80D4E734-020D-4C1F-A028-1B9E9B483F9A}" dt="2021-05-25T08:49:49.320" v="8046" actId="790"/>
          <ac:spMkLst>
            <pc:docMk/>
            <pc:sldMk cId="2955721572" sldId="10370"/>
            <ac:spMk id="113" creationId="{0C095A33-38E5-462F-8A7A-E62A8E98D55C}"/>
          </ac:spMkLst>
        </pc:spChg>
        <pc:spChg chg="mod">
          <ac:chgData name="Aude Van de WIELE" userId="7317e673-04dd-415c-a4d7-718682339b40" providerId="ADAL" clId="{80D4E734-020D-4C1F-A028-1B9E9B483F9A}" dt="2021-05-25T08:49:49.322" v="8047" actId="790"/>
          <ac:spMkLst>
            <pc:docMk/>
            <pc:sldMk cId="2955721572" sldId="10370"/>
            <ac:spMk id="114" creationId="{A85051FB-B96C-4561-9949-AE0A210DCEF7}"/>
          </ac:spMkLst>
        </pc:spChg>
        <pc:spChg chg="mod">
          <ac:chgData name="Aude Van de WIELE" userId="7317e673-04dd-415c-a4d7-718682339b40" providerId="ADAL" clId="{80D4E734-020D-4C1F-A028-1B9E9B483F9A}" dt="2021-05-25T08:49:49.323" v="8048" actId="790"/>
          <ac:spMkLst>
            <pc:docMk/>
            <pc:sldMk cId="2955721572" sldId="10370"/>
            <ac:spMk id="117" creationId="{DBAD1338-6574-407E-A6BE-CF70C12CF161}"/>
          </ac:spMkLst>
        </pc:spChg>
        <pc:spChg chg="mod">
          <ac:chgData name="Aude Van de WIELE" userId="7317e673-04dd-415c-a4d7-718682339b40" providerId="ADAL" clId="{80D4E734-020D-4C1F-A028-1B9E9B483F9A}" dt="2021-05-25T08:49:49.324" v="8049" actId="790"/>
          <ac:spMkLst>
            <pc:docMk/>
            <pc:sldMk cId="2955721572" sldId="10370"/>
            <ac:spMk id="118" creationId="{6CC80E4F-5AF6-43ED-BF86-E4E441DAE0FE}"/>
          </ac:spMkLst>
        </pc:spChg>
        <pc:spChg chg="mod">
          <ac:chgData name="Aude Van de WIELE" userId="7317e673-04dd-415c-a4d7-718682339b40" providerId="ADAL" clId="{80D4E734-020D-4C1F-A028-1B9E9B483F9A}" dt="2021-05-25T08:49:49.325" v="8050" actId="790"/>
          <ac:spMkLst>
            <pc:docMk/>
            <pc:sldMk cId="2955721572" sldId="10370"/>
            <ac:spMk id="119" creationId="{7C8B8644-EF6E-4905-A0F5-5C2CD0B264C9}"/>
          </ac:spMkLst>
        </pc:spChg>
        <pc:spChg chg="mod">
          <ac:chgData name="Aude Van de WIELE" userId="7317e673-04dd-415c-a4d7-718682339b40" providerId="ADAL" clId="{80D4E734-020D-4C1F-A028-1B9E9B483F9A}" dt="2021-05-25T08:49:49.326" v="8051" actId="790"/>
          <ac:spMkLst>
            <pc:docMk/>
            <pc:sldMk cId="2955721572" sldId="10370"/>
            <ac:spMk id="120" creationId="{EF6A0361-72CE-4976-81E6-23CA720B0E0B}"/>
          </ac:spMkLst>
        </pc:spChg>
        <pc:spChg chg="mod">
          <ac:chgData name="Aude Van de WIELE" userId="7317e673-04dd-415c-a4d7-718682339b40" providerId="ADAL" clId="{80D4E734-020D-4C1F-A028-1B9E9B483F9A}" dt="2021-05-25T08:49:49.327" v="8052" actId="790"/>
          <ac:spMkLst>
            <pc:docMk/>
            <pc:sldMk cId="2955721572" sldId="10370"/>
            <ac:spMk id="121" creationId="{BFDCD2F7-D0DE-423D-8845-692BDD508BA2}"/>
          </ac:spMkLst>
        </pc:spChg>
        <pc:spChg chg="mod">
          <ac:chgData name="Aude Van de WIELE" userId="7317e673-04dd-415c-a4d7-718682339b40" providerId="ADAL" clId="{80D4E734-020D-4C1F-A028-1B9E9B483F9A}" dt="2021-05-25T08:49:49.328" v="8053" actId="790"/>
          <ac:spMkLst>
            <pc:docMk/>
            <pc:sldMk cId="2955721572" sldId="10370"/>
            <ac:spMk id="122" creationId="{C3E37837-414F-4553-98C1-7875D7F39D63}"/>
          </ac:spMkLst>
        </pc:spChg>
        <pc:spChg chg="mod">
          <ac:chgData name="Aude Van de WIELE" userId="7317e673-04dd-415c-a4d7-718682339b40" providerId="ADAL" clId="{80D4E734-020D-4C1F-A028-1B9E9B483F9A}" dt="2021-05-25T08:49:49.329" v="8054" actId="790"/>
          <ac:spMkLst>
            <pc:docMk/>
            <pc:sldMk cId="2955721572" sldId="10370"/>
            <ac:spMk id="123" creationId="{3EAEB141-8F44-4AC0-B379-C26EBB56770F}"/>
          </ac:spMkLst>
        </pc:spChg>
        <pc:spChg chg="mod">
          <ac:chgData name="Aude Van de WIELE" userId="7317e673-04dd-415c-a4d7-718682339b40" providerId="ADAL" clId="{80D4E734-020D-4C1F-A028-1B9E9B483F9A}" dt="2021-05-25T08:49:49.330" v="8055" actId="790"/>
          <ac:spMkLst>
            <pc:docMk/>
            <pc:sldMk cId="2955721572" sldId="10370"/>
            <ac:spMk id="124" creationId="{F8B1BC02-5DA3-4414-A10C-B724559E0F9C}"/>
          </ac:spMkLst>
        </pc:spChg>
        <pc:spChg chg="mod">
          <ac:chgData name="Aude Van de WIELE" userId="7317e673-04dd-415c-a4d7-718682339b40" providerId="ADAL" clId="{80D4E734-020D-4C1F-A028-1B9E9B483F9A}" dt="2021-05-25T08:49:49.331" v="8056" actId="790"/>
          <ac:spMkLst>
            <pc:docMk/>
            <pc:sldMk cId="2955721572" sldId="10370"/>
            <ac:spMk id="125" creationId="{065F8B71-F0F7-4D59-AB65-1218AEE2DAB7}"/>
          </ac:spMkLst>
        </pc:spChg>
        <pc:spChg chg="mod">
          <ac:chgData name="Aude Van de WIELE" userId="7317e673-04dd-415c-a4d7-718682339b40" providerId="ADAL" clId="{80D4E734-020D-4C1F-A028-1B9E9B483F9A}" dt="2021-05-25T08:49:49.332" v="8057" actId="790"/>
          <ac:spMkLst>
            <pc:docMk/>
            <pc:sldMk cId="2955721572" sldId="10370"/>
            <ac:spMk id="126" creationId="{EEE45712-275C-4D06-97CB-221815075B44}"/>
          </ac:spMkLst>
        </pc:spChg>
        <pc:spChg chg="add mod">
          <ac:chgData name="Aude Van de WIELE" userId="7317e673-04dd-415c-a4d7-718682339b40" providerId="ADAL" clId="{80D4E734-020D-4C1F-A028-1B9E9B483F9A}" dt="2021-05-25T08:49:49.336" v="8058" actId="790"/>
          <ac:spMkLst>
            <pc:docMk/>
            <pc:sldMk cId="2955721572" sldId="10370"/>
            <ac:spMk id="128" creationId="{690DF736-25BF-47AC-863D-B5C04E5BFD09}"/>
          </ac:spMkLst>
        </pc:spChg>
        <pc:picChg chg="del">
          <ac:chgData name="Aude Van de WIELE" userId="7317e673-04dd-415c-a4d7-718682339b40" providerId="ADAL" clId="{80D4E734-020D-4C1F-A028-1B9E9B483F9A}" dt="2021-05-24T14:31:24.231" v="4874" actId="478"/>
          <ac:picMkLst>
            <pc:docMk/>
            <pc:sldMk cId="2955721572" sldId="10370"/>
            <ac:picMk id="31" creationId="{49D14625-BDAE-4C07-8D5E-7DF89A2DC844}"/>
          </ac:picMkLst>
        </pc:picChg>
        <pc:picChg chg="add mod">
          <ac:chgData name="Aude Van de WIELE" userId="7317e673-04dd-415c-a4d7-718682339b40" providerId="ADAL" clId="{80D4E734-020D-4C1F-A028-1B9E9B483F9A}" dt="2021-05-24T14:31:24.439" v="4875"/>
          <ac:picMkLst>
            <pc:docMk/>
            <pc:sldMk cId="2955721572" sldId="10370"/>
            <ac:picMk id="127" creationId="{BC91FD15-6AB7-46D7-86A9-45696A7D34D2}"/>
          </ac:picMkLst>
        </pc:picChg>
      </pc:sldChg>
      <pc:sldChg chg="modSp mod">
        <pc:chgData name="Aude Van de WIELE" userId="7317e673-04dd-415c-a4d7-718682339b40" providerId="ADAL" clId="{80D4E734-020D-4C1F-A028-1B9E9B483F9A}" dt="2021-05-25T08:49:50.813" v="9299" actId="790"/>
        <pc:sldMkLst>
          <pc:docMk/>
          <pc:sldMk cId="928014684" sldId="10381"/>
        </pc:sldMkLst>
        <pc:spChg chg="mod">
          <ac:chgData name="Aude Van de WIELE" userId="7317e673-04dd-415c-a4d7-718682339b40" providerId="ADAL" clId="{80D4E734-020D-4C1F-A028-1B9E9B483F9A}" dt="2021-05-25T08:49:50.753" v="9248" actId="790"/>
          <ac:spMkLst>
            <pc:docMk/>
            <pc:sldMk cId="928014684" sldId="10381"/>
            <ac:spMk id="2" creationId="{F650F2D3-501E-420A-B1C2-0C0D75F1F375}"/>
          </ac:spMkLst>
        </pc:spChg>
        <pc:spChg chg="mod">
          <ac:chgData name="Aude Van de WIELE" userId="7317e673-04dd-415c-a4d7-718682339b40" providerId="ADAL" clId="{80D4E734-020D-4C1F-A028-1B9E9B483F9A}" dt="2021-05-25T08:49:50.767" v="9257" actId="790"/>
          <ac:spMkLst>
            <pc:docMk/>
            <pc:sldMk cId="928014684" sldId="10381"/>
            <ac:spMk id="5" creationId="{8D62D1CB-CECB-4FC8-AC33-69D9825C44E6}"/>
          </ac:spMkLst>
        </pc:spChg>
        <pc:spChg chg="mod">
          <ac:chgData name="Aude Van de WIELE" userId="7317e673-04dd-415c-a4d7-718682339b40" providerId="ADAL" clId="{80D4E734-020D-4C1F-A028-1B9E9B483F9A}" dt="2021-05-25T08:49:50.770" v="9260" actId="790"/>
          <ac:spMkLst>
            <pc:docMk/>
            <pc:sldMk cId="928014684" sldId="10381"/>
            <ac:spMk id="16" creationId="{4097B478-9F5D-45B4-A186-D4A1E6BB7550}"/>
          </ac:spMkLst>
        </pc:spChg>
        <pc:spChg chg="mod">
          <ac:chgData name="Aude Van de WIELE" userId="7317e673-04dd-415c-a4d7-718682339b40" providerId="ADAL" clId="{80D4E734-020D-4C1F-A028-1B9E9B483F9A}" dt="2021-05-25T08:49:50.763" v="9254" actId="790"/>
          <ac:spMkLst>
            <pc:docMk/>
            <pc:sldMk cId="928014684" sldId="10381"/>
            <ac:spMk id="17" creationId="{C0789EFE-9637-4F49-9BF8-ADFC35ADADA8}"/>
          </ac:spMkLst>
        </pc:spChg>
        <pc:spChg chg="mod">
          <ac:chgData name="Aude Van de WIELE" userId="7317e673-04dd-415c-a4d7-718682339b40" providerId="ADAL" clId="{80D4E734-020D-4C1F-A028-1B9E9B483F9A}" dt="2021-05-25T08:49:50.774" v="9261" actId="790"/>
          <ac:spMkLst>
            <pc:docMk/>
            <pc:sldMk cId="928014684" sldId="10381"/>
            <ac:spMk id="23" creationId="{A42B95F8-384C-428D-A9F7-F02119EB93B6}"/>
          </ac:spMkLst>
        </pc:spChg>
        <pc:spChg chg="mod">
          <ac:chgData name="Aude Van de WIELE" userId="7317e673-04dd-415c-a4d7-718682339b40" providerId="ADAL" clId="{80D4E734-020D-4C1F-A028-1B9E9B483F9A}" dt="2021-05-25T08:49:50.767" v="9256" actId="790"/>
          <ac:spMkLst>
            <pc:docMk/>
            <pc:sldMk cId="928014684" sldId="10381"/>
            <ac:spMk id="24" creationId="{FD650C8B-4EE8-4338-B832-2CF0044FDC39}"/>
          </ac:spMkLst>
        </pc:spChg>
        <pc:spChg chg="mod">
          <ac:chgData name="Aude Van de WIELE" userId="7317e673-04dd-415c-a4d7-718682339b40" providerId="ADAL" clId="{80D4E734-020D-4C1F-A028-1B9E9B483F9A}" dt="2021-05-25T08:49:50.769" v="9259" actId="790"/>
          <ac:spMkLst>
            <pc:docMk/>
            <pc:sldMk cId="928014684" sldId="10381"/>
            <ac:spMk id="48" creationId="{09E15757-5F08-4D22-BA2D-052419ABF6DC}"/>
          </ac:spMkLst>
        </pc:spChg>
        <pc:spChg chg="mod">
          <ac:chgData name="Aude Van de WIELE" userId="7317e673-04dd-415c-a4d7-718682339b40" providerId="ADAL" clId="{80D4E734-020D-4C1F-A028-1B9E9B483F9A}" dt="2021-05-25T08:49:50.775" v="9262" actId="790"/>
          <ac:spMkLst>
            <pc:docMk/>
            <pc:sldMk cId="928014684" sldId="10381"/>
            <ac:spMk id="52" creationId="{490B1055-3257-475A-8999-47D9AB2EEC11}"/>
          </ac:spMkLst>
        </pc:spChg>
        <pc:spChg chg="mod">
          <ac:chgData name="Aude Van de WIELE" userId="7317e673-04dd-415c-a4d7-718682339b40" providerId="ADAL" clId="{80D4E734-020D-4C1F-A028-1B9E9B483F9A}" dt="2021-05-25T08:49:50.776" v="9263" actId="790"/>
          <ac:spMkLst>
            <pc:docMk/>
            <pc:sldMk cId="928014684" sldId="10381"/>
            <ac:spMk id="54" creationId="{AEAA66D8-25CA-4D12-93D1-047EE256A639}"/>
          </ac:spMkLst>
        </pc:spChg>
        <pc:spChg chg="mod">
          <ac:chgData name="Aude Van de WIELE" userId="7317e673-04dd-415c-a4d7-718682339b40" providerId="ADAL" clId="{80D4E734-020D-4C1F-A028-1B9E9B483F9A}" dt="2021-05-25T08:49:50.777" v="9264" actId="790"/>
          <ac:spMkLst>
            <pc:docMk/>
            <pc:sldMk cId="928014684" sldId="10381"/>
            <ac:spMk id="55" creationId="{E9B602BB-1502-49FD-8A14-BA77512B9D8E}"/>
          </ac:spMkLst>
        </pc:spChg>
        <pc:spChg chg="mod">
          <ac:chgData name="Aude Van de WIELE" userId="7317e673-04dd-415c-a4d7-718682339b40" providerId="ADAL" clId="{80D4E734-020D-4C1F-A028-1B9E9B483F9A}" dt="2021-05-25T08:49:50.778" v="9265" actId="790"/>
          <ac:spMkLst>
            <pc:docMk/>
            <pc:sldMk cId="928014684" sldId="10381"/>
            <ac:spMk id="56" creationId="{3CC8D01A-4EA7-494E-ACE3-8A0556E31076}"/>
          </ac:spMkLst>
        </pc:spChg>
        <pc:spChg chg="mod">
          <ac:chgData name="Aude Van de WIELE" userId="7317e673-04dd-415c-a4d7-718682339b40" providerId="ADAL" clId="{80D4E734-020D-4C1F-A028-1B9E9B483F9A}" dt="2021-05-25T08:49:50.780" v="9267" actId="790"/>
          <ac:spMkLst>
            <pc:docMk/>
            <pc:sldMk cId="928014684" sldId="10381"/>
            <ac:spMk id="66" creationId="{1EC5F6DB-8E93-48B7-BE1A-16C1C840253A}"/>
          </ac:spMkLst>
        </pc:spChg>
        <pc:spChg chg="mod">
          <ac:chgData name="Aude Van de WIELE" userId="7317e673-04dd-415c-a4d7-718682339b40" providerId="ADAL" clId="{80D4E734-020D-4C1F-A028-1B9E9B483F9A}" dt="2021-05-25T08:49:50.779" v="9266" actId="790"/>
          <ac:spMkLst>
            <pc:docMk/>
            <pc:sldMk cId="928014684" sldId="10381"/>
            <ac:spMk id="67" creationId="{D15C3F86-EA1A-4CD3-8C0D-E4E1EFDD9561}"/>
          </ac:spMkLst>
        </pc:spChg>
        <pc:spChg chg="mod">
          <ac:chgData name="Aude Van de WIELE" userId="7317e673-04dd-415c-a4d7-718682339b40" providerId="ADAL" clId="{80D4E734-020D-4C1F-A028-1B9E9B483F9A}" dt="2021-05-25T08:49:50.804" v="9290" actId="790"/>
          <ac:spMkLst>
            <pc:docMk/>
            <pc:sldMk cId="928014684" sldId="10381"/>
            <ac:spMk id="74" creationId="{8BB96193-6DD2-4CD8-91F4-2A2DCB0A2B54}"/>
          </ac:spMkLst>
        </pc:spChg>
        <pc:spChg chg="mod">
          <ac:chgData name="Aude Van de WIELE" userId="7317e673-04dd-415c-a4d7-718682339b40" providerId="ADAL" clId="{80D4E734-020D-4C1F-A028-1B9E9B483F9A}" dt="2021-05-25T08:49:50.805" v="9291" actId="790"/>
          <ac:spMkLst>
            <pc:docMk/>
            <pc:sldMk cId="928014684" sldId="10381"/>
            <ac:spMk id="75" creationId="{A120C433-C765-4D27-B52A-61890D6B1F3A}"/>
          </ac:spMkLst>
        </pc:spChg>
        <pc:spChg chg="mod">
          <ac:chgData name="Aude Van de WIELE" userId="7317e673-04dd-415c-a4d7-718682339b40" providerId="ADAL" clId="{80D4E734-020D-4C1F-A028-1B9E9B483F9A}" dt="2021-05-25T08:49:50.781" v="9268" actId="790"/>
          <ac:spMkLst>
            <pc:docMk/>
            <pc:sldMk cId="928014684" sldId="10381"/>
            <ac:spMk id="77" creationId="{AA993906-7B0E-4FA0-A5CC-CB69B9064F5F}"/>
          </ac:spMkLst>
        </pc:spChg>
        <pc:spChg chg="mod">
          <ac:chgData name="Aude Van de WIELE" userId="7317e673-04dd-415c-a4d7-718682339b40" providerId="ADAL" clId="{80D4E734-020D-4C1F-A028-1B9E9B483F9A}" dt="2021-05-25T08:49:50.783" v="9269" actId="790"/>
          <ac:spMkLst>
            <pc:docMk/>
            <pc:sldMk cId="928014684" sldId="10381"/>
            <ac:spMk id="78" creationId="{927B2CF9-23D7-4AC1-896F-53C294D443E0}"/>
          </ac:spMkLst>
        </pc:spChg>
        <pc:spChg chg="mod">
          <ac:chgData name="Aude Van de WIELE" userId="7317e673-04dd-415c-a4d7-718682339b40" providerId="ADAL" clId="{80D4E734-020D-4C1F-A028-1B9E9B483F9A}" dt="2021-05-25T08:49:50.785" v="9270" actId="790"/>
          <ac:spMkLst>
            <pc:docMk/>
            <pc:sldMk cId="928014684" sldId="10381"/>
            <ac:spMk id="79" creationId="{743C0E1C-B0D6-49C7-83DA-2F31332150DB}"/>
          </ac:spMkLst>
        </pc:spChg>
        <pc:spChg chg="mod">
          <ac:chgData name="Aude Van de WIELE" userId="7317e673-04dd-415c-a4d7-718682339b40" providerId="ADAL" clId="{80D4E734-020D-4C1F-A028-1B9E9B483F9A}" dt="2021-05-25T08:49:50.786" v="9271" actId="790"/>
          <ac:spMkLst>
            <pc:docMk/>
            <pc:sldMk cId="928014684" sldId="10381"/>
            <ac:spMk id="82" creationId="{EB785ED8-42ED-404B-B83A-FFB565585F81}"/>
          </ac:spMkLst>
        </pc:spChg>
        <pc:spChg chg="mod">
          <ac:chgData name="Aude Van de WIELE" userId="7317e673-04dd-415c-a4d7-718682339b40" providerId="ADAL" clId="{80D4E734-020D-4C1F-A028-1B9E9B483F9A}" dt="2021-05-25T08:49:50.754" v="9249" actId="790"/>
          <ac:spMkLst>
            <pc:docMk/>
            <pc:sldMk cId="928014684" sldId="10381"/>
            <ac:spMk id="85" creationId="{8A87828B-4DA3-4320-8F89-92B54C4F4105}"/>
          </ac:spMkLst>
        </pc:spChg>
        <pc:spChg chg="mod">
          <ac:chgData name="Aude Van de WIELE" userId="7317e673-04dd-415c-a4d7-718682339b40" providerId="ADAL" clId="{80D4E734-020D-4C1F-A028-1B9E9B483F9A}" dt="2021-05-25T08:49:50.757" v="9250" actId="790"/>
          <ac:spMkLst>
            <pc:docMk/>
            <pc:sldMk cId="928014684" sldId="10381"/>
            <ac:spMk id="94" creationId="{4ED8E281-6E50-4B86-8F57-CE6AF2076C8B}"/>
          </ac:spMkLst>
        </pc:spChg>
        <pc:spChg chg="mod">
          <ac:chgData name="Aude Van de WIELE" userId="7317e673-04dd-415c-a4d7-718682339b40" providerId="ADAL" clId="{80D4E734-020D-4C1F-A028-1B9E9B483F9A}" dt="2021-05-25T08:49:50.758" v="9251" actId="790"/>
          <ac:spMkLst>
            <pc:docMk/>
            <pc:sldMk cId="928014684" sldId="10381"/>
            <ac:spMk id="95" creationId="{955C889B-E359-4C1C-ADE8-61F29406941A}"/>
          </ac:spMkLst>
        </pc:spChg>
        <pc:spChg chg="mod">
          <ac:chgData name="Aude Van de WIELE" userId="7317e673-04dd-415c-a4d7-718682339b40" providerId="ADAL" clId="{80D4E734-020D-4C1F-A028-1B9E9B483F9A}" dt="2021-05-25T08:49:50.759" v="9252" actId="790"/>
          <ac:spMkLst>
            <pc:docMk/>
            <pc:sldMk cId="928014684" sldId="10381"/>
            <ac:spMk id="100" creationId="{EBD54761-3F6A-42C5-A358-9B8C9AE709E6}"/>
          </ac:spMkLst>
        </pc:spChg>
        <pc:spChg chg="mod">
          <ac:chgData name="Aude Van de WIELE" userId="7317e673-04dd-415c-a4d7-718682339b40" providerId="ADAL" clId="{80D4E734-020D-4C1F-A028-1B9E9B483F9A}" dt="2021-05-25T08:49:50.760" v="9253" actId="790"/>
          <ac:spMkLst>
            <pc:docMk/>
            <pc:sldMk cId="928014684" sldId="10381"/>
            <ac:spMk id="101" creationId="{8F0FA4AA-6979-4163-8211-4D3E2504D922}"/>
          </ac:spMkLst>
        </pc:spChg>
        <pc:spChg chg="mod">
          <ac:chgData name="Aude Van de WIELE" userId="7317e673-04dd-415c-a4d7-718682339b40" providerId="ADAL" clId="{80D4E734-020D-4C1F-A028-1B9E9B483F9A}" dt="2021-05-25T08:49:50.765" v="9255" actId="790"/>
          <ac:spMkLst>
            <pc:docMk/>
            <pc:sldMk cId="928014684" sldId="10381"/>
            <ac:spMk id="103" creationId="{8EC109A0-55CE-4037-8B7D-7C591AB7496F}"/>
          </ac:spMkLst>
        </pc:spChg>
        <pc:spChg chg="mod">
          <ac:chgData name="Aude Van de WIELE" userId="7317e673-04dd-415c-a4d7-718682339b40" providerId="ADAL" clId="{80D4E734-020D-4C1F-A028-1B9E9B483F9A}" dt="2021-05-25T08:49:50.787" v="9272" actId="790"/>
          <ac:spMkLst>
            <pc:docMk/>
            <pc:sldMk cId="928014684" sldId="10381"/>
            <ac:spMk id="107" creationId="{AFE04C33-D3C3-4729-B074-628462666000}"/>
          </ac:spMkLst>
        </pc:spChg>
        <pc:spChg chg="mod">
          <ac:chgData name="Aude Van de WIELE" userId="7317e673-04dd-415c-a4d7-718682339b40" providerId="ADAL" clId="{80D4E734-020D-4C1F-A028-1B9E9B483F9A}" dt="2021-05-25T08:49:50.788" v="9273" actId="790"/>
          <ac:spMkLst>
            <pc:docMk/>
            <pc:sldMk cId="928014684" sldId="10381"/>
            <ac:spMk id="108" creationId="{84E50665-CFCF-4CAB-82A5-40ABF0DEBFF0}"/>
          </ac:spMkLst>
        </pc:spChg>
        <pc:spChg chg="mod">
          <ac:chgData name="Aude Van de WIELE" userId="7317e673-04dd-415c-a4d7-718682339b40" providerId="ADAL" clId="{80D4E734-020D-4C1F-A028-1B9E9B483F9A}" dt="2021-05-25T08:49:50.789" v="9274" actId="790"/>
          <ac:spMkLst>
            <pc:docMk/>
            <pc:sldMk cId="928014684" sldId="10381"/>
            <ac:spMk id="109" creationId="{D5717F27-AFA6-482B-876D-BE7AC56A69A2}"/>
          </ac:spMkLst>
        </pc:spChg>
        <pc:spChg chg="mod">
          <ac:chgData name="Aude Van de WIELE" userId="7317e673-04dd-415c-a4d7-718682339b40" providerId="ADAL" clId="{80D4E734-020D-4C1F-A028-1B9E9B483F9A}" dt="2021-05-25T08:49:50.806" v="9292" actId="790"/>
          <ac:spMkLst>
            <pc:docMk/>
            <pc:sldMk cId="928014684" sldId="10381"/>
            <ac:spMk id="112" creationId="{9B79AB7B-0DF7-4BE8-BFE1-5CF5CCEA16CD}"/>
          </ac:spMkLst>
        </pc:spChg>
        <pc:spChg chg="mod">
          <ac:chgData name="Aude Van de WIELE" userId="7317e673-04dd-415c-a4d7-718682339b40" providerId="ADAL" clId="{80D4E734-020D-4C1F-A028-1B9E9B483F9A}" dt="2021-05-25T08:49:50.807" v="9293" actId="790"/>
          <ac:spMkLst>
            <pc:docMk/>
            <pc:sldMk cId="928014684" sldId="10381"/>
            <ac:spMk id="113" creationId="{596CCD33-A7C7-494E-BEA1-04CE3549D870}"/>
          </ac:spMkLst>
        </pc:spChg>
        <pc:spChg chg="mod">
          <ac:chgData name="Aude Van de WIELE" userId="7317e673-04dd-415c-a4d7-718682339b40" providerId="ADAL" clId="{80D4E734-020D-4C1F-A028-1B9E9B483F9A}" dt="2021-05-25T08:49:50.808" v="9294" actId="790"/>
          <ac:spMkLst>
            <pc:docMk/>
            <pc:sldMk cId="928014684" sldId="10381"/>
            <ac:spMk id="114" creationId="{340CF0E8-5223-42E1-9FA5-DD02FA53A141}"/>
          </ac:spMkLst>
        </pc:spChg>
        <pc:spChg chg="mod">
          <ac:chgData name="Aude Van de WIELE" userId="7317e673-04dd-415c-a4d7-718682339b40" providerId="ADAL" clId="{80D4E734-020D-4C1F-A028-1B9E9B483F9A}" dt="2021-05-25T08:49:50.809" v="9295" actId="790"/>
          <ac:spMkLst>
            <pc:docMk/>
            <pc:sldMk cId="928014684" sldId="10381"/>
            <ac:spMk id="115" creationId="{A5AE030B-FE2B-4CE6-8F9C-42DE1D8C00F5}"/>
          </ac:spMkLst>
        </pc:spChg>
        <pc:spChg chg="mod">
          <ac:chgData name="Aude Van de WIELE" userId="7317e673-04dd-415c-a4d7-718682339b40" providerId="ADAL" clId="{80D4E734-020D-4C1F-A028-1B9E9B483F9A}" dt="2021-05-25T08:49:50.810" v="9296" actId="790"/>
          <ac:spMkLst>
            <pc:docMk/>
            <pc:sldMk cId="928014684" sldId="10381"/>
            <ac:spMk id="116" creationId="{3E9E5527-D18B-4C0F-9033-768C7E712997}"/>
          </ac:spMkLst>
        </pc:spChg>
        <pc:spChg chg="mod">
          <ac:chgData name="Aude Van de WIELE" userId="7317e673-04dd-415c-a4d7-718682339b40" providerId="ADAL" clId="{80D4E734-020D-4C1F-A028-1B9E9B483F9A}" dt="2021-05-25T08:49:50.811" v="9297" actId="790"/>
          <ac:spMkLst>
            <pc:docMk/>
            <pc:sldMk cId="928014684" sldId="10381"/>
            <ac:spMk id="117" creationId="{11321080-4DD2-4C51-B8C1-29C7DA0514AA}"/>
          </ac:spMkLst>
        </pc:spChg>
        <pc:spChg chg="mod">
          <ac:chgData name="Aude Van de WIELE" userId="7317e673-04dd-415c-a4d7-718682339b40" providerId="ADAL" clId="{80D4E734-020D-4C1F-A028-1B9E9B483F9A}" dt="2021-05-25T08:49:50.812" v="9298" actId="790"/>
          <ac:spMkLst>
            <pc:docMk/>
            <pc:sldMk cId="928014684" sldId="10381"/>
            <ac:spMk id="118" creationId="{F630FA7E-91CE-41ED-A13A-54AF98443939}"/>
          </ac:spMkLst>
        </pc:spChg>
        <pc:spChg chg="mod">
          <ac:chgData name="Aude Van de WIELE" userId="7317e673-04dd-415c-a4d7-718682339b40" providerId="ADAL" clId="{80D4E734-020D-4C1F-A028-1B9E9B483F9A}" dt="2021-05-25T08:49:50.813" v="9299" actId="790"/>
          <ac:spMkLst>
            <pc:docMk/>
            <pc:sldMk cId="928014684" sldId="10381"/>
            <ac:spMk id="119" creationId="{D7C1FB58-C6AB-4DA9-ADF8-A8F064F8DB5C}"/>
          </ac:spMkLst>
        </pc:spChg>
        <pc:spChg chg="mod">
          <ac:chgData name="Aude Van de WIELE" userId="7317e673-04dd-415c-a4d7-718682339b40" providerId="ADAL" clId="{80D4E734-020D-4C1F-A028-1B9E9B483F9A}" dt="2021-05-25T08:49:50.790" v="9275" actId="790"/>
          <ac:spMkLst>
            <pc:docMk/>
            <pc:sldMk cId="928014684" sldId="10381"/>
            <ac:spMk id="133" creationId="{D4DB8A5D-4BC4-4B09-91B3-B431A56ADCF9}"/>
          </ac:spMkLst>
        </pc:spChg>
        <pc:spChg chg="mod">
          <ac:chgData name="Aude Van de WIELE" userId="7317e673-04dd-415c-a4d7-718682339b40" providerId="ADAL" clId="{80D4E734-020D-4C1F-A028-1B9E9B483F9A}" dt="2021-05-25T08:49:50.791" v="9276" actId="790"/>
          <ac:spMkLst>
            <pc:docMk/>
            <pc:sldMk cId="928014684" sldId="10381"/>
            <ac:spMk id="134" creationId="{FAF0EF8E-999F-4DCA-8CCA-19966A02C618}"/>
          </ac:spMkLst>
        </pc:spChg>
        <pc:spChg chg="mod">
          <ac:chgData name="Aude Van de WIELE" userId="7317e673-04dd-415c-a4d7-718682339b40" providerId="ADAL" clId="{80D4E734-020D-4C1F-A028-1B9E9B483F9A}" dt="2021-05-25T08:49:50.792" v="9277" actId="790"/>
          <ac:spMkLst>
            <pc:docMk/>
            <pc:sldMk cId="928014684" sldId="10381"/>
            <ac:spMk id="135" creationId="{43E6C2D0-9928-431F-937D-615E132EB4BF}"/>
          </ac:spMkLst>
        </pc:spChg>
        <pc:spChg chg="mod">
          <ac:chgData name="Aude Van de WIELE" userId="7317e673-04dd-415c-a4d7-718682339b40" providerId="ADAL" clId="{80D4E734-020D-4C1F-A028-1B9E9B483F9A}" dt="2021-05-25T08:49:50.793" v="9278" actId="790"/>
          <ac:spMkLst>
            <pc:docMk/>
            <pc:sldMk cId="928014684" sldId="10381"/>
            <ac:spMk id="136" creationId="{366D0170-AB64-4883-B9AA-312F182F8513}"/>
          </ac:spMkLst>
        </pc:spChg>
        <pc:spChg chg="mod">
          <ac:chgData name="Aude Van de WIELE" userId="7317e673-04dd-415c-a4d7-718682339b40" providerId="ADAL" clId="{80D4E734-020D-4C1F-A028-1B9E9B483F9A}" dt="2021-05-25T08:49:50.793" v="9279" actId="790"/>
          <ac:spMkLst>
            <pc:docMk/>
            <pc:sldMk cId="928014684" sldId="10381"/>
            <ac:spMk id="137" creationId="{20E1541B-CD49-4DC3-A47D-9BF3BEE5D76B}"/>
          </ac:spMkLst>
        </pc:spChg>
        <pc:spChg chg="mod">
          <ac:chgData name="Aude Van de WIELE" userId="7317e673-04dd-415c-a4d7-718682339b40" providerId="ADAL" clId="{80D4E734-020D-4C1F-A028-1B9E9B483F9A}" dt="2021-05-25T08:49:50.794" v="9280" actId="790"/>
          <ac:spMkLst>
            <pc:docMk/>
            <pc:sldMk cId="928014684" sldId="10381"/>
            <ac:spMk id="138" creationId="{6566282D-6A08-4D37-9C6F-C0144233C521}"/>
          </ac:spMkLst>
        </pc:spChg>
        <pc:spChg chg="mod">
          <ac:chgData name="Aude Van de WIELE" userId="7317e673-04dd-415c-a4d7-718682339b40" providerId="ADAL" clId="{80D4E734-020D-4C1F-A028-1B9E9B483F9A}" dt="2021-05-25T08:49:50.795" v="9281" actId="790"/>
          <ac:spMkLst>
            <pc:docMk/>
            <pc:sldMk cId="928014684" sldId="10381"/>
            <ac:spMk id="139" creationId="{DD4D1A13-04C6-45D7-A267-260B6125490C}"/>
          </ac:spMkLst>
        </pc:spChg>
        <pc:spChg chg="mod">
          <ac:chgData name="Aude Van de WIELE" userId="7317e673-04dd-415c-a4d7-718682339b40" providerId="ADAL" clId="{80D4E734-020D-4C1F-A028-1B9E9B483F9A}" dt="2021-05-25T08:49:50.796" v="9282" actId="790"/>
          <ac:spMkLst>
            <pc:docMk/>
            <pc:sldMk cId="928014684" sldId="10381"/>
            <ac:spMk id="140" creationId="{123053B8-DBB1-4ACD-9BF9-D3394E0F671C}"/>
          </ac:spMkLst>
        </pc:spChg>
        <pc:spChg chg="mod">
          <ac:chgData name="Aude Van de WIELE" userId="7317e673-04dd-415c-a4d7-718682339b40" providerId="ADAL" clId="{80D4E734-020D-4C1F-A028-1B9E9B483F9A}" dt="2021-05-25T08:49:50.796" v="9283" actId="790"/>
          <ac:spMkLst>
            <pc:docMk/>
            <pc:sldMk cId="928014684" sldId="10381"/>
            <ac:spMk id="141" creationId="{0E9BA964-4A8C-48D4-BF3B-82E4163F61C8}"/>
          </ac:spMkLst>
        </pc:spChg>
        <pc:spChg chg="mod">
          <ac:chgData name="Aude Van de WIELE" userId="7317e673-04dd-415c-a4d7-718682339b40" providerId="ADAL" clId="{80D4E734-020D-4C1F-A028-1B9E9B483F9A}" dt="2021-05-25T08:49:50.797" v="9284" actId="790"/>
          <ac:spMkLst>
            <pc:docMk/>
            <pc:sldMk cId="928014684" sldId="10381"/>
            <ac:spMk id="142" creationId="{22F1D114-F450-40E1-8AED-90C2B1CFD597}"/>
          </ac:spMkLst>
        </pc:spChg>
        <pc:spChg chg="mod">
          <ac:chgData name="Aude Van de WIELE" userId="7317e673-04dd-415c-a4d7-718682339b40" providerId="ADAL" clId="{80D4E734-020D-4C1F-A028-1B9E9B483F9A}" dt="2021-05-25T08:49:50.768" v="9258" actId="790"/>
          <ac:spMkLst>
            <pc:docMk/>
            <pc:sldMk cId="928014684" sldId="10381"/>
            <ac:spMk id="164" creationId="{DA05F630-FFE9-4248-BE36-AE488020EDEB}"/>
          </ac:spMkLst>
        </pc:spChg>
        <pc:spChg chg="mod">
          <ac:chgData name="Aude Van de WIELE" userId="7317e673-04dd-415c-a4d7-718682339b40" providerId="ADAL" clId="{80D4E734-020D-4C1F-A028-1B9E9B483F9A}" dt="2021-05-25T08:49:50.798" v="9285" actId="790"/>
          <ac:spMkLst>
            <pc:docMk/>
            <pc:sldMk cId="928014684" sldId="10381"/>
            <ac:spMk id="214" creationId="{B892CA1A-6DD2-47AE-9A86-98AF5DFD08BF}"/>
          </ac:spMkLst>
        </pc:spChg>
        <pc:spChg chg="mod">
          <ac:chgData name="Aude Van de WIELE" userId="7317e673-04dd-415c-a4d7-718682339b40" providerId="ADAL" clId="{80D4E734-020D-4C1F-A028-1B9E9B483F9A}" dt="2021-05-25T08:49:50.799" v="9286" actId="790"/>
          <ac:spMkLst>
            <pc:docMk/>
            <pc:sldMk cId="928014684" sldId="10381"/>
            <ac:spMk id="215" creationId="{9F3BC7FC-64FE-4264-9C2D-E28C85C00F3A}"/>
          </ac:spMkLst>
        </pc:spChg>
        <pc:spChg chg="mod">
          <ac:chgData name="Aude Van de WIELE" userId="7317e673-04dd-415c-a4d7-718682339b40" providerId="ADAL" clId="{80D4E734-020D-4C1F-A028-1B9E9B483F9A}" dt="2021-05-25T08:49:50.800" v="9287" actId="790"/>
          <ac:spMkLst>
            <pc:docMk/>
            <pc:sldMk cId="928014684" sldId="10381"/>
            <ac:spMk id="216" creationId="{5994B9E0-8703-4DC8-AD95-9850C41AC14F}"/>
          </ac:spMkLst>
        </pc:spChg>
        <pc:spChg chg="mod">
          <ac:chgData name="Aude Van de WIELE" userId="7317e673-04dd-415c-a4d7-718682339b40" providerId="ADAL" clId="{80D4E734-020D-4C1F-A028-1B9E9B483F9A}" dt="2021-05-25T08:49:50.801" v="9288" actId="790"/>
          <ac:spMkLst>
            <pc:docMk/>
            <pc:sldMk cId="928014684" sldId="10381"/>
            <ac:spMk id="217" creationId="{04205482-E273-4AE6-A802-6F85111ADD10}"/>
          </ac:spMkLst>
        </pc:spChg>
        <pc:spChg chg="mod">
          <ac:chgData name="Aude Van de WIELE" userId="7317e673-04dd-415c-a4d7-718682339b40" providerId="ADAL" clId="{80D4E734-020D-4C1F-A028-1B9E9B483F9A}" dt="2021-05-25T08:49:50.803" v="9289" actId="790"/>
          <ac:spMkLst>
            <pc:docMk/>
            <pc:sldMk cId="928014684" sldId="10381"/>
            <ac:spMk id="218" creationId="{4E614FE6-7DC1-4158-A187-FB12FDC67AA7}"/>
          </ac:spMkLst>
        </pc:spChg>
      </pc:sldChg>
      <pc:sldChg chg="modSp mod">
        <pc:chgData name="Aude Van de WIELE" userId="7317e673-04dd-415c-a4d7-718682339b40" providerId="ADAL" clId="{80D4E734-020D-4C1F-A028-1B9E9B483F9A}" dt="2021-05-25T08:49:50.022" v="8704" actId="790"/>
        <pc:sldMkLst>
          <pc:docMk/>
          <pc:sldMk cId="177760136" sldId="10387"/>
        </pc:sldMkLst>
        <pc:spChg chg="mod">
          <ac:chgData name="Aude Van de WIELE" userId="7317e673-04dd-415c-a4d7-718682339b40" providerId="ADAL" clId="{80D4E734-020D-4C1F-A028-1B9E9B483F9A}" dt="2021-05-25T08:49:49.993" v="8685" actId="790"/>
          <ac:spMkLst>
            <pc:docMk/>
            <pc:sldMk cId="177760136" sldId="10387"/>
            <ac:spMk id="2" creationId="{436F6B45-BA2B-4C85-B5B6-28EC178522DD}"/>
          </ac:spMkLst>
        </pc:spChg>
        <pc:spChg chg="mod">
          <ac:chgData name="Aude Van de WIELE" userId="7317e673-04dd-415c-a4d7-718682339b40" providerId="ADAL" clId="{80D4E734-020D-4C1F-A028-1B9E9B483F9A}" dt="2021-05-25T08:49:49.994" v="8686" actId="790"/>
          <ac:spMkLst>
            <pc:docMk/>
            <pc:sldMk cId="177760136" sldId="10387"/>
            <ac:spMk id="10" creationId="{A1B2D03C-5DB5-4B41-ACB2-17648D06B456}"/>
          </ac:spMkLst>
        </pc:spChg>
        <pc:spChg chg="mod">
          <ac:chgData name="Aude Van de WIELE" userId="7317e673-04dd-415c-a4d7-718682339b40" providerId="ADAL" clId="{80D4E734-020D-4C1F-A028-1B9E9B483F9A}" dt="2021-05-25T08:49:49.996" v="8687" actId="790"/>
          <ac:spMkLst>
            <pc:docMk/>
            <pc:sldMk cId="177760136" sldId="10387"/>
            <ac:spMk id="11" creationId="{B49118EE-CD7D-4A57-BFCC-CCA3BFA5EA0C}"/>
          </ac:spMkLst>
        </pc:spChg>
        <pc:spChg chg="mod">
          <ac:chgData name="Aude Van de WIELE" userId="7317e673-04dd-415c-a4d7-718682339b40" providerId="ADAL" clId="{80D4E734-020D-4C1F-A028-1B9E9B483F9A}" dt="2021-05-25T08:49:49.997" v="8688" actId="790"/>
          <ac:spMkLst>
            <pc:docMk/>
            <pc:sldMk cId="177760136" sldId="10387"/>
            <ac:spMk id="12" creationId="{FEB1B1AD-9BFF-4534-9FA2-838BF0A5FAA4}"/>
          </ac:spMkLst>
        </pc:spChg>
        <pc:spChg chg="mod">
          <ac:chgData name="Aude Van de WIELE" userId="7317e673-04dd-415c-a4d7-718682339b40" providerId="ADAL" clId="{80D4E734-020D-4C1F-A028-1B9E9B483F9A}" dt="2021-05-25T08:49:49.999" v="8689" actId="790"/>
          <ac:spMkLst>
            <pc:docMk/>
            <pc:sldMk cId="177760136" sldId="10387"/>
            <ac:spMk id="14" creationId="{7BDDF5AD-5B37-4B7B-8C30-7E5CA6CB4043}"/>
          </ac:spMkLst>
        </pc:spChg>
        <pc:spChg chg="mod">
          <ac:chgData name="Aude Van de WIELE" userId="7317e673-04dd-415c-a4d7-718682339b40" providerId="ADAL" clId="{80D4E734-020D-4C1F-A028-1B9E9B483F9A}" dt="2021-05-25T08:49:50" v="8690" actId="790"/>
          <ac:spMkLst>
            <pc:docMk/>
            <pc:sldMk cId="177760136" sldId="10387"/>
            <ac:spMk id="16" creationId="{6AFB6F3B-617C-4E9A-BDB1-E66CE5E7BAF2}"/>
          </ac:spMkLst>
        </pc:spChg>
        <pc:spChg chg="mod">
          <ac:chgData name="Aude Van de WIELE" userId="7317e673-04dd-415c-a4d7-718682339b40" providerId="ADAL" clId="{80D4E734-020D-4C1F-A028-1B9E9B483F9A}" dt="2021-05-25T08:49:50.001" v="8691" actId="790"/>
          <ac:spMkLst>
            <pc:docMk/>
            <pc:sldMk cId="177760136" sldId="10387"/>
            <ac:spMk id="19" creationId="{73CC2FF0-1620-4B7A-843B-3D3C2AE458FE}"/>
          </ac:spMkLst>
        </pc:spChg>
        <pc:spChg chg="mod">
          <ac:chgData name="Aude Van de WIELE" userId="7317e673-04dd-415c-a4d7-718682339b40" providerId="ADAL" clId="{80D4E734-020D-4C1F-A028-1B9E9B483F9A}" dt="2021-05-25T08:49:50.003" v="8692" actId="790"/>
          <ac:spMkLst>
            <pc:docMk/>
            <pc:sldMk cId="177760136" sldId="10387"/>
            <ac:spMk id="20" creationId="{8EC25760-36A2-4025-9B9B-299007EC8CF7}"/>
          </ac:spMkLst>
        </pc:spChg>
        <pc:spChg chg="mod">
          <ac:chgData name="Aude Van de WIELE" userId="7317e673-04dd-415c-a4d7-718682339b40" providerId="ADAL" clId="{80D4E734-020D-4C1F-A028-1B9E9B483F9A}" dt="2021-05-25T08:49:50.004" v="8693" actId="790"/>
          <ac:spMkLst>
            <pc:docMk/>
            <pc:sldMk cId="177760136" sldId="10387"/>
            <ac:spMk id="21" creationId="{20863C10-21C2-486C-936F-F9040E9C8476}"/>
          </ac:spMkLst>
        </pc:spChg>
        <pc:spChg chg="mod">
          <ac:chgData name="Aude Van de WIELE" userId="7317e673-04dd-415c-a4d7-718682339b40" providerId="ADAL" clId="{80D4E734-020D-4C1F-A028-1B9E9B483F9A}" dt="2021-05-25T08:49:50.005" v="8694" actId="790"/>
          <ac:spMkLst>
            <pc:docMk/>
            <pc:sldMk cId="177760136" sldId="10387"/>
            <ac:spMk id="22" creationId="{117F0456-6AAE-46E2-83E3-977665874781}"/>
          </ac:spMkLst>
        </pc:spChg>
        <pc:spChg chg="mod">
          <ac:chgData name="Aude Van de WIELE" userId="7317e673-04dd-415c-a4d7-718682339b40" providerId="ADAL" clId="{80D4E734-020D-4C1F-A028-1B9E9B483F9A}" dt="2021-05-25T08:49:50.006" v="8695" actId="790"/>
          <ac:spMkLst>
            <pc:docMk/>
            <pc:sldMk cId="177760136" sldId="10387"/>
            <ac:spMk id="23" creationId="{1BFA432E-B00A-410E-968D-9E0C6059E2B0}"/>
          </ac:spMkLst>
        </pc:spChg>
        <pc:spChg chg="mod">
          <ac:chgData name="Aude Van de WIELE" userId="7317e673-04dd-415c-a4d7-718682339b40" providerId="ADAL" clId="{80D4E734-020D-4C1F-A028-1B9E9B483F9A}" dt="2021-05-25T08:49:50.007" v="8696" actId="790"/>
          <ac:spMkLst>
            <pc:docMk/>
            <pc:sldMk cId="177760136" sldId="10387"/>
            <ac:spMk id="24" creationId="{4D142772-C0FC-4E1B-8722-0710CB2D6A27}"/>
          </ac:spMkLst>
        </pc:spChg>
        <pc:spChg chg="mod">
          <ac:chgData name="Aude Van de WIELE" userId="7317e673-04dd-415c-a4d7-718682339b40" providerId="ADAL" clId="{80D4E734-020D-4C1F-A028-1B9E9B483F9A}" dt="2021-05-25T08:49:50.008" v="8697" actId="790"/>
          <ac:spMkLst>
            <pc:docMk/>
            <pc:sldMk cId="177760136" sldId="10387"/>
            <ac:spMk id="25" creationId="{F7E3780D-07E3-49CB-A488-8D48D2DD727B}"/>
          </ac:spMkLst>
        </pc:spChg>
        <pc:spChg chg="mod">
          <ac:chgData name="Aude Van de WIELE" userId="7317e673-04dd-415c-a4d7-718682339b40" providerId="ADAL" clId="{80D4E734-020D-4C1F-A028-1B9E9B483F9A}" dt="2021-05-25T08:49:50.009" v="8698" actId="790"/>
          <ac:spMkLst>
            <pc:docMk/>
            <pc:sldMk cId="177760136" sldId="10387"/>
            <ac:spMk id="26" creationId="{06355F29-BF53-45D1-8A9B-DD83D357F34D}"/>
          </ac:spMkLst>
        </pc:spChg>
        <pc:spChg chg="mod">
          <ac:chgData name="Aude Van de WIELE" userId="7317e673-04dd-415c-a4d7-718682339b40" providerId="ADAL" clId="{80D4E734-020D-4C1F-A028-1B9E9B483F9A}" dt="2021-05-25T08:49:50.010" v="8699" actId="790"/>
          <ac:spMkLst>
            <pc:docMk/>
            <pc:sldMk cId="177760136" sldId="10387"/>
            <ac:spMk id="30" creationId="{242F26BC-48D8-467A-A6CD-331EC9B568C9}"/>
          </ac:spMkLst>
        </pc:spChg>
        <pc:spChg chg="mod">
          <ac:chgData name="Aude Van de WIELE" userId="7317e673-04dd-415c-a4d7-718682339b40" providerId="ADAL" clId="{80D4E734-020D-4C1F-A028-1B9E9B483F9A}" dt="2021-05-25T08:49:50.011" v="8700" actId="790"/>
          <ac:spMkLst>
            <pc:docMk/>
            <pc:sldMk cId="177760136" sldId="10387"/>
            <ac:spMk id="33" creationId="{0C42220C-E0C0-4442-8C78-C607D32D7C6A}"/>
          </ac:spMkLst>
        </pc:spChg>
        <pc:spChg chg="mod">
          <ac:chgData name="Aude Van de WIELE" userId="7317e673-04dd-415c-a4d7-718682339b40" providerId="ADAL" clId="{80D4E734-020D-4C1F-A028-1B9E9B483F9A}" dt="2021-05-25T08:49:50.011" v="8701" actId="790"/>
          <ac:spMkLst>
            <pc:docMk/>
            <pc:sldMk cId="177760136" sldId="10387"/>
            <ac:spMk id="34" creationId="{C83894F5-3A2A-4D54-AE15-3AE551436F84}"/>
          </ac:spMkLst>
        </pc:spChg>
        <pc:spChg chg="mod">
          <ac:chgData name="Aude Van de WIELE" userId="7317e673-04dd-415c-a4d7-718682339b40" providerId="ADAL" clId="{80D4E734-020D-4C1F-A028-1B9E9B483F9A}" dt="2021-05-25T08:49:50.019" v="8702" actId="790"/>
          <ac:spMkLst>
            <pc:docMk/>
            <pc:sldMk cId="177760136" sldId="10387"/>
            <ac:spMk id="35" creationId="{6E7DE376-6590-44EF-AE1D-4EFDD8EAD509}"/>
          </ac:spMkLst>
        </pc:spChg>
        <pc:spChg chg="mod">
          <ac:chgData name="Aude Van de WIELE" userId="7317e673-04dd-415c-a4d7-718682339b40" providerId="ADAL" clId="{80D4E734-020D-4C1F-A028-1B9E9B483F9A}" dt="2021-05-25T08:49:50.021" v="8703" actId="790"/>
          <ac:spMkLst>
            <pc:docMk/>
            <pc:sldMk cId="177760136" sldId="10387"/>
            <ac:spMk id="40" creationId="{7E1EA942-DCE8-4CB4-A6CD-F002A4046CDC}"/>
          </ac:spMkLst>
        </pc:spChg>
        <pc:spChg chg="mod">
          <ac:chgData name="Aude Van de WIELE" userId="7317e673-04dd-415c-a4d7-718682339b40" providerId="ADAL" clId="{80D4E734-020D-4C1F-A028-1B9E9B483F9A}" dt="2021-05-25T08:49:50.022" v="8704" actId="790"/>
          <ac:spMkLst>
            <pc:docMk/>
            <pc:sldMk cId="177760136" sldId="10387"/>
            <ac:spMk id="41" creationId="{543133D6-14FE-4614-9937-A1C6BE4F5B59}"/>
          </ac:spMkLst>
        </pc:spChg>
      </pc:sldChg>
      <pc:sldChg chg="modSp mod">
        <pc:chgData name="Aude Van de WIELE" userId="7317e673-04dd-415c-a4d7-718682339b40" providerId="ADAL" clId="{80D4E734-020D-4C1F-A028-1B9E9B483F9A}" dt="2021-05-25T08:49:49.991" v="8684" actId="790"/>
        <pc:sldMkLst>
          <pc:docMk/>
          <pc:sldMk cId="2528439242" sldId="10388"/>
        </pc:sldMkLst>
        <pc:spChg chg="mod">
          <ac:chgData name="Aude Van de WIELE" userId="7317e673-04dd-415c-a4d7-718682339b40" providerId="ADAL" clId="{80D4E734-020D-4C1F-A028-1B9E9B483F9A}" dt="2021-05-25T08:49:49.942" v="8659" actId="790"/>
          <ac:spMkLst>
            <pc:docMk/>
            <pc:sldMk cId="2528439242" sldId="10388"/>
            <ac:spMk id="2" creationId="{3B352272-A751-4371-9AD1-0EDAA488B5E8}"/>
          </ac:spMkLst>
        </pc:spChg>
        <pc:spChg chg="mod">
          <ac:chgData name="Aude Van de WIELE" userId="7317e673-04dd-415c-a4d7-718682339b40" providerId="ADAL" clId="{80D4E734-020D-4C1F-A028-1B9E9B483F9A}" dt="2021-05-25T08:49:49.960" v="8660" actId="790"/>
          <ac:spMkLst>
            <pc:docMk/>
            <pc:sldMk cId="2528439242" sldId="10388"/>
            <ac:spMk id="5" creationId="{75A23189-992A-44C6-A85B-8751CD441843}"/>
          </ac:spMkLst>
        </pc:spChg>
        <pc:spChg chg="mod">
          <ac:chgData name="Aude Van de WIELE" userId="7317e673-04dd-415c-a4d7-718682339b40" providerId="ADAL" clId="{80D4E734-020D-4C1F-A028-1B9E9B483F9A}" dt="2021-05-25T08:49:49.961" v="8661" actId="790"/>
          <ac:spMkLst>
            <pc:docMk/>
            <pc:sldMk cId="2528439242" sldId="10388"/>
            <ac:spMk id="10" creationId="{3CD560AD-8D0B-419C-AA90-58F40CB49620}"/>
          </ac:spMkLst>
        </pc:spChg>
        <pc:spChg chg="mod">
          <ac:chgData name="Aude Van de WIELE" userId="7317e673-04dd-415c-a4d7-718682339b40" providerId="ADAL" clId="{80D4E734-020D-4C1F-A028-1B9E9B483F9A}" dt="2021-05-25T08:49:49.962" v="8662" actId="790"/>
          <ac:spMkLst>
            <pc:docMk/>
            <pc:sldMk cId="2528439242" sldId="10388"/>
            <ac:spMk id="44" creationId="{825CF11B-020D-44AE-8B0F-94296B87E5E2}"/>
          </ac:spMkLst>
        </pc:spChg>
        <pc:spChg chg="mod">
          <ac:chgData name="Aude Van de WIELE" userId="7317e673-04dd-415c-a4d7-718682339b40" providerId="ADAL" clId="{80D4E734-020D-4C1F-A028-1B9E9B483F9A}" dt="2021-05-25T08:49:49.963" v="8663" actId="790"/>
          <ac:spMkLst>
            <pc:docMk/>
            <pc:sldMk cId="2528439242" sldId="10388"/>
            <ac:spMk id="45" creationId="{19C7679B-BDAB-4644-A933-4403268C4016}"/>
          </ac:spMkLst>
        </pc:spChg>
        <pc:spChg chg="mod">
          <ac:chgData name="Aude Van de WIELE" userId="7317e673-04dd-415c-a4d7-718682339b40" providerId="ADAL" clId="{80D4E734-020D-4C1F-A028-1B9E9B483F9A}" dt="2021-05-25T08:49:49.964" v="8664" actId="790"/>
          <ac:spMkLst>
            <pc:docMk/>
            <pc:sldMk cId="2528439242" sldId="10388"/>
            <ac:spMk id="47" creationId="{C0C9DCEC-47A0-4811-8A76-D04843C86F35}"/>
          </ac:spMkLst>
        </pc:spChg>
        <pc:spChg chg="mod">
          <ac:chgData name="Aude Van de WIELE" userId="7317e673-04dd-415c-a4d7-718682339b40" providerId="ADAL" clId="{80D4E734-020D-4C1F-A028-1B9E9B483F9A}" dt="2021-05-25T08:49:49.965" v="8665" actId="790"/>
          <ac:spMkLst>
            <pc:docMk/>
            <pc:sldMk cId="2528439242" sldId="10388"/>
            <ac:spMk id="48" creationId="{ED2AA03F-F69F-4109-991C-D4EA22467928}"/>
          </ac:spMkLst>
        </pc:spChg>
        <pc:spChg chg="mod">
          <ac:chgData name="Aude Van de WIELE" userId="7317e673-04dd-415c-a4d7-718682339b40" providerId="ADAL" clId="{80D4E734-020D-4C1F-A028-1B9E9B483F9A}" dt="2021-05-25T08:49:49.966" v="8666" actId="790"/>
          <ac:spMkLst>
            <pc:docMk/>
            <pc:sldMk cId="2528439242" sldId="10388"/>
            <ac:spMk id="49" creationId="{E292EA57-219F-446B-84E6-3859851D00A6}"/>
          </ac:spMkLst>
        </pc:spChg>
        <pc:spChg chg="mod">
          <ac:chgData name="Aude Van de WIELE" userId="7317e673-04dd-415c-a4d7-718682339b40" providerId="ADAL" clId="{80D4E734-020D-4C1F-A028-1B9E9B483F9A}" dt="2021-05-25T08:49:49.967" v="8667" actId="790"/>
          <ac:spMkLst>
            <pc:docMk/>
            <pc:sldMk cId="2528439242" sldId="10388"/>
            <ac:spMk id="50" creationId="{4CC5E3A4-CFC1-47E7-85E4-E4EFAE07F51B}"/>
          </ac:spMkLst>
        </pc:spChg>
        <pc:spChg chg="mod">
          <ac:chgData name="Aude Van de WIELE" userId="7317e673-04dd-415c-a4d7-718682339b40" providerId="ADAL" clId="{80D4E734-020D-4C1F-A028-1B9E9B483F9A}" dt="2021-05-25T08:49:49.967" v="8668" actId="790"/>
          <ac:spMkLst>
            <pc:docMk/>
            <pc:sldMk cId="2528439242" sldId="10388"/>
            <ac:spMk id="53" creationId="{8BC60B44-FC35-49C3-A67D-8C09E11BF871}"/>
          </ac:spMkLst>
        </pc:spChg>
        <pc:spChg chg="mod">
          <ac:chgData name="Aude Van de WIELE" userId="7317e673-04dd-415c-a4d7-718682339b40" providerId="ADAL" clId="{80D4E734-020D-4C1F-A028-1B9E9B483F9A}" dt="2021-05-25T08:49:49.968" v="8669" actId="790"/>
          <ac:spMkLst>
            <pc:docMk/>
            <pc:sldMk cId="2528439242" sldId="10388"/>
            <ac:spMk id="60" creationId="{42959E40-E36F-47FF-AC7E-ABFFED50E051}"/>
          </ac:spMkLst>
        </pc:spChg>
        <pc:spChg chg="mod">
          <ac:chgData name="Aude Van de WIELE" userId="7317e673-04dd-415c-a4d7-718682339b40" providerId="ADAL" clId="{80D4E734-020D-4C1F-A028-1B9E9B483F9A}" dt="2021-05-25T08:49:49.969" v="8670" actId="790"/>
          <ac:spMkLst>
            <pc:docMk/>
            <pc:sldMk cId="2528439242" sldId="10388"/>
            <ac:spMk id="75" creationId="{AC8EE432-C25E-45E1-A3C2-234AD2EA8AAD}"/>
          </ac:spMkLst>
        </pc:spChg>
        <pc:spChg chg="mod">
          <ac:chgData name="Aude Van de WIELE" userId="7317e673-04dd-415c-a4d7-718682339b40" providerId="ADAL" clId="{80D4E734-020D-4C1F-A028-1B9E9B483F9A}" dt="2021-05-25T08:49:49.970" v="8671" actId="790"/>
          <ac:spMkLst>
            <pc:docMk/>
            <pc:sldMk cId="2528439242" sldId="10388"/>
            <ac:spMk id="81" creationId="{4B3A7871-D042-41DF-9E79-7E565E264575}"/>
          </ac:spMkLst>
        </pc:spChg>
        <pc:spChg chg="mod">
          <ac:chgData name="Aude Van de WIELE" userId="7317e673-04dd-415c-a4d7-718682339b40" providerId="ADAL" clId="{80D4E734-020D-4C1F-A028-1B9E9B483F9A}" dt="2021-05-25T08:49:49.971" v="8672" actId="790"/>
          <ac:spMkLst>
            <pc:docMk/>
            <pc:sldMk cId="2528439242" sldId="10388"/>
            <ac:spMk id="86" creationId="{647AB55A-67E0-4E8B-BAEA-FB47DB36A6B9}"/>
          </ac:spMkLst>
        </pc:spChg>
        <pc:spChg chg="mod">
          <ac:chgData name="Aude Van de WIELE" userId="7317e673-04dd-415c-a4d7-718682339b40" providerId="ADAL" clId="{80D4E734-020D-4C1F-A028-1B9E9B483F9A}" dt="2021-05-25T08:49:49.940" v="8658" actId="790"/>
          <ac:spMkLst>
            <pc:docMk/>
            <pc:sldMk cId="2528439242" sldId="10388"/>
            <ac:spMk id="87" creationId="{C9E07055-AC48-4337-B5C4-6806E36F3F9E}"/>
          </ac:spMkLst>
        </pc:spChg>
        <pc:spChg chg="mod">
          <ac:chgData name="Aude Van de WIELE" userId="7317e673-04dd-415c-a4d7-718682339b40" providerId="ADAL" clId="{80D4E734-020D-4C1F-A028-1B9E9B483F9A}" dt="2021-05-25T08:49:49.975" v="8673" actId="790"/>
          <ac:spMkLst>
            <pc:docMk/>
            <pc:sldMk cId="2528439242" sldId="10388"/>
            <ac:spMk id="88" creationId="{9D09228C-7646-4BC5-BAD2-2D61E3E54D79}"/>
          </ac:spMkLst>
        </pc:spChg>
        <pc:spChg chg="mod">
          <ac:chgData name="Aude Van de WIELE" userId="7317e673-04dd-415c-a4d7-718682339b40" providerId="ADAL" clId="{80D4E734-020D-4C1F-A028-1B9E9B483F9A}" dt="2021-05-25T08:49:49.976" v="8674" actId="790"/>
          <ac:spMkLst>
            <pc:docMk/>
            <pc:sldMk cId="2528439242" sldId="10388"/>
            <ac:spMk id="89" creationId="{C5E212F5-085B-4C52-B70C-29F107B2D040}"/>
          </ac:spMkLst>
        </pc:spChg>
        <pc:spChg chg="mod">
          <ac:chgData name="Aude Van de WIELE" userId="7317e673-04dd-415c-a4d7-718682339b40" providerId="ADAL" clId="{80D4E734-020D-4C1F-A028-1B9E9B483F9A}" dt="2021-05-25T08:49:49.980" v="8675" actId="790"/>
          <ac:spMkLst>
            <pc:docMk/>
            <pc:sldMk cId="2528439242" sldId="10388"/>
            <ac:spMk id="90" creationId="{AA7DC620-97D4-48DE-A664-29FE4FE4CEE0}"/>
          </ac:spMkLst>
        </pc:spChg>
        <pc:spChg chg="mod">
          <ac:chgData name="Aude Van de WIELE" userId="7317e673-04dd-415c-a4d7-718682339b40" providerId="ADAL" clId="{80D4E734-020D-4C1F-A028-1B9E9B483F9A}" dt="2021-05-25T08:49:49.981" v="8676" actId="790"/>
          <ac:spMkLst>
            <pc:docMk/>
            <pc:sldMk cId="2528439242" sldId="10388"/>
            <ac:spMk id="91" creationId="{7DB27FE9-EB88-44E0-94CE-3C9F00A5A79B}"/>
          </ac:spMkLst>
        </pc:spChg>
        <pc:spChg chg="mod">
          <ac:chgData name="Aude Van de WIELE" userId="7317e673-04dd-415c-a4d7-718682339b40" providerId="ADAL" clId="{80D4E734-020D-4C1F-A028-1B9E9B483F9A}" dt="2021-05-25T08:49:49.982" v="8677" actId="790"/>
          <ac:spMkLst>
            <pc:docMk/>
            <pc:sldMk cId="2528439242" sldId="10388"/>
            <ac:spMk id="93" creationId="{A2D207EF-8BD0-44D3-A624-1DFFE05EABF1}"/>
          </ac:spMkLst>
        </pc:spChg>
        <pc:spChg chg="mod">
          <ac:chgData name="Aude Van de WIELE" userId="7317e673-04dd-415c-a4d7-718682339b40" providerId="ADAL" clId="{80D4E734-020D-4C1F-A028-1B9E9B483F9A}" dt="2021-05-25T08:49:49.984" v="8678" actId="790"/>
          <ac:spMkLst>
            <pc:docMk/>
            <pc:sldMk cId="2528439242" sldId="10388"/>
            <ac:spMk id="94" creationId="{80AADE10-9CDF-44C5-9D0C-F4BE5573C2CB}"/>
          </ac:spMkLst>
        </pc:spChg>
        <pc:spChg chg="mod">
          <ac:chgData name="Aude Van de WIELE" userId="7317e673-04dd-415c-a4d7-718682339b40" providerId="ADAL" clId="{80D4E734-020D-4C1F-A028-1B9E9B483F9A}" dt="2021-05-25T08:49:49.985" v="8679" actId="790"/>
          <ac:spMkLst>
            <pc:docMk/>
            <pc:sldMk cId="2528439242" sldId="10388"/>
            <ac:spMk id="95" creationId="{30A06502-CA72-44B0-9989-88A02C62242D}"/>
          </ac:spMkLst>
        </pc:spChg>
        <pc:spChg chg="mod">
          <ac:chgData name="Aude Van de WIELE" userId="7317e673-04dd-415c-a4d7-718682339b40" providerId="ADAL" clId="{80D4E734-020D-4C1F-A028-1B9E9B483F9A}" dt="2021-05-25T08:49:49.990" v="8683" actId="790"/>
          <ac:spMkLst>
            <pc:docMk/>
            <pc:sldMk cId="2528439242" sldId="10388"/>
            <ac:spMk id="96" creationId="{11D4BEF8-7D64-4110-B927-2D2241B2ACD1}"/>
          </ac:spMkLst>
        </pc:spChg>
        <pc:spChg chg="mod">
          <ac:chgData name="Aude Van de WIELE" userId="7317e673-04dd-415c-a4d7-718682339b40" providerId="ADAL" clId="{80D4E734-020D-4C1F-A028-1B9E9B483F9A}" dt="2021-05-25T08:49:49.991" v="8684" actId="790"/>
          <ac:spMkLst>
            <pc:docMk/>
            <pc:sldMk cId="2528439242" sldId="10388"/>
            <ac:spMk id="97" creationId="{515D236C-2659-4BD5-937E-79D9E704302D}"/>
          </ac:spMkLst>
        </pc:spChg>
        <pc:spChg chg="mod">
          <ac:chgData name="Aude Van de WIELE" userId="7317e673-04dd-415c-a4d7-718682339b40" providerId="ADAL" clId="{80D4E734-020D-4C1F-A028-1B9E9B483F9A}" dt="2021-05-25T08:49:49.986" v="8680" actId="790"/>
          <ac:spMkLst>
            <pc:docMk/>
            <pc:sldMk cId="2528439242" sldId="10388"/>
            <ac:spMk id="98" creationId="{05365063-0175-4B93-AFCD-4B0E8A70538E}"/>
          </ac:spMkLst>
        </pc:spChg>
        <pc:spChg chg="mod">
          <ac:chgData name="Aude Van de WIELE" userId="7317e673-04dd-415c-a4d7-718682339b40" providerId="ADAL" clId="{80D4E734-020D-4C1F-A028-1B9E9B483F9A}" dt="2021-05-25T08:49:49.987" v="8681" actId="790"/>
          <ac:spMkLst>
            <pc:docMk/>
            <pc:sldMk cId="2528439242" sldId="10388"/>
            <ac:spMk id="104" creationId="{29510A5E-9BDC-4463-8D19-55AB8604B20E}"/>
          </ac:spMkLst>
        </pc:spChg>
        <pc:spChg chg="mod">
          <ac:chgData name="Aude Van de WIELE" userId="7317e673-04dd-415c-a4d7-718682339b40" providerId="ADAL" clId="{80D4E734-020D-4C1F-A028-1B9E9B483F9A}" dt="2021-05-25T08:49:49.989" v="8682" actId="790"/>
          <ac:spMkLst>
            <pc:docMk/>
            <pc:sldMk cId="2528439242" sldId="10388"/>
            <ac:spMk id="107" creationId="{E622BEC9-977B-45CD-8F2B-0CBF440BC9B1}"/>
          </ac:spMkLst>
        </pc:spChg>
      </pc:sldChg>
      <pc:sldChg chg="modSp mod">
        <pc:chgData name="Aude Van de WIELE" userId="7317e673-04dd-415c-a4d7-718682339b40" providerId="ADAL" clId="{80D4E734-020D-4C1F-A028-1B9E9B483F9A}" dt="2021-05-25T08:49:50.088" v="8746" actId="790"/>
        <pc:sldMkLst>
          <pc:docMk/>
          <pc:sldMk cId="2291217259" sldId="10389"/>
        </pc:sldMkLst>
        <pc:spChg chg="mod">
          <ac:chgData name="Aude Van de WIELE" userId="7317e673-04dd-415c-a4d7-718682339b40" providerId="ADAL" clId="{80D4E734-020D-4C1F-A028-1B9E9B483F9A}" dt="2021-05-25T08:49:50.060" v="8734" actId="790"/>
          <ac:spMkLst>
            <pc:docMk/>
            <pc:sldMk cId="2291217259" sldId="10389"/>
            <ac:spMk id="2" creationId="{3B352272-A751-4371-9AD1-0EDAA488B5E8}"/>
          </ac:spMkLst>
        </pc:spChg>
        <pc:spChg chg="mod">
          <ac:chgData name="Aude Van de WIELE" userId="7317e673-04dd-415c-a4d7-718682339b40" providerId="ADAL" clId="{80D4E734-020D-4C1F-A028-1B9E9B483F9A}" dt="2021-05-25T08:49:50.064" v="8735" actId="790"/>
          <ac:spMkLst>
            <pc:docMk/>
            <pc:sldMk cId="2291217259" sldId="10389"/>
            <ac:spMk id="3" creationId="{12B1867D-7FC0-41D7-B16A-252CAC322DC3}"/>
          </ac:spMkLst>
        </pc:spChg>
        <pc:spChg chg="mod">
          <ac:chgData name="Aude Van de WIELE" userId="7317e673-04dd-415c-a4d7-718682339b40" providerId="ADAL" clId="{80D4E734-020D-4C1F-A028-1B9E9B483F9A}" dt="2021-05-25T08:49:50.069" v="8736" actId="790"/>
          <ac:spMkLst>
            <pc:docMk/>
            <pc:sldMk cId="2291217259" sldId="10389"/>
            <ac:spMk id="8" creationId="{978B0D85-EA24-49FC-AC13-F92A746B9E0F}"/>
          </ac:spMkLst>
        </pc:spChg>
        <pc:spChg chg="mod">
          <ac:chgData name="Aude Van de WIELE" userId="7317e673-04dd-415c-a4d7-718682339b40" providerId="ADAL" clId="{80D4E734-020D-4C1F-A028-1B9E9B483F9A}" dt="2021-05-25T08:49:50.076" v="8737" actId="790"/>
          <ac:spMkLst>
            <pc:docMk/>
            <pc:sldMk cId="2291217259" sldId="10389"/>
            <ac:spMk id="9" creationId="{9A6993AB-2507-445A-85BB-0A267AF64F0A}"/>
          </ac:spMkLst>
        </pc:spChg>
        <pc:spChg chg="mod">
          <ac:chgData name="Aude Van de WIELE" userId="7317e673-04dd-415c-a4d7-718682339b40" providerId="ADAL" clId="{80D4E734-020D-4C1F-A028-1B9E9B483F9A}" dt="2021-05-25T08:49:50.077" v="8738" actId="790"/>
          <ac:spMkLst>
            <pc:docMk/>
            <pc:sldMk cId="2291217259" sldId="10389"/>
            <ac:spMk id="12" creationId="{3F2CDE39-4AC6-4699-8B07-1ABF26133FE5}"/>
          </ac:spMkLst>
        </pc:spChg>
        <pc:spChg chg="mod">
          <ac:chgData name="Aude Van de WIELE" userId="7317e673-04dd-415c-a4d7-718682339b40" providerId="ADAL" clId="{80D4E734-020D-4C1F-A028-1B9E9B483F9A}" dt="2021-05-25T08:49:50.079" v="8739" actId="790"/>
          <ac:spMkLst>
            <pc:docMk/>
            <pc:sldMk cId="2291217259" sldId="10389"/>
            <ac:spMk id="13" creationId="{64367A5B-BB94-4167-9C66-8135A52BBE42}"/>
          </ac:spMkLst>
        </pc:spChg>
        <pc:spChg chg="mod">
          <ac:chgData name="Aude Van de WIELE" userId="7317e673-04dd-415c-a4d7-718682339b40" providerId="ADAL" clId="{80D4E734-020D-4C1F-A028-1B9E9B483F9A}" dt="2021-05-25T08:49:50.080" v="8740" actId="790"/>
          <ac:spMkLst>
            <pc:docMk/>
            <pc:sldMk cId="2291217259" sldId="10389"/>
            <ac:spMk id="24" creationId="{57ABB67D-0AFF-4868-A992-707AE87BE54E}"/>
          </ac:spMkLst>
        </pc:spChg>
        <pc:spChg chg="mod">
          <ac:chgData name="Aude Van de WIELE" userId="7317e673-04dd-415c-a4d7-718682339b40" providerId="ADAL" clId="{80D4E734-020D-4C1F-A028-1B9E9B483F9A}" dt="2021-05-25T08:49:50.081" v="8741" actId="790"/>
          <ac:spMkLst>
            <pc:docMk/>
            <pc:sldMk cId="2291217259" sldId="10389"/>
            <ac:spMk id="25" creationId="{7CD32595-D728-448F-9B85-F3CA600A3C2B}"/>
          </ac:spMkLst>
        </pc:spChg>
        <pc:spChg chg="mod">
          <ac:chgData name="Aude Van de WIELE" userId="7317e673-04dd-415c-a4d7-718682339b40" providerId="ADAL" clId="{80D4E734-020D-4C1F-A028-1B9E9B483F9A}" dt="2021-05-25T08:49:50.082" v="8742" actId="790"/>
          <ac:spMkLst>
            <pc:docMk/>
            <pc:sldMk cId="2291217259" sldId="10389"/>
            <ac:spMk id="26" creationId="{4B825778-5C85-4371-8748-208C09A2BE6D}"/>
          </ac:spMkLst>
        </pc:spChg>
        <pc:spChg chg="mod">
          <ac:chgData name="Aude Van de WIELE" userId="7317e673-04dd-415c-a4d7-718682339b40" providerId="ADAL" clId="{80D4E734-020D-4C1F-A028-1B9E9B483F9A}" dt="2021-05-25T08:49:50.085" v="8743" actId="790"/>
          <ac:spMkLst>
            <pc:docMk/>
            <pc:sldMk cId="2291217259" sldId="10389"/>
            <ac:spMk id="27" creationId="{553FE55F-4861-49E1-8748-B6AA0F422D3C}"/>
          </ac:spMkLst>
        </pc:spChg>
        <pc:spChg chg="mod">
          <ac:chgData name="Aude Van de WIELE" userId="7317e673-04dd-415c-a4d7-718682339b40" providerId="ADAL" clId="{80D4E734-020D-4C1F-A028-1B9E9B483F9A}" dt="2021-05-25T08:49:50.085" v="8744" actId="790"/>
          <ac:spMkLst>
            <pc:docMk/>
            <pc:sldMk cId="2291217259" sldId="10389"/>
            <ac:spMk id="28" creationId="{2948C625-FF0D-4674-B942-3B8C1142FD9E}"/>
          </ac:spMkLst>
        </pc:spChg>
        <pc:spChg chg="mod">
          <ac:chgData name="Aude Van de WIELE" userId="7317e673-04dd-415c-a4d7-718682339b40" providerId="ADAL" clId="{80D4E734-020D-4C1F-A028-1B9E9B483F9A}" dt="2021-05-25T08:49:50.087" v="8745" actId="790"/>
          <ac:spMkLst>
            <pc:docMk/>
            <pc:sldMk cId="2291217259" sldId="10389"/>
            <ac:spMk id="32" creationId="{87DC370F-246E-49A6-9BEE-38641DE2212A}"/>
          </ac:spMkLst>
        </pc:spChg>
        <pc:spChg chg="mod">
          <ac:chgData name="Aude Van de WIELE" userId="7317e673-04dd-415c-a4d7-718682339b40" providerId="ADAL" clId="{80D4E734-020D-4C1F-A028-1B9E9B483F9A}" dt="2021-05-25T08:49:50.088" v="8746" actId="790"/>
          <ac:spMkLst>
            <pc:docMk/>
            <pc:sldMk cId="2291217259" sldId="10389"/>
            <ac:spMk id="33" creationId="{333F0985-FD07-4FC4-ABD0-0CA27B7F45F6}"/>
          </ac:spMkLst>
        </pc:spChg>
      </pc:sldChg>
      <pc:sldChg chg="modSp mod">
        <pc:chgData name="Aude Van de WIELE" userId="7317e673-04dd-415c-a4d7-718682339b40" providerId="ADAL" clId="{80D4E734-020D-4C1F-A028-1B9E9B483F9A}" dt="2021-05-25T08:49:49.938" v="8657" actId="790"/>
        <pc:sldMkLst>
          <pc:docMk/>
          <pc:sldMk cId="1963154161" sldId="10390"/>
        </pc:sldMkLst>
        <pc:spChg chg="mod">
          <ac:chgData name="Aude Van de WIELE" userId="7317e673-04dd-415c-a4d7-718682339b40" providerId="ADAL" clId="{80D4E734-020D-4C1F-A028-1B9E9B483F9A}" dt="2021-05-25T08:49:49.896" v="8624" actId="790"/>
          <ac:spMkLst>
            <pc:docMk/>
            <pc:sldMk cId="1963154161" sldId="10390"/>
            <ac:spMk id="2" creationId="{3B352272-A751-4371-9AD1-0EDAA488B5E8}"/>
          </ac:spMkLst>
        </pc:spChg>
        <pc:spChg chg="mod">
          <ac:chgData name="Aude Van de WIELE" userId="7317e673-04dd-415c-a4d7-718682339b40" providerId="ADAL" clId="{80D4E734-020D-4C1F-A028-1B9E9B483F9A}" dt="2021-05-25T08:49:49.897" v="8625" actId="790"/>
          <ac:spMkLst>
            <pc:docMk/>
            <pc:sldMk cId="1963154161" sldId="10390"/>
            <ac:spMk id="27" creationId="{82A97B99-F7FE-4B4A-8D64-80E6C8EF07CA}"/>
          </ac:spMkLst>
        </pc:spChg>
        <pc:spChg chg="mod">
          <ac:chgData name="Aude Van de WIELE" userId="7317e673-04dd-415c-a4d7-718682339b40" providerId="ADAL" clId="{80D4E734-020D-4C1F-A028-1B9E9B483F9A}" dt="2021-05-25T08:49:49.898" v="8626" actId="790"/>
          <ac:spMkLst>
            <pc:docMk/>
            <pc:sldMk cId="1963154161" sldId="10390"/>
            <ac:spMk id="28" creationId="{19518F5B-5922-4379-B8C3-76136ADF97B5}"/>
          </ac:spMkLst>
        </pc:spChg>
        <pc:spChg chg="mod">
          <ac:chgData name="Aude Van de WIELE" userId="7317e673-04dd-415c-a4d7-718682339b40" providerId="ADAL" clId="{80D4E734-020D-4C1F-A028-1B9E9B483F9A}" dt="2021-05-25T08:49:49.899" v="8627" actId="790"/>
          <ac:spMkLst>
            <pc:docMk/>
            <pc:sldMk cId="1963154161" sldId="10390"/>
            <ac:spMk id="30" creationId="{77660FB8-EA69-47A9-AEA2-E46F353BFB2B}"/>
          </ac:spMkLst>
        </pc:spChg>
        <pc:spChg chg="mod">
          <ac:chgData name="Aude Van de WIELE" userId="7317e673-04dd-415c-a4d7-718682339b40" providerId="ADAL" clId="{80D4E734-020D-4C1F-A028-1B9E9B483F9A}" dt="2021-05-25T08:49:49.900" v="8628" actId="790"/>
          <ac:spMkLst>
            <pc:docMk/>
            <pc:sldMk cId="1963154161" sldId="10390"/>
            <ac:spMk id="31" creationId="{2945FCFB-194B-4D8E-9287-57E6954828F4}"/>
          </ac:spMkLst>
        </pc:spChg>
        <pc:spChg chg="mod">
          <ac:chgData name="Aude Van de WIELE" userId="7317e673-04dd-415c-a4d7-718682339b40" providerId="ADAL" clId="{80D4E734-020D-4C1F-A028-1B9E9B483F9A}" dt="2021-05-25T08:49:49.901" v="8629" actId="790"/>
          <ac:spMkLst>
            <pc:docMk/>
            <pc:sldMk cId="1963154161" sldId="10390"/>
            <ac:spMk id="32" creationId="{14904770-A5AE-43F0-8FD2-DB1AA1533E73}"/>
          </ac:spMkLst>
        </pc:spChg>
        <pc:spChg chg="mod">
          <ac:chgData name="Aude Van de WIELE" userId="7317e673-04dd-415c-a4d7-718682339b40" providerId="ADAL" clId="{80D4E734-020D-4C1F-A028-1B9E9B483F9A}" dt="2021-05-25T08:49:49.902" v="8630" actId="790"/>
          <ac:spMkLst>
            <pc:docMk/>
            <pc:sldMk cId="1963154161" sldId="10390"/>
            <ac:spMk id="33" creationId="{19D9E617-B15A-4755-83E0-08BA2DC4E237}"/>
          </ac:spMkLst>
        </pc:spChg>
        <pc:spChg chg="mod">
          <ac:chgData name="Aude Van de WIELE" userId="7317e673-04dd-415c-a4d7-718682339b40" providerId="ADAL" clId="{80D4E734-020D-4C1F-A028-1B9E9B483F9A}" dt="2021-05-25T08:49:49.914" v="8641" actId="790"/>
          <ac:spMkLst>
            <pc:docMk/>
            <pc:sldMk cId="1963154161" sldId="10390"/>
            <ac:spMk id="41" creationId="{54C6D71C-835B-41AF-BD7B-F25384D089AB}"/>
          </ac:spMkLst>
        </pc:spChg>
        <pc:spChg chg="mod">
          <ac:chgData name="Aude Van de WIELE" userId="7317e673-04dd-415c-a4d7-718682339b40" providerId="ADAL" clId="{80D4E734-020D-4C1F-A028-1B9E9B483F9A}" dt="2021-05-25T08:49:49.902" v="8631" actId="790"/>
          <ac:spMkLst>
            <pc:docMk/>
            <pc:sldMk cId="1963154161" sldId="10390"/>
            <ac:spMk id="43" creationId="{92F77E9E-DEF8-4DA4-9D26-0AE70C9DE90E}"/>
          </ac:spMkLst>
        </pc:spChg>
        <pc:spChg chg="mod">
          <ac:chgData name="Aude Van de WIELE" userId="7317e673-04dd-415c-a4d7-718682339b40" providerId="ADAL" clId="{80D4E734-020D-4C1F-A028-1B9E9B483F9A}" dt="2021-05-25T08:49:49.908" v="8636" actId="790"/>
          <ac:spMkLst>
            <pc:docMk/>
            <pc:sldMk cId="1963154161" sldId="10390"/>
            <ac:spMk id="44" creationId="{116EFBFE-5EFB-41E3-95D1-78CE66639AD5}"/>
          </ac:spMkLst>
        </pc:spChg>
        <pc:spChg chg="mod">
          <ac:chgData name="Aude Van de WIELE" userId="7317e673-04dd-415c-a4d7-718682339b40" providerId="ADAL" clId="{80D4E734-020D-4C1F-A028-1B9E9B483F9A}" dt="2021-05-25T08:49:49.903" v="8632" actId="790"/>
          <ac:spMkLst>
            <pc:docMk/>
            <pc:sldMk cId="1963154161" sldId="10390"/>
            <ac:spMk id="45" creationId="{2628F15C-FA42-46CA-A5D0-B427ED91699B}"/>
          </ac:spMkLst>
        </pc:spChg>
        <pc:spChg chg="mod">
          <ac:chgData name="Aude Van de WIELE" userId="7317e673-04dd-415c-a4d7-718682339b40" providerId="ADAL" clId="{80D4E734-020D-4C1F-A028-1B9E9B483F9A}" dt="2021-05-25T08:49:49.904" v="8633" actId="790"/>
          <ac:spMkLst>
            <pc:docMk/>
            <pc:sldMk cId="1963154161" sldId="10390"/>
            <ac:spMk id="46" creationId="{36D9C9E6-524B-49C2-AA2D-02E040F87033}"/>
          </ac:spMkLst>
        </pc:spChg>
        <pc:spChg chg="mod">
          <ac:chgData name="Aude Van de WIELE" userId="7317e673-04dd-415c-a4d7-718682339b40" providerId="ADAL" clId="{80D4E734-020D-4C1F-A028-1B9E9B483F9A}" dt="2021-05-25T08:49:49.905" v="8634" actId="790"/>
          <ac:spMkLst>
            <pc:docMk/>
            <pc:sldMk cId="1963154161" sldId="10390"/>
            <ac:spMk id="47" creationId="{DD7C368F-0FEE-4F0D-8F9C-DBA7253E24B1}"/>
          </ac:spMkLst>
        </pc:spChg>
        <pc:spChg chg="mod">
          <ac:chgData name="Aude Van de WIELE" userId="7317e673-04dd-415c-a4d7-718682339b40" providerId="ADAL" clId="{80D4E734-020D-4C1F-A028-1B9E9B483F9A}" dt="2021-05-25T08:49:49.906" v="8635" actId="790"/>
          <ac:spMkLst>
            <pc:docMk/>
            <pc:sldMk cId="1963154161" sldId="10390"/>
            <ac:spMk id="52" creationId="{B16F1296-3CA8-4D05-A0CB-EB1F1345CE9D}"/>
          </ac:spMkLst>
        </pc:spChg>
        <pc:spChg chg="mod">
          <ac:chgData name="Aude Van de WIELE" userId="7317e673-04dd-415c-a4d7-718682339b40" providerId="ADAL" clId="{80D4E734-020D-4C1F-A028-1B9E9B483F9A}" dt="2021-05-25T08:49:49.909" v="8637" actId="790"/>
          <ac:spMkLst>
            <pc:docMk/>
            <pc:sldMk cId="1963154161" sldId="10390"/>
            <ac:spMk id="54" creationId="{A2082C76-78A8-4C37-BB51-E0C640F2292A}"/>
          </ac:spMkLst>
        </pc:spChg>
        <pc:spChg chg="mod">
          <ac:chgData name="Aude Van de WIELE" userId="7317e673-04dd-415c-a4d7-718682339b40" providerId="ADAL" clId="{80D4E734-020D-4C1F-A028-1B9E9B483F9A}" dt="2021-05-25T08:49:49.911" v="8638" actId="790"/>
          <ac:spMkLst>
            <pc:docMk/>
            <pc:sldMk cId="1963154161" sldId="10390"/>
            <ac:spMk id="55" creationId="{C6C920E7-246D-45F6-B655-A54B6C35E79B}"/>
          </ac:spMkLst>
        </pc:spChg>
        <pc:spChg chg="mod">
          <ac:chgData name="Aude Van de WIELE" userId="7317e673-04dd-415c-a4d7-718682339b40" providerId="ADAL" clId="{80D4E734-020D-4C1F-A028-1B9E9B483F9A}" dt="2021-05-25T08:49:49.912" v="8639" actId="790"/>
          <ac:spMkLst>
            <pc:docMk/>
            <pc:sldMk cId="1963154161" sldId="10390"/>
            <ac:spMk id="56" creationId="{8DCB1BB5-D1C7-480F-B436-01199E4277B0}"/>
          </ac:spMkLst>
        </pc:spChg>
        <pc:spChg chg="mod">
          <ac:chgData name="Aude Van de WIELE" userId="7317e673-04dd-415c-a4d7-718682339b40" providerId="ADAL" clId="{80D4E734-020D-4C1F-A028-1B9E9B483F9A}" dt="2021-05-25T08:49:49.913" v="8640" actId="790"/>
          <ac:spMkLst>
            <pc:docMk/>
            <pc:sldMk cId="1963154161" sldId="10390"/>
            <ac:spMk id="57" creationId="{B7C8E92E-FAA7-4F80-A624-AB8657706AFA}"/>
          </ac:spMkLst>
        </pc:spChg>
        <pc:spChg chg="mod">
          <ac:chgData name="Aude Van de WIELE" userId="7317e673-04dd-415c-a4d7-718682339b40" providerId="ADAL" clId="{80D4E734-020D-4C1F-A028-1B9E9B483F9A}" dt="2021-05-25T08:49:49.915" v="8642" actId="790"/>
          <ac:spMkLst>
            <pc:docMk/>
            <pc:sldMk cId="1963154161" sldId="10390"/>
            <ac:spMk id="58" creationId="{7EC3C80C-8342-4DA2-BB03-07D115C0D737}"/>
          </ac:spMkLst>
        </pc:spChg>
        <pc:spChg chg="mod">
          <ac:chgData name="Aude Van de WIELE" userId="7317e673-04dd-415c-a4d7-718682339b40" providerId="ADAL" clId="{80D4E734-020D-4C1F-A028-1B9E9B483F9A}" dt="2021-05-25T08:49:49.916" v="8643" actId="790"/>
          <ac:spMkLst>
            <pc:docMk/>
            <pc:sldMk cId="1963154161" sldId="10390"/>
            <ac:spMk id="59" creationId="{D718E44E-FCF2-4E7F-B0E0-D177DAD0F758}"/>
          </ac:spMkLst>
        </pc:spChg>
        <pc:spChg chg="mod">
          <ac:chgData name="Aude Van de WIELE" userId="7317e673-04dd-415c-a4d7-718682339b40" providerId="ADAL" clId="{80D4E734-020D-4C1F-A028-1B9E9B483F9A}" dt="2021-05-25T08:49:49.917" v="8644" actId="790"/>
          <ac:spMkLst>
            <pc:docMk/>
            <pc:sldMk cId="1963154161" sldId="10390"/>
            <ac:spMk id="62" creationId="{5F61D7DE-7D72-4337-85CA-0C48811AC112}"/>
          </ac:spMkLst>
        </pc:spChg>
        <pc:spChg chg="mod">
          <ac:chgData name="Aude Van de WIELE" userId="7317e673-04dd-415c-a4d7-718682339b40" providerId="ADAL" clId="{80D4E734-020D-4C1F-A028-1B9E9B483F9A}" dt="2021-05-25T08:49:49.919" v="8645" actId="790"/>
          <ac:spMkLst>
            <pc:docMk/>
            <pc:sldMk cId="1963154161" sldId="10390"/>
            <ac:spMk id="63" creationId="{22E66DAA-CD24-43AB-BE5E-780D7BC379AE}"/>
          </ac:spMkLst>
        </pc:spChg>
        <pc:spChg chg="mod">
          <ac:chgData name="Aude Van de WIELE" userId="7317e673-04dd-415c-a4d7-718682339b40" providerId="ADAL" clId="{80D4E734-020D-4C1F-A028-1B9E9B483F9A}" dt="2021-05-25T08:49:49.920" v="8646" actId="790"/>
          <ac:spMkLst>
            <pc:docMk/>
            <pc:sldMk cId="1963154161" sldId="10390"/>
            <ac:spMk id="64" creationId="{6CC9CC00-4FC8-4B17-BD89-326E74CBFC14}"/>
          </ac:spMkLst>
        </pc:spChg>
        <pc:spChg chg="mod">
          <ac:chgData name="Aude Van de WIELE" userId="7317e673-04dd-415c-a4d7-718682339b40" providerId="ADAL" clId="{80D4E734-020D-4C1F-A028-1B9E9B483F9A}" dt="2021-05-25T08:49:49.936" v="8655" actId="790"/>
          <ac:spMkLst>
            <pc:docMk/>
            <pc:sldMk cId="1963154161" sldId="10390"/>
            <ac:spMk id="65" creationId="{BD22A475-DE7F-4951-9178-30B1FB2E070D}"/>
          </ac:spMkLst>
        </pc:spChg>
        <pc:spChg chg="mod">
          <ac:chgData name="Aude Van de WIELE" userId="7317e673-04dd-415c-a4d7-718682339b40" providerId="ADAL" clId="{80D4E734-020D-4C1F-A028-1B9E9B483F9A}" dt="2021-05-25T08:49:49.924" v="8647" actId="790"/>
          <ac:spMkLst>
            <pc:docMk/>
            <pc:sldMk cId="1963154161" sldId="10390"/>
            <ac:spMk id="67" creationId="{5A2EED6F-A68C-4C8B-9058-933E554A3399}"/>
          </ac:spMkLst>
        </pc:spChg>
        <pc:spChg chg="mod">
          <ac:chgData name="Aude Van de WIELE" userId="7317e673-04dd-415c-a4d7-718682339b40" providerId="ADAL" clId="{80D4E734-020D-4C1F-A028-1B9E9B483F9A}" dt="2021-05-25T08:49:49.930" v="8648" actId="790"/>
          <ac:spMkLst>
            <pc:docMk/>
            <pc:sldMk cId="1963154161" sldId="10390"/>
            <ac:spMk id="69" creationId="{9426D2C0-7317-4715-89A4-B73DFFD9C218}"/>
          </ac:spMkLst>
        </pc:spChg>
        <pc:spChg chg="mod">
          <ac:chgData name="Aude Van de WIELE" userId="7317e673-04dd-415c-a4d7-718682339b40" providerId="ADAL" clId="{80D4E734-020D-4C1F-A028-1B9E9B483F9A}" dt="2021-05-25T08:49:49.930" v="8649" actId="790"/>
          <ac:spMkLst>
            <pc:docMk/>
            <pc:sldMk cId="1963154161" sldId="10390"/>
            <ac:spMk id="71" creationId="{FCCA4A3B-0ACB-40EF-A467-43534267466C}"/>
          </ac:spMkLst>
        </pc:spChg>
        <pc:spChg chg="mod">
          <ac:chgData name="Aude Van de WIELE" userId="7317e673-04dd-415c-a4d7-718682339b40" providerId="ADAL" clId="{80D4E734-020D-4C1F-A028-1B9E9B483F9A}" dt="2021-05-25T08:49:49.932" v="8650" actId="790"/>
          <ac:spMkLst>
            <pc:docMk/>
            <pc:sldMk cId="1963154161" sldId="10390"/>
            <ac:spMk id="74" creationId="{F88E2EA3-6091-4A8A-994C-49E2EB973B35}"/>
          </ac:spMkLst>
        </pc:spChg>
        <pc:spChg chg="mod">
          <ac:chgData name="Aude Van de WIELE" userId="7317e673-04dd-415c-a4d7-718682339b40" providerId="ADAL" clId="{80D4E734-020D-4C1F-A028-1B9E9B483F9A}" dt="2021-05-25T08:49:49.933" v="8651" actId="790"/>
          <ac:spMkLst>
            <pc:docMk/>
            <pc:sldMk cId="1963154161" sldId="10390"/>
            <ac:spMk id="75" creationId="{16DB687C-AA72-473D-A094-DCD0C5C16671}"/>
          </ac:spMkLst>
        </pc:spChg>
        <pc:spChg chg="mod">
          <ac:chgData name="Aude Van de WIELE" userId="7317e673-04dd-415c-a4d7-718682339b40" providerId="ADAL" clId="{80D4E734-020D-4C1F-A028-1B9E9B483F9A}" dt="2021-05-25T08:49:49.933" v="8652" actId="790"/>
          <ac:spMkLst>
            <pc:docMk/>
            <pc:sldMk cId="1963154161" sldId="10390"/>
            <ac:spMk id="79" creationId="{FE04AFC6-9715-4315-A93E-ABC27CEE6560}"/>
          </ac:spMkLst>
        </pc:spChg>
        <pc:spChg chg="mod">
          <ac:chgData name="Aude Van de WIELE" userId="7317e673-04dd-415c-a4d7-718682339b40" providerId="ADAL" clId="{80D4E734-020D-4C1F-A028-1B9E9B483F9A}" dt="2021-05-25T08:49:49.934" v="8653" actId="790"/>
          <ac:spMkLst>
            <pc:docMk/>
            <pc:sldMk cId="1963154161" sldId="10390"/>
            <ac:spMk id="84" creationId="{56A6BEE0-27B6-4F24-BF86-F23470581D0F}"/>
          </ac:spMkLst>
        </pc:spChg>
        <pc:spChg chg="mod">
          <ac:chgData name="Aude Van de WIELE" userId="7317e673-04dd-415c-a4d7-718682339b40" providerId="ADAL" clId="{80D4E734-020D-4C1F-A028-1B9E9B483F9A}" dt="2021-05-25T08:49:49.935" v="8654" actId="790"/>
          <ac:spMkLst>
            <pc:docMk/>
            <pc:sldMk cId="1963154161" sldId="10390"/>
            <ac:spMk id="89" creationId="{707E897B-BB28-4ADF-8F14-A1011D93E6D0}"/>
          </ac:spMkLst>
        </pc:spChg>
        <pc:spChg chg="mod">
          <ac:chgData name="Aude Van de WIELE" userId="7317e673-04dd-415c-a4d7-718682339b40" providerId="ADAL" clId="{80D4E734-020D-4C1F-A028-1B9E9B483F9A}" dt="2021-05-25T08:49:49.937" v="8656" actId="790"/>
          <ac:spMkLst>
            <pc:docMk/>
            <pc:sldMk cId="1963154161" sldId="10390"/>
            <ac:spMk id="119" creationId="{B53369F6-F9C6-416E-8F1A-870B940A0116}"/>
          </ac:spMkLst>
        </pc:spChg>
        <pc:spChg chg="mod">
          <ac:chgData name="Aude Van de WIELE" userId="7317e673-04dd-415c-a4d7-718682339b40" providerId="ADAL" clId="{80D4E734-020D-4C1F-A028-1B9E9B483F9A}" dt="2021-05-25T08:49:49.938" v="8657" actId="790"/>
          <ac:spMkLst>
            <pc:docMk/>
            <pc:sldMk cId="1963154161" sldId="10390"/>
            <ac:spMk id="120" creationId="{6B6976CB-6637-41B9-8C38-9423EB049FAD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08:49:50.663" v="9175" actId="790"/>
        <pc:sldMkLst>
          <pc:docMk/>
          <pc:sldMk cId="957352529" sldId="10393"/>
        </pc:sldMkLst>
        <pc:spChg chg="mod">
          <ac:chgData name="Aude Van de WIELE" userId="7317e673-04dd-415c-a4d7-718682339b40" providerId="ADAL" clId="{80D4E734-020D-4C1F-A028-1B9E9B483F9A}" dt="2021-05-25T08:49:50.645" v="9158" actId="790"/>
          <ac:spMkLst>
            <pc:docMk/>
            <pc:sldMk cId="957352529" sldId="10393"/>
            <ac:spMk id="2" creationId="{F86535CF-1A65-469E-AB4E-24F3D533381F}"/>
          </ac:spMkLst>
        </pc:spChg>
        <pc:spChg chg="mod">
          <ac:chgData name="Aude Van de WIELE" userId="7317e673-04dd-415c-a4d7-718682339b40" providerId="ADAL" clId="{80D4E734-020D-4C1F-A028-1B9E9B483F9A}" dt="2021-05-25T08:49:50.648" v="9160" actId="790"/>
          <ac:spMkLst>
            <pc:docMk/>
            <pc:sldMk cId="957352529" sldId="10393"/>
            <ac:spMk id="4" creationId="{8D0673D8-58F3-4C92-BE58-BE86886857C4}"/>
          </ac:spMkLst>
        </pc:spChg>
        <pc:spChg chg="mod">
          <ac:chgData name="Aude Van de WIELE" userId="7317e673-04dd-415c-a4d7-718682339b40" providerId="ADAL" clId="{80D4E734-020D-4C1F-A028-1B9E9B483F9A}" dt="2021-05-25T08:49:50.647" v="9159" actId="790"/>
          <ac:spMkLst>
            <pc:docMk/>
            <pc:sldMk cId="957352529" sldId="10393"/>
            <ac:spMk id="26" creationId="{4D39C270-ACE8-427E-A326-79B07CDDAE45}"/>
          </ac:spMkLst>
        </pc:spChg>
        <pc:spChg chg="del">
          <ac:chgData name="Aude Van de WIELE" userId="7317e673-04dd-415c-a4d7-718682339b40" providerId="ADAL" clId="{80D4E734-020D-4C1F-A028-1B9E9B483F9A}" dt="2021-05-25T07:57:21.424" v="6865" actId="478"/>
          <ac:spMkLst>
            <pc:docMk/>
            <pc:sldMk cId="957352529" sldId="10393"/>
            <ac:spMk id="27" creationId="{F0173EF8-3180-4C30-B0B4-4238F39A038B}"/>
          </ac:spMkLst>
        </pc:spChg>
        <pc:spChg chg="mod">
          <ac:chgData name="Aude Van de WIELE" userId="7317e673-04dd-415c-a4d7-718682339b40" providerId="ADAL" clId="{80D4E734-020D-4C1F-A028-1B9E9B483F9A}" dt="2021-05-25T08:49:50.649" v="9161" actId="790"/>
          <ac:spMkLst>
            <pc:docMk/>
            <pc:sldMk cId="957352529" sldId="10393"/>
            <ac:spMk id="61" creationId="{3A77C3B4-4234-494E-B3AF-E2D230D559B9}"/>
          </ac:spMkLst>
        </pc:spChg>
        <pc:spChg chg="mod">
          <ac:chgData name="Aude Van de WIELE" userId="7317e673-04dd-415c-a4d7-718682339b40" providerId="ADAL" clId="{80D4E734-020D-4C1F-A028-1B9E9B483F9A}" dt="2021-05-25T08:49:50.651" v="9163" actId="790"/>
          <ac:spMkLst>
            <pc:docMk/>
            <pc:sldMk cId="957352529" sldId="10393"/>
            <ac:spMk id="64" creationId="{691BA92F-2D07-4894-BC16-248A09E7B8E7}"/>
          </ac:spMkLst>
        </pc:spChg>
        <pc:spChg chg="mod">
          <ac:chgData name="Aude Van de WIELE" userId="7317e673-04dd-415c-a4d7-718682339b40" providerId="ADAL" clId="{80D4E734-020D-4C1F-A028-1B9E9B483F9A}" dt="2021-05-25T08:49:50.650" v="9162" actId="790"/>
          <ac:spMkLst>
            <pc:docMk/>
            <pc:sldMk cId="957352529" sldId="10393"/>
            <ac:spMk id="65" creationId="{76ED0108-7E7B-4C9D-89F2-A614F653A231}"/>
          </ac:spMkLst>
        </pc:spChg>
        <pc:spChg chg="mod">
          <ac:chgData name="Aude Van de WIELE" userId="7317e673-04dd-415c-a4d7-718682339b40" providerId="ADAL" clId="{80D4E734-020D-4C1F-A028-1B9E9B483F9A}" dt="2021-05-25T08:49:50.653" v="9164" actId="790"/>
          <ac:spMkLst>
            <pc:docMk/>
            <pc:sldMk cId="957352529" sldId="10393"/>
            <ac:spMk id="67" creationId="{2F88E149-890C-439D-A411-E74C5028D4DB}"/>
          </ac:spMkLst>
        </pc:spChg>
        <pc:spChg chg="mod">
          <ac:chgData name="Aude Van de WIELE" userId="7317e673-04dd-415c-a4d7-718682339b40" providerId="ADAL" clId="{80D4E734-020D-4C1F-A028-1B9E9B483F9A}" dt="2021-05-25T08:49:50.654" v="9165" actId="790"/>
          <ac:spMkLst>
            <pc:docMk/>
            <pc:sldMk cId="957352529" sldId="10393"/>
            <ac:spMk id="68" creationId="{2DC6D0C2-73C5-4906-ADC1-16EE93DFC98A}"/>
          </ac:spMkLst>
        </pc:spChg>
        <pc:spChg chg="mod">
          <ac:chgData name="Aude Van de WIELE" userId="7317e673-04dd-415c-a4d7-718682339b40" providerId="ADAL" clId="{80D4E734-020D-4C1F-A028-1B9E9B483F9A}" dt="2021-05-25T08:49:50.655" v="9166" actId="790"/>
          <ac:spMkLst>
            <pc:docMk/>
            <pc:sldMk cId="957352529" sldId="10393"/>
            <ac:spMk id="69" creationId="{5EBB11DB-C104-4333-8834-EAE667C89105}"/>
          </ac:spMkLst>
        </pc:spChg>
        <pc:spChg chg="add mod">
          <ac:chgData name="Aude Van de WIELE" userId="7317e673-04dd-415c-a4d7-718682339b40" providerId="ADAL" clId="{80D4E734-020D-4C1F-A028-1B9E9B483F9A}" dt="2021-05-25T08:49:50.663" v="9175" actId="790"/>
          <ac:spMkLst>
            <pc:docMk/>
            <pc:sldMk cId="957352529" sldId="10393"/>
            <ac:spMk id="70" creationId="{CD93BD11-97EA-48B2-92A2-D7BDA271F048}"/>
          </ac:spMkLst>
        </pc:spChg>
        <pc:spChg chg="mod">
          <ac:chgData name="Aude Van de WIELE" userId="7317e673-04dd-415c-a4d7-718682339b40" providerId="ADAL" clId="{80D4E734-020D-4C1F-A028-1B9E9B483F9A}" dt="2021-05-25T08:49:50.656" v="9167" actId="790"/>
          <ac:spMkLst>
            <pc:docMk/>
            <pc:sldMk cId="957352529" sldId="10393"/>
            <ac:spMk id="81" creationId="{0FBF1E32-B6D0-4348-A648-BF12F780300D}"/>
          </ac:spMkLst>
        </pc:spChg>
        <pc:spChg chg="mod">
          <ac:chgData name="Aude Van de WIELE" userId="7317e673-04dd-415c-a4d7-718682339b40" providerId="ADAL" clId="{80D4E734-020D-4C1F-A028-1B9E9B483F9A}" dt="2021-05-25T08:49:50.657" v="9168" actId="790"/>
          <ac:spMkLst>
            <pc:docMk/>
            <pc:sldMk cId="957352529" sldId="10393"/>
            <ac:spMk id="82" creationId="{B7B8953C-D149-47D5-960F-235DAF55AECF}"/>
          </ac:spMkLst>
        </pc:spChg>
        <pc:spChg chg="mod">
          <ac:chgData name="Aude Van de WIELE" userId="7317e673-04dd-415c-a4d7-718682339b40" providerId="ADAL" clId="{80D4E734-020D-4C1F-A028-1B9E9B483F9A}" dt="2021-05-25T08:49:50.657" v="9169" actId="790"/>
          <ac:spMkLst>
            <pc:docMk/>
            <pc:sldMk cId="957352529" sldId="10393"/>
            <ac:spMk id="83" creationId="{B26FA1B6-823F-4D05-9001-5B804381DFBA}"/>
          </ac:spMkLst>
        </pc:spChg>
        <pc:spChg chg="mod">
          <ac:chgData name="Aude Van de WIELE" userId="7317e673-04dd-415c-a4d7-718682339b40" providerId="ADAL" clId="{80D4E734-020D-4C1F-A028-1B9E9B483F9A}" dt="2021-05-25T08:49:50.658" v="9170" actId="790"/>
          <ac:spMkLst>
            <pc:docMk/>
            <pc:sldMk cId="957352529" sldId="10393"/>
            <ac:spMk id="84" creationId="{D880890D-D484-44B2-A230-177108C3F1BC}"/>
          </ac:spMkLst>
        </pc:spChg>
        <pc:spChg chg="mod">
          <ac:chgData name="Aude Van de WIELE" userId="7317e673-04dd-415c-a4d7-718682339b40" providerId="ADAL" clId="{80D4E734-020D-4C1F-A028-1B9E9B483F9A}" dt="2021-05-25T08:49:50.659" v="9171" actId="790"/>
          <ac:spMkLst>
            <pc:docMk/>
            <pc:sldMk cId="957352529" sldId="10393"/>
            <ac:spMk id="85" creationId="{FB985EB4-EFAF-4CFE-AAC8-3BFEF86CD305}"/>
          </ac:spMkLst>
        </pc:spChg>
        <pc:spChg chg="mod">
          <ac:chgData name="Aude Van de WIELE" userId="7317e673-04dd-415c-a4d7-718682339b40" providerId="ADAL" clId="{80D4E734-020D-4C1F-A028-1B9E9B483F9A}" dt="2021-05-25T08:49:50.660" v="9172" actId="790"/>
          <ac:spMkLst>
            <pc:docMk/>
            <pc:sldMk cId="957352529" sldId="10393"/>
            <ac:spMk id="86" creationId="{D33079FA-0FE4-4F50-9CB5-E57CCD4A3E6D}"/>
          </ac:spMkLst>
        </pc:spChg>
        <pc:spChg chg="mod">
          <ac:chgData name="Aude Van de WIELE" userId="7317e673-04dd-415c-a4d7-718682339b40" providerId="ADAL" clId="{80D4E734-020D-4C1F-A028-1B9E9B483F9A}" dt="2021-05-25T08:49:50.661" v="9173" actId="790"/>
          <ac:spMkLst>
            <pc:docMk/>
            <pc:sldMk cId="957352529" sldId="10393"/>
            <ac:spMk id="87" creationId="{D0C7EF25-F41C-4D5A-8D5F-89222470364F}"/>
          </ac:spMkLst>
        </pc:spChg>
        <pc:spChg chg="mod">
          <ac:chgData name="Aude Van de WIELE" userId="7317e673-04dd-415c-a4d7-718682339b40" providerId="ADAL" clId="{80D4E734-020D-4C1F-A028-1B9E9B483F9A}" dt="2021-05-25T08:49:50.662" v="9174" actId="790"/>
          <ac:spMkLst>
            <pc:docMk/>
            <pc:sldMk cId="957352529" sldId="10393"/>
            <ac:spMk id="88" creationId="{33CC15C5-E426-425E-8CA8-58B5F0AF7407}"/>
          </ac:spMkLst>
        </pc:spChg>
        <pc:graphicFrameChg chg="modGraphic">
          <ac:chgData name="Aude Van de WIELE" userId="7317e673-04dd-415c-a4d7-718682339b40" providerId="ADAL" clId="{80D4E734-020D-4C1F-A028-1B9E9B483F9A}" dt="2021-05-24T11:41:18.569" v="2450" actId="122"/>
          <ac:graphicFrameMkLst>
            <pc:docMk/>
            <pc:sldMk cId="957352529" sldId="10393"/>
            <ac:graphicFrameMk id="15" creationId="{9F498932-4CCF-4B8A-8787-99F5420B02A5}"/>
          </ac:graphicFrameMkLst>
        </pc:graphicFrame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3586101810" sldId="10396"/>
        </pc:sldMkLst>
      </pc:sldChg>
      <pc:sldChg chg="modSp mod">
        <pc:chgData name="Aude Van de WIELE" userId="7317e673-04dd-415c-a4d7-718682339b40" providerId="ADAL" clId="{80D4E734-020D-4C1F-A028-1B9E9B483F9A}" dt="2021-05-25T09:52:02.182" v="10061" actId="20577"/>
        <pc:sldMkLst>
          <pc:docMk/>
          <pc:sldMk cId="3996239782" sldId="10399"/>
        </pc:sldMkLst>
        <pc:spChg chg="mod">
          <ac:chgData name="Aude Van de WIELE" userId="7317e673-04dd-415c-a4d7-718682339b40" providerId="ADAL" clId="{80D4E734-020D-4C1F-A028-1B9E9B483F9A}" dt="2021-05-25T08:49:50.408" v="8977" actId="790"/>
          <ac:spMkLst>
            <pc:docMk/>
            <pc:sldMk cId="3996239782" sldId="10399"/>
            <ac:spMk id="2" creationId="{8ECED2BA-32CC-4045-8D14-78B10AEA12FB}"/>
          </ac:spMkLst>
        </pc:spChg>
        <pc:spChg chg="mod">
          <ac:chgData name="Aude Van de WIELE" userId="7317e673-04dd-415c-a4d7-718682339b40" providerId="ADAL" clId="{80D4E734-020D-4C1F-A028-1B9E9B483F9A}" dt="2021-05-25T08:49:50.409" v="8978" actId="790"/>
          <ac:spMkLst>
            <pc:docMk/>
            <pc:sldMk cId="3996239782" sldId="10399"/>
            <ac:spMk id="3" creationId="{B501C848-A2DC-4147-8A2D-73995C4BC00F}"/>
          </ac:spMkLst>
        </pc:spChg>
        <pc:spChg chg="mod">
          <ac:chgData name="Aude Van de WIELE" userId="7317e673-04dd-415c-a4d7-718682339b40" providerId="ADAL" clId="{80D4E734-020D-4C1F-A028-1B9E9B483F9A}" dt="2021-05-25T08:49:50.410" v="8979" actId="790"/>
          <ac:spMkLst>
            <pc:docMk/>
            <pc:sldMk cId="3996239782" sldId="10399"/>
            <ac:spMk id="4" creationId="{F7D6FC23-B579-4054-8BE5-06AAB333B6F1}"/>
          </ac:spMkLst>
        </pc:spChg>
        <pc:spChg chg="mod">
          <ac:chgData name="Aude Van de WIELE" userId="7317e673-04dd-415c-a4d7-718682339b40" providerId="ADAL" clId="{80D4E734-020D-4C1F-A028-1B9E9B483F9A}" dt="2021-05-25T08:49:50.411" v="8980" actId="790"/>
          <ac:spMkLst>
            <pc:docMk/>
            <pc:sldMk cId="3996239782" sldId="10399"/>
            <ac:spMk id="5" creationId="{E05AFE09-2ECE-45A0-B1A6-917994C4A573}"/>
          </ac:spMkLst>
        </pc:spChg>
        <pc:spChg chg="mod">
          <ac:chgData name="Aude Van de WIELE" userId="7317e673-04dd-415c-a4d7-718682339b40" providerId="ADAL" clId="{80D4E734-020D-4C1F-A028-1B9E9B483F9A}" dt="2021-05-25T08:49:50.413" v="8981" actId="790"/>
          <ac:spMkLst>
            <pc:docMk/>
            <pc:sldMk cId="3996239782" sldId="10399"/>
            <ac:spMk id="6" creationId="{97ECC932-E904-4A9B-8E43-A105D088ABBA}"/>
          </ac:spMkLst>
        </pc:spChg>
        <pc:spChg chg="mod">
          <ac:chgData name="Aude Van de WIELE" userId="7317e673-04dd-415c-a4d7-718682339b40" providerId="ADAL" clId="{80D4E734-020D-4C1F-A028-1B9E9B483F9A}" dt="2021-05-25T08:49:50.416" v="8982" actId="790"/>
          <ac:spMkLst>
            <pc:docMk/>
            <pc:sldMk cId="3996239782" sldId="10399"/>
            <ac:spMk id="7" creationId="{7F4369D1-89B8-488C-A693-6DCA73F7A083}"/>
          </ac:spMkLst>
        </pc:spChg>
        <pc:spChg chg="mod">
          <ac:chgData name="Aude Van de WIELE" userId="7317e673-04dd-415c-a4d7-718682339b40" providerId="ADAL" clId="{80D4E734-020D-4C1F-A028-1B9E9B483F9A}" dt="2021-05-25T08:49:50.431" v="8992" actId="790"/>
          <ac:spMkLst>
            <pc:docMk/>
            <pc:sldMk cId="3996239782" sldId="10399"/>
            <ac:spMk id="8" creationId="{BE20C05E-1A26-46E6-973C-A1D4EAEA014C}"/>
          </ac:spMkLst>
        </pc:spChg>
        <pc:spChg chg="mod">
          <ac:chgData name="Aude Van de WIELE" userId="7317e673-04dd-415c-a4d7-718682339b40" providerId="ADAL" clId="{80D4E734-020D-4C1F-A028-1B9E9B483F9A}" dt="2021-05-25T08:49:50.417" v="8983" actId="790"/>
          <ac:spMkLst>
            <pc:docMk/>
            <pc:sldMk cId="3996239782" sldId="10399"/>
            <ac:spMk id="10" creationId="{BAC2F0DB-4A90-42A5-824F-1E510EB9DCB5}"/>
          </ac:spMkLst>
        </pc:spChg>
        <pc:spChg chg="mod">
          <ac:chgData name="Aude Van de WIELE" userId="7317e673-04dd-415c-a4d7-718682339b40" providerId="ADAL" clId="{80D4E734-020D-4C1F-A028-1B9E9B483F9A}" dt="2021-05-25T08:49:50.418" v="8984" actId="790"/>
          <ac:spMkLst>
            <pc:docMk/>
            <pc:sldMk cId="3996239782" sldId="10399"/>
            <ac:spMk id="12" creationId="{B3C0B329-0DB4-4820-80B0-697179429242}"/>
          </ac:spMkLst>
        </pc:spChg>
        <pc:spChg chg="mod">
          <ac:chgData name="Aude Van de WIELE" userId="7317e673-04dd-415c-a4d7-718682339b40" providerId="ADAL" clId="{80D4E734-020D-4C1F-A028-1B9E9B483F9A}" dt="2021-05-25T08:49:50.421" v="8985" actId="790"/>
          <ac:spMkLst>
            <pc:docMk/>
            <pc:sldMk cId="3996239782" sldId="10399"/>
            <ac:spMk id="14" creationId="{6F40B73C-ED48-415F-9826-3160F048C49D}"/>
          </ac:spMkLst>
        </pc:spChg>
        <pc:spChg chg="mod">
          <ac:chgData name="Aude Van de WIELE" userId="7317e673-04dd-415c-a4d7-718682339b40" providerId="ADAL" clId="{80D4E734-020D-4C1F-A028-1B9E9B483F9A}" dt="2021-05-25T08:49:50.423" v="8986" actId="790"/>
          <ac:spMkLst>
            <pc:docMk/>
            <pc:sldMk cId="3996239782" sldId="10399"/>
            <ac:spMk id="15" creationId="{1EAFF699-192B-46E9-B8E8-C0838CC08C2C}"/>
          </ac:spMkLst>
        </pc:spChg>
        <pc:spChg chg="mod">
          <ac:chgData name="Aude Van de WIELE" userId="7317e673-04dd-415c-a4d7-718682339b40" providerId="ADAL" clId="{80D4E734-020D-4C1F-A028-1B9E9B483F9A}" dt="2021-05-25T08:49:50.423" v="8987" actId="790"/>
          <ac:spMkLst>
            <pc:docMk/>
            <pc:sldMk cId="3996239782" sldId="10399"/>
            <ac:spMk id="17" creationId="{8D2A536B-772E-484E-8D44-1AC57A161AF0}"/>
          </ac:spMkLst>
        </pc:spChg>
        <pc:spChg chg="mod">
          <ac:chgData name="Aude Van de WIELE" userId="7317e673-04dd-415c-a4d7-718682339b40" providerId="ADAL" clId="{80D4E734-020D-4C1F-A028-1B9E9B483F9A}" dt="2021-05-25T08:49:50.424" v="8988" actId="790"/>
          <ac:spMkLst>
            <pc:docMk/>
            <pc:sldMk cId="3996239782" sldId="10399"/>
            <ac:spMk id="18" creationId="{C87F9580-72EF-4198-9D8A-320AB7543801}"/>
          </ac:spMkLst>
        </pc:spChg>
        <pc:spChg chg="mod">
          <ac:chgData name="Aude Van de WIELE" userId="7317e673-04dd-415c-a4d7-718682339b40" providerId="ADAL" clId="{80D4E734-020D-4C1F-A028-1B9E9B483F9A}" dt="2021-05-25T08:49:50.426" v="8989" actId="790"/>
          <ac:spMkLst>
            <pc:docMk/>
            <pc:sldMk cId="3996239782" sldId="10399"/>
            <ac:spMk id="19" creationId="{FBC7EDC3-999F-41DB-BAE4-EC07B2C7B35B}"/>
          </ac:spMkLst>
        </pc:spChg>
        <pc:spChg chg="mod">
          <ac:chgData name="Aude Van de WIELE" userId="7317e673-04dd-415c-a4d7-718682339b40" providerId="ADAL" clId="{80D4E734-020D-4C1F-A028-1B9E9B483F9A}" dt="2021-05-25T08:49:50.432" v="8993" actId="790"/>
          <ac:spMkLst>
            <pc:docMk/>
            <pc:sldMk cId="3996239782" sldId="10399"/>
            <ac:spMk id="21" creationId="{1B0FB440-CD14-4D76-8D20-CF2F87E8BD3F}"/>
          </ac:spMkLst>
        </pc:spChg>
        <pc:spChg chg="mod">
          <ac:chgData name="Aude Van de WIELE" userId="7317e673-04dd-415c-a4d7-718682339b40" providerId="ADAL" clId="{80D4E734-020D-4C1F-A028-1B9E9B483F9A}" dt="2021-05-25T09:52:02.182" v="10061" actId="20577"/>
          <ac:spMkLst>
            <pc:docMk/>
            <pc:sldMk cId="3996239782" sldId="10399"/>
            <ac:spMk id="23" creationId="{7A7B45BB-0C39-4952-96D9-943DAC289519}"/>
          </ac:spMkLst>
        </pc:spChg>
        <pc:spChg chg="mod">
          <ac:chgData name="Aude Van de WIELE" userId="7317e673-04dd-415c-a4d7-718682339b40" providerId="ADAL" clId="{80D4E734-020D-4C1F-A028-1B9E9B483F9A}" dt="2021-05-25T08:49:50.437" v="8995" actId="790"/>
          <ac:spMkLst>
            <pc:docMk/>
            <pc:sldMk cId="3996239782" sldId="10399"/>
            <ac:spMk id="27" creationId="{499E31EE-17B3-461E-BC6B-3A41D42EEEAA}"/>
          </ac:spMkLst>
        </pc:spChg>
        <pc:spChg chg="mod">
          <ac:chgData name="Aude Van de WIELE" userId="7317e673-04dd-415c-a4d7-718682339b40" providerId="ADAL" clId="{80D4E734-020D-4C1F-A028-1B9E9B483F9A}" dt="2021-05-25T08:49:50.442" v="8996" actId="790"/>
          <ac:spMkLst>
            <pc:docMk/>
            <pc:sldMk cId="3996239782" sldId="10399"/>
            <ac:spMk id="43" creationId="{EB6DEF52-496A-402C-8CF6-A5A3BF00AE8F}"/>
          </ac:spMkLst>
        </pc:spChg>
        <pc:spChg chg="mod">
          <ac:chgData name="Aude Van de WIELE" userId="7317e673-04dd-415c-a4d7-718682339b40" providerId="ADAL" clId="{80D4E734-020D-4C1F-A028-1B9E9B483F9A}" dt="2021-05-25T08:49:50.427" v="8990" actId="790"/>
          <ac:spMkLst>
            <pc:docMk/>
            <pc:sldMk cId="3996239782" sldId="10399"/>
            <ac:spMk id="47" creationId="{C9CE8351-A7D3-4CFD-BA79-B676ED4E43BC}"/>
          </ac:spMkLst>
        </pc:spChg>
        <pc:spChg chg="mod">
          <ac:chgData name="Aude Van de WIELE" userId="7317e673-04dd-415c-a4d7-718682339b40" providerId="ADAL" clId="{80D4E734-020D-4C1F-A028-1B9E9B483F9A}" dt="2021-05-25T08:49:50.428" v="8991" actId="790"/>
          <ac:spMkLst>
            <pc:docMk/>
            <pc:sldMk cId="3996239782" sldId="10399"/>
            <ac:spMk id="48" creationId="{751D535F-DDDF-4312-8041-6ED9DE21949C}"/>
          </ac:spMkLst>
        </pc:spChg>
        <pc:spChg chg="mod">
          <ac:chgData name="Aude Van de WIELE" userId="7317e673-04dd-415c-a4d7-718682339b40" providerId="ADAL" clId="{80D4E734-020D-4C1F-A028-1B9E9B483F9A}" dt="2021-05-25T08:49:50.443" v="8997" actId="790"/>
          <ac:spMkLst>
            <pc:docMk/>
            <pc:sldMk cId="3996239782" sldId="10399"/>
            <ac:spMk id="76" creationId="{77107393-3EF9-4A93-9242-E2793ED3728D}"/>
          </ac:spMkLst>
        </pc:spChg>
        <pc:spChg chg="mod">
          <ac:chgData name="Aude Van de WIELE" userId="7317e673-04dd-415c-a4d7-718682339b40" providerId="ADAL" clId="{80D4E734-020D-4C1F-A028-1B9E9B483F9A}" dt="2021-05-25T08:49:50.444" v="8998" actId="790"/>
          <ac:spMkLst>
            <pc:docMk/>
            <pc:sldMk cId="3996239782" sldId="10399"/>
            <ac:spMk id="77" creationId="{9C77AA33-721F-465C-A332-D3282743BF44}"/>
          </ac:spMkLst>
        </pc:spChg>
        <pc:spChg chg="mod">
          <ac:chgData name="Aude Van de WIELE" userId="7317e673-04dd-415c-a4d7-718682339b40" providerId="ADAL" clId="{80D4E734-020D-4C1F-A028-1B9E9B483F9A}" dt="2021-05-25T08:49:50.445" v="8999" actId="790"/>
          <ac:spMkLst>
            <pc:docMk/>
            <pc:sldMk cId="3996239782" sldId="10399"/>
            <ac:spMk id="78" creationId="{4A691939-F14E-4710-8B5F-A516FB479AC7}"/>
          </ac:spMkLst>
        </pc:spChg>
        <pc:spChg chg="mod">
          <ac:chgData name="Aude Van de WIELE" userId="7317e673-04dd-415c-a4d7-718682339b40" providerId="ADAL" clId="{80D4E734-020D-4C1F-A028-1B9E9B483F9A}" dt="2021-05-25T08:49:50.446" v="9000" actId="790"/>
          <ac:spMkLst>
            <pc:docMk/>
            <pc:sldMk cId="3996239782" sldId="10399"/>
            <ac:spMk id="79" creationId="{1E030DBF-C684-483E-A6A7-B3E6927781BA}"/>
          </ac:spMkLst>
        </pc:spChg>
        <pc:spChg chg="mod">
          <ac:chgData name="Aude Van de WIELE" userId="7317e673-04dd-415c-a4d7-718682339b40" providerId="ADAL" clId="{80D4E734-020D-4C1F-A028-1B9E9B483F9A}" dt="2021-05-25T08:49:50.447" v="9001" actId="790"/>
          <ac:spMkLst>
            <pc:docMk/>
            <pc:sldMk cId="3996239782" sldId="10399"/>
            <ac:spMk id="80" creationId="{5321F982-E9D4-4BDF-BDDD-ECBAC3482D23}"/>
          </ac:spMkLst>
        </pc:spChg>
        <pc:spChg chg="mod">
          <ac:chgData name="Aude Van de WIELE" userId="7317e673-04dd-415c-a4d7-718682339b40" providerId="ADAL" clId="{80D4E734-020D-4C1F-A028-1B9E9B483F9A}" dt="2021-05-25T08:49:50.448" v="9002" actId="790"/>
          <ac:spMkLst>
            <pc:docMk/>
            <pc:sldMk cId="3996239782" sldId="10399"/>
            <ac:spMk id="81" creationId="{D29EDD10-6FAE-4062-8731-34FEAFB3980B}"/>
          </ac:spMkLst>
        </pc:spChg>
        <pc:spChg chg="mod">
          <ac:chgData name="Aude Van de WIELE" userId="7317e673-04dd-415c-a4d7-718682339b40" providerId="ADAL" clId="{80D4E734-020D-4C1F-A028-1B9E9B483F9A}" dt="2021-05-25T08:49:50.449" v="9003" actId="790"/>
          <ac:spMkLst>
            <pc:docMk/>
            <pc:sldMk cId="3996239782" sldId="10399"/>
            <ac:spMk id="82" creationId="{5A23AB82-474A-44B4-BA43-BAFD29FCC899}"/>
          </ac:spMkLst>
        </pc:spChg>
        <pc:spChg chg="mod">
          <ac:chgData name="Aude Van de WIELE" userId="7317e673-04dd-415c-a4d7-718682339b40" providerId="ADAL" clId="{80D4E734-020D-4C1F-A028-1B9E9B483F9A}" dt="2021-05-25T08:49:50.450" v="9004" actId="790"/>
          <ac:spMkLst>
            <pc:docMk/>
            <pc:sldMk cId="3996239782" sldId="10399"/>
            <ac:spMk id="83" creationId="{F0FAAC8D-84E2-47F1-8113-D604530B09F8}"/>
          </ac:spMkLst>
        </pc:spChg>
      </pc:sldChg>
      <pc:sldChg chg="modSp mod">
        <pc:chgData name="Aude Van de WIELE" userId="7317e673-04dd-415c-a4d7-718682339b40" providerId="ADAL" clId="{80D4E734-020D-4C1F-A028-1B9E9B483F9A}" dt="2021-05-25T09:54:33.112" v="10091" actId="20577"/>
        <pc:sldMkLst>
          <pc:docMk/>
          <pc:sldMk cId="2944806386" sldId="10400"/>
        </pc:sldMkLst>
        <pc:spChg chg="mod">
          <ac:chgData name="Aude Van de WIELE" userId="7317e673-04dd-415c-a4d7-718682339b40" providerId="ADAL" clId="{80D4E734-020D-4C1F-A028-1B9E9B483F9A}" dt="2021-05-25T08:49:49.338" v="8059" actId="790"/>
          <ac:spMkLst>
            <pc:docMk/>
            <pc:sldMk cId="2944806386" sldId="10400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9:54:33.112" v="10091" actId="20577"/>
          <ac:spMkLst>
            <pc:docMk/>
            <pc:sldMk cId="2944806386" sldId="10400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49.341" v="8061" actId="790"/>
          <ac:spMkLst>
            <pc:docMk/>
            <pc:sldMk cId="2944806386" sldId="10400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49.345" v="8066" actId="790"/>
          <ac:spMkLst>
            <pc:docMk/>
            <pc:sldMk cId="2944806386" sldId="10400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49.342" v="8062" actId="790"/>
          <ac:spMkLst>
            <pc:docMk/>
            <pc:sldMk cId="2944806386" sldId="10400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49.342" v="8063" actId="790"/>
          <ac:spMkLst>
            <pc:docMk/>
            <pc:sldMk cId="2944806386" sldId="10400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49.343" v="8064" actId="790"/>
          <ac:spMkLst>
            <pc:docMk/>
            <pc:sldMk cId="2944806386" sldId="10400"/>
            <ac:spMk id="22" creationId="{C002634F-3FA9-4AC3-90E2-0D253FC97BF7}"/>
          </ac:spMkLst>
        </pc:spChg>
        <pc:spChg chg="mod">
          <ac:chgData name="Aude Van de WIELE" userId="7317e673-04dd-415c-a4d7-718682339b40" providerId="ADAL" clId="{80D4E734-020D-4C1F-A028-1B9E9B483F9A}" dt="2021-05-25T08:49:49.344" v="8065" actId="790"/>
          <ac:spMkLst>
            <pc:docMk/>
            <pc:sldMk cId="2944806386" sldId="10400"/>
            <ac:spMk id="24" creationId="{9523976D-7994-4445-A7A3-F04F6C533708}"/>
          </ac:spMkLst>
        </pc:spChg>
      </pc:sldChg>
      <pc:sldChg chg="modSp mod">
        <pc:chgData name="Aude Van de WIELE" userId="7317e673-04dd-415c-a4d7-718682339b40" providerId="ADAL" clId="{80D4E734-020D-4C1F-A028-1B9E9B483F9A}" dt="2021-05-25T09:54:44.637" v="10097" actId="20577"/>
        <pc:sldMkLst>
          <pc:docMk/>
          <pc:sldMk cId="184650485" sldId="10401"/>
        </pc:sldMkLst>
        <pc:spChg chg="mod">
          <ac:chgData name="Aude Van de WIELE" userId="7317e673-04dd-415c-a4d7-718682339b40" providerId="ADAL" clId="{80D4E734-020D-4C1F-A028-1B9E9B483F9A}" dt="2021-05-25T08:49:50.088" v="8747" actId="790"/>
          <ac:spMkLst>
            <pc:docMk/>
            <pc:sldMk cId="184650485" sldId="10401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9:54:44.637" v="10097" actId="20577"/>
          <ac:spMkLst>
            <pc:docMk/>
            <pc:sldMk cId="184650485" sldId="10401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50.091" v="8749" actId="790"/>
          <ac:spMkLst>
            <pc:docMk/>
            <pc:sldMk cId="184650485" sldId="10401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50.097" v="8754" actId="790"/>
          <ac:spMkLst>
            <pc:docMk/>
            <pc:sldMk cId="184650485" sldId="10401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50.092" v="8750" actId="790"/>
          <ac:spMkLst>
            <pc:docMk/>
            <pc:sldMk cId="184650485" sldId="10401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50.094" v="8751" actId="790"/>
          <ac:spMkLst>
            <pc:docMk/>
            <pc:sldMk cId="184650485" sldId="10401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50.095" v="8752" actId="790"/>
          <ac:spMkLst>
            <pc:docMk/>
            <pc:sldMk cId="184650485" sldId="10401"/>
            <ac:spMk id="22" creationId="{C002634F-3FA9-4AC3-90E2-0D253FC97BF7}"/>
          </ac:spMkLst>
        </pc:spChg>
        <pc:spChg chg="mod">
          <ac:chgData name="Aude Van de WIELE" userId="7317e673-04dd-415c-a4d7-718682339b40" providerId="ADAL" clId="{80D4E734-020D-4C1F-A028-1B9E9B483F9A}" dt="2021-05-25T08:49:50.096" v="8753" actId="790"/>
          <ac:spMkLst>
            <pc:docMk/>
            <pc:sldMk cId="184650485" sldId="10401"/>
            <ac:spMk id="24" creationId="{9523976D-7994-4445-A7A3-F04F6C533708}"/>
          </ac:spMkLst>
        </pc:sp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1069423577" sldId="10402"/>
        </pc:sldMkLst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1293220998" sldId="10403"/>
        </pc:sldMkLst>
      </pc:sldChg>
      <pc:sldChg chg="delSp modSp mod">
        <pc:chgData name="Aude Van de WIELE" userId="7317e673-04dd-415c-a4d7-718682339b40" providerId="ADAL" clId="{80D4E734-020D-4C1F-A028-1B9E9B483F9A}" dt="2021-05-25T09:52:13.753" v="10077" actId="20577"/>
        <pc:sldMkLst>
          <pc:docMk/>
          <pc:sldMk cId="1205771456" sldId="10404"/>
        </pc:sldMkLst>
        <pc:spChg chg="mod">
          <ac:chgData name="Aude Van de WIELE" userId="7317e673-04dd-415c-a4d7-718682339b40" providerId="ADAL" clId="{80D4E734-020D-4C1F-A028-1B9E9B483F9A}" dt="2021-05-25T08:49:50.565" v="9095" actId="790"/>
          <ac:spMkLst>
            <pc:docMk/>
            <pc:sldMk cId="1205771456" sldId="10404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9:52:13.753" v="10077" actId="20577"/>
          <ac:spMkLst>
            <pc:docMk/>
            <pc:sldMk cId="1205771456" sldId="10404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50.570" v="9097" actId="790"/>
          <ac:spMkLst>
            <pc:docMk/>
            <pc:sldMk cId="1205771456" sldId="10404"/>
            <ac:spMk id="5" creationId="{3043F534-C5C5-4371-A080-3E7D382D4691}"/>
          </ac:spMkLst>
        </pc:spChg>
        <pc:spChg chg="del">
          <ac:chgData name="Aude Van de WIELE" userId="7317e673-04dd-415c-a4d7-718682339b40" providerId="ADAL" clId="{80D4E734-020D-4C1F-A028-1B9E9B483F9A}" dt="2021-05-24T14:34:35.808" v="4989" actId="478"/>
          <ac:spMkLst>
            <pc:docMk/>
            <pc:sldMk cId="1205771456" sldId="10404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50.571" v="9098" actId="790"/>
          <ac:spMkLst>
            <pc:docMk/>
            <pc:sldMk cId="1205771456" sldId="10404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50.572" v="9099" actId="790"/>
          <ac:spMkLst>
            <pc:docMk/>
            <pc:sldMk cId="1205771456" sldId="10404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50.573" v="9100" actId="790"/>
          <ac:spMkLst>
            <pc:docMk/>
            <pc:sldMk cId="1205771456" sldId="10404"/>
            <ac:spMk id="24" creationId="{9523976D-7994-4445-A7A3-F04F6C533708}"/>
          </ac:spMkLst>
        </pc:spChg>
        <pc:spChg chg="mod">
          <ac:chgData name="Aude Van de WIELE" userId="7317e673-04dd-415c-a4d7-718682339b40" providerId="ADAL" clId="{80D4E734-020D-4C1F-A028-1B9E9B483F9A}" dt="2021-05-25T08:49:50.575" v="9101" actId="790"/>
          <ac:spMkLst>
            <pc:docMk/>
            <pc:sldMk cId="1205771456" sldId="10404"/>
            <ac:spMk id="26" creationId="{D70D99D8-5440-4867-B8A0-57942A3EA3D2}"/>
          </ac:spMkLst>
        </pc:spChg>
      </pc:sldChg>
      <pc:sldChg chg="modSp mod">
        <pc:chgData name="Aude Van de WIELE" userId="7317e673-04dd-415c-a4d7-718682339b40" providerId="ADAL" clId="{80D4E734-020D-4C1F-A028-1B9E9B483F9A}" dt="2021-05-25T09:52:18.924" v="10085" actId="20577"/>
        <pc:sldMkLst>
          <pc:docMk/>
          <pc:sldMk cId="1339838536" sldId="10405"/>
        </pc:sldMkLst>
        <pc:spChg chg="mod">
          <ac:chgData name="Aude Van de WIELE" userId="7317e673-04dd-415c-a4d7-718682339b40" providerId="ADAL" clId="{80D4E734-020D-4C1F-A028-1B9E9B483F9A}" dt="2021-05-25T08:49:51.192" v="9585" actId="790"/>
          <ac:spMkLst>
            <pc:docMk/>
            <pc:sldMk cId="1339838536" sldId="10405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9:52:18.924" v="10085" actId="20577"/>
          <ac:spMkLst>
            <pc:docMk/>
            <pc:sldMk cId="1339838536" sldId="10405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51.196" v="9587" actId="790"/>
          <ac:spMkLst>
            <pc:docMk/>
            <pc:sldMk cId="1339838536" sldId="10405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51.203" v="9592" actId="790"/>
          <ac:spMkLst>
            <pc:docMk/>
            <pc:sldMk cId="1339838536" sldId="10405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51.197" v="9588" actId="790"/>
          <ac:spMkLst>
            <pc:docMk/>
            <pc:sldMk cId="1339838536" sldId="10405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51.199" v="9589" actId="790"/>
          <ac:spMkLst>
            <pc:docMk/>
            <pc:sldMk cId="1339838536" sldId="10405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51.200" v="9590" actId="790"/>
          <ac:spMkLst>
            <pc:docMk/>
            <pc:sldMk cId="1339838536" sldId="10405"/>
            <ac:spMk id="24" creationId="{9523976D-7994-4445-A7A3-F04F6C533708}"/>
          </ac:spMkLst>
        </pc:spChg>
        <pc:spChg chg="mod">
          <ac:chgData name="Aude Van de WIELE" userId="7317e673-04dd-415c-a4d7-718682339b40" providerId="ADAL" clId="{80D4E734-020D-4C1F-A028-1B9E9B483F9A}" dt="2021-05-25T08:49:51.202" v="9591" actId="790"/>
          <ac:spMkLst>
            <pc:docMk/>
            <pc:sldMk cId="1339838536" sldId="10405"/>
            <ac:spMk id="26" creationId="{D70D99D8-5440-4867-B8A0-57942A3EA3D2}"/>
          </ac:spMkLst>
        </pc:sp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2152476671" sldId="10406"/>
        </pc:sldMkLst>
      </pc:sldChg>
      <pc:sldChg chg="addSp delSp modSp mod">
        <pc:chgData name="Aude Van de WIELE" userId="7317e673-04dd-415c-a4d7-718682339b40" providerId="ADAL" clId="{80D4E734-020D-4C1F-A028-1B9E9B483F9A}" dt="2021-05-25T13:23:15.732" v="12742" actId="478"/>
        <pc:sldMkLst>
          <pc:docMk/>
          <pc:sldMk cId="2868900962" sldId="10407"/>
        </pc:sldMkLst>
        <pc:spChg chg="mod">
          <ac:chgData name="Aude Van de WIELE" userId="7317e673-04dd-415c-a4d7-718682339b40" providerId="ADAL" clId="{80D4E734-020D-4C1F-A028-1B9E9B483F9A}" dt="2021-05-25T08:49:48.186" v="7088" actId="790"/>
          <ac:spMkLst>
            <pc:docMk/>
            <pc:sldMk cId="2868900962" sldId="10407"/>
            <ac:spMk id="2" creationId="{6141F854-3009-40D7-9038-56590105A49E}"/>
          </ac:spMkLst>
        </pc:spChg>
        <pc:spChg chg="mod">
          <ac:chgData name="Aude Van de WIELE" userId="7317e673-04dd-415c-a4d7-718682339b40" providerId="ADAL" clId="{80D4E734-020D-4C1F-A028-1B9E9B483F9A}" dt="2021-05-25T08:49:48.210" v="7111" actId="790"/>
          <ac:spMkLst>
            <pc:docMk/>
            <pc:sldMk cId="2868900962" sldId="10407"/>
            <ac:spMk id="3" creationId="{4FAF7BC9-62CE-4C21-8936-6030B817531A}"/>
          </ac:spMkLst>
        </pc:spChg>
        <pc:spChg chg="mod">
          <ac:chgData name="Aude Van de WIELE" userId="7317e673-04dd-415c-a4d7-718682339b40" providerId="ADAL" clId="{80D4E734-020D-4C1F-A028-1B9E9B483F9A}" dt="2021-05-25T08:49:48.222" v="7116" actId="790"/>
          <ac:spMkLst>
            <pc:docMk/>
            <pc:sldMk cId="2868900962" sldId="10407"/>
            <ac:spMk id="4" creationId="{6846C837-D7D3-4E93-997C-80DC509A1088}"/>
          </ac:spMkLst>
        </pc:spChg>
        <pc:spChg chg="mod">
          <ac:chgData name="Aude Van de WIELE" userId="7317e673-04dd-415c-a4d7-718682339b40" providerId="ADAL" clId="{80D4E734-020D-4C1F-A028-1B9E9B483F9A}" dt="2021-05-25T08:49:48.187" v="7089" actId="790"/>
          <ac:spMkLst>
            <pc:docMk/>
            <pc:sldMk cId="2868900962" sldId="10407"/>
            <ac:spMk id="8" creationId="{850EB23D-4D8A-4214-A83F-5AE74846D409}"/>
          </ac:spMkLst>
        </pc:spChg>
        <pc:spChg chg="del mod">
          <ac:chgData name="Aude Van de WIELE" userId="7317e673-04dd-415c-a4d7-718682339b40" providerId="ADAL" clId="{80D4E734-020D-4C1F-A028-1B9E9B483F9A}" dt="2021-05-24T14:38:26.581" v="4990" actId="21"/>
          <ac:spMkLst>
            <pc:docMk/>
            <pc:sldMk cId="2868900962" sldId="10407"/>
            <ac:spMk id="9" creationId="{80683D4C-A975-4562-8B87-312BA4741EA4}"/>
          </ac:spMkLst>
        </pc:spChg>
        <pc:spChg chg="mod">
          <ac:chgData name="Aude Van de WIELE" userId="7317e673-04dd-415c-a4d7-718682339b40" providerId="ADAL" clId="{80D4E734-020D-4C1F-A028-1B9E9B483F9A}" dt="2021-05-25T08:49:48.188" v="7090" actId="790"/>
          <ac:spMkLst>
            <pc:docMk/>
            <pc:sldMk cId="2868900962" sldId="10407"/>
            <ac:spMk id="11" creationId="{6CEA6CC3-5999-43BB-B318-05D09C7CD7DD}"/>
          </ac:spMkLst>
        </pc:spChg>
        <pc:spChg chg="mod">
          <ac:chgData name="Aude Van de WIELE" userId="7317e673-04dd-415c-a4d7-718682339b40" providerId="ADAL" clId="{80D4E734-020D-4C1F-A028-1B9E9B483F9A}" dt="2021-05-25T08:49:48.188" v="7091" actId="790"/>
          <ac:spMkLst>
            <pc:docMk/>
            <pc:sldMk cId="2868900962" sldId="10407"/>
            <ac:spMk id="12" creationId="{D9771A74-F8F4-4744-B254-8782BC2FE79C}"/>
          </ac:spMkLst>
        </pc:spChg>
        <pc:spChg chg="mod">
          <ac:chgData name="Aude Van de WIELE" userId="7317e673-04dd-415c-a4d7-718682339b40" providerId="ADAL" clId="{80D4E734-020D-4C1F-A028-1B9E9B483F9A}" dt="2021-05-25T08:49:48.189" v="7092" actId="790"/>
          <ac:spMkLst>
            <pc:docMk/>
            <pc:sldMk cId="2868900962" sldId="10407"/>
            <ac:spMk id="13" creationId="{ED00158F-1B0C-4AFB-8236-4FE970EA41BF}"/>
          </ac:spMkLst>
        </pc:spChg>
        <pc:spChg chg="mod">
          <ac:chgData name="Aude Van de WIELE" userId="7317e673-04dd-415c-a4d7-718682339b40" providerId="ADAL" clId="{80D4E734-020D-4C1F-A028-1B9E9B483F9A}" dt="2021-05-25T08:49:48.190" v="7093" actId="790"/>
          <ac:spMkLst>
            <pc:docMk/>
            <pc:sldMk cId="2868900962" sldId="10407"/>
            <ac:spMk id="14" creationId="{94C97159-324B-456C-8BF0-974011EE92EC}"/>
          </ac:spMkLst>
        </pc:spChg>
        <pc:spChg chg="mod">
          <ac:chgData name="Aude Van de WIELE" userId="7317e673-04dd-415c-a4d7-718682339b40" providerId="ADAL" clId="{80D4E734-020D-4C1F-A028-1B9E9B483F9A}" dt="2021-05-25T08:49:48.190" v="7094" actId="790"/>
          <ac:spMkLst>
            <pc:docMk/>
            <pc:sldMk cId="2868900962" sldId="10407"/>
            <ac:spMk id="15" creationId="{7FBAD714-395A-454F-A09A-8BB691E0D21B}"/>
          </ac:spMkLst>
        </pc:spChg>
        <pc:spChg chg="mod">
          <ac:chgData name="Aude Van de WIELE" userId="7317e673-04dd-415c-a4d7-718682339b40" providerId="ADAL" clId="{80D4E734-020D-4C1F-A028-1B9E9B483F9A}" dt="2021-05-25T08:49:48.191" v="7095" actId="790"/>
          <ac:spMkLst>
            <pc:docMk/>
            <pc:sldMk cId="2868900962" sldId="10407"/>
            <ac:spMk id="16" creationId="{0F308A78-2D0E-4E1C-9132-A405BCD25727}"/>
          </ac:spMkLst>
        </pc:spChg>
        <pc:spChg chg="mod">
          <ac:chgData name="Aude Van de WIELE" userId="7317e673-04dd-415c-a4d7-718682339b40" providerId="ADAL" clId="{80D4E734-020D-4C1F-A028-1B9E9B483F9A}" dt="2021-05-25T08:49:48.192" v="7096" actId="790"/>
          <ac:spMkLst>
            <pc:docMk/>
            <pc:sldMk cId="2868900962" sldId="10407"/>
            <ac:spMk id="19" creationId="{1DDBE6AD-B865-45EC-BC21-2763DDC2E241}"/>
          </ac:spMkLst>
        </pc:spChg>
        <pc:spChg chg="mod">
          <ac:chgData name="Aude Van de WIELE" userId="7317e673-04dd-415c-a4d7-718682339b40" providerId="ADAL" clId="{80D4E734-020D-4C1F-A028-1B9E9B483F9A}" dt="2021-05-25T08:49:48.195" v="7097" actId="790"/>
          <ac:spMkLst>
            <pc:docMk/>
            <pc:sldMk cId="2868900962" sldId="10407"/>
            <ac:spMk id="28" creationId="{5132A318-B22A-4F36-9405-A99D72FA81A6}"/>
          </ac:spMkLst>
        </pc:spChg>
        <pc:spChg chg="mod">
          <ac:chgData name="Aude Van de WIELE" userId="7317e673-04dd-415c-a4d7-718682339b40" providerId="ADAL" clId="{80D4E734-020D-4C1F-A028-1B9E9B483F9A}" dt="2021-05-25T08:49:48.195" v="7098" actId="790"/>
          <ac:spMkLst>
            <pc:docMk/>
            <pc:sldMk cId="2868900962" sldId="10407"/>
            <ac:spMk id="29" creationId="{A6A3E1CF-720D-4C9A-BD7F-8C50E0341DDB}"/>
          </ac:spMkLst>
        </pc:spChg>
        <pc:spChg chg="mod">
          <ac:chgData name="Aude Van de WIELE" userId="7317e673-04dd-415c-a4d7-718682339b40" providerId="ADAL" clId="{80D4E734-020D-4C1F-A028-1B9E9B483F9A}" dt="2021-05-25T08:49:48.196" v="7099" actId="790"/>
          <ac:spMkLst>
            <pc:docMk/>
            <pc:sldMk cId="2868900962" sldId="10407"/>
            <ac:spMk id="30" creationId="{0E7628E6-82F2-4F4F-ACCC-E9F81D4D2637}"/>
          </ac:spMkLst>
        </pc:spChg>
        <pc:spChg chg="mod">
          <ac:chgData name="Aude Van de WIELE" userId="7317e673-04dd-415c-a4d7-718682339b40" providerId="ADAL" clId="{80D4E734-020D-4C1F-A028-1B9E9B483F9A}" dt="2021-05-25T08:49:48.197" v="7100" actId="790"/>
          <ac:spMkLst>
            <pc:docMk/>
            <pc:sldMk cId="2868900962" sldId="10407"/>
            <ac:spMk id="32" creationId="{372AE45B-A900-460B-8494-80A452387A0C}"/>
          </ac:spMkLst>
        </pc:spChg>
        <pc:spChg chg="mod">
          <ac:chgData name="Aude Van de WIELE" userId="7317e673-04dd-415c-a4d7-718682339b40" providerId="ADAL" clId="{80D4E734-020D-4C1F-A028-1B9E9B483F9A}" dt="2021-05-25T08:49:48.198" v="7101" actId="790"/>
          <ac:spMkLst>
            <pc:docMk/>
            <pc:sldMk cId="2868900962" sldId="10407"/>
            <ac:spMk id="35" creationId="{2632F02D-3B5C-472B-898A-E24B4D548E15}"/>
          </ac:spMkLst>
        </pc:spChg>
        <pc:spChg chg="mod">
          <ac:chgData name="Aude Van de WIELE" userId="7317e673-04dd-415c-a4d7-718682339b40" providerId="ADAL" clId="{80D4E734-020D-4C1F-A028-1B9E9B483F9A}" dt="2021-05-25T08:49:48.198" v="7102" actId="790"/>
          <ac:spMkLst>
            <pc:docMk/>
            <pc:sldMk cId="2868900962" sldId="10407"/>
            <ac:spMk id="37" creationId="{78536066-311C-4011-B0A3-1470929016BB}"/>
          </ac:spMkLst>
        </pc:spChg>
        <pc:spChg chg="mod">
          <ac:chgData name="Aude Van de WIELE" userId="7317e673-04dd-415c-a4d7-718682339b40" providerId="ADAL" clId="{80D4E734-020D-4C1F-A028-1B9E9B483F9A}" dt="2021-05-25T08:49:48.199" v="7103" actId="790"/>
          <ac:spMkLst>
            <pc:docMk/>
            <pc:sldMk cId="2868900962" sldId="10407"/>
            <ac:spMk id="38" creationId="{F5422B6B-E913-4A42-BE1F-CB551CBE99DE}"/>
          </ac:spMkLst>
        </pc:spChg>
        <pc:spChg chg="del">
          <ac:chgData name="Aude Van de WIELE" userId="7317e673-04dd-415c-a4d7-718682339b40" providerId="ADAL" clId="{80D4E734-020D-4C1F-A028-1B9E9B483F9A}" dt="2021-05-24T14:38:26.581" v="4990" actId="21"/>
          <ac:spMkLst>
            <pc:docMk/>
            <pc:sldMk cId="2868900962" sldId="10407"/>
            <ac:spMk id="40" creationId="{23A7E015-DAB6-43B5-9452-C13E1C66287C}"/>
          </ac:spMkLst>
        </pc:spChg>
        <pc:spChg chg="del">
          <ac:chgData name="Aude Van de WIELE" userId="7317e673-04dd-415c-a4d7-718682339b40" providerId="ADAL" clId="{80D4E734-020D-4C1F-A028-1B9E9B483F9A}" dt="2021-05-24T14:38:26.581" v="4990" actId="21"/>
          <ac:spMkLst>
            <pc:docMk/>
            <pc:sldMk cId="2868900962" sldId="10407"/>
            <ac:spMk id="41" creationId="{8348ECEA-B987-4D78-B874-10809DB02D76}"/>
          </ac:spMkLst>
        </pc:spChg>
        <pc:spChg chg="mod">
          <ac:chgData name="Aude Van de WIELE" userId="7317e673-04dd-415c-a4d7-718682339b40" providerId="ADAL" clId="{80D4E734-020D-4C1F-A028-1B9E9B483F9A}" dt="2021-05-25T08:49:48.200" v="7104" actId="790"/>
          <ac:spMkLst>
            <pc:docMk/>
            <pc:sldMk cId="2868900962" sldId="10407"/>
            <ac:spMk id="43" creationId="{FE6CE972-C96F-452A-B9C9-3811D3474DE1}"/>
          </ac:spMkLst>
        </pc:spChg>
        <pc:spChg chg="mod">
          <ac:chgData name="Aude Van de WIELE" userId="7317e673-04dd-415c-a4d7-718682339b40" providerId="ADAL" clId="{80D4E734-020D-4C1F-A028-1B9E9B483F9A}" dt="2021-05-25T08:49:48.200" v="7105" actId="790"/>
          <ac:spMkLst>
            <pc:docMk/>
            <pc:sldMk cId="2868900962" sldId="10407"/>
            <ac:spMk id="44" creationId="{200F0176-D12F-460A-A395-7B5AB6EFEEB8}"/>
          </ac:spMkLst>
        </pc:spChg>
        <pc:spChg chg="del">
          <ac:chgData name="Aude Van de WIELE" userId="7317e673-04dd-415c-a4d7-718682339b40" providerId="ADAL" clId="{80D4E734-020D-4C1F-A028-1B9E9B483F9A}" dt="2021-05-24T14:38:26.581" v="4990" actId="21"/>
          <ac:spMkLst>
            <pc:docMk/>
            <pc:sldMk cId="2868900962" sldId="10407"/>
            <ac:spMk id="45" creationId="{5A02CC2C-F440-4F00-815C-0883E3F46D22}"/>
          </ac:spMkLst>
        </pc:spChg>
        <pc:spChg chg="del">
          <ac:chgData name="Aude Van de WIELE" userId="7317e673-04dd-415c-a4d7-718682339b40" providerId="ADAL" clId="{80D4E734-020D-4C1F-A028-1B9E9B483F9A}" dt="2021-05-24T14:38:26.581" v="4990" actId="21"/>
          <ac:spMkLst>
            <pc:docMk/>
            <pc:sldMk cId="2868900962" sldId="10407"/>
            <ac:spMk id="46" creationId="{3CD93A9E-5AC9-4CE1-B0B8-E381E34C7BAC}"/>
          </ac:spMkLst>
        </pc:spChg>
        <pc:spChg chg="mod">
          <ac:chgData name="Aude Van de WIELE" userId="7317e673-04dd-415c-a4d7-718682339b40" providerId="ADAL" clId="{80D4E734-020D-4C1F-A028-1B9E9B483F9A}" dt="2021-05-25T08:49:48.201" v="7106" actId="790"/>
          <ac:spMkLst>
            <pc:docMk/>
            <pc:sldMk cId="2868900962" sldId="10407"/>
            <ac:spMk id="52" creationId="{EC70FE7A-A694-4850-8F53-4FDEA21664B5}"/>
          </ac:spMkLst>
        </pc:spChg>
        <pc:spChg chg="mod">
          <ac:chgData name="Aude Van de WIELE" userId="7317e673-04dd-415c-a4d7-718682339b40" providerId="ADAL" clId="{80D4E734-020D-4C1F-A028-1B9E9B483F9A}" dt="2021-05-25T08:49:48.202" v="7107" actId="790"/>
          <ac:spMkLst>
            <pc:docMk/>
            <pc:sldMk cId="2868900962" sldId="10407"/>
            <ac:spMk id="53" creationId="{AC0356E8-225D-4F4D-9A4F-CF0C676DF73E}"/>
          </ac:spMkLst>
        </pc:spChg>
        <pc:spChg chg="mod">
          <ac:chgData name="Aude Van de WIELE" userId="7317e673-04dd-415c-a4d7-718682339b40" providerId="ADAL" clId="{80D4E734-020D-4C1F-A028-1B9E9B483F9A}" dt="2021-05-25T08:49:48.206" v="7110" actId="790"/>
          <ac:spMkLst>
            <pc:docMk/>
            <pc:sldMk cId="2868900962" sldId="10407"/>
            <ac:spMk id="61" creationId="{07F35A51-7B62-4B76-9D30-07EE2C092125}"/>
          </ac:spMkLst>
        </pc:spChg>
        <pc:spChg chg="del">
          <ac:chgData name="Aude Van de WIELE" userId="7317e673-04dd-415c-a4d7-718682339b40" providerId="ADAL" clId="{80D4E734-020D-4C1F-A028-1B9E9B483F9A}" dt="2021-05-24T09:11:29.718" v="502" actId="21"/>
          <ac:spMkLst>
            <pc:docMk/>
            <pc:sldMk cId="2868900962" sldId="10407"/>
            <ac:spMk id="62" creationId="{4348D64A-B83C-4389-A80A-8DC79FF39AF2}"/>
          </ac:spMkLst>
        </pc:spChg>
        <pc:spChg chg="mod">
          <ac:chgData name="Aude Van de WIELE" userId="7317e673-04dd-415c-a4d7-718682339b40" providerId="ADAL" clId="{80D4E734-020D-4C1F-A028-1B9E9B483F9A}" dt="2021-05-25T08:49:48.211" v="7112" actId="790"/>
          <ac:spMkLst>
            <pc:docMk/>
            <pc:sldMk cId="2868900962" sldId="10407"/>
            <ac:spMk id="63" creationId="{78B151F9-8055-4877-8C39-D1FB2BC8D110}"/>
          </ac:spMkLst>
        </pc:spChg>
        <pc:spChg chg="mod">
          <ac:chgData name="Aude Van de WIELE" userId="7317e673-04dd-415c-a4d7-718682339b40" providerId="ADAL" clId="{80D4E734-020D-4C1F-A028-1B9E9B483F9A}" dt="2021-05-25T08:49:48.204" v="7108" actId="790"/>
          <ac:spMkLst>
            <pc:docMk/>
            <pc:sldMk cId="2868900962" sldId="10407"/>
            <ac:spMk id="64" creationId="{24E63172-5657-470E-BCC7-1C550822C97F}"/>
          </ac:spMkLst>
        </pc:spChg>
        <pc:spChg chg="mod">
          <ac:chgData name="Aude Van de WIELE" userId="7317e673-04dd-415c-a4d7-718682339b40" providerId="ADAL" clId="{80D4E734-020D-4C1F-A028-1B9E9B483F9A}" dt="2021-05-25T08:49:48.211" v="7113" actId="790"/>
          <ac:spMkLst>
            <pc:docMk/>
            <pc:sldMk cId="2868900962" sldId="10407"/>
            <ac:spMk id="65" creationId="{C9948D29-691C-4040-9006-9DD667687950}"/>
          </ac:spMkLst>
        </pc:spChg>
        <pc:spChg chg="del">
          <ac:chgData name="Aude Van de WIELE" userId="7317e673-04dd-415c-a4d7-718682339b40" providerId="ADAL" clId="{80D4E734-020D-4C1F-A028-1B9E9B483F9A}" dt="2021-05-24T14:38:26.581" v="4990" actId="21"/>
          <ac:spMkLst>
            <pc:docMk/>
            <pc:sldMk cId="2868900962" sldId="10407"/>
            <ac:spMk id="66" creationId="{AAB7C197-EAD7-4BB6-B0E4-7160C49E73FD}"/>
          </ac:spMkLst>
        </pc:spChg>
        <pc:spChg chg="add mod">
          <ac:chgData name="Aude Van de WIELE" userId="7317e673-04dd-415c-a4d7-718682339b40" providerId="ADAL" clId="{80D4E734-020D-4C1F-A028-1B9E9B483F9A}" dt="2021-05-25T10:48:10.235" v="10159" actId="20577"/>
          <ac:spMkLst>
            <pc:docMk/>
            <pc:sldMk cId="2868900962" sldId="10407"/>
            <ac:spMk id="66" creationId="{B18555CE-EA8D-42A2-B42C-EECD0577CFC9}"/>
          </ac:spMkLst>
        </pc:spChg>
        <pc:spChg chg="mod">
          <ac:chgData name="Aude Van de WIELE" userId="7317e673-04dd-415c-a4d7-718682339b40" providerId="ADAL" clId="{80D4E734-020D-4C1F-A028-1B9E9B483F9A}" dt="2021-05-25T08:49:48.212" v="7114" actId="790"/>
          <ac:spMkLst>
            <pc:docMk/>
            <pc:sldMk cId="2868900962" sldId="10407"/>
            <ac:spMk id="67" creationId="{5CB5CAFD-CBF6-4B09-9206-7594602E4B1E}"/>
          </ac:spMkLst>
        </pc:spChg>
        <pc:spChg chg="del mod">
          <ac:chgData name="Aude Van de WIELE" userId="7317e673-04dd-415c-a4d7-718682339b40" providerId="ADAL" clId="{80D4E734-020D-4C1F-A028-1B9E9B483F9A}" dt="2021-05-25T13:23:15.732" v="12742" actId="478"/>
          <ac:spMkLst>
            <pc:docMk/>
            <pc:sldMk cId="2868900962" sldId="10407"/>
            <ac:spMk id="68" creationId="{20C684A8-58F2-47D1-8D45-9A9139CFFD55}"/>
          </ac:spMkLst>
        </pc:spChg>
        <pc:spChg chg="mod">
          <ac:chgData name="Aude Van de WIELE" userId="7317e673-04dd-415c-a4d7-718682339b40" providerId="ADAL" clId="{80D4E734-020D-4C1F-A028-1B9E9B483F9A}" dt="2021-05-25T08:49:48.214" v="7115" actId="790"/>
          <ac:spMkLst>
            <pc:docMk/>
            <pc:sldMk cId="2868900962" sldId="10407"/>
            <ac:spMk id="69" creationId="{BA031102-DBA3-46AB-8D83-EF3A8C254D33}"/>
          </ac:spMkLst>
        </pc:spChg>
        <pc:spChg chg="add mod">
          <ac:chgData name="Aude Van de WIELE" userId="7317e673-04dd-415c-a4d7-718682339b40" providerId="ADAL" clId="{80D4E734-020D-4C1F-A028-1B9E9B483F9A}" dt="2021-05-24T10:26:53.659" v="1883"/>
          <ac:spMkLst>
            <pc:docMk/>
            <pc:sldMk cId="2868900962" sldId="10407"/>
            <ac:spMk id="71" creationId="{03498954-A368-43DD-9AF2-9BFDE163D995}"/>
          </ac:spMkLst>
        </pc:spChg>
        <pc:spChg chg="del">
          <ac:chgData name="Aude Van de WIELE" userId="7317e673-04dd-415c-a4d7-718682339b40" providerId="ADAL" clId="{80D4E734-020D-4C1F-A028-1B9E9B483F9A}" dt="2021-05-24T09:15:41.067" v="553" actId="478"/>
          <ac:spMkLst>
            <pc:docMk/>
            <pc:sldMk cId="2868900962" sldId="10407"/>
            <ac:spMk id="71" creationId="{1FC9E25B-B1E1-4334-BC70-2489B891782B}"/>
          </ac:spMkLst>
        </pc:spChg>
        <pc:spChg chg="add del mod">
          <ac:chgData name="Aude Van de WIELE" userId="7317e673-04dd-415c-a4d7-718682339b40" providerId="ADAL" clId="{80D4E734-020D-4C1F-A028-1B9E9B483F9A}" dt="2021-05-24T09:14:21.762" v="514" actId="478"/>
          <ac:spMkLst>
            <pc:docMk/>
            <pc:sldMk cId="2868900962" sldId="10407"/>
            <ac:spMk id="72" creationId="{45CD2B5C-355C-4790-892A-7A41DA8EB6BC}"/>
          </ac:spMkLst>
        </pc:spChg>
        <pc:spChg chg="del">
          <ac:chgData name="Aude Van de WIELE" userId="7317e673-04dd-415c-a4d7-718682339b40" providerId="ADAL" clId="{80D4E734-020D-4C1F-A028-1B9E9B483F9A}" dt="2021-05-24T10:26:53.337" v="1882" actId="478"/>
          <ac:spMkLst>
            <pc:docMk/>
            <pc:sldMk cId="2868900962" sldId="10407"/>
            <ac:spMk id="75" creationId="{7EEB6FE9-F79C-4FC5-BA87-817705044AE1}"/>
          </ac:spMkLst>
        </pc:spChg>
        <pc:spChg chg="add mod">
          <ac:chgData name="Aude Van de WIELE" userId="7317e673-04dd-415c-a4d7-718682339b40" providerId="ADAL" clId="{80D4E734-020D-4C1F-A028-1B9E9B483F9A}" dt="2021-05-25T08:49:48.225" v="7117" actId="790"/>
          <ac:spMkLst>
            <pc:docMk/>
            <pc:sldMk cId="2868900962" sldId="10407"/>
            <ac:spMk id="76" creationId="{5F4FFF79-371E-4E5E-99B3-677CD02E93F1}"/>
          </ac:spMkLst>
        </pc:spChg>
        <pc:spChg chg="add mod">
          <ac:chgData name="Aude Van de WIELE" userId="7317e673-04dd-415c-a4d7-718682339b40" providerId="ADAL" clId="{80D4E734-020D-4C1F-A028-1B9E9B483F9A}" dt="2021-05-25T08:49:48.225" v="7118" actId="790"/>
          <ac:spMkLst>
            <pc:docMk/>
            <pc:sldMk cId="2868900962" sldId="10407"/>
            <ac:spMk id="77" creationId="{0F6E568C-FF1A-45D1-9296-A25B68BC83AD}"/>
          </ac:spMkLst>
        </pc:spChg>
        <pc:spChg chg="add mod">
          <ac:chgData name="Aude Van de WIELE" userId="7317e673-04dd-415c-a4d7-718682339b40" providerId="ADAL" clId="{80D4E734-020D-4C1F-A028-1B9E9B483F9A}" dt="2021-05-25T08:49:48.227" v="7119" actId="790"/>
          <ac:spMkLst>
            <pc:docMk/>
            <pc:sldMk cId="2868900962" sldId="10407"/>
            <ac:spMk id="78" creationId="{427C8590-C704-4B01-A689-71A872DD9101}"/>
          </ac:spMkLst>
        </pc:spChg>
        <pc:spChg chg="add del mod">
          <ac:chgData name="Aude Van de WIELE" userId="7317e673-04dd-415c-a4d7-718682339b40" providerId="ADAL" clId="{80D4E734-020D-4C1F-A028-1B9E9B483F9A}" dt="2021-05-24T09:23:20.205" v="777"/>
          <ac:spMkLst>
            <pc:docMk/>
            <pc:sldMk cId="2868900962" sldId="10407"/>
            <ac:spMk id="79" creationId="{7D96B81E-6D8A-40B3-9DE5-BC4A904D522F}"/>
          </ac:spMkLst>
        </pc:spChg>
        <pc:spChg chg="mod">
          <ac:chgData name="Aude Van de WIELE" userId="7317e673-04dd-415c-a4d7-718682339b40" providerId="ADAL" clId="{80D4E734-020D-4C1F-A028-1B9E9B483F9A}" dt="2021-05-25T08:49:48.228" v="7120" actId="790"/>
          <ac:spMkLst>
            <pc:docMk/>
            <pc:sldMk cId="2868900962" sldId="10407"/>
            <ac:spMk id="84" creationId="{2E352F39-712F-4BC9-ADA9-781EF77D1FBB}"/>
          </ac:spMkLst>
        </pc:spChg>
        <pc:spChg chg="mod">
          <ac:chgData name="Aude Van de WIELE" userId="7317e673-04dd-415c-a4d7-718682339b40" providerId="ADAL" clId="{80D4E734-020D-4C1F-A028-1B9E9B483F9A}" dt="2021-05-25T08:49:48.229" v="7121" actId="790"/>
          <ac:spMkLst>
            <pc:docMk/>
            <pc:sldMk cId="2868900962" sldId="10407"/>
            <ac:spMk id="86" creationId="{B979ACF7-2B50-45DA-A1E7-FA45C7BF35F4}"/>
          </ac:spMkLst>
        </pc:spChg>
        <pc:spChg chg="mod">
          <ac:chgData name="Aude Van de WIELE" userId="7317e673-04dd-415c-a4d7-718682339b40" providerId="ADAL" clId="{80D4E734-020D-4C1F-A028-1B9E9B483F9A}" dt="2021-05-25T08:49:48.229" v="7122" actId="790"/>
          <ac:spMkLst>
            <pc:docMk/>
            <pc:sldMk cId="2868900962" sldId="10407"/>
            <ac:spMk id="87" creationId="{849ACC58-2FA5-43E2-8089-59CB8D7ED689}"/>
          </ac:spMkLst>
        </pc:spChg>
        <pc:spChg chg="mod">
          <ac:chgData name="Aude Van de WIELE" userId="7317e673-04dd-415c-a4d7-718682339b40" providerId="ADAL" clId="{80D4E734-020D-4C1F-A028-1B9E9B483F9A}" dt="2021-05-25T08:49:48.230" v="7123" actId="790"/>
          <ac:spMkLst>
            <pc:docMk/>
            <pc:sldMk cId="2868900962" sldId="10407"/>
            <ac:spMk id="88" creationId="{433BFCD4-9B08-4FA8-AD94-D7A4FAAB81BD}"/>
          </ac:spMkLst>
        </pc:spChg>
        <pc:spChg chg="mod">
          <ac:chgData name="Aude Van de WIELE" userId="7317e673-04dd-415c-a4d7-718682339b40" providerId="ADAL" clId="{80D4E734-020D-4C1F-A028-1B9E9B483F9A}" dt="2021-05-25T08:49:48.231" v="7124" actId="790"/>
          <ac:spMkLst>
            <pc:docMk/>
            <pc:sldMk cId="2868900962" sldId="10407"/>
            <ac:spMk id="89" creationId="{1EC9526A-D5E0-463C-A078-93D5223027DB}"/>
          </ac:spMkLst>
        </pc:spChg>
        <pc:spChg chg="mod">
          <ac:chgData name="Aude Van de WIELE" userId="7317e673-04dd-415c-a4d7-718682339b40" providerId="ADAL" clId="{80D4E734-020D-4C1F-A028-1B9E9B483F9A}" dt="2021-05-25T08:49:48.232" v="7125" actId="790"/>
          <ac:spMkLst>
            <pc:docMk/>
            <pc:sldMk cId="2868900962" sldId="10407"/>
            <ac:spMk id="90" creationId="{8FFAFC9E-8713-4870-8CEE-C202596A4DF6}"/>
          </ac:spMkLst>
        </pc:spChg>
        <pc:spChg chg="mod">
          <ac:chgData name="Aude Van de WIELE" userId="7317e673-04dd-415c-a4d7-718682339b40" providerId="ADAL" clId="{80D4E734-020D-4C1F-A028-1B9E9B483F9A}" dt="2021-05-25T08:49:48.233" v="7126" actId="790"/>
          <ac:spMkLst>
            <pc:docMk/>
            <pc:sldMk cId="2868900962" sldId="10407"/>
            <ac:spMk id="91" creationId="{9EB3F53F-B3B4-4889-B966-F7AD5A1A15C6}"/>
          </ac:spMkLst>
        </pc:spChg>
        <pc:spChg chg="mod">
          <ac:chgData name="Aude Van de WIELE" userId="7317e673-04dd-415c-a4d7-718682339b40" providerId="ADAL" clId="{80D4E734-020D-4C1F-A028-1B9E9B483F9A}" dt="2021-05-25T13:20:17.261" v="12741" actId="20577"/>
          <ac:spMkLst>
            <pc:docMk/>
            <pc:sldMk cId="2868900962" sldId="10407"/>
            <ac:spMk id="102" creationId="{A2834B24-514E-43C3-B8D2-8BF2673C78D1}"/>
          </ac:spMkLst>
        </pc:spChg>
        <pc:picChg chg="mod">
          <ac:chgData name="Aude Van de WIELE" userId="7317e673-04dd-415c-a4d7-718682339b40" providerId="ADAL" clId="{80D4E734-020D-4C1F-A028-1B9E9B483F9A}" dt="2021-05-24T09:18:18.135" v="686" actId="1076"/>
          <ac:picMkLst>
            <pc:docMk/>
            <pc:sldMk cId="2868900962" sldId="10407"/>
            <ac:picMk id="20" creationId="{DC1B8320-6368-4467-A61C-5F2781EF4754}"/>
          </ac:picMkLst>
        </pc:picChg>
        <pc:picChg chg="mod">
          <ac:chgData name="Aude Van de WIELE" userId="7317e673-04dd-415c-a4d7-718682339b40" providerId="ADAL" clId="{80D4E734-020D-4C1F-A028-1B9E9B483F9A}" dt="2021-05-24T09:18:14.294" v="685" actId="1076"/>
          <ac:picMkLst>
            <pc:docMk/>
            <pc:sldMk cId="2868900962" sldId="10407"/>
            <ac:picMk id="21" creationId="{08645AE3-2E9B-4CD2-A731-DB3AAA4C6B84}"/>
          </ac:picMkLst>
        </pc:picChg>
        <pc:picChg chg="mod">
          <ac:chgData name="Aude Van de WIELE" userId="7317e673-04dd-415c-a4d7-718682339b40" providerId="ADAL" clId="{80D4E734-020D-4C1F-A028-1B9E9B483F9A}" dt="2021-05-24T14:38:33.820" v="4992" actId="1076"/>
          <ac:picMkLst>
            <pc:docMk/>
            <pc:sldMk cId="2868900962" sldId="10407"/>
            <ac:picMk id="33" creationId="{4FEDF293-1175-4BEF-92D3-444449888838}"/>
          </ac:picMkLst>
        </pc:picChg>
        <pc:picChg chg="mod">
          <ac:chgData name="Aude Van de WIELE" userId="7317e673-04dd-415c-a4d7-718682339b40" providerId="ADAL" clId="{80D4E734-020D-4C1F-A028-1B9E9B483F9A}" dt="2021-05-24T14:38:33.820" v="4992" actId="1076"/>
          <ac:picMkLst>
            <pc:docMk/>
            <pc:sldMk cId="2868900962" sldId="10407"/>
            <ac:picMk id="34" creationId="{CAB834BC-E444-4871-A854-66E726EB935C}"/>
          </ac:picMkLst>
        </pc:picChg>
        <pc:picChg chg="del mod">
          <ac:chgData name="Aude Van de WIELE" userId="7317e673-04dd-415c-a4d7-718682339b40" providerId="ADAL" clId="{80D4E734-020D-4C1F-A028-1B9E9B483F9A}" dt="2021-05-24T09:15:22.152" v="544" actId="478"/>
          <ac:picMkLst>
            <pc:docMk/>
            <pc:sldMk cId="2868900962" sldId="10407"/>
            <ac:picMk id="36" creationId="{F7E5F967-6B97-4FA6-A838-5AE482745589}"/>
          </ac:picMkLst>
        </pc:picChg>
        <pc:picChg chg="mod">
          <ac:chgData name="Aude Van de WIELE" userId="7317e673-04dd-415c-a4d7-718682339b40" providerId="ADAL" clId="{80D4E734-020D-4C1F-A028-1B9E9B483F9A}" dt="2021-05-24T14:38:53.371" v="5002" actId="1076"/>
          <ac:picMkLst>
            <pc:docMk/>
            <pc:sldMk cId="2868900962" sldId="10407"/>
            <ac:picMk id="39" creationId="{4AE30331-8449-44EE-B21F-71EB0D920923}"/>
          </ac:picMkLst>
        </pc:picChg>
        <pc:picChg chg="del">
          <ac:chgData name="Aude Van de WIELE" userId="7317e673-04dd-415c-a4d7-718682339b40" providerId="ADAL" clId="{80D4E734-020D-4C1F-A028-1B9E9B483F9A}" dt="2021-05-24T14:38:26.581" v="4990" actId="21"/>
          <ac:picMkLst>
            <pc:docMk/>
            <pc:sldMk cId="2868900962" sldId="10407"/>
            <ac:picMk id="42" creationId="{FB520DF5-4C4B-4830-B909-B290382CAAF9}"/>
          </ac:picMkLst>
        </pc:picChg>
        <pc:picChg chg="del">
          <ac:chgData name="Aude Van de WIELE" userId="7317e673-04dd-415c-a4d7-718682339b40" providerId="ADAL" clId="{80D4E734-020D-4C1F-A028-1B9E9B483F9A}" dt="2021-05-24T14:38:26.581" v="4990" actId="21"/>
          <ac:picMkLst>
            <pc:docMk/>
            <pc:sldMk cId="2868900962" sldId="10407"/>
            <ac:picMk id="47" creationId="{4DDE6F1B-6F52-4614-B197-50CBF2543C15}"/>
          </ac:picMkLst>
        </pc:picChg>
        <pc:picChg chg="del">
          <ac:chgData name="Aude Van de WIELE" userId="7317e673-04dd-415c-a4d7-718682339b40" providerId="ADAL" clId="{80D4E734-020D-4C1F-A028-1B9E9B483F9A}" dt="2021-05-24T14:38:26.581" v="4990" actId="21"/>
          <ac:picMkLst>
            <pc:docMk/>
            <pc:sldMk cId="2868900962" sldId="10407"/>
            <ac:picMk id="48" creationId="{1D54FD56-C741-4FD8-823A-A1F9DDA40306}"/>
          </ac:picMkLst>
        </pc:picChg>
        <pc:picChg chg="mod">
          <ac:chgData name="Aude Van de WIELE" userId="7317e673-04dd-415c-a4d7-718682339b40" providerId="ADAL" clId="{80D4E734-020D-4C1F-A028-1B9E9B483F9A}" dt="2021-05-24T14:38:53.371" v="5002" actId="1076"/>
          <ac:picMkLst>
            <pc:docMk/>
            <pc:sldMk cId="2868900962" sldId="10407"/>
            <ac:picMk id="56" creationId="{6DC0D720-FE9F-4833-93CF-B4C61696F96B}"/>
          </ac:picMkLst>
        </pc:picChg>
        <pc:picChg chg="mod">
          <ac:chgData name="Aude Van de WIELE" userId="7317e673-04dd-415c-a4d7-718682339b40" providerId="ADAL" clId="{80D4E734-020D-4C1F-A028-1B9E9B483F9A}" dt="2021-05-24T14:38:53.371" v="5002" actId="1076"/>
          <ac:picMkLst>
            <pc:docMk/>
            <pc:sldMk cId="2868900962" sldId="10407"/>
            <ac:picMk id="57" creationId="{6220EE3C-33A7-418E-8133-AE9BB6587F20}"/>
          </ac:picMkLst>
        </pc:picChg>
        <pc:picChg chg="mod">
          <ac:chgData name="Aude Van de WIELE" userId="7317e673-04dd-415c-a4d7-718682339b40" providerId="ADAL" clId="{80D4E734-020D-4C1F-A028-1B9E9B483F9A}" dt="2021-05-24T14:38:53.371" v="5002" actId="1076"/>
          <ac:picMkLst>
            <pc:docMk/>
            <pc:sldMk cId="2868900962" sldId="10407"/>
            <ac:picMk id="58" creationId="{F51694E1-84F3-406F-9148-0E967AAD92BC}"/>
          </ac:picMkLst>
        </pc:picChg>
      </pc:sldChg>
      <pc:sldChg chg="modSp mod">
        <pc:chgData name="Aude Van de WIELE" userId="7317e673-04dd-415c-a4d7-718682339b40" providerId="ADAL" clId="{80D4E734-020D-4C1F-A028-1B9E9B483F9A}" dt="2021-05-25T08:53:02.732" v="9833" actId="20577"/>
        <pc:sldMkLst>
          <pc:docMk/>
          <pc:sldMk cId="407516052" sldId="10409"/>
        </pc:sldMkLst>
        <pc:spChg chg="mod">
          <ac:chgData name="Aude Van de WIELE" userId="7317e673-04dd-415c-a4d7-718682339b40" providerId="ADAL" clId="{80D4E734-020D-4C1F-A028-1B9E9B483F9A}" dt="2021-05-25T08:49:50.889" v="9352" actId="790"/>
          <ac:spMkLst>
            <pc:docMk/>
            <pc:sldMk cId="407516052" sldId="10409"/>
            <ac:spMk id="2" creationId="{1B8B41D0-3B5A-41F2-BD36-274CA5605C3A}"/>
          </ac:spMkLst>
        </pc:spChg>
        <pc:spChg chg="mod">
          <ac:chgData name="Aude Van de WIELE" userId="7317e673-04dd-415c-a4d7-718682339b40" providerId="ADAL" clId="{80D4E734-020D-4C1F-A028-1B9E9B483F9A}" dt="2021-05-25T08:49:50.883" v="9349" actId="790"/>
          <ac:spMkLst>
            <pc:docMk/>
            <pc:sldMk cId="407516052" sldId="10409"/>
            <ac:spMk id="3" creationId="{F2961EB7-FC0B-4AEF-8BF3-7969101BE0A7}"/>
          </ac:spMkLst>
        </pc:spChg>
        <pc:spChg chg="mod">
          <ac:chgData name="Aude Van de WIELE" userId="7317e673-04dd-415c-a4d7-718682339b40" providerId="ADAL" clId="{80D4E734-020D-4C1F-A028-1B9E9B483F9A}" dt="2021-05-25T08:49:50.922" v="9378" actId="790"/>
          <ac:spMkLst>
            <pc:docMk/>
            <pc:sldMk cId="407516052" sldId="10409"/>
            <ac:spMk id="4" creationId="{43E0D5C7-0986-42B1-8E8C-7B58D0CBD773}"/>
          </ac:spMkLst>
        </pc:spChg>
        <pc:spChg chg="mod">
          <ac:chgData name="Aude Van de WIELE" userId="7317e673-04dd-415c-a4d7-718682339b40" providerId="ADAL" clId="{80D4E734-020D-4C1F-A028-1B9E9B483F9A}" dt="2021-05-25T08:49:50.891" v="9353" actId="790"/>
          <ac:spMkLst>
            <pc:docMk/>
            <pc:sldMk cId="407516052" sldId="10409"/>
            <ac:spMk id="5" creationId="{32E0BE14-B2E8-4A96-ADE4-0BE247A47D79}"/>
          </ac:spMkLst>
        </pc:spChg>
        <pc:spChg chg="mod">
          <ac:chgData name="Aude Van de WIELE" userId="7317e673-04dd-415c-a4d7-718682339b40" providerId="ADAL" clId="{80D4E734-020D-4C1F-A028-1B9E9B483F9A}" dt="2021-05-25T08:49:50.892" v="9354" actId="790"/>
          <ac:spMkLst>
            <pc:docMk/>
            <pc:sldMk cId="407516052" sldId="10409"/>
            <ac:spMk id="6" creationId="{8AEA1672-C0F9-4DB2-A6F4-76831980F749}"/>
          </ac:spMkLst>
        </pc:spChg>
        <pc:spChg chg="mod">
          <ac:chgData name="Aude Van de WIELE" userId="7317e673-04dd-415c-a4d7-718682339b40" providerId="ADAL" clId="{80D4E734-020D-4C1F-A028-1B9E9B483F9A}" dt="2021-05-25T08:49:50.885" v="9351" actId="790"/>
          <ac:spMkLst>
            <pc:docMk/>
            <pc:sldMk cId="407516052" sldId="10409"/>
            <ac:spMk id="7" creationId="{064EAC16-1947-4EB5-B699-F79BA984701D}"/>
          </ac:spMkLst>
        </pc:spChg>
        <pc:spChg chg="mod">
          <ac:chgData name="Aude Van de WIELE" userId="7317e673-04dd-415c-a4d7-718682339b40" providerId="ADAL" clId="{80D4E734-020D-4C1F-A028-1B9E9B483F9A}" dt="2021-05-25T08:49:50.911" v="9368" actId="790"/>
          <ac:spMkLst>
            <pc:docMk/>
            <pc:sldMk cId="407516052" sldId="10409"/>
            <ac:spMk id="8" creationId="{17235FB0-B480-4F11-BAB2-ECCE97A0AE35}"/>
          </ac:spMkLst>
        </pc:spChg>
        <pc:spChg chg="mod">
          <ac:chgData name="Aude Van de WIELE" userId="7317e673-04dd-415c-a4d7-718682339b40" providerId="ADAL" clId="{80D4E734-020D-4C1F-A028-1B9E9B483F9A}" dt="2021-05-25T08:49:50.893" v="9355" actId="790"/>
          <ac:spMkLst>
            <pc:docMk/>
            <pc:sldMk cId="407516052" sldId="10409"/>
            <ac:spMk id="9" creationId="{E57AC7D2-FC03-4826-B2B4-B86B10C8A912}"/>
          </ac:spMkLst>
        </pc:spChg>
        <pc:spChg chg="mod">
          <ac:chgData name="Aude Van de WIELE" userId="7317e673-04dd-415c-a4d7-718682339b40" providerId="ADAL" clId="{80D4E734-020D-4C1F-A028-1B9E9B483F9A}" dt="2021-05-25T08:49:50.876" v="9341" actId="790"/>
          <ac:spMkLst>
            <pc:docMk/>
            <pc:sldMk cId="407516052" sldId="10409"/>
            <ac:spMk id="10" creationId="{EC4BC8E5-CDE6-4BDA-8B1B-E89284306AC8}"/>
          </ac:spMkLst>
        </pc:spChg>
        <pc:spChg chg="mod">
          <ac:chgData name="Aude Van de WIELE" userId="7317e673-04dd-415c-a4d7-718682339b40" providerId="ADAL" clId="{80D4E734-020D-4C1F-A028-1B9E9B483F9A}" dt="2021-05-25T08:49:50.911" v="9369" actId="790"/>
          <ac:spMkLst>
            <pc:docMk/>
            <pc:sldMk cId="407516052" sldId="10409"/>
            <ac:spMk id="12" creationId="{06146879-726F-492D-B854-B9E140208671}"/>
          </ac:spMkLst>
        </pc:spChg>
        <pc:spChg chg="mod">
          <ac:chgData name="Aude Van de WIELE" userId="7317e673-04dd-415c-a4d7-718682339b40" providerId="ADAL" clId="{80D4E734-020D-4C1F-A028-1B9E9B483F9A}" dt="2021-05-25T08:49:50.916" v="9374" actId="790"/>
          <ac:spMkLst>
            <pc:docMk/>
            <pc:sldMk cId="407516052" sldId="10409"/>
            <ac:spMk id="13" creationId="{E9F049B4-9F79-4754-AA4A-B557B2A6D3C9}"/>
          </ac:spMkLst>
        </pc:spChg>
        <pc:spChg chg="mod">
          <ac:chgData name="Aude Van de WIELE" userId="7317e673-04dd-415c-a4d7-718682339b40" providerId="ADAL" clId="{80D4E734-020D-4C1F-A028-1B9E9B483F9A}" dt="2021-05-25T08:49:50.910" v="9367" actId="790"/>
          <ac:spMkLst>
            <pc:docMk/>
            <pc:sldMk cId="407516052" sldId="10409"/>
            <ac:spMk id="14" creationId="{0AF44C45-BA78-4B2B-8163-11B42E3CF6BE}"/>
          </ac:spMkLst>
        </pc:spChg>
        <pc:spChg chg="mod">
          <ac:chgData name="Aude Van de WIELE" userId="7317e673-04dd-415c-a4d7-718682339b40" providerId="ADAL" clId="{80D4E734-020D-4C1F-A028-1B9E9B483F9A}" dt="2021-05-25T08:49:50.904" v="9361" actId="790"/>
          <ac:spMkLst>
            <pc:docMk/>
            <pc:sldMk cId="407516052" sldId="10409"/>
            <ac:spMk id="18" creationId="{E5E5B17C-AF5B-4FCB-935E-796FE66056AC}"/>
          </ac:spMkLst>
        </pc:spChg>
        <pc:spChg chg="mod">
          <ac:chgData name="Aude Van de WIELE" userId="7317e673-04dd-415c-a4d7-718682339b40" providerId="ADAL" clId="{80D4E734-020D-4C1F-A028-1B9E9B483F9A}" dt="2021-05-25T08:49:50.894" v="9356" actId="790"/>
          <ac:spMkLst>
            <pc:docMk/>
            <pc:sldMk cId="407516052" sldId="10409"/>
            <ac:spMk id="19" creationId="{D183DC4A-A310-4818-8DE5-DD81DA31ACA2}"/>
          </ac:spMkLst>
        </pc:spChg>
        <pc:spChg chg="mod">
          <ac:chgData name="Aude Van de WIELE" userId="7317e673-04dd-415c-a4d7-718682339b40" providerId="ADAL" clId="{80D4E734-020D-4C1F-A028-1B9E9B483F9A}" dt="2021-05-25T08:49:50.917" v="9375" actId="790"/>
          <ac:spMkLst>
            <pc:docMk/>
            <pc:sldMk cId="407516052" sldId="10409"/>
            <ac:spMk id="20" creationId="{54E8F179-87EF-4A92-9C29-92D7E20EB946}"/>
          </ac:spMkLst>
        </pc:spChg>
        <pc:spChg chg="mod">
          <ac:chgData name="Aude Van de WIELE" userId="7317e673-04dd-415c-a4d7-718682339b40" providerId="ADAL" clId="{80D4E734-020D-4C1F-A028-1B9E9B483F9A}" dt="2021-05-25T08:49:50.922" v="9379" actId="790"/>
          <ac:spMkLst>
            <pc:docMk/>
            <pc:sldMk cId="407516052" sldId="10409"/>
            <ac:spMk id="21" creationId="{44BA4EC0-19D7-41DC-B319-396D8267BC37}"/>
          </ac:spMkLst>
        </pc:spChg>
        <pc:spChg chg="mod">
          <ac:chgData name="Aude Van de WIELE" userId="7317e673-04dd-415c-a4d7-718682339b40" providerId="ADAL" clId="{80D4E734-020D-4C1F-A028-1B9E9B483F9A}" dt="2021-05-25T08:49:50.921" v="9377" actId="790"/>
          <ac:spMkLst>
            <pc:docMk/>
            <pc:sldMk cId="407516052" sldId="10409"/>
            <ac:spMk id="22" creationId="{43B8FABF-5816-42AC-8939-29224794884E}"/>
          </ac:spMkLst>
        </pc:spChg>
        <pc:spChg chg="mod">
          <ac:chgData name="Aude Van de WIELE" userId="7317e673-04dd-415c-a4d7-718682339b40" providerId="ADAL" clId="{80D4E734-020D-4C1F-A028-1B9E9B483F9A}" dt="2021-05-25T08:49:50.874" v="9339" actId="790"/>
          <ac:spMkLst>
            <pc:docMk/>
            <pc:sldMk cId="407516052" sldId="10409"/>
            <ac:spMk id="33" creationId="{243F8FAD-0118-4F1B-B40B-A7D84FD36396}"/>
          </ac:spMkLst>
        </pc:spChg>
        <pc:spChg chg="mod">
          <ac:chgData name="Aude Van de WIELE" userId="7317e673-04dd-415c-a4d7-718682339b40" providerId="ADAL" clId="{80D4E734-020D-4C1F-A028-1B9E9B483F9A}" dt="2021-05-25T08:49:50.918" v="9376" actId="790"/>
          <ac:spMkLst>
            <pc:docMk/>
            <pc:sldMk cId="407516052" sldId="10409"/>
            <ac:spMk id="47" creationId="{9E10C541-E455-4AF2-AA1A-715E3DF2DDC1}"/>
          </ac:spMkLst>
        </pc:spChg>
        <pc:spChg chg="mod">
          <ac:chgData name="Aude Van de WIELE" userId="7317e673-04dd-415c-a4d7-718682339b40" providerId="ADAL" clId="{80D4E734-020D-4C1F-A028-1B9E9B483F9A}" dt="2021-05-25T08:49:50.895" v="9357" actId="790"/>
          <ac:spMkLst>
            <pc:docMk/>
            <pc:sldMk cId="407516052" sldId="10409"/>
            <ac:spMk id="49" creationId="{B10468A4-1BAC-4153-BC9A-99B8715C0AD1}"/>
          </ac:spMkLst>
        </pc:spChg>
        <pc:spChg chg="mod">
          <ac:chgData name="Aude Van de WIELE" userId="7317e673-04dd-415c-a4d7-718682339b40" providerId="ADAL" clId="{80D4E734-020D-4C1F-A028-1B9E9B483F9A}" dt="2021-05-25T08:49:50.884" v="9350" actId="790"/>
          <ac:spMkLst>
            <pc:docMk/>
            <pc:sldMk cId="407516052" sldId="10409"/>
            <ac:spMk id="50" creationId="{06AD3339-7557-4559-B2EA-6A391CF2BF0C}"/>
          </ac:spMkLst>
        </pc:spChg>
        <pc:spChg chg="mod">
          <ac:chgData name="Aude Van de WIELE" userId="7317e673-04dd-415c-a4d7-718682339b40" providerId="ADAL" clId="{80D4E734-020D-4C1F-A028-1B9E9B483F9A}" dt="2021-05-25T08:49:50.875" v="9340" actId="790"/>
          <ac:spMkLst>
            <pc:docMk/>
            <pc:sldMk cId="407516052" sldId="10409"/>
            <ac:spMk id="88" creationId="{336D463B-B815-4500-8F61-78A091129044}"/>
          </ac:spMkLst>
        </pc:spChg>
        <pc:spChg chg="mod">
          <ac:chgData name="Aude Van de WIELE" userId="7317e673-04dd-415c-a4d7-718682339b40" providerId="ADAL" clId="{80D4E734-020D-4C1F-A028-1B9E9B483F9A}" dt="2021-05-25T08:49:50.878" v="9343" actId="790"/>
          <ac:spMkLst>
            <pc:docMk/>
            <pc:sldMk cId="407516052" sldId="10409"/>
            <ac:spMk id="90" creationId="{C1682200-357E-4434-8AD7-5A0786BF6D1B}"/>
          </ac:spMkLst>
        </pc:spChg>
        <pc:spChg chg="mod">
          <ac:chgData name="Aude Van de WIELE" userId="7317e673-04dd-415c-a4d7-718682339b40" providerId="ADAL" clId="{80D4E734-020D-4C1F-A028-1B9E9B483F9A}" dt="2021-05-25T08:49:50.914" v="9372" actId="790"/>
          <ac:spMkLst>
            <pc:docMk/>
            <pc:sldMk cId="407516052" sldId="10409"/>
            <ac:spMk id="96" creationId="{5BB653FA-7502-456B-9DD5-1867522D3A88}"/>
          </ac:spMkLst>
        </pc:spChg>
        <pc:spChg chg="mod">
          <ac:chgData name="Aude Van de WIELE" userId="7317e673-04dd-415c-a4d7-718682339b40" providerId="ADAL" clId="{80D4E734-020D-4C1F-A028-1B9E9B483F9A}" dt="2021-05-25T08:49:50.896" v="9358" actId="790"/>
          <ac:spMkLst>
            <pc:docMk/>
            <pc:sldMk cId="407516052" sldId="10409"/>
            <ac:spMk id="100" creationId="{EF6C7B41-C54E-4684-BB9A-36701E115EBF}"/>
          </ac:spMkLst>
        </pc:spChg>
        <pc:spChg chg="mod">
          <ac:chgData name="Aude Van de WIELE" userId="7317e673-04dd-415c-a4d7-718682339b40" providerId="ADAL" clId="{80D4E734-020D-4C1F-A028-1B9E9B483F9A}" dt="2021-05-25T08:49:50.881" v="9347" actId="790"/>
          <ac:spMkLst>
            <pc:docMk/>
            <pc:sldMk cId="407516052" sldId="10409"/>
            <ac:spMk id="107" creationId="{31D0AEAA-51DD-4312-8DD3-D5664A3B479D}"/>
          </ac:spMkLst>
        </pc:spChg>
        <pc:spChg chg="mod">
          <ac:chgData name="Aude Van de WIELE" userId="7317e673-04dd-415c-a4d7-718682339b40" providerId="ADAL" clId="{80D4E734-020D-4C1F-A028-1B9E9B483F9A}" dt="2021-05-25T08:49:50.880" v="9345" actId="790"/>
          <ac:spMkLst>
            <pc:docMk/>
            <pc:sldMk cId="407516052" sldId="10409"/>
            <ac:spMk id="108" creationId="{B4E79E7D-0395-4CE2-8F8E-F7FFDE4BA106}"/>
          </ac:spMkLst>
        </pc:spChg>
        <pc:spChg chg="mod">
          <ac:chgData name="Aude Van de WIELE" userId="7317e673-04dd-415c-a4d7-718682339b40" providerId="ADAL" clId="{80D4E734-020D-4C1F-A028-1B9E9B483F9A}" dt="2021-05-25T08:53:02.732" v="9833" actId="20577"/>
          <ac:spMkLst>
            <pc:docMk/>
            <pc:sldMk cId="407516052" sldId="10409"/>
            <ac:spMk id="117" creationId="{FB5E74AA-473E-4A0F-97C6-4BAE2E9C9474}"/>
          </ac:spMkLst>
        </pc:spChg>
        <pc:spChg chg="mod">
          <ac:chgData name="Aude Van de WIELE" userId="7317e673-04dd-415c-a4d7-718682339b40" providerId="ADAL" clId="{80D4E734-020D-4C1F-A028-1B9E9B483F9A}" dt="2021-05-25T08:49:50.877" v="9342" actId="790"/>
          <ac:spMkLst>
            <pc:docMk/>
            <pc:sldMk cId="407516052" sldId="10409"/>
            <ac:spMk id="119" creationId="{EEF55E94-FD53-41D7-A423-6B56C40D88A1}"/>
          </ac:spMkLst>
        </pc:spChg>
        <pc:spChg chg="mod">
          <ac:chgData name="Aude Van de WIELE" userId="7317e673-04dd-415c-a4d7-718682339b40" providerId="ADAL" clId="{80D4E734-020D-4C1F-A028-1B9E9B483F9A}" dt="2021-05-25T08:49:50.913" v="9371" actId="790"/>
          <ac:spMkLst>
            <pc:docMk/>
            <pc:sldMk cId="407516052" sldId="10409"/>
            <ac:spMk id="120" creationId="{697B9F9F-BFD2-4BBC-A2BC-06F0D17B4298}"/>
          </ac:spMkLst>
        </pc:spChg>
        <pc:spChg chg="mod">
          <ac:chgData name="Aude Van de WIELE" userId="7317e673-04dd-415c-a4d7-718682339b40" providerId="ADAL" clId="{80D4E734-020D-4C1F-A028-1B9E9B483F9A}" dt="2021-05-25T08:49:50.912" v="9370" actId="790"/>
          <ac:spMkLst>
            <pc:docMk/>
            <pc:sldMk cId="407516052" sldId="10409"/>
            <ac:spMk id="122" creationId="{7ED4A8D8-06EE-4620-B65B-5E3B52A3ABAE}"/>
          </ac:spMkLst>
        </pc:spChg>
        <pc:spChg chg="mod">
          <ac:chgData name="Aude Van de WIELE" userId="7317e673-04dd-415c-a4d7-718682339b40" providerId="ADAL" clId="{80D4E734-020D-4C1F-A028-1B9E9B483F9A}" dt="2021-05-25T08:49:50.915" v="9373" actId="790"/>
          <ac:spMkLst>
            <pc:docMk/>
            <pc:sldMk cId="407516052" sldId="10409"/>
            <ac:spMk id="123" creationId="{CCD5F39F-64EB-4F4E-BE6B-002C617492EF}"/>
          </ac:spMkLst>
        </pc:spChg>
        <pc:spChg chg="mod">
          <ac:chgData name="Aude Van de WIELE" userId="7317e673-04dd-415c-a4d7-718682339b40" providerId="ADAL" clId="{80D4E734-020D-4C1F-A028-1B9E9B483F9A}" dt="2021-05-25T08:49:50.938" v="9386" actId="790"/>
          <ac:spMkLst>
            <pc:docMk/>
            <pc:sldMk cId="407516052" sldId="10409"/>
            <ac:spMk id="126" creationId="{B775FA57-09F4-4478-A0A7-34027B888D82}"/>
          </ac:spMkLst>
        </pc:spChg>
        <pc:spChg chg="mod">
          <ac:chgData name="Aude Van de WIELE" userId="7317e673-04dd-415c-a4d7-718682339b40" providerId="ADAL" clId="{80D4E734-020D-4C1F-A028-1B9E9B483F9A}" dt="2021-05-25T08:49:50.923" v="9380" actId="790"/>
          <ac:spMkLst>
            <pc:docMk/>
            <pc:sldMk cId="407516052" sldId="10409"/>
            <ac:spMk id="154" creationId="{A7269958-7FC5-479F-B17B-49D115F118B6}"/>
          </ac:spMkLst>
        </pc:spChg>
        <pc:spChg chg="mod">
          <ac:chgData name="Aude Van de WIELE" userId="7317e673-04dd-415c-a4d7-718682339b40" providerId="ADAL" clId="{80D4E734-020D-4C1F-A028-1B9E9B483F9A}" dt="2021-05-25T08:49:50.939" v="9387" actId="790"/>
          <ac:spMkLst>
            <pc:docMk/>
            <pc:sldMk cId="407516052" sldId="10409"/>
            <ac:spMk id="163" creationId="{3A0D07FC-22C9-49A2-8495-E4477EFA8AD7}"/>
          </ac:spMkLst>
        </pc:spChg>
        <pc:spChg chg="mod">
          <ac:chgData name="Aude Van de WIELE" userId="7317e673-04dd-415c-a4d7-718682339b40" providerId="ADAL" clId="{80D4E734-020D-4C1F-A028-1B9E9B483F9A}" dt="2021-05-25T08:49:50.940" v="9388" actId="790"/>
          <ac:spMkLst>
            <pc:docMk/>
            <pc:sldMk cId="407516052" sldId="10409"/>
            <ac:spMk id="164" creationId="{45B3DC26-1827-4A19-9BB9-1F3BBFDB5426}"/>
          </ac:spMkLst>
        </pc:spChg>
        <pc:spChg chg="mod">
          <ac:chgData name="Aude Van de WIELE" userId="7317e673-04dd-415c-a4d7-718682339b40" providerId="ADAL" clId="{80D4E734-020D-4C1F-A028-1B9E9B483F9A}" dt="2021-05-25T08:49:50.905" v="9362" actId="790"/>
          <ac:spMkLst>
            <pc:docMk/>
            <pc:sldMk cId="407516052" sldId="10409"/>
            <ac:spMk id="165" creationId="{C389F3EC-7313-454E-9942-F14FD0BD4C77}"/>
          </ac:spMkLst>
        </pc:spChg>
        <pc:spChg chg="mod">
          <ac:chgData name="Aude Van de WIELE" userId="7317e673-04dd-415c-a4d7-718682339b40" providerId="ADAL" clId="{80D4E734-020D-4C1F-A028-1B9E9B483F9A}" dt="2021-05-25T08:49:50.906" v="9363" actId="790"/>
          <ac:spMkLst>
            <pc:docMk/>
            <pc:sldMk cId="407516052" sldId="10409"/>
            <ac:spMk id="166" creationId="{A3938D6F-1923-42FF-B2ED-6C2BEA79BA03}"/>
          </ac:spMkLst>
        </pc:spChg>
        <pc:spChg chg="mod">
          <ac:chgData name="Aude Van de WIELE" userId="7317e673-04dd-415c-a4d7-718682339b40" providerId="ADAL" clId="{80D4E734-020D-4C1F-A028-1B9E9B483F9A}" dt="2021-05-25T08:49:50.907" v="9364" actId="790"/>
          <ac:spMkLst>
            <pc:docMk/>
            <pc:sldMk cId="407516052" sldId="10409"/>
            <ac:spMk id="168" creationId="{C423BD9F-9E4A-46B8-89D7-67C1FE84B168}"/>
          </ac:spMkLst>
        </pc:spChg>
        <pc:spChg chg="mod">
          <ac:chgData name="Aude Van de WIELE" userId="7317e673-04dd-415c-a4d7-718682339b40" providerId="ADAL" clId="{80D4E734-020D-4C1F-A028-1B9E9B483F9A}" dt="2021-05-25T08:49:50.880" v="9346" actId="790"/>
          <ac:spMkLst>
            <pc:docMk/>
            <pc:sldMk cId="407516052" sldId="10409"/>
            <ac:spMk id="169" creationId="{7881ABC3-A97B-4E90-939F-E48D9595FFFF}"/>
          </ac:spMkLst>
        </pc:spChg>
        <pc:spChg chg="mod">
          <ac:chgData name="Aude Van de WIELE" userId="7317e673-04dd-415c-a4d7-718682339b40" providerId="ADAL" clId="{80D4E734-020D-4C1F-A028-1B9E9B483F9A}" dt="2021-05-25T08:49:50.879" v="9344" actId="790"/>
          <ac:spMkLst>
            <pc:docMk/>
            <pc:sldMk cId="407516052" sldId="10409"/>
            <ac:spMk id="170" creationId="{A886CA56-9620-415B-9489-A004AB6EB706}"/>
          </ac:spMkLst>
        </pc:spChg>
        <pc:spChg chg="mod">
          <ac:chgData name="Aude Van de WIELE" userId="7317e673-04dd-415c-a4d7-718682339b40" providerId="ADAL" clId="{80D4E734-020D-4C1F-A028-1B9E9B483F9A}" dt="2021-05-25T08:49:50.908" v="9365" actId="790"/>
          <ac:spMkLst>
            <pc:docMk/>
            <pc:sldMk cId="407516052" sldId="10409"/>
            <ac:spMk id="171" creationId="{BCC6DEFD-6FEB-4777-9432-E3B2F5C51000}"/>
          </ac:spMkLst>
        </pc:spChg>
        <pc:spChg chg="mod">
          <ac:chgData name="Aude Van de WIELE" userId="7317e673-04dd-415c-a4d7-718682339b40" providerId="ADAL" clId="{80D4E734-020D-4C1F-A028-1B9E9B483F9A}" dt="2021-05-25T08:49:50.909" v="9366" actId="790"/>
          <ac:spMkLst>
            <pc:docMk/>
            <pc:sldMk cId="407516052" sldId="10409"/>
            <ac:spMk id="172" creationId="{04568322-5012-422B-991D-C9A4712E25C9}"/>
          </ac:spMkLst>
        </pc:spChg>
        <pc:spChg chg="mod">
          <ac:chgData name="Aude Van de WIELE" userId="7317e673-04dd-415c-a4d7-718682339b40" providerId="ADAL" clId="{80D4E734-020D-4C1F-A028-1B9E9B483F9A}" dt="2021-05-25T08:49:50.941" v="9389" actId="790"/>
          <ac:spMkLst>
            <pc:docMk/>
            <pc:sldMk cId="407516052" sldId="10409"/>
            <ac:spMk id="173" creationId="{8CD6CBBD-11CE-42DF-84FB-AADE7AE166F4}"/>
          </ac:spMkLst>
        </pc:spChg>
        <pc:spChg chg="mod">
          <ac:chgData name="Aude Van de WIELE" userId="7317e673-04dd-415c-a4d7-718682339b40" providerId="ADAL" clId="{80D4E734-020D-4C1F-A028-1B9E9B483F9A}" dt="2021-05-25T08:49:50.942" v="9390" actId="790"/>
          <ac:spMkLst>
            <pc:docMk/>
            <pc:sldMk cId="407516052" sldId="10409"/>
            <ac:spMk id="174" creationId="{291707F1-A86E-4428-9CA3-A2CF01A2E4E6}"/>
          </ac:spMkLst>
        </pc:spChg>
        <pc:spChg chg="mod">
          <ac:chgData name="Aude Van de WIELE" userId="7317e673-04dd-415c-a4d7-718682339b40" providerId="ADAL" clId="{80D4E734-020D-4C1F-A028-1B9E9B483F9A}" dt="2021-05-25T08:49:50.943" v="9391" actId="790"/>
          <ac:spMkLst>
            <pc:docMk/>
            <pc:sldMk cId="407516052" sldId="10409"/>
            <ac:spMk id="175" creationId="{1C503FC7-4ED7-4733-917B-304AB825202B}"/>
          </ac:spMkLst>
        </pc:spChg>
        <pc:spChg chg="mod">
          <ac:chgData name="Aude Van de WIELE" userId="7317e673-04dd-415c-a4d7-718682339b40" providerId="ADAL" clId="{80D4E734-020D-4C1F-A028-1B9E9B483F9A}" dt="2021-05-25T08:49:50.944" v="9392" actId="790"/>
          <ac:spMkLst>
            <pc:docMk/>
            <pc:sldMk cId="407516052" sldId="10409"/>
            <ac:spMk id="176" creationId="{E97BB183-A78F-41E4-B6CF-95563991C411}"/>
          </ac:spMkLst>
        </pc:spChg>
        <pc:spChg chg="mod">
          <ac:chgData name="Aude Van de WIELE" userId="7317e673-04dd-415c-a4d7-718682339b40" providerId="ADAL" clId="{80D4E734-020D-4C1F-A028-1B9E9B483F9A}" dt="2021-05-25T08:49:50.945" v="9393" actId="790"/>
          <ac:spMkLst>
            <pc:docMk/>
            <pc:sldMk cId="407516052" sldId="10409"/>
            <ac:spMk id="177" creationId="{2B68C32F-C2AD-400A-8C8D-B9682D57B838}"/>
          </ac:spMkLst>
        </pc:spChg>
        <pc:spChg chg="mod">
          <ac:chgData name="Aude Van de WIELE" userId="7317e673-04dd-415c-a4d7-718682339b40" providerId="ADAL" clId="{80D4E734-020D-4C1F-A028-1B9E9B483F9A}" dt="2021-05-25T08:49:50.946" v="9394" actId="790"/>
          <ac:spMkLst>
            <pc:docMk/>
            <pc:sldMk cId="407516052" sldId="10409"/>
            <ac:spMk id="178" creationId="{5A8AC7B5-F0BC-495E-BDDE-31227A11846F}"/>
          </ac:spMkLst>
        </pc:spChg>
        <pc:spChg chg="mod">
          <ac:chgData name="Aude Van de WIELE" userId="7317e673-04dd-415c-a4d7-718682339b40" providerId="ADAL" clId="{80D4E734-020D-4C1F-A028-1B9E9B483F9A}" dt="2021-05-25T08:49:50.936" v="9384" actId="790"/>
          <ac:spMkLst>
            <pc:docMk/>
            <pc:sldMk cId="407516052" sldId="10409"/>
            <ac:spMk id="188" creationId="{3D8A8032-97B9-4BBE-B927-45BC220C8D1A}"/>
          </ac:spMkLst>
        </pc:spChg>
        <pc:spChg chg="mod">
          <ac:chgData name="Aude Van de WIELE" userId="7317e673-04dd-415c-a4d7-718682339b40" providerId="ADAL" clId="{80D4E734-020D-4C1F-A028-1B9E9B483F9A}" dt="2021-05-25T08:49:50.937" v="9385" actId="790"/>
          <ac:spMkLst>
            <pc:docMk/>
            <pc:sldMk cId="407516052" sldId="10409"/>
            <ac:spMk id="189" creationId="{56497B0A-483E-4AAB-905A-C3F0FDEC0D02}"/>
          </ac:spMkLst>
        </pc:spChg>
        <pc:spChg chg="mod">
          <ac:chgData name="Aude Van de WIELE" userId="7317e673-04dd-415c-a4d7-718682339b40" providerId="ADAL" clId="{80D4E734-020D-4C1F-A028-1B9E9B483F9A}" dt="2021-05-25T08:49:50.924" v="9381" actId="790"/>
          <ac:spMkLst>
            <pc:docMk/>
            <pc:sldMk cId="407516052" sldId="10409"/>
            <ac:spMk id="197" creationId="{EB1ED8EE-1371-4F31-B475-A7FD22F01C88}"/>
          </ac:spMkLst>
        </pc:spChg>
        <pc:spChg chg="mod">
          <ac:chgData name="Aude Van de WIELE" userId="7317e673-04dd-415c-a4d7-718682339b40" providerId="ADAL" clId="{80D4E734-020D-4C1F-A028-1B9E9B483F9A}" dt="2021-05-25T08:49:50.925" v="9382" actId="790"/>
          <ac:spMkLst>
            <pc:docMk/>
            <pc:sldMk cId="407516052" sldId="10409"/>
            <ac:spMk id="212" creationId="{F492C173-DFD6-47CF-9BB4-C8925127E1EE}"/>
          </ac:spMkLst>
        </pc:spChg>
        <pc:spChg chg="mod">
          <ac:chgData name="Aude Van de WIELE" userId="7317e673-04dd-415c-a4d7-718682339b40" providerId="ADAL" clId="{80D4E734-020D-4C1F-A028-1B9E9B483F9A}" dt="2021-05-25T08:49:50.902" v="9359" actId="790"/>
          <ac:spMkLst>
            <pc:docMk/>
            <pc:sldMk cId="407516052" sldId="10409"/>
            <ac:spMk id="1031" creationId="{A3845A5C-C65F-4C44-AE3B-D3285DF51268}"/>
          </ac:spMkLst>
        </pc:spChg>
        <pc:spChg chg="mod">
          <ac:chgData name="Aude Van de WIELE" userId="7317e673-04dd-415c-a4d7-718682339b40" providerId="ADAL" clId="{80D4E734-020D-4C1F-A028-1B9E9B483F9A}" dt="2021-05-25T08:49:50.903" v="9360" actId="790"/>
          <ac:spMkLst>
            <pc:docMk/>
            <pc:sldMk cId="407516052" sldId="10409"/>
            <ac:spMk id="1035" creationId="{9164A53F-4711-41A4-BE3D-8D2F4243A495}"/>
          </ac:spMkLst>
        </pc:spChg>
        <pc:spChg chg="mod">
          <ac:chgData name="Aude Van de WIELE" userId="7317e673-04dd-415c-a4d7-718682339b40" providerId="ADAL" clId="{80D4E734-020D-4C1F-A028-1B9E9B483F9A}" dt="2021-05-25T08:49:50.882" v="9348" actId="790"/>
          <ac:spMkLst>
            <pc:docMk/>
            <pc:sldMk cId="407516052" sldId="10409"/>
            <ac:spMk id="4107" creationId="{EBC573C8-C4E3-432A-81F7-B99236DF594A}"/>
          </ac:spMkLst>
        </pc:spChg>
      </pc:sldChg>
      <pc:sldChg chg="modSp mod">
        <pc:chgData name="Aude Van de WIELE" userId="7317e673-04dd-415c-a4d7-718682339b40" providerId="ADAL" clId="{80D4E734-020D-4C1F-A028-1B9E9B483F9A}" dt="2021-05-25T08:49:50.322" v="8944" actId="790"/>
        <pc:sldMkLst>
          <pc:docMk/>
          <pc:sldMk cId="4003625964" sldId="10410"/>
        </pc:sldMkLst>
        <pc:spChg chg="mod">
          <ac:chgData name="Aude Van de WIELE" userId="7317e673-04dd-415c-a4d7-718682339b40" providerId="ADAL" clId="{80D4E734-020D-4C1F-A028-1B9E9B483F9A}" dt="2021-05-25T08:49:50.259" v="8898" actId="790"/>
          <ac:spMkLst>
            <pc:docMk/>
            <pc:sldMk cId="4003625964" sldId="10410"/>
            <ac:spMk id="2" creationId="{1B8B41D0-3B5A-41F2-BD36-274CA5605C3A}"/>
          </ac:spMkLst>
        </pc:spChg>
        <pc:spChg chg="mod">
          <ac:chgData name="Aude Van de WIELE" userId="7317e673-04dd-415c-a4d7-718682339b40" providerId="ADAL" clId="{80D4E734-020D-4C1F-A028-1B9E9B483F9A}" dt="2021-05-25T08:49:50.250" v="8888" actId="790"/>
          <ac:spMkLst>
            <pc:docMk/>
            <pc:sldMk cId="4003625964" sldId="10410"/>
            <ac:spMk id="3" creationId="{F2961EB7-FC0B-4AEF-8BF3-7969101BE0A7}"/>
          </ac:spMkLst>
        </pc:spChg>
        <pc:spChg chg="mod">
          <ac:chgData name="Aude Van de WIELE" userId="7317e673-04dd-415c-a4d7-718682339b40" providerId="ADAL" clId="{80D4E734-020D-4C1F-A028-1B9E9B483F9A}" dt="2021-05-25T08:49:50.287" v="8918" actId="790"/>
          <ac:spMkLst>
            <pc:docMk/>
            <pc:sldMk cId="4003625964" sldId="10410"/>
            <ac:spMk id="4" creationId="{43E0D5C7-0986-42B1-8E8C-7B58D0CBD773}"/>
          </ac:spMkLst>
        </pc:spChg>
        <pc:spChg chg="mod">
          <ac:chgData name="Aude Van de WIELE" userId="7317e673-04dd-415c-a4d7-718682339b40" providerId="ADAL" clId="{80D4E734-020D-4C1F-A028-1B9E9B483F9A}" dt="2021-05-25T08:49:50.263" v="8899" actId="790"/>
          <ac:spMkLst>
            <pc:docMk/>
            <pc:sldMk cId="4003625964" sldId="10410"/>
            <ac:spMk id="5" creationId="{32E0BE14-B2E8-4A96-ADE4-0BE247A47D79}"/>
          </ac:spMkLst>
        </pc:spChg>
        <pc:spChg chg="mod">
          <ac:chgData name="Aude Van de WIELE" userId="7317e673-04dd-415c-a4d7-718682339b40" providerId="ADAL" clId="{80D4E734-020D-4C1F-A028-1B9E9B483F9A}" dt="2021-05-25T08:49:50.264" v="8900" actId="790"/>
          <ac:spMkLst>
            <pc:docMk/>
            <pc:sldMk cId="4003625964" sldId="10410"/>
            <ac:spMk id="6" creationId="{8AEA1672-C0F9-4DB2-A6F4-76831980F749}"/>
          </ac:spMkLst>
        </pc:spChg>
        <pc:spChg chg="mod">
          <ac:chgData name="Aude Van de WIELE" userId="7317e673-04dd-415c-a4d7-718682339b40" providerId="ADAL" clId="{80D4E734-020D-4C1F-A028-1B9E9B483F9A}" dt="2021-05-25T08:49:50.279" v="8910" actId="790"/>
          <ac:spMkLst>
            <pc:docMk/>
            <pc:sldMk cId="4003625964" sldId="10410"/>
            <ac:spMk id="7" creationId="{064EAC16-1947-4EB5-B699-F79BA984701D}"/>
          </ac:spMkLst>
        </pc:spChg>
        <pc:spChg chg="mod">
          <ac:chgData name="Aude Van de WIELE" userId="7317e673-04dd-415c-a4d7-718682339b40" providerId="ADAL" clId="{80D4E734-020D-4C1F-A028-1B9E9B483F9A}" dt="2021-05-25T08:49:50.280" v="8911" actId="790"/>
          <ac:spMkLst>
            <pc:docMk/>
            <pc:sldMk cId="4003625964" sldId="10410"/>
            <ac:spMk id="8" creationId="{17235FB0-B480-4F11-BAB2-ECCE97A0AE35}"/>
          </ac:spMkLst>
        </pc:spChg>
        <pc:spChg chg="mod">
          <ac:chgData name="Aude Van de WIELE" userId="7317e673-04dd-415c-a4d7-718682339b40" providerId="ADAL" clId="{80D4E734-020D-4C1F-A028-1B9E9B483F9A}" dt="2021-05-25T08:49:50.265" v="8901" actId="790"/>
          <ac:spMkLst>
            <pc:docMk/>
            <pc:sldMk cId="4003625964" sldId="10410"/>
            <ac:spMk id="9" creationId="{E57AC7D2-FC03-4826-B2B4-B86B10C8A912}"/>
          </ac:spMkLst>
        </pc:spChg>
        <pc:spChg chg="mod">
          <ac:chgData name="Aude Van de WIELE" userId="7317e673-04dd-415c-a4d7-718682339b40" providerId="ADAL" clId="{80D4E734-020D-4C1F-A028-1B9E9B483F9A}" dt="2021-05-25T08:49:50.295" v="8926" actId="790"/>
          <ac:spMkLst>
            <pc:docMk/>
            <pc:sldMk cId="4003625964" sldId="10410"/>
            <ac:spMk id="10" creationId="{EC4BC8E5-CDE6-4BDA-8B1B-E89284306AC8}"/>
          </ac:spMkLst>
        </pc:spChg>
        <pc:spChg chg="mod">
          <ac:chgData name="Aude Van de WIELE" userId="7317e673-04dd-415c-a4d7-718682339b40" providerId="ADAL" clId="{80D4E734-020D-4C1F-A028-1B9E9B483F9A}" dt="2021-05-25T08:49:50.250" v="8889" actId="790"/>
          <ac:spMkLst>
            <pc:docMk/>
            <pc:sldMk cId="4003625964" sldId="10410"/>
            <ac:spMk id="12" creationId="{06146879-726F-492D-B854-B9E140208671}"/>
          </ac:spMkLst>
        </pc:spChg>
        <pc:spChg chg="mod">
          <ac:chgData name="Aude Van de WIELE" userId="7317e673-04dd-415c-a4d7-718682339b40" providerId="ADAL" clId="{80D4E734-020D-4C1F-A028-1B9E9B483F9A}" dt="2021-05-25T08:49:50.254" v="8895" actId="790"/>
          <ac:spMkLst>
            <pc:docMk/>
            <pc:sldMk cId="4003625964" sldId="10410"/>
            <ac:spMk id="13" creationId="{E9F049B4-9F79-4754-AA4A-B557B2A6D3C9}"/>
          </ac:spMkLst>
        </pc:spChg>
        <pc:spChg chg="mod">
          <ac:chgData name="Aude Van de WIELE" userId="7317e673-04dd-415c-a4d7-718682339b40" providerId="ADAL" clId="{80D4E734-020D-4C1F-A028-1B9E9B483F9A}" dt="2021-05-25T08:49:50.300" v="8928" actId="790"/>
          <ac:spMkLst>
            <pc:docMk/>
            <pc:sldMk cId="4003625964" sldId="10410"/>
            <ac:spMk id="14" creationId="{FB5075C0-EB15-41D7-9CC4-B64837E153D1}"/>
          </ac:spMkLst>
        </pc:spChg>
        <pc:spChg chg="mod">
          <ac:chgData name="Aude Van de WIELE" userId="7317e673-04dd-415c-a4d7-718682339b40" providerId="ADAL" clId="{80D4E734-020D-4C1F-A028-1B9E9B483F9A}" dt="2021-05-25T08:49:50.274" v="8905" actId="790"/>
          <ac:spMkLst>
            <pc:docMk/>
            <pc:sldMk cId="4003625964" sldId="10410"/>
            <ac:spMk id="18" creationId="{E5E5B17C-AF5B-4FCB-935E-796FE66056AC}"/>
          </ac:spMkLst>
        </pc:spChg>
        <pc:spChg chg="mod">
          <ac:chgData name="Aude Van de WIELE" userId="7317e673-04dd-415c-a4d7-718682339b40" providerId="ADAL" clId="{80D4E734-020D-4C1F-A028-1B9E9B483F9A}" dt="2021-05-25T08:49:50.280" v="8912" actId="790"/>
          <ac:spMkLst>
            <pc:docMk/>
            <pc:sldMk cId="4003625964" sldId="10410"/>
            <ac:spMk id="19" creationId="{D183DC4A-A310-4818-8DE5-DD81DA31ACA2}"/>
          </ac:spMkLst>
        </pc:spChg>
        <pc:spChg chg="mod">
          <ac:chgData name="Aude Van de WIELE" userId="7317e673-04dd-415c-a4d7-718682339b40" providerId="ADAL" clId="{80D4E734-020D-4C1F-A028-1B9E9B483F9A}" dt="2021-05-25T08:49:50.284" v="8916" actId="790"/>
          <ac:spMkLst>
            <pc:docMk/>
            <pc:sldMk cId="4003625964" sldId="10410"/>
            <ac:spMk id="20" creationId="{54E8F179-87EF-4A92-9C29-92D7E20EB946}"/>
          </ac:spMkLst>
        </pc:spChg>
        <pc:spChg chg="mod">
          <ac:chgData name="Aude Van de WIELE" userId="7317e673-04dd-415c-a4d7-718682339b40" providerId="ADAL" clId="{80D4E734-020D-4C1F-A028-1B9E9B483F9A}" dt="2021-05-25T08:49:50.289" v="8919" actId="790"/>
          <ac:spMkLst>
            <pc:docMk/>
            <pc:sldMk cId="4003625964" sldId="10410"/>
            <ac:spMk id="21" creationId="{44BA4EC0-19D7-41DC-B319-396D8267BC37}"/>
          </ac:spMkLst>
        </pc:spChg>
        <pc:spChg chg="mod">
          <ac:chgData name="Aude Van de WIELE" userId="7317e673-04dd-415c-a4d7-718682339b40" providerId="ADAL" clId="{80D4E734-020D-4C1F-A028-1B9E9B483F9A}" dt="2021-05-25T08:49:50.281" v="8913" actId="790"/>
          <ac:spMkLst>
            <pc:docMk/>
            <pc:sldMk cId="4003625964" sldId="10410"/>
            <ac:spMk id="22" creationId="{43B8FABF-5816-42AC-8939-29224794884E}"/>
          </ac:spMkLst>
        </pc:spChg>
        <pc:spChg chg="mod">
          <ac:chgData name="Aude Van de WIELE" userId="7317e673-04dd-415c-a4d7-718682339b40" providerId="ADAL" clId="{80D4E734-020D-4C1F-A028-1B9E9B483F9A}" dt="2021-05-25T08:49:50.292" v="8923" actId="790"/>
          <ac:spMkLst>
            <pc:docMk/>
            <pc:sldMk cId="4003625964" sldId="10410"/>
            <ac:spMk id="33" creationId="{243F8FAD-0118-4F1B-B40B-A7D84FD36396}"/>
          </ac:spMkLst>
        </pc:spChg>
        <pc:spChg chg="mod">
          <ac:chgData name="Aude Van de WIELE" userId="7317e673-04dd-415c-a4d7-718682339b40" providerId="ADAL" clId="{80D4E734-020D-4C1F-A028-1B9E9B483F9A}" dt="2021-05-25T08:49:50.285" v="8917" actId="790"/>
          <ac:spMkLst>
            <pc:docMk/>
            <pc:sldMk cId="4003625964" sldId="10410"/>
            <ac:spMk id="47" creationId="{9E10C541-E455-4AF2-AA1A-715E3DF2DDC1}"/>
          </ac:spMkLst>
        </pc:spChg>
        <pc:spChg chg="mod">
          <ac:chgData name="Aude Van de WIELE" userId="7317e673-04dd-415c-a4d7-718682339b40" providerId="ADAL" clId="{80D4E734-020D-4C1F-A028-1B9E9B483F9A}" dt="2021-05-25T08:49:50.266" v="8902" actId="790"/>
          <ac:spMkLst>
            <pc:docMk/>
            <pc:sldMk cId="4003625964" sldId="10410"/>
            <ac:spMk id="49" creationId="{B10468A4-1BAC-4153-BC9A-99B8715C0AD1}"/>
          </ac:spMkLst>
        </pc:spChg>
        <pc:spChg chg="mod">
          <ac:chgData name="Aude Van de WIELE" userId="7317e673-04dd-415c-a4d7-718682339b40" providerId="ADAL" clId="{80D4E734-020D-4C1F-A028-1B9E9B483F9A}" dt="2021-05-25T08:49:50.251" v="8890" actId="790"/>
          <ac:spMkLst>
            <pc:docMk/>
            <pc:sldMk cId="4003625964" sldId="10410"/>
            <ac:spMk id="50" creationId="{06AD3339-7557-4559-B2EA-6A391CF2BF0C}"/>
          </ac:spMkLst>
        </pc:spChg>
        <pc:spChg chg="mod">
          <ac:chgData name="Aude Van de WIELE" userId="7317e673-04dd-415c-a4d7-718682339b40" providerId="ADAL" clId="{80D4E734-020D-4C1F-A028-1B9E9B483F9A}" dt="2021-05-25T08:49:50.294" v="8925" actId="790"/>
          <ac:spMkLst>
            <pc:docMk/>
            <pc:sldMk cId="4003625964" sldId="10410"/>
            <ac:spMk id="88" creationId="{336D463B-B815-4500-8F61-78A091129044}"/>
          </ac:spMkLst>
        </pc:spChg>
        <pc:spChg chg="mod">
          <ac:chgData name="Aude Van de WIELE" userId="7317e673-04dd-415c-a4d7-718682339b40" providerId="ADAL" clId="{80D4E734-020D-4C1F-A028-1B9E9B483F9A}" dt="2021-05-25T08:49:50.253" v="8893" actId="790"/>
          <ac:spMkLst>
            <pc:docMk/>
            <pc:sldMk cId="4003625964" sldId="10410"/>
            <ac:spMk id="96" creationId="{5BB653FA-7502-456B-9DD5-1867522D3A88}"/>
          </ac:spMkLst>
        </pc:spChg>
        <pc:spChg chg="mod">
          <ac:chgData name="Aude Van de WIELE" userId="7317e673-04dd-415c-a4d7-718682339b40" providerId="ADAL" clId="{80D4E734-020D-4C1F-A028-1B9E9B483F9A}" dt="2021-05-25T08:49:50.267" v="8903" actId="790"/>
          <ac:spMkLst>
            <pc:docMk/>
            <pc:sldMk cId="4003625964" sldId="10410"/>
            <ac:spMk id="100" creationId="{EF6C7B41-C54E-4684-BB9A-36701E115EBF}"/>
          </ac:spMkLst>
        </pc:spChg>
        <pc:spChg chg="mod">
          <ac:chgData name="Aude Van de WIELE" userId="7317e673-04dd-415c-a4d7-718682339b40" providerId="ADAL" clId="{80D4E734-020D-4C1F-A028-1B9E9B483F9A}" dt="2021-05-25T08:49:50.257" v="8897" actId="790"/>
          <ac:spMkLst>
            <pc:docMk/>
            <pc:sldMk cId="4003625964" sldId="10410"/>
            <ac:spMk id="107" creationId="{31D0AEAA-51DD-4312-8DD3-D5664A3B479D}"/>
          </ac:spMkLst>
        </pc:spChg>
        <pc:spChg chg="mod">
          <ac:chgData name="Aude Van de WIELE" userId="7317e673-04dd-415c-a4d7-718682339b40" providerId="ADAL" clId="{80D4E734-020D-4C1F-A028-1B9E9B483F9A}" dt="2021-05-25T08:49:50.293" v="8924" actId="790"/>
          <ac:spMkLst>
            <pc:docMk/>
            <pc:sldMk cId="4003625964" sldId="10410"/>
            <ac:spMk id="108" creationId="{B4E79E7D-0395-4CE2-8F8E-F7FFDE4BA106}"/>
          </ac:spMkLst>
        </pc:spChg>
        <pc:spChg chg="mod">
          <ac:chgData name="Aude Van de WIELE" userId="7317e673-04dd-415c-a4d7-718682339b40" providerId="ADAL" clId="{80D4E734-020D-4C1F-A028-1B9E9B483F9A}" dt="2021-05-25T08:49:50.296" v="8927" actId="790"/>
          <ac:spMkLst>
            <pc:docMk/>
            <pc:sldMk cId="4003625964" sldId="10410"/>
            <ac:spMk id="119" creationId="{EEF55E94-FD53-41D7-A423-6B56C40D88A1}"/>
          </ac:spMkLst>
        </pc:spChg>
        <pc:spChg chg="mod">
          <ac:chgData name="Aude Van de WIELE" userId="7317e673-04dd-415c-a4d7-718682339b40" providerId="ADAL" clId="{80D4E734-020D-4C1F-A028-1B9E9B483F9A}" dt="2021-05-25T08:49:50.253" v="8892" actId="790"/>
          <ac:spMkLst>
            <pc:docMk/>
            <pc:sldMk cId="4003625964" sldId="10410"/>
            <ac:spMk id="120" creationId="{697B9F9F-BFD2-4BBC-A2BC-06F0D17B4298}"/>
          </ac:spMkLst>
        </pc:spChg>
        <pc:spChg chg="mod">
          <ac:chgData name="Aude Van de WIELE" userId="7317e673-04dd-415c-a4d7-718682339b40" providerId="ADAL" clId="{80D4E734-020D-4C1F-A028-1B9E9B483F9A}" dt="2021-05-25T08:49:50.252" v="8891" actId="790"/>
          <ac:spMkLst>
            <pc:docMk/>
            <pc:sldMk cId="4003625964" sldId="10410"/>
            <ac:spMk id="122" creationId="{7ED4A8D8-06EE-4620-B65B-5E3B52A3ABAE}"/>
          </ac:spMkLst>
        </pc:spChg>
        <pc:spChg chg="mod">
          <ac:chgData name="Aude Van de WIELE" userId="7317e673-04dd-415c-a4d7-718682339b40" providerId="ADAL" clId="{80D4E734-020D-4C1F-A028-1B9E9B483F9A}" dt="2021-05-25T08:49:50.253" v="8894" actId="790"/>
          <ac:spMkLst>
            <pc:docMk/>
            <pc:sldMk cId="4003625964" sldId="10410"/>
            <ac:spMk id="123" creationId="{CCD5F39F-64EB-4F4E-BE6B-002C617492EF}"/>
          </ac:spMkLst>
        </pc:spChg>
        <pc:spChg chg="mod">
          <ac:chgData name="Aude Van de WIELE" userId="7317e673-04dd-415c-a4d7-718682339b40" providerId="ADAL" clId="{80D4E734-020D-4C1F-A028-1B9E9B483F9A}" dt="2021-05-25T08:49:50.311" v="8932" actId="790"/>
          <ac:spMkLst>
            <pc:docMk/>
            <pc:sldMk cId="4003625964" sldId="10410"/>
            <ac:spMk id="124" creationId="{D6C1E53A-55EC-4A78-A526-02C0AC2C60BB}"/>
          </ac:spMkLst>
        </pc:spChg>
        <pc:spChg chg="mod">
          <ac:chgData name="Aude Van de WIELE" userId="7317e673-04dd-415c-a4d7-718682339b40" providerId="ADAL" clId="{80D4E734-020D-4C1F-A028-1B9E9B483F9A}" dt="2021-05-25T08:49:50.277" v="8908" actId="790"/>
          <ac:spMkLst>
            <pc:docMk/>
            <pc:sldMk cId="4003625964" sldId="10410"/>
            <ac:spMk id="125" creationId="{D74D7498-92CD-485E-B64F-458B030E1CC2}"/>
          </ac:spMkLst>
        </pc:spChg>
        <pc:spChg chg="mod">
          <ac:chgData name="Aude Van de WIELE" userId="7317e673-04dd-415c-a4d7-718682339b40" providerId="ADAL" clId="{80D4E734-020D-4C1F-A028-1B9E9B483F9A}" dt="2021-05-25T08:49:50.311" v="8933" actId="790"/>
          <ac:spMkLst>
            <pc:docMk/>
            <pc:sldMk cId="4003625964" sldId="10410"/>
            <ac:spMk id="126" creationId="{ED54800C-53A0-4A95-B01D-6800A323DD3B}"/>
          </ac:spMkLst>
        </pc:spChg>
        <pc:spChg chg="mod">
          <ac:chgData name="Aude Van de WIELE" userId="7317e673-04dd-415c-a4d7-718682339b40" providerId="ADAL" clId="{80D4E734-020D-4C1F-A028-1B9E9B483F9A}" dt="2021-05-25T08:49:50.312" v="8934" actId="790"/>
          <ac:spMkLst>
            <pc:docMk/>
            <pc:sldMk cId="4003625964" sldId="10410"/>
            <ac:spMk id="136" creationId="{84C28327-00A2-4711-A8BF-996CFA88AC98}"/>
          </ac:spMkLst>
        </pc:spChg>
        <pc:spChg chg="mod">
          <ac:chgData name="Aude Van de WIELE" userId="7317e673-04dd-415c-a4d7-718682339b40" providerId="ADAL" clId="{80D4E734-020D-4C1F-A028-1B9E9B483F9A}" dt="2021-05-25T08:49:50.313" v="8935" actId="790"/>
          <ac:spMkLst>
            <pc:docMk/>
            <pc:sldMk cId="4003625964" sldId="10410"/>
            <ac:spMk id="137" creationId="{AEE977AB-712C-41D1-AD50-0C0BDEF0923D}"/>
          </ac:spMkLst>
        </pc:spChg>
        <pc:spChg chg="mod">
          <ac:chgData name="Aude Van de WIELE" userId="7317e673-04dd-415c-a4d7-718682339b40" providerId="ADAL" clId="{80D4E734-020D-4C1F-A028-1B9E9B483F9A}" dt="2021-05-25T08:49:50.314" v="8936" actId="790"/>
          <ac:spMkLst>
            <pc:docMk/>
            <pc:sldMk cId="4003625964" sldId="10410"/>
            <ac:spMk id="138" creationId="{3ED5E0DD-7898-41FC-9518-B99CF6724888}"/>
          </ac:spMkLst>
        </pc:spChg>
        <pc:spChg chg="mod">
          <ac:chgData name="Aude Van de WIELE" userId="7317e673-04dd-415c-a4d7-718682339b40" providerId="ADAL" clId="{80D4E734-020D-4C1F-A028-1B9E9B483F9A}" dt="2021-05-25T08:49:50.290" v="8920" actId="790"/>
          <ac:spMkLst>
            <pc:docMk/>
            <pc:sldMk cId="4003625964" sldId="10410"/>
            <ac:spMk id="154" creationId="{A7269958-7FC5-479F-B17B-49D115F118B6}"/>
          </ac:spMkLst>
        </pc:spChg>
        <pc:spChg chg="mod">
          <ac:chgData name="Aude Van de WIELE" userId="7317e673-04dd-415c-a4d7-718682339b40" providerId="ADAL" clId="{80D4E734-020D-4C1F-A028-1B9E9B483F9A}" dt="2021-05-25T08:49:50.275" v="8906" actId="790"/>
          <ac:spMkLst>
            <pc:docMk/>
            <pc:sldMk cId="4003625964" sldId="10410"/>
            <ac:spMk id="165" creationId="{C389F3EC-7313-454E-9942-F14FD0BD4C77}"/>
          </ac:spMkLst>
        </pc:spChg>
        <pc:spChg chg="mod">
          <ac:chgData name="Aude Van de WIELE" userId="7317e673-04dd-415c-a4d7-718682339b40" providerId="ADAL" clId="{80D4E734-020D-4C1F-A028-1B9E9B483F9A}" dt="2021-05-25T08:49:50.283" v="8915" actId="790"/>
          <ac:spMkLst>
            <pc:docMk/>
            <pc:sldMk cId="4003625964" sldId="10410"/>
            <ac:spMk id="166" creationId="{A3938D6F-1923-42FF-B2ED-6C2BEA79BA03}"/>
          </ac:spMkLst>
        </pc:spChg>
        <pc:spChg chg="mod">
          <ac:chgData name="Aude Van de WIELE" userId="7317e673-04dd-415c-a4d7-718682339b40" providerId="ADAL" clId="{80D4E734-020D-4C1F-A028-1B9E9B483F9A}" dt="2021-05-25T08:49:50.256" v="8896" actId="790"/>
          <ac:spMkLst>
            <pc:docMk/>
            <pc:sldMk cId="4003625964" sldId="10410"/>
            <ac:spMk id="168" creationId="{C423BD9F-9E4A-46B8-89D7-67C1FE84B168}"/>
          </ac:spMkLst>
        </pc:spChg>
        <pc:spChg chg="mod">
          <ac:chgData name="Aude Van de WIELE" userId="7317e673-04dd-415c-a4d7-718682339b40" providerId="ADAL" clId="{80D4E734-020D-4C1F-A028-1B9E9B483F9A}" dt="2021-05-25T08:49:50.276" v="8907" actId="790"/>
          <ac:spMkLst>
            <pc:docMk/>
            <pc:sldMk cId="4003625964" sldId="10410"/>
            <ac:spMk id="171" creationId="{BCC6DEFD-6FEB-4777-9432-E3B2F5C51000}"/>
          </ac:spMkLst>
        </pc:spChg>
        <pc:spChg chg="mod">
          <ac:chgData name="Aude Van de WIELE" userId="7317e673-04dd-415c-a4d7-718682339b40" providerId="ADAL" clId="{80D4E734-020D-4C1F-A028-1B9E9B483F9A}" dt="2021-05-25T08:49:50.306" v="8929" actId="790"/>
          <ac:spMkLst>
            <pc:docMk/>
            <pc:sldMk cId="4003625964" sldId="10410"/>
            <ac:spMk id="173" creationId="{BE452BF0-402D-4BCD-91A6-3CEC4D05BAD1}"/>
          </ac:spMkLst>
        </pc:spChg>
        <pc:spChg chg="mod">
          <ac:chgData name="Aude Van de WIELE" userId="7317e673-04dd-415c-a4d7-718682339b40" providerId="ADAL" clId="{80D4E734-020D-4C1F-A028-1B9E9B483F9A}" dt="2021-05-25T08:49:50.309" v="8930" actId="790"/>
          <ac:spMkLst>
            <pc:docMk/>
            <pc:sldMk cId="4003625964" sldId="10410"/>
            <ac:spMk id="184" creationId="{2D6BD341-2669-45B8-8E10-F13130479C8B}"/>
          </ac:spMkLst>
        </pc:spChg>
        <pc:spChg chg="mod">
          <ac:chgData name="Aude Van de WIELE" userId="7317e673-04dd-415c-a4d7-718682339b40" providerId="ADAL" clId="{80D4E734-020D-4C1F-A028-1B9E9B483F9A}" dt="2021-05-25T08:49:50.311" v="8931" actId="790"/>
          <ac:spMkLst>
            <pc:docMk/>
            <pc:sldMk cId="4003625964" sldId="10410"/>
            <ac:spMk id="185" creationId="{5AE57E1A-6506-4F9C-A94E-27A1D75F149A}"/>
          </ac:spMkLst>
        </pc:spChg>
        <pc:spChg chg="mod">
          <ac:chgData name="Aude Van de WIELE" userId="7317e673-04dd-415c-a4d7-718682339b40" providerId="ADAL" clId="{80D4E734-020D-4C1F-A028-1B9E9B483F9A}" dt="2021-05-25T08:49:50.290" v="8921" actId="790"/>
          <ac:spMkLst>
            <pc:docMk/>
            <pc:sldMk cId="4003625964" sldId="10410"/>
            <ac:spMk id="197" creationId="{EB1ED8EE-1371-4F31-B475-A7FD22F01C88}"/>
          </ac:spMkLst>
        </pc:spChg>
        <pc:spChg chg="mod">
          <ac:chgData name="Aude Van de WIELE" userId="7317e673-04dd-415c-a4d7-718682339b40" providerId="ADAL" clId="{80D4E734-020D-4C1F-A028-1B9E9B483F9A}" dt="2021-05-25T08:49:50.315" v="8937" actId="790"/>
          <ac:spMkLst>
            <pc:docMk/>
            <pc:sldMk cId="4003625964" sldId="10410"/>
            <ac:spMk id="204" creationId="{6CC6C49E-D434-403F-BE50-A7622E04ADF6}"/>
          </ac:spMkLst>
        </pc:spChg>
        <pc:spChg chg="mod">
          <ac:chgData name="Aude Van de WIELE" userId="7317e673-04dd-415c-a4d7-718682339b40" providerId="ADAL" clId="{80D4E734-020D-4C1F-A028-1B9E9B483F9A}" dt="2021-05-25T08:49:50.316" v="8938" actId="790"/>
          <ac:spMkLst>
            <pc:docMk/>
            <pc:sldMk cId="4003625964" sldId="10410"/>
            <ac:spMk id="205" creationId="{32F079B9-FFF1-42AB-9B15-BC9184FFBCAF}"/>
          </ac:spMkLst>
        </pc:spChg>
        <pc:spChg chg="mod">
          <ac:chgData name="Aude Van de WIELE" userId="7317e673-04dd-415c-a4d7-718682339b40" providerId="ADAL" clId="{80D4E734-020D-4C1F-A028-1B9E9B483F9A}" dt="2021-05-25T08:49:50.317" v="8939" actId="790"/>
          <ac:spMkLst>
            <pc:docMk/>
            <pc:sldMk cId="4003625964" sldId="10410"/>
            <ac:spMk id="206" creationId="{89686EE2-3C88-4AA0-87A1-4BC04B48AB02}"/>
          </ac:spMkLst>
        </pc:spChg>
        <pc:spChg chg="mod">
          <ac:chgData name="Aude Van de WIELE" userId="7317e673-04dd-415c-a4d7-718682339b40" providerId="ADAL" clId="{80D4E734-020D-4C1F-A028-1B9E9B483F9A}" dt="2021-05-25T08:49:50.318" v="8940" actId="790"/>
          <ac:spMkLst>
            <pc:docMk/>
            <pc:sldMk cId="4003625964" sldId="10410"/>
            <ac:spMk id="207" creationId="{AC37BD0B-23A7-4DB4-B2F5-65C70DADE73C}"/>
          </ac:spMkLst>
        </pc:spChg>
        <pc:spChg chg="mod">
          <ac:chgData name="Aude Van de WIELE" userId="7317e673-04dd-415c-a4d7-718682339b40" providerId="ADAL" clId="{80D4E734-020D-4C1F-A028-1B9E9B483F9A}" dt="2021-05-25T08:49:50.319" v="8941" actId="790"/>
          <ac:spMkLst>
            <pc:docMk/>
            <pc:sldMk cId="4003625964" sldId="10410"/>
            <ac:spMk id="208" creationId="{742E52DF-B90F-44D4-9B0A-5774B4121BA9}"/>
          </ac:spMkLst>
        </pc:spChg>
        <pc:spChg chg="mod">
          <ac:chgData name="Aude Van de WIELE" userId="7317e673-04dd-415c-a4d7-718682339b40" providerId="ADAL" clId="{80D4E734-020D-4C1F-A028-1B9E9B483F9A}" dt="2021-05-25T08:49:50.320" v="8942" actId="790"/>
          <ac:spMkLst>
            <pc:docMk/>
            <pc:sldMk cId="4003625964" sldId="10410"/>
            <ac:spMk id="209" creationId="{FE8ADA23-A482-4A71-B96C-4FF784FF76A5}"/>
          </ac:spMkLst>
        </pc:spChg>
        <pc:spChg chg="mod">
          <ac:chgData name="Aude Van de WIELE" userId="7317e673-04dd-415c-a4d7-718682339b40" providerId="ADAL" clId="{80D4E734-020D-4C1F-A028-1B9E9B483F9A}" dt="2021-05-25T08:49:50.321" v="8943" actId="790"/>
          <ac:spMkLst>
            <pc:docMk/>
            <pc:sldMk cId="4003625964" sldId="10410"/>
            <ac:spMk id="210" creationId="{F8F6D5DC-83D8-4EDF-96BE-EA0B142DCE81}"/>
          </ac:spMkLst>
        </pc:spChg>
        <pc:spChg chg="mod">
          <ac:chgData name="Aude Van de WIELE" userId="7317e673-04dd-415c-a4d7-718682339b40" providerId="ADAL" clId="{80D4E734-020D-4C1F-A028-1B9E9B483F9A}" dt="2021-05-25T08:49:50.322" v="8944" actId="790"/>
          <ac:spMkLst>
            <pc:docMk/>
            <pc:sldMk cId="4003625964" sldId="10410"/>
            <ac:spMk id="211" creationId="{03AEBBA0-73DD-4747-AD0F-3B8EC27C90DB}"/>
          </ac:spMkLst>
        </pc:spChg>
        <pc:spChg chg="mod">
          <ac:chgData name="Aude Van de WIELE" userId="7317e673-04dd-415c-a4d7-718682339b40" providerId="ADAL" clId="{80D4E734-020D-4C1F-A028-1B9E9B483F9A}" dt="2021-05-25T08:49:50.291" v="8922" actId="790"/>
          <ac:spMkLst>
            <pc:docMk/>
            <pc:sldMk cId="4003625964" sldId="10410"/>
            <ac:spMk id="212" creationId="{F492C173-DFD6-47CF-9BB4-C8925127E1EE}"/>
          </ac:spMkLst>
        </pc:spChg>
        <pc:spChg chg="mod">
          <ac:chgData name="Aude Van de WIELE" userId="7317e673-04dd-415c-a4d7-718682339b40" providerId="ADAL" clId="{80D4E734-020D-4C1F-A028-1B9E9B483F9A}" dt="2021-05-25T08:49:50.272" v="8904" actId="790"/>
          <ac:spMkLst>
            <pc:docMk/>
            <pc:sldMk cId="4003625964" sldId="10410"/>
            <ac:spMk id="1031" creationId="{A3845A5C-C65F-4C44-AE3B-D3285DF51268}"/>
          </ac:spMkLst>
        </pc:spChg>
        <pc:spChg chg="mod">
          <ac:chgData name="Aude Van de WIELE" userId="7317e673-04dd-415c-a4d7-718682339b40" providerId="ADAL" clId="{80D4E734-020D-4C1F-A028-1B9E9B483F9A}" dt="2021-05-25T08:49:50.282" v="8914" actId="790"/>
          <ac:spMkLst>
            <pc:docMk/>
            <pc:sldMk cId="4003625964" sldId="10410"/>
            <ac:spMk id="1035" creationId="{9164A53F-4711-41A4-BE3D-8D2F4243A495}"/>
          </ac:spMkLst>
        </pc:spChg>
        <pc:spChg chg="mod">
          <ac:chgData name="Aude Van de WIELE" userId="7317e673-04dd-415c-a4d7-718682339b40" providerId="ADAL" clId="{80D4E734-020D-4C1F-A028-1B9E9B483F9A}" dt="2021-05-25T08:49:50.278" v="8909" actId="790"/>
          <ac:spMkLst>
            <pc:docMk/>
            <pc:sldMk cId="4003625964" sldId="10410"/>
            <ac:spMk id="4107" creationId="{EBC573C8-C4E3-432A-81F7-B99236DF594A}"/>
          </ac:spMkLst>
        </pc:spChg>
      </pc:sldChg>
      <pc:sldChg chg="modSp mod">
        <pc:chgData name="Aude Van de WIELE" userId="7317e673-04dd-415c-a4d7-718682339b40" providerId="ADAL" clId="{80D4E734-020D-4C1F-A028-1B9E9B483F9A}" dt="2021-05-25T08:49:50.644" v="9157" actId="790"/>
        <pc:sldMkLst>
          <pc:docMk/>
          <pc:sldMk cId="3428758149" sldId="10411"/>
        </pc:sldMkLst>
        <pc:spChg chg="mod">
          <ac:chgData name="Aude Van de WIELE" userId="7317e673-04dd-415c-a4d7-718682339b40" providerId="ADAL" clId="{80D4E734-020D-4C1F-A028-1B9E9B483F9A}" dt="2021-05-25T08:49:50.582" v="9107" actId="790"/>
          <ac:spMkLst>
            <pc:docMk/>
            <pc:sldMk cId="3428758149" sldId="10411"/>
            <ac:spMk id="2" creationId="{1B8B41D0-3B5A-41F2-BD36-274CA5605C3A}"/>
          </ac:spMkLst>
        </pc:spChg>
        <pc:spChg chg="mod">
          <ac:chgData name="Aude Van de WIELE" userId="7317e673-04dd-415c-a4d7-718682339b40" providerId="ADAL" clId="{80D4E734-020D-4C1F-A028-1B9E9B483F9A}" dt="2021-05-25T08:49:50.576" v="9102" actId="790"/>
          <ac:spMkLst>
            <pc:docMk/>
            <pc:sldMk cId="3428758149" sldId="10411"/>
            <ac:spMk id="4" creationId="{43E0D5C7-0986-42B1-8E8C-7B58D0CBD773}"/>
          </ac:spMkLst>
        </pc:spChg>
        <pc:spChg chg="mod">
          <ac:chgData name="Aude Van de WIELE" userId="7317e673-04dd-415c-a4d7-718682339b40" providerId="ADAL" clId="{80D4E734-020D-4C1F-A028-1B9E9B483F9A}" dt="2021-05-25T08:49:50.583" v="9108" actId="790"/>
          <ac:spMkLst>
            <pc:docMk/>
            <pc:sldMk cId="3428758149" sldId="10411"/>
            <ac:spMk id="5" creationId="{32E0BE14-B2E8-4A96-ADE4-0BE247A47D79}"/>
          </ac:spMkLst>
        </pc:spChg>
        <pc:spChg chg="mod">
          <ac:chgData name="Aude Van de WIELE" userId="7317e673-04dd-415c-a4d7-718682339b40" providerId="ADAL" clId="{80D4E734-020D-4C1F-A028-1B9E9B483F9A}" dt="2021-05-25T08:49:50.610" v="9133" actId="790"/>
          <ac:spMkLst>
            <pc:docMk/>
            <pc:sldMk cId="3428758149" sldId="10411"/>
            <ac:spMk id="6" creationId="{8AEA1672-C0F9-4DB2-A6F4-76831980F749}"/>
          </ac:spMkLst>
        </pc:spChg>
        <pc:spChg chg="mod">
          <ac:chgData name="Aude Van de WIELE" userId="7317e673-04dd-415c-a4d7-718682339b40" providerId="ADAL" clId="{80D4E734-020D-4C1F-A028-1B9E9B483F9A}" dt="2021-05-25T08:49:50.579" v="9105" actId="790"/>
          <ac:spMkLst>
            <pc:docMk/>
            <pc:sldMk cId="3428758149" sldId="10411"/>
            <ac:spMk id="7" creationId="{064EAC16-1947-4EB5-B699-F79BA984701D}"/>
          </ac:spMkLst>
        </pc:spChg>
        <pc:spChg chg="mod">
          <ac:chgData name="Aude Van de WIELE" userId="7317e673-04dd-415c-a4d7-718682339b40" providerId="ADAL" clId="{80D4E734-020D-4C1F-A028-1B9E9B483F9A}" dt="2021-05-25T08:49:50.580" v="9106" actId="790"/>
          <ac:spMkLst>
            <pc:docMk/>
            <pc:sldMk cId="3428758149" sldId="10411"/>
            <ac:spMk id="8" creationId="{17235FB0-B480-4F11-BAB2-ECCE97A0AE35}"/>
          </ac:spMkLst>
        </pc:spChg>
        <pc:spChg chg="mod">
          <ac:chgData name="Aude Van de WIELE" userId="7317e673-04dd-415c-a4d7-718682339b40" providerId="ADAL" clId="{80D4E734-020D-4C1F-A028-1B9E9B483F9A}" dt="2021-05-25T08:49:50.607" v="9132" actId="790"/>
          <ac:spMkLst>
            <pc:docMk/>
            <pc:sldMk cId="3428758149" sldId="10411"/>
            <ac:spMk id="9" creationId="{E57AC7D2-FC03-4826-B2B4-B86B10C8A912}"/>
          </ac:spMkLst>
        </pc:spChg>
        <pc:spChg chg="mod">
          <ac:chgData name="Aude Van de WIELE" userId="7317e673-04dd-415c-a4d7-718682339b40" providerId="ADAL" clId="{80D4E734-020D-4C1F-A028-1B9E9B483F9A}" dt="2021-05-25T08:49:50.596" v="9119" actId="790"/>
          <ac:spMkLst>
            <pc:docMk/>
            <pc:sldMk cId="3428758149" sldId="10411"/>
            <ac:spMk id="10" creationId="{EC4BC8E5-CDE6-4BDA-8B1B-E89284306AC8}"/>
          </ac:spMkLst>
        </pc:spChg>
        <pc:spChg chg="mod">
          <ac:chgData name="Aude Van de WIELE" userId="7317e673-04dd-415c-a4d7-718682339b40" providerId="ADAL" clId="{80D4E734-020D-4C1F-A028-1B9E9B483F9A}" dt="2021-05-25T08:49:50.592" v="9115" actId="790"/>
          <ac:spMkLst>
            <pc:docMk/>
            <pc:sldMk cId="3428758149" sldId="10411"/>
            <ac:spMk id="18" creationId="{E5E5B17C-AF5B-4FCB-935E-796FE66056AC}"/>
          </ac:spMkLst>
        </pc:spChg>
        <pc:spChg chg="mod">
          <ac:chgData name="Aude Van de WIELE" userId="7317e673-04dd-415c-a4d7-718682339b40" providerId="ADAL" clId="{80D4E734-020D-4C1F-A028-1B9E9B483F9A}" dt="2021-05-25T08:49:50.584" v="9109" actId="790"/>
          <ac:spMkLst>
            <pc:docMk/>
            <pc:sldMk cId="3428758149" sldId="10411"/>
            <ac:spMk id="19" creationId="{D183DC4A-A310-4818-8DE5-DD81DA31ACA2}"/>
          </ac:spMkLst>
        </pc:spChg>
        <pc:spChg chg="mod">
          <ac:chgData name="Aude Van de WIELE" userId="7317e673-04dd-415c-a4d7-718682339b40" providerId="ADAL" clId="{80D4E734-020D-4C1F-A028-1B9E9B483F9A}" dt="2021-05-25T08:49:50.585" v="9110" actId="790"/>
          <ac:spMkLst>
            <pc:docMk/>
            <pc:sldMk cId="3428758149" sldId="10411"/>
            <ac:spMk id="20" creationId="{54E8F179-87EF-4A92-9C29-92D7E20EB946}"/>
          </ac:spMkLst>
        </pc:spChg>
        <pc:spChg chg="mod">
          <ac:chgData name="Aude Van de WIELE" userId="7317e673-04dd-415c-a4d7-718682339b40" providerId="ADAL" clId="{80D4E734-020D-4C1F-A028-1B9E9B483F9A}" dt="2021-05-25T08:49:50.614" v="9135" actId="790"/>
          <ac:spMkLst>
            <pc:docMk/>
            <pc:sldMk cId="3428758149" sldId="10411"/>
            <ac:spMk id="21" creationId="{44BA4EC0-19D7-41DC-B319-396D8267BC37}"/>
          </ac:spMkLst>
        </pc:spChg>
        <pc:spChg chg="mod">
          <ac:chgData name="Aude Van de WIELE" userId="7317e673-04dd-415c-a4d7-718682339b40" providerId="ADAL" clId="{80D4E734-020D-4C1F-A028-1B9E9B483F9A}" dt="2021-05-25T08:49:50.614" v="9136" actId="790"/>
          <ac:spMkLst>
            <pc:docMk/>
            <pc:sldMk cId="3428758149" sldId="10411"/>
            <ac:spMk id="22" creationId="{43B8FABF-5816-42AC-8939-29224794884E}"/>
          </ac:spMkLst>
        </pc:spChg>
        <pc:spChg chg="mod">
          <ac:chgData name="Aude Van de WIELE" userId="7317e673-04dd-415c-a4d7-718682339b40" providerId="ADAL" clId="{80D4E734-020D-4C1F-A028-1B9E9B483F9A}" dt="2021-05-25T08:49:50.593" v="9116" actId="790"/>
          <ac:spMkLst>
            <pc:docMk/>
            <pc:sldMk cId="3428758149" sldId="10411"/>
            <ac:spMk id="33" creationId="{243F8FAD-0118-4F1B-B40B-A7D84FD36396}"/>
          </ac:spMkLst>
        </pc:spChg>
        <pc:spChg chg="mod">
          <ac:chgData name="Aude Van de WIELE" userId="7317e673-04dd-415c-a4d7-718682339b40" providerId="ADAL" clId="{80D4E734-020D-4C1F-A028-1B9E9B483F9A}" dt="2021-05-25T08:49:50.586" v="9111" actId="790"/>
          <ac:spMkLst>
            <pc:docMk/>
            <pc:sldMk cId="3428758149" sldId="10411"/>
            <ac:spMk id="47" creationId="{9E10C541-E455-4AF2-AA1A-715E3DF2DDC1}"/>
          </ac:spMkLst>
        </pc:spChg>
        <pc:spChg chg="mod">
          <ac:chgData name="Aude Van de WIELE" userId="7317e673-04dd-415c-a4d7-718682339b40" providerId="ADAL" clId="{80D4E734-020D-4C1F-A028-1B9E9B483F9A}" dt="2021-05-25T08:49:50.613" v="9134" actId="790"/>
          <ac:spMkLst>
            <pc:docMk/>
            <pc:sldMk cId="3428758149" sldId="10411"/>
            <ac:spMk id="49" creationId="{B10468A4-1BAC-4153-BC9A-99B8715C0AD1}"/>
          </ac:spMkLst>
        </pc:spChg>
        <pc:spChg chg="mod">
          <ac:chgData name="Aude Van de WIELE" userId="7317e673-04dd-415c-a4d7-718682339b40" providerId="ADAL" clId="{80D4E734-020D-4C1F-A028-1B9E9B483F9A}" dt="2021-05-25T08:49:50.594" v="9117" actId="790"/>
          <ac:spMkLst>
            <pc:docMk/>
            <pc:sldMk cId="3428758149" sldId="10411"/>
            <ac:spMk id="88" creationId="{336D463B-B815-4500-8F61-78A091129044}"/>
          </ac:spMkLst>
        </pc:spChg>
        <pc:spChg chg="mod">
          <ac:chgData name="Aude Van de WIELE" userId="7317e673-04dd-415c-a4d7-718682339b40" providerId="ADAL" clId="{80D4E734-020D-4C1F-A028-1B9E9B483F9A}" dt="2021-05-25T08:49:50.597" v="9121" actId="790"/>
          <ac:spMkLst>
            <pc:docMk/>
            <pc:sldMk cId="3428758149" sldId="10411"/>
            <ac:spMk id="90" creationId="{C1682200-357E-4434-8AD7-5A0786BF6D1B}"/>
          </ac:spMkLst>
        </pc:spChg>
        <pc:spChg chg="mod">
          <ac:chgData name="Aude Van de WIELE" userId="7317e673-04dd-415c-a4d7-718682339b40" providerId="ADAL" clId="{80D4E734-020D-4C1F-A028-1B9E9B483F9A}" dt="2021-05-25T08:49:50.587" v="9112" actId="790"/>
          <ac:spMkLst>
            <pc:docMk/>
            <pc:sldMk cId="3428758149" sldId="10411"/>
            <ac:spMk id="100" creationId="{EF6C7B41-C54E-4684-BB9A-36701E115EBF}"/>
          </ac:spMkLst>
        </pc:spChg>
        <pc:spChg chg="mod">
          <ac:chgData name="Aude Van de WIELE" userId="7317e673-04dd-415c-a4d7-718682339b40" providerId="ADAL" clId="{80D4E734-020D-4C1F-A028-1B9E9B483F9A}" dt="2021-05-25T08:49:50.577" v="9103" actId="790"/>
          <ac:spMkLst>
            <pc:docMk/>
            <pc:sldMk cId="3428758149" sldId="10411"/>
            <ac:spMk id="107" creationId="{31D0AEAA-51DD-4312-8DD3-D5664A3B479D}"/>
          </ac:spMkLst>
        </pc:spChg>
        <pc:spChg chg="mod">
          <ac:chgData name="Aude Van de WIELE" userId="7317e673-04dd-415c-a4d7-718682339b40" providerId="ADAL" clId="{80D4E734-020D-4C1F-A028-1B9E9B483F9A}" dt="2021-05-25T08:49:50.595" v="9118" actId="790"/>
          <ac:spMkLst>
            <pc:docMk/>
            <pc:sldMk cId="3428758149" sldId="10411"/>
            <ac:spMk id="108" creationId="{B4E79E7D-0395-4CE2-8F8E-F7FFDE4BA106}"/>
          </ac:spMkLst>
        </pc:spChg>
        <pc:spChg chg="mod">
          <ac:chgData name="Aude Van de WIELE" userId="7317e673-04dd-415c-a4d7-718682339b40" providerId="ADAL" clId="{80D4E734-020D-4C1F-A028-1B9E9B483F9A}" dt="2021-05-25T08:49:50.615" v="9137" actId="790"/>
          <ac:spMkLst>
            <pc:docMk/>
            <pc:sldMk cId="3428758149" sldId="10411"/>
            <ac:spMk id="111" creationId="{A662E706-32F2-41FE-9B2F-D2BD0E0EC661}"/>
          </ac:spMkLst>
        </pc:spChg>
        <pc:spChg chg="mod">
          <ac:chgData name="Aude Van de WIELE" userId="7317e673-04dd-415c-a4d7-718682339b40" providerId="ADAL" clId="{80D4E734-020D-4C1F-A028-1B9E9B483F9A}" dt="2021-05-25T08:49:50.597" v="9120" actId="790"/>
          <ac:spMkLst>
            <pc:docMk/>
            <pc:sldMk cId="3428758149" sldId="10411"/>
            <ac:spMk id="119" creationId="{EEF55E94-FD53-41D7-A423-6B56C40D88A1}"/>
          </ac:spMkLst>
        </pc:spChg>
        <pc:spChg chg="mod">
          <ac:chgData name="Aude Van de WIELE" userId="7317e673-04dd-415c-a4d7-718682339b40" providerId="ADAL" clId="{80D4E734-020D-4C1F-A028-1B9E9B483F9A}" dt="2021-05-25T08:49:50.636" v="9149" actId="790"/>
          <ac:spMkLst>
            <pc:docMk/>
            <pc:sldMk cId="3428758149" sldId="10411"/>
            <ac:spMk id="120" creationId="{4343EB7A-018D-484E-A28E-992B43E9083C}"/>
          </ac:spMkLst>
        </pc:spChg>
        <pc:spChg chg="mod">
          <ac:chgData name="Aude Van de WIELE" userId="7317e673-04dd-415c-a4d7-718682339b40" providerId="ADAL" clId="{80D4E734-020D-4C1F-A028-1B9E9B483F9A}" dt="2021-05-25T08:49:50.606" v="9131" actId="790"/>
          <ac:spMkLst>
            <pc:docMk/>
            <pc:sldMk cId="3428758149" sldId="10411"/>
            <ac:spMk id="125" creationId="{7652A19C-0208-4FCF-97AA-2B30A8201430}"/>
          </ac:spMkLst>
        </pc:spChg>
        <pc:spChg chg="mod">
          <ac:chgData name="Aude Van de WIELE" userId="7317e673-04dd-415c-a4d7-718682339b40" providerId="ADAL" clId="{80D4E734-020D-4C1F-A028-1B9E9B483F9A}" dt="2021-05-25T08:49:50.616" v="9138" actId="790"/>
          <ac:spMkLst>
            <pc:docMk/>
            <pc:sldMk cId="3428758149" sldId="10411"/>
            <ac:spMk id="126" creationId="{63942540-A317-4743-AF4A-188E27B880D4}"/>
          </ac:spMkLst>
        </pc:spChg>
        <pc:spChg chg="mod">
          <ac:chgData name="Aude Van de WIELE" userId="7317e673-04dd-415c-a4d7-718682339b40" providerId="ADAL" clId="{80D4E734-020D-4C1F-A028-1B9E9B483F9A}" dt="2021-05-25T08:49:50.617" v="9139" actId="790"/>
          <ac:spMkLst>
            <pc:docMk/>
            <pc:sldMk cId="3428758149" sldId="10411"/>
            <ac:spMk id="133" creationId="{2F686D82-55D3-442D-9909-5BB89A5A42F7}"/>
          </ac:spMkLst>
        </pc:spChg>
        <pc:spChg chg="mod">
          <ac:chgData name="Aude Van de WIELE" userId="7317e673-04dd-415c-a4d7-718682339b40" providerId="ADAL" clId="{80D4E734-020D-4C1F-A028-1B9E9B483F9A}" dt="2021-05-25T08:49:50.618" v="9140" actId="790"/>
          <ac:spMkLst>
            <pc:docMk/>
            <pc:sldMk cId="3428758149" sldId="10411"/>
            <ac:spMk id="138" creationId="{BDFF2A30-FC85-494F-A8BE-68AC12D0664F}"/>
          </ac:spMkLst>
        </pc:spChg>
        <pc:spChg chg="mod">
          <ac:chgData name="Aude Van de WIELE" userId="7317e673-04dd-415c-a4d7-718682339b40" providerId="ADAL" clId="{80D4E734-020D-4C1F-A028-1B9E9B483F9A}" dt="2021-05-25T08:49:50.619" v="9141" actId="790"/>
          <ac:spMkLst>
            <pc:docMk/>
            <pc:sldMk cId="3428758149" sldId="10411"/>
            <ac:spMk id="139" creationId="{DFFB6080-1942-420C-9ED6-1272BD476178}"/>
          </ac:spMkLst>
        </pc:spChg>
        <pc:spChg chg="mod">
          <ac:chgData name="Aude Van de WIELE" userId="7317e673-04dd-415c-a4d7-718682339b40" providerId="ADAL" clId="{80D4E734-020D-4C1F-A028-1B9E9B483F9A}" dt="2021-05-25T08:49:50.620" v="9142" actId="790"/>
          <ac:spMkLst>
            <pc:docMk/>
            <pc:sldMk cId="3428758149" sldId="10411"/>
            <ac:spMk id="153" creationId="{56FADE7A-92EF-4552-9F92-BBA0DF83B829}"/>
          </ac:spMkLst>
        </pc:spChg>
        <pc:spChg chg="mod">
          <ac:chgData name="Aude Van de WIELE" userId="7317e673-04dd-415c-a4d7-718682339b40" providerId="ADAL" clId="{80D4E734-020D-4C1F-A028-1B9E9B483F9A}" dt="2021-05-25T08:49:50.603" v="9128" actId="790"/>
          <ac:spMkLst>
            <pc:docMk/>
            <pc:sldMk cId="3428758149" sldId="10411"/>
            <ac:spMk id="154" creationId="{A7269958-7FC5-479F-B17B-49D115F118B6}"/>
          </ac:spMkLst>
        </pc:spChg>
        <pc:spChg chg="mod">
          <ac:chgData name="Aude Van de WIELE" userId="7317e673-04dd-415c-a4d7-718682339b40" providerId="ADAL" clId="{80D4E734-020D-4C1F-A028-1B9E9B483F9A}" dt="2021-05-25T08:49:50.620" v="9143" actId="790"/>
          <ac:spMkLst>
            <pc:docMk/>
            <pc:sldMk cId="3428758149" sldId="10411"/>
            <ac:spMk id="155" creationId="{66D6DDD8-3ED4-4381-AC07-6CD1ABBD4DA9}"/>
          </ac:spMkLst>
        </pc:spChg>
        <pc:spChg chg="mod">
          <ac:chgData name="Aude Van de WIELE" userId="7317e673-04dd-415c-a4d7-718682339b40" providerId="ADAL" clId="{80D4E734-020D-4C1F-A028-1B9E9B483F9A}" dt="2021-05-25T08:49:50.621" v="9144" actId="790"/>
          <ac:spMkLst>
            <pc:docMk/>
            <pc:sldMk cId="3428758149" sldId="10411"/>
            <ac:spMk id="156" creationId="{8E7AC4C0-9393-4F3D-AD60-8422C9B33945}"/>
          </ac:spMkLst>
        </pc:spChg>
        <pc:spChg chg="mod">
          <ac:chgData name="Aude Van de WIELE" userId="7317e673-04dd-415c-a4d7-718682339b40" providerId="ADAL" clId="{80D4E734-020D-4C1F-A028-1B9E9B483F9A}" dt="2021-05-25T08:49:50.623" v="9145" actId="790"/>
          <ac:spMkLst>
            <pc:docMk/>
            <pc:sldMk cId="3428758149" sldId="10411"/>
            <ac:spMk id="160" creationId="{65DDC353-B250-4B5B-B85A-6A6AB046332A}"/>
          </ac:spMkLst>
        </pc:spChg>
        <pc:spChg chg="mod">
          <ac:chgData name="Aude Van de WIELE" userId="7317e673-04dd-415c-a4d7-718682339b40" providerId="ADAL" clId="{80D4E734-020D-4C1F-A028-1B9E9B483F9A}" dt="2021-05-25T08:49:50.598" v="9122" actId="790"/>
          <ac:spMkLst>
            <pc:docMk/>
            <pc:sldMk cId="3428758149" sldId="10411"/>
            <ac:spMk id="165" creationId="{C389F3EC-7313-454E-9942-F14FD0BD4C77}"/>
          </ac:spMkLst>
        </pc:spChg>
        <pc:spChg chg="mod">
          <ac:chgData name="Aude Van de WIELE" userId="7317e673-04dd-415c-a4d7-718682339b40" providerId="ADAL" clId="{80D4E734-020D-4C1F-A028-1B9E9B483F9A}" dt="2021-05-25T08:49:50.599" v="9123" actId="790"/>
          <ac:spMkLst>
            <pc:docMk/>
            <pc:sldMk cId="3428758149" sldId="10411"/>
            <ac:spMk id="166" creationId="{A3938D6F-1923-42FF-B2ED-6C2BEA79BA03}"/>
          </ac:spMkLst>
        </pc:spChg>
        <pc:spChg chg="mod">
          <ac:chgData name="Aude Van de WIELE" userId="7317e673-04dd-415c-a4d7-718682339b40" providerId="ADAL" clId="{80D4E734-020D-4C1F-A028-1B9E9B483F9A}" dt="2021-05-25T08:49:50.600" v="9124" actId="790"/>
          <ac:spMkLst>
            <pc:docMk/>
            <pc:sldMk cId="3428758149" sldId="10411"/>
            <ac:spMk id="169" creationId="{7881ABC3-A97B-4E90-939F-E48D9595FFFF}"/>
          </ac:spMkLst>
        </pc:spChg>
        <pc:spChg chg="mod">
          <ac:chgData name="Aude Van de WIELE" userId="7317e673-04dd-415c-a4d7-718682339b40" providerId="ADAL" clId="{80D4E734-020D-4C1F-A028-1B9E9B483F9A}" dt="2021-05-25T08:49:50.601" v="9125" actId="790"/>
          <ac:spMkLst>
            <pc:docMk/>
            <pc:sldMk cId="3428758149" sldId="10411"/>
            <ac:spMk id="170" creationId="{A886CA56-9620-415B-9489-A004AB6EB706}"/>
          </ac:spMkLst>
        </pc:spChg>
        <pc:spChg chg="mod">
          <ac:chgData name="Aude Van de WIELE" userId="7317e673-04dd-415c-a4d7-718682339b40" providerId="ADAL" clId="{80D4E734-020D-4C1F-A028-1B9E9B483F9A}" dt="2021-05-25T08:49:50.601" v="9126" actId="790"/>
          <ac:spMkLst>
            <pc:docMk/>
            <pc:sldMk cId="3428758149" sldId="10411"/>
            <ac:spMk id="171" creationId="{BCC6DEFD-6FEB-4777-9432-E3B2F5C51000}"/>
          </ac:spMkLst>
        </pc:spChg>
        <pc:spChg chg="mod">
          <ac:chgData name="Aude Van de WIELE" userId="7317e673-04dd-415c-a4d7-718682339b40" providerId="ADAL" clId="{80D4E734-020D-4C1F-A028-1B9E9B483F9A}" dt="2021-05-25T08:49:50.602" v="9127" actId="790"/>
          <ac:spMkLst>
            <pc:docMk/>
            <pc:sldMk cId="3428758149" sldId="10411"/>
            <ac:spMk id="172" creationId="{04568322-5012-422B-991D-C9A4712E25C9}"/>
          </ac:spMkLst>
        </pc:spChg>
        <pc:spChg chg="mod">
          <ac:chgData name="Aude Van de WIELE" userId="7317e673-04dd-415c-a4d7-718682339b40" providerId="ADAL" clId="{80D4E734-020D-4C1F-A028-1B9E9B483F9A}" dt="2021-05-25T08:49:50.629" v="9146" actId="790"/>
          <ac:spMkLst>
            <pc:docMk/>
            <pc:sldMk cId="3428758149" sldId="10411"/>
            <ac:spMk id="182" creationId="{A076D8FE-B37B-4946-B8B8-0EDB06F5AC05}"/>
          </ac:spMkLst>
        </pc:spChg>
        <pc:spChg chg="mod">
          <ac:chgData name="Aude Van de WIELE" userId="7317e673-04dd-415c-a4d7-718682339b40" providerId="ADAL" clId="{80D4E734-020D-4C1F-A028-1B9E9B483F9A}" dt="2021-05-25T08:49:50.637" v="9150" actId="790"/>
          <ac:spMkLst>
            <pc:docMk/>
            <pc:sldMk cId="3428758149" sldId="10411"/>
            <ac:spMk id="189" creationId="{7A2C2269-A033-4F79-A009-25900D3441B1}"/>
          </ac:spMkLst>
        </pc:spChg>
        <pc:spChg chg="mod">
          <ac:chgData name="Aude Van de WIELE" userId="7317e673-04dd-415c-a4d7-718682339b40" providerId="ADAL" clId="{80D4E734-020D-4C1F-A028-1B9E9B483F9A}" dt="2021-05-25T08:49:50.638" v="9151" actId="790"/>
          <ac:spMkLst>
            <pc:docMk/>
            <pc:sldMk cId="3428758149" sldId="10411"/>
            <ac:spMk id="190" creationId="{FA3A6E33-C7E6-414E-9791-7BE8447D706F}"/>
          </ac:spMkLst>
        </pc:spChg>
        <pc:spChg chg="mod">
          <ac:chgData name="Aude Van de WIELE" userId="7317e673-04dd-415c-a4d7-718682339b40" providerId="ADAL" clId="{80D4E734-020D-4C1F-A028-1B9E9B483F9A}" dt="2021-05-25T08:49:50.639" v="9152" actId="790"/>
          <ac:spMkLst>
            <pc:docMk/>
            <pc:sldMk cId="3428758149" sldId="10411"/>
            <ac:spMk id="191" creationId="{DBBC3D5B-EC57-49B3-B205-C41618E3396A}"/>
          </ac:spMkLst>
        </pc:spChg>
        <pc:spChg chg="mod">
          <ac:chgData name="Aude Van de WIELE" userId="7317e673-04dd-415c-a4d7-718682339b40" providerId="ADAL" clId="{80D4E734-020D-4C1F-A028-1B9E9B483F9A}" dt="2021-05-25T08:49:50.640" v="9153" actId="790"/>
          <ac:spMkLst>
            <pc:docMk/>
            <pc:sldMk cId="3428758149" sldId="10411"/>
            <ac:spMk id="192" creationId="{BF3302B9-47A5-4467-AA31-76ED8B771FC9}"/>
          </ac:spMkLst>
        </pc:spChg>
        <pc:spChg chg="mod">
          <ac:chgData name="Aude Van de WIELE" userId="7317e673-04dd-415c-a4d7-718682339b40" providerId="ADAL" clId="{80D4E734-020D-4C1F-A028-1B9E9B483F9A}" dt="2021-05-25T08:49:50.641" v="9154" actId="790"/>
          <ac:spMkLst>
            <pc:docMk/>
            <pc:sldMk cId="3428758149" sldId="10411"/>
            <ac:spMk id="193" creationId="{B1694CCA-F107-47BD-AAA1-047996B236B4}"/>
          </ac:spMkLst>
        </pc:spChg>
        <pc:spChg chg="mod">
          <ac:chgData name="Aude Van de WIELE" userId="7317e673-04dd-415c-a4d7-718682339b40" providerId="ADAL" clId="{80D4E734-020D-4C1F-A028-1B9E9B483F9A}" dt="2021-05-25T08:49:50.642" v="9155" actId="790"/>
          <ac:spMkLst>
            <pc:docMk/>
            <pc:sldMk cId="3428758149" sldId="10411"/>
            <ac:spMk id="194" creationId="{4431F41C-8189-4C12-A87E-2AFCFB166EE8}"/>
          </ac:spMkLst>
        </pc:spChg>
        <pc:spChg chg="mod">
          <ac:chgData name="Aude Van de WIELE" userId="7317e673-04dd-415c-a4d7-718682339b40" providerId="ADAL" clId="{80D4E734-020D-4C1F-A028-1B9E9B483F9A}" dt="2021-05-25T08:49:50.643" v="9156" actId="790"/>
          <ac:spMkLst>
            <pc:docMk/>
            <pc:sldMk cId="3428758149" sldId="10411"/>
            <ac:spMk id="195" creationId="{15043260-4F88-47EB-9EC9-BE6BDA2C35AD}"/>
          </ac:spMkLst>
        </pc:spChg>
        <pc:spChg chg="mod">
          <ac:chgData name="Aude Van de WIELE" userId="7317e673-04dd-415c-a4d7-718682339b40" providerId="ADAL" clId="{80D4E734-020D-4C1F-A028-1B9E9B483F9A}" dt="2021-05-25T08:49:50.644" v="9157" actId="790"/>
          <ac:spMkLst>
            <pc:docMk/>
            <pc:sldMk cId="3428758149" sldId="10411"/>
            <ac:spMk id="196" creationId="{EC3A5484-F35D-4036-8453-B5110A822440}"/>
          </ac:spMkLst>
        </pc:spChg>
        <pc:spChg chg="mod">
          <ac:chgData name="Aude Van de WIELE" userId="7317e673-04dd-415c-a4d7-718682339b40" providerId="ADAL" clId="{80D4E734-020D-4C1F-A028-1B9E9B483F9A}" dt="2021-05-25T08:49:50.604" v="9129" actId="790"/>
          <ac:spMkLst>
            <pc:docMk/>
            <pc:sldMk cId="3428758149" sldId="10411"/>
            <ac:spMk id="197" creationId="{EB1ED8EE-1371-4F31-B475-A7FD22F01C88}"/>
          </ac:spMkLst>
        </pc:spChg>
        <pc:spChg chg="mod">
          <ac:chgData name="Aude Van de WIELE" userId="7317e673-04dd-415c-a4d7-718682339b40" providerId="ADAL" clId="{80D4E734-020D-4C1F-A028-1B9E9B483F9A}" dt="2021-05-25T08:49:50.634" v="9147" actId="790"/>
          <ac:spMkLst>
            <pc:docMk/>
            <pc:sldMk cId="3428758149" sldId="10411"/>
            <ac:spMk id="205" creationId="{37EA9042-0B3D-4B94-9CA6-80C07ADCB11E}"/>
          </ac:spMkLst>
        </pc:spChg>
        <pc:spChg chg="mod">
          <ac:chgData name="Aude Van de WIELE" userId="7317e673-04dd-415c-a4d7-718682339b40" providerId="ADAL" clId="{80D4E734-020D-4C1F-A028-1B9E9B483F9A}" dt="2021-05-25T08:49:50.635" v="9148" actId="790"/>
          <ac:spMkLst>
            <pc:docMk/>
            <pc:sldMk cId="3428758149" sldId="10411"/>
            <ac:spMk id="206" creationId="{F197933B-7850-4DCD-909F-F5A7B675B649}"/>
          </ac:spMkLst>
        </pc:spChg>
        <pc:spChg chg="mod">
          <ac:chgData name="Aude Van de WIELE" userId="7317e673-04dd-415c-a4d7-718682339b40" providerId="ADAL" clId="{80D4E734-020D-4C1F-A028-1B9E9B483F9A}" dt="2021-05-25T08:49:50.605" v="9130" actId="790"/>
          <ac:spMkLst>
            <pc:docMk/>
            <pc:sldMk cId="3428758149" sldId="10411"/>
            <ac:spMk id="212" creationId="{F492C173-DFD6-47CF-9BB4-C8925127E1EE}"/>
          </ac:spMkLst>
        </pc:spChg>
        <pc:spChg chg="mod">
          <ac:chgData name="Aude Van de WIELE" userId="7317e673-04dd-415c-a4d7-718682339b40" providerId="ADAL" clId="{80D4E734-020D-4C1F-A028-1B9E9B483F9A}" dt="2021-05-25T08:49:50.591" v="9113" actId="790"/>
          <ac:spMkLst>
            <pc:docMk/>
            <pc:sldMk cId="3428758149" sldId="10411"/>
            <ac:spMk id="1031" creationId="{A3845A5C-C65F-4C44-AE3B-D3285DF51268}"/>
          </ac:spMkLst>
        </pc:spChg>
        <pc:spChg chg="mod">
          <ac:chgData name="Aude Van de WIELE" userId="7317e673-04dd-415c-a4d7-718682339b40" providerId="ADAL" clId="{80D4E734-020D-4C1F-A028-1B9E9B483F9A}" dt="2021-05-25T08:49:50.592" v="9114" actId="790"/>
          <ac:spMkLst>
            <pc:docMk/>
            <pc:sldMk cId="3428758149" sldId="10411"/>
            <ac:spMk id="1035" creationId="{9164A53F-4711-41A4-BE3D-8D2F4243A495}"/>
          </ac:spMkLst>
        </pc:spChg>
        <pc:spChg chg="mod">
          <ac:chgData name="Aude Van de WIELE" userId="7317e673-04dd-415c-a4d7-718682339b40" providerId="ADAL" clId="{80D4E734-020D-4C1F-A028-1B9E9B483F9A}" dt="2021-05-25T08:49:50.578" v="9104" actId="790"/>
          <ac:spMkLst>
            <pc:docMk/>
            <pc:sldMk cId="3428758149" sldId="10411"/>
            <ac:spMk id="4107" creationId="{EBC573C8-C4E3-432A-81F7-B99236DF594A}"/>
          </ac:spMkLst>
        </pc:spChg>
      </pc:sldChg>
      <pc:sldChg chg="modSp mod">
        <pc:chgData name="Aude Van de WIELE" userId="7317e673-04dd-415c-a4d7-718682339b40" providerId="ADAL" clId="{80D4E734-020D-4C1F-A028-1B9E9B483F9A}" dt="2021-05-25T08:49:50.518" v="9060" actId="790"/>
        <pc:sldMkLst>
          <pc:docMk/>
          <pc:sldMk cId="4132730322" sldId="10412"/>
        </pc:sldMkLst>
        <pc:spChg chg="mod">
          <ac:chgData name="Aude Van de WIELE" userId="7317e673-04dd-415c-a4d7-718682339b40" providerId="ADAL" clId="{80D4E734-020D-4C1F-A028-1B9E9B483F9A}" dt="2021-05-25T08:49:50.468" v="9023" actId="790"/>
          <ac:spMkLst>
            <pc:docMk/>
            <pc:sldMk cId="4132730322" sldId="10412"/>
            <ac:spMk id="2" creationId="{1B8B41D0-3B5A-41F2-BD36-274CA5605C3A}"/>
          </ac:spMkLst>
        </pc:spChg>
        <pc:spChg chg="mod">
          <ac:chgData name="Aude Van de WIELE" userId="7317e673-04dd-415c-a4d7-718682339b40" providerId="ADAL" clId="{80D4E734-020D-4C1F-A028-1B9E9B483F9A}" dt="2021-05-25T08:49:50.457" v="9013" actId="790"/>
          <ac:spMkLst>
            <pc:docMk/>
            <pc:sldMk cId="4132730322" sldId="10412"/>
            <ac:spMk id="3" creationId="{F2961EB7-FC0B-4AEF-8BF3-7969101BE0A7}"/>
          </ac:spMkLst>
        </pc:spChg>
        <pc:spChg chg="mod">
          <ac:chgData name="Aude Van de WIELE" userId="7317e673-04dd-415c-a4d7-718682339b40" providerId="ADAL" clId="{80D4E734-020D-4C1F-A028-1B9E9B483F9A}" dt="2021-05-25T08:49:50.499" v="9046" actId="790"/>
          <ac:spMkLst>
            <pc:docMk/>
            <pc:sldMk cId="4132730322" sldId="10412"/>
            <ac:spMk id="4" creationId="{43E0D5C7-0986-42B1-8E8C-7B58D0CBD773}"/>
          </ac:spMkLst>
        </pc:spChg>
        <pc:spChg chg="mod">
          <ac:chgData name="Aude Van de WIELE" userId="7317e673-04dd-415c-a4d7-718682339b40" providerId="ADAL" clId="{80D4E734-020D-4C1F-A028-1B9E9B483F9A}" dt="2021-05-25T08:49:50.469" v="9024" actId="790"/>
          <ac:spMkLst>
            <pc:docMk/>
            <pc:sldMk cId="4132730322" sldId="10412"/>
            <ac:spMk id="5" creationId="{32E0BE14-B2E8-4A96-ADE4-0BE247A47D79}"/>
          </ac:spMkLst>
        </pc:spChg>
        <pc:spChg chg="mod">
          <ac:chgData name="Aude Van de WIELE" userId="7317e673-04dd-415c-a4d7-718682339b40" providerId="ADAL" clId="{80D4E734-020D-4C1F-A028-1B9E9B483F9A}" dt="2021-05-25T08:49:50.470" v="9025" actId="790"/>
          <ac:spMkLst>
            <pc:docMk/>
            <pc:sldMk cId="4132730322" sldId="10412"/>
            <ac:spMk id="6" creationId="{8AEA1672-C0F9-4DB2-A6F4-76831980F749}"/>
          </ac:spMkLst>
        </pc:spChg>
        <pc:spChg chg="mod">
          <ac:chgData name="Aude Van de WIELE" userId="7317e673-04dd-415c-a4d7-718682339b40" providerId="ADAL" clId="{80D4E734-020D-4C1F-A028-1B9E9B483F9A}" dt="2021-05-25T08:49:50.486" v="9035" actId="790"/>
          <ac:spMkLst>
            <pc:docMk/>
            <pc:sldMk cId="4132730322" sldId="10412"/>
            <ac:spMk id="7" creationId="{064EAC16-1947-4EB5-B699-F79BA984701D}"/>
          </ac:spMkLst>
        </pc:spChg>
        <pc:spChg chg="mod">
          <ac:chgData name="Aude Van de WIELE" userId="7317e673-04dd-415c-a4d7-718682339b40" providerId="ADAL" clId="{80D4E734-020D-4C1F-A028-1B9E9B483F9A}" dt="2021-05-25T08:49:50.487" v="9036" actId="790"/>
          <ac:spMkLst>
            <pc:docMk/>
            <pc:sldMk cId="4132730322" sldId="10412"/>
            <ac:spMk id="8" creationId="{17235FB0-B480-4F11-BAB2-ECCE97A0AE35}"/>
          </ac:spMkLst>
        </pc:spChg>
        <pc:spChg chg="mod">
          <ac:chgData name="Aude Van de WIELE" userId="7317e673-04dd-415c-a4d7-718682339b40" providerId="ADAL" clId="{80D4E734-020D-4C1F-A028-1B9E9B483F9A}" dt="2021-05-25T08:49:50.471" v="9026" actId="790"/>
          <ac:spMkLst>
            <pc:docMk/>
            <pc:sldMk cId="4132730322" sldId="10412"/>
            <ac:spMk id="9" creationId="{E57AC7D2-FC03-4826-B2B4-B86B10C8A912}"/>
          </ac:spMkLst>
        </pc:spChg>
        <pc:spChg chg="mod">
          <ac:chgData name="Aude Van de WIELE" userId="7317e673-04dd-415c-a4d7-718682339b40" providerId="ADAL" clId="{80D4E734-020D-4C1F-A028-1B9E9B483F9A}" dt="2021-05-25T08:49:50.454" v="9009" actId="790"/>
          <ac:spMkLst>
            <pc:docMk/>
            <pc:sldMk cId="4132730322" sldId="10412"/>
            <ac:spMk id="10" creationId="{EC4BC8E5-CDE6-4BDA-8B1B-E89284306AC8}"/>
          </ac:spMkLst>
        </pc:spChg>
        <pc:spChg chg="mod">
          <ac:chgData name="Aude Van de WIELE" userId="7317e673-04dd-415c-a4d7-718682339b40" providerId="ADAL" clId="{80D4E734-020D-4C1F-A028-1B9E9B483F9A}" dt="2021-05-25T08:49:50.458" v="9014" actId="790"/>
          <ac:spMkLst>
            <pc:docMk/>
            <pc:sldMk cId="4132730322" sldId="10412"/>
            <ac:spMk id="12" creationId="{06146879-726F-492D-B854-B9E140208671}"/>
          </ac:spMkLst>
        </pc:spChg>
        <pc:spChg chg="mod">
          <ac:chgData name="Aude Van de WIELE" userId="7317e673-04dd-415c-a4d7-718682339b40" providerId="ADAL" clId="{80D4E734-020D-4C1F-A028-1B9E9B483F9A}" dt="2021-05-25T08:49:50.463" v="9020" actId="790"/>
          <ac:spMkLst>
            <pc:docMk/>
            <pc:sldMk cId="4132730322" sldId="10412"/>
            <ac:spMk id="13" creationId="{E9F049B4-9F79-4754-AA4A-B557B2A6D3C9}"/>
          </ac:spMkLst>
        </pc:spChg>
        <pc:spChg chg="mod">
          <ac:chgData name="Aude Van de WIELE" userId="7317e673-04dd-415c-a4d7-718682339b40" providerId="ADAL" clId="{80D4E734-020D-4C1F-A028-1B9E9B483F9A}" dt="2021-05-25T08:49:50.481" v="9030" actId="790"/>
          <ac:spMkLst>
            <pc:docMk/>
            <pc:sldMk cId="4132730322" sldId="10412"/>
            <ac:spMk id="18" creationId="{E5E5B17C-AF5B-4FCB-935E-796FE66056AC}"/>
          </ac:spMkLst>
        </pc:spChg>
        <pc:spChg chg="mod">
          <ac:chgData name="Aude Van de WIELE" userId="7317e673-04dd-415c-a4d7-718682339b40" providerId="ADAL" clId="{80D4E734-020D-4C1F-A028-1B9E9B483F9A}" dt="2021-05-25T08:49:50.487" v="9037" actId="790"/>
          <ac:spMkLst>
            <pc:docMk/>
            <pc:sldMk cId="4132730322" sldId="10412"/>
            <ac:spMk id="19" creationId="{D183DC4A-A310-4818-8DE5-DD81DA31ACA2}"/>
          </ac:spMkLst>
        </pc:spChg>
        <pc:spChg chg="mod">
          <ac:chgData name="Aude Van de WIELE" userId="7317e673-04dd-415c-a4d7-718682339b40" providerId="ADAL" clId="{80D4E734-020D-4C1F-A028-1B9E9B483F9A}" dt="2021-05-25T08:49:50.493" v="9042" actId="790"/>
          <ac:spMkLst>
            <pc:docMk/>
            <pc:sldMk cId="4132730322" sldId="10412"/>
            <ac:spMk id="20" creationId="{54E8F179-87EF-4A92-9C29-92D7E20EB946}"/>
          </ac:spMkLst>
        </pc:spChg>
        <pc:spChg chg="mod">
          <ac:chgData name="Aude Van de WIELE" userId="7317e673-04dd-415c-a4d7-718682339b40" providerId="ADAL" clId="{80D4E734-020D-4C1F-A028-1B9E9B483F9A}" dt="2021-05-25T08:49:50.500" v="9047" actId="790"/>
          <ac:spMkLst>
            <pc:docMk/>
            <pc:sldMk cId="4132730322" sldId="10412"/>
            <ac:spMk id="21" creationId="{44BA4EC0-19D7-41DC-B319-396D8267BC37}"/>
          </ac:spMkLst>
        </pc:spChg>
        <pc:spChg chg="mod">
          <ac:chgData name="Aude Van de WIELE" userId="7317e673-04dd-415c-a4d7-718682339b40" providerId="ADAL" clId="{80D4E734-020D-4C1F-A028-1B9E9B483F9A}" dt="2021-05-25T08:49:50.488" v="9038" actId="790"/>
          <ac:spMkLst>
            <pc:docMk/>
            <pc:sldMk cId="4132730322" sldId="10412"/>
            <ac:spMk id="22" creationId="{43B8FABF-5816-42AC-8939-29224794884E}"/>
          </ac:spMkLst>
        </pc:spChg>
        <pc:spChg chg="mod">
          <ac:chgData name="Aude Van de WIELE" userId="7317e673-04dd-415c-a4d7-718682339b40" providerId="ADAL" clId="{80D4E734-020D-4C1F-A028-1B9E9B483F9A}" dt="2021-05-25T08:49:50.452" v="9007" actId="790"/>
          <ac:spMkLst>
            <pc:docMk/>
            <pc:sldMk cId="4132730322" sldId="10412"/>
            <ac:spMk id="33" creationId="{243F8FAD-0118-4F1B-B40B-A7D84FD36396}"/>
          </ac:spMkLst>
        </pc:spChg>
        <pc:spChg chg="mod">
          <ac:chgData name="Aude Van de WIELE" userId="7317e673-04dd-415c-a4d7-718682339b40" providerId="ADAL" clId="{80D4E734-020D-4C1F-A028-1B9E9B483F9A}" dt="2021-05-25T08:49:50.494" v="9043" actId="790"/>
          <ac:spMkLst>
            <pc:docMk/>
            <pc:sldMk cId="4132730322" sldId="10412"/>
            <ac:spMk id="47" creationId="{9E10C541-E455-4AF2-AA1A-715E3DF2DDC1}"/>
          </ac:spMkLst>
        </pc:spChg>
        <pc:spChg chg="mod">
          <ac:chgData name="Aude Van de WIELE" userId="7317e673-04dd-415c-a4d7-718682339b40" providerId="ADAL" clId="{80D4E734-020D-4C1F-A028-1B9E9B483F9A}" dt="2021-05-25T08:49:50.472" v="9027" actId="790"/>
          <ac:spMkLst>
            <pc:docMk/>
            <pc:sldMk cId="4132730322" sldId="10412"/>
            <ac:spMk id="49" creationId="{B10468A4-1BAC-4153-BC9A-99B8715C0AD1}"/>
          </ac:spMkLst>
        </pc:spChg>
        <pc:spChg chg="mod">
          <ac:chgData name="Aude Van de WIELE" userId="7317e673-04dd-415c-a4d7-718682339b40" providerId="ADAL" clId="{80D4E734-020D-4C1F-A028-1B9E9B483F9A}" dt="2021-05-25T08:49:50.459" v="9015" actId="790"/>
          <ac:spMkLst>
            <pc:docMk/>
            <pc:sldMk cId="4132730322" sldId="10412"/>
            <ac:spMk id="50" creationId="{06AD3339-7557-4559-B2EA-6A391CF2BF0C}"/>
          </ac:spMkLst>
        </pc:spChg>
        <pc:spChg chg="mod">
          <ac:chgData name="Aude Van de WIELE" userId="7317e673-04dd-415c-a4d7-718682339b40" providerId="ADAL" clId="{80D4E734-020D-4C1F-A028-1B9E9B483F9A}" dt="2021-05-25T08:49:50.453" v="9008" actId="790"/>
          <ac:spMkLst>
            <pc:docMk/>
            <pc:sldMk cId="4132730322" sldId="10412"/>
            <ac:spMk id="88" creationId="{336D463B-B815-4500-8F61-78A091129044}"/>
          </ac:spMkLst>
        </pc:spChg>
        <pc:spChg chg="mod">
          <ac:chgData name="Aude Van de WIELE" userId="7317e673-04dd-415c-a4d7-718682339b40" providerId="ADAL" clId="{80D4E734-020D-4C1F-A028-1B9E9B483F9A}" dt="2021-05-25T08:49:50.462" v="9018" actId="790"/>
          <ac:spMkLst>
            <pc:docMk/>
            <pc:sldMk cId="4132730322" sldId="10412"/>
            <ac:spMk id="96" creationId="{5BB653FA-7502-456B-9DD5-1867522D3A88}"/>
          </ac:spMkLst>
        </pc:spChg>
        <pc:spChg chg="mod">
          <ac:chgData name="Aude Van de WIELE" userId="7317e673-04dd-415c-a4d7-718682339b40" providerId="ADAL" clId="{80D4E734-020D-4C1F-A028-1B9E9B483F9A}" dt="2021-05-25T08:49:50.473" v="9028" actId="790"/>
          <ac:spMkLst>
            <pc:docMk/>
            <pc:sldMk cId="4132730322" sldId="10412"/>
            <ac:spMk id="100" creationId="{EF6C7B41-C54E-4684-BB9A-36701E115EBF}"/>
          </ac:spMkLst>
        </pc:spChg>
        <pc:spChg chg="mod">
          <ac:chgData name="Aude Van de WIELE" userId="7317e673-04dd-415c-a4d7-718682339b40" providerId="ADAL" clId="{80D4E734-020D-4C1F-A028-1B9E9B483F9A}" dt="2021-05-25T08:49:50.466" v="9022" actId="790"/>
          <ac:spMkLst>
            <pc:docMk/>
            <pc:sldMk cId="4132730322" sldId="10412"/>
            <ac:spMk id="107" creationId="{31D0AEAA-51DD-4312-8DD3-D5664A3B479D}"/>
          </ac:spMkLst>
        </pc:spChg>
        <pc:spChg chg="mod">
          <ac:chgData name="Aude Van de WIELE" userId="7317e673-04dd-415c-a4d7-718682339b40" providerId="ADAL" clId="{80D4E734-020D-4C1F-A028-1B9E9B483F9A}" dt="2021-05-25T08:49:50.451" v="9005" actId="790"/>
          <ac:spMkLst>
            <pc:docMk/>
            <pc:sldMk cId="4132730322" sldId="10412"/>
            <ac:spMk id="108" creationId="{B4E79E7D-0395-4CE2-8F8E-F7FFDE4BA106}"/>
          </ac:spMkLst>
        </pc:spChg>
        <pc:spChg chg="mod">
          <ac:chgData name="Aude Van de WIELE" userId="7317e673-04dd-415c-a4d7-718682339b40" providerId="ADAL" clId="{80D4E734-020D-4C1F-A028-1B9E9B483F9A}" dt="2021-05-25T08:49:50.511" v="9052" actId="790"/>
          <ac:spMkLst>
            <pc:docMk/>
            <pc:sldMk cId="4132730322" sldId="10412"/>
            <ac:spMk id="117" creationId="{7323A752-E561-4CB5-87BC-FA95948E9BEC}"/>
          </ac:spMkLst>
        </pc:spChg>
        <pc:spChg chg="mod">
          <ac:chgData name="Aude Van de WIELE" userId="7317e673-04dd-415c-a4d7-718682339b40" providerId="ADAL" clId="{80D4E734-020D-4C1F-A028-1B9E9B483F9A}" dt="2021-05-25T08:49:50.456" v="9012" actId="790"/>
          <ac:spMkLst>
            <pc:docMk/>
            <pc:sldMk cId="4132730322" sldId="10412"/>
            <ac:spMk id="118" creationId="{9C628BA4-96DA-46D9-A80B-01A518CA0E39}"/>
          </ac:spMkLst>
        </pc:spChg>
        <pc:spChg chg="mod">
          <ac:chgData name="Aude Van de WIELE" userId="7317e673-04dd-415c-a4d7-718682339b40" providerId="ADAL" clId="{80D4E734-020D-4C1F-A028-1B9E9B483F9A}" dt="2021-05-25T08:49:50.455" v="9010" actId="790"/>
          <ac:spMkLst>
            <pc:docMk/>
            <pc:sldMk cId="4132730322" sldId="10412"/>
            <ac:spMk id="119" creationId="{EEF55E94-FD53-41D7-A423-6B56C40D88A1}"/>
          </ac:spMkLst>
        </pc:spChg>
        <pc:spChg chg="mod">
          <ac:chgData name="Aude Van de WIELE" userId="7317e673-04dd-415c-a4d7-718682339b40" providerId="ADAL" clId="{80D4E734-020D-4C1F-A028-1B9E9B483F9A}" dt="2021-05-25T08:49:50.461" v="9017" actId="790"/>
          <ac:spMkLst>
            <pc:docMk/>
            <pc:sldMk cId="4132730322" sldId="10412"/>
            <ac:spMk id="120" creationId="{697B9F9F-BFD2-4BBC-A2BC-06F0D17B4298}"/>
          </ac:spMkLst>
        </pc:spChg>
        <pc:spChg chg="mod">
          <ac:chgData name="Aude Van de WIELE" userId="7317e673-04dd-415c-a4d7-718682339b40" providerId="ADAL" clId="{80D4E734-020D-4C1F-A028-1B9E9B483F9A}" dt="2021-05-25T08:49:50.460" v="9016" actId="790"/>
          <ac:spMkLst>
            <pc:docMk/>
            <pc:sldMk cId="4132730322" sldId="10412"/>
            <ac:spMk id="122" creationId="{7ED4A8D8-06EE-4620-B65B-5E3B52A3ABAE}"/>
          </ac:spMkLst>
        </pc:spChg>
        <pc:spChg chg="mod">
          <ac:chgData name="Aude Van de WIELE" userId="7317e673-04dd-415c-a4d7-718682339b40" providerId="ADAL" clId="{80D4E734-020D-4C1F-A028-1B9E9B483F9A}" dt="2021-05-25T08:49:50.463" v="9019" actId="790"/>
          <ac:spMkLst>
            <pc:docMk/>
            <pc:sldMk cId="4132730322" sldId="10412"/>
            <ac:spMk id="123" creationId="{CCD5F39F-64EB-4F4E-BE6B-002C617492EF}"/>
          </ac:spMkLst>
        </pc:spChg>
        <pc:spChg chg="mod">
          <ac:chgData name="Aude Van de WIELE" userId="7317e673-04dd-415c-a4d7-718682339b40" providerId="ADAL" clId="{80D4E734-020D-4C1F-A028-1B9E9B483F9A}" dt="2021-05-25T08:49:50.512" v="9053" actId="790"/>
          <ac:spMkLst>
            <pc:docMk/>
            <pc:sldMk cId="4132730322" sldId="10412"/>
            <ac:spMk id="124" creationId="{E0D47348-BFE8-418A-B016-501C8F70191D}"/>
          </ac:spMkLst>
        </pc:spChg>
        <pc:spChg chg="mod">
          <ac:chgData name="Aude Van de WIELE" userId="7317e673-04dd-415c-a4d7-718682339b40" providerId="ADAL" clId="{80D4E734-020D-4C1F-A028-1B9E9B483F9A}" dt="2021-05-25T08:49:50.484" v="9033" actId="790"/>
          <ac:spMkLst>
            <pc:docMk/>
            <pc:sldMk cId="4132730322" sldId="10412"/>
            <ac:spMk id="125" creationId="{D74D7498-92CD-485E-B64F-458B030E1CC2}"/>
          </ac:spMkLst>
        </pc:spChg>
        <pc:spChg chg="mod">
          <ac:chgData name="Aude Van de WIELE" userId="7317e673-04dd-415c-a4d7-718682339b40" providerId="ADAL" clId="{80D4E734-020D-4C1F-A028-1B9E9B483F9A}" dt="2021-05-25T08:49:50.513" v="9054" actId="790"/>
          <ac:spMkLst>
            <pc:docMk/>
            <pc:sldMk cId="4132730322" sldId="10412"/>
            <ac:spMk id="142" creationId="{B7EB0D52-8CBD-44A8-B259-5F115C19A491}"/>
          </ac:spMkLst>
        </pc:spChg>
        <pc:spChg chg="mod">
          <ac:chgData name="Aude Van de WIELE" userId="7317e673-04dd-415c-a4d7-718682339b40" providerId="ADAL" clId="{80D4E734-020D-4C1F-A028-1B9E9B483F9A}" dt="2021-05-25T08:49:50.514" v="9055" actId="790"/>
          <ac:spMkLst>
            <pc:docMk/>
            <pc:sldMk cId="4132730322" sldId="10412"/>
            <ac:spMk id="143" creationId="{6B5CE2D5-BDAF-4C2C-BA94-C9C82647B971}"/>
          </ac:spMkLst>
        </pc:spChg>
        <pc:spChg chg="mod">
          <ac:chgData name="Aude Van de WIELE" userId="7317e673-04dd-415c-a4d7-718682339b40" providerId="ADAL" clId="{80D4E734-020D-4C1F-A028-1B9E9B483F9A}" dt="2021-05-25T08:49:50.501" v="9048" actId="790"/>
          <ac:spMkLst>
            <pc:docMk/>
            <pc:sldMk cId="4132730322" sldId="10412"/>
            <ac:spMk id="154" creationId="{A7269958-7FC5-479F-B17B-49D115F118B6}"/>
          </ac:spMkLst>
        </pc:spChg>
        <pc:spChg chg="mod">
          <ac:chgData name="Aude Van de WIELE" userId="7317e673-04dd-415c-a4d7-718682339b40" providerId="ADAL" clId="{80D4E734-020D-4C1F-A028-1B9E9B483F9A}" dt="2021-05-25T08:49:50.506" v="9049" actId="790"/>
          <ac:spMkLst>
            <pc:docMk/>
            <pc:sldMk cId="4132730322" sldId="10412"/>
            <ac:spMk id="161" creationId="{2225136D-99B3-484E-802C-7FC6DAD3D7E7}"/>
          </ac:spMkLst>
        </pc:spChg>
        <pc:spChg chg="mod">
          <ac:chgData name="Aude Van de WIELE" userId="7317e673-04dd-415c-a4d7-718682339b40" providerId="ADAL" clId="{80D4E734-020D-4C1F-A028-1B9E9B483F9A}" dt="2021-05-25T08:49:50.482" v="9031" actId="790"/>
          <ac:spMkLst>
            <pc:docMk/>
            <pc:sldMk cId="4132730322" sldId="10412"/>
            <ac:spMk id="165" creationId="{C389F3EC-7313-454E-9942-F14FD0BD4C77}"/>
          </ac:spMkLst>
        </pc:spChg>
        <pc:spChg chg="mod">
          <ac:chgData name="Aude Van de WIELE" userId="7317e673-04dd-415c-a4d7-718682339b40" providerId="ADAL" clId="{80D4E734-020D-4C1F-A028-1B9E9B483F9A}" dt="2021-05-25T08:49:50.490" v="9040" actId="790"/>
          <ac:spMkLst>
            <pc:docMk/>
            <pc:sldMk cId="4132730322" sldId="10412"/>
            <ac:spMk id="166" creationId="{A3938D6F-1923-42FF-B2ED-6C2BEA79BA03}"/>
          </ac:spMkLst>
        </pc:spChg>
        <pc:spChg chg="mod">
          <ac:chgData name="Aude Van de WIELE" userId="7317e673-04dd-415c-a4d7-718682339b40" providerId="ADAL" clId="{80D4E734-020D-4C1F-A028-1B9E9B483F9A}" dt="2021-05-25T08:49:50.465" v="9021" actId="790"/>
          <ac:spMkLst>
            <pc:docMk/>
            <pc:sldMk cId="4132730322" sldId="10412"/>
            <ac:spMk id="168" creationId="{C423BD9F-9E4A-46B8-89D7-67C1FE84B168}"/>
          </ac:spMkLst>
        </pc:spChg>
        <pc:spChg chg="mod">
          <ac:chgData name="Aude Van de WIELE" userId="7317e673-04dd-415c-a4d7-718682339b40" providerId="ADAL" clId="{80D4E734-020D-4C1F-A028-1B9E9B483F9A}" dt="2021-05-25T08:49:50.451" v="9006" actId="790"/>
          <ac:spMkLst>
            <pc:docMk/>
            <pc:sldMk cId="4132730322" sldId="10412"/>
            <ac:spMk id="169" creationId="{7881ABC3-A97B-4E90-939F-E48D9595FFFF}"/>
          </ac:spMkLst>
        </pc:spChg>
        <pc:spChg chg="mod">
          <ac:chgData name="Aude Van de WIELE" userId="7317e673-04dd-415c-a4d7-718682339b40" providerId="ADAL" clId="{80D4E734-020D-4C1F-A028-1B9E9B483F9A}" dt="2021-05-25T08:49:50.456" v="9011" actId="790"/>
          <ac:spMkLst>
            <pc:docMk/>
            <pc:sldMk cId="4132730322" sldId="10412"/>
            <ac:spMk id="170" creationId="{A886CA56-9620-415B-9489-A004AB6EB706}"/>
          </ac:spMkLst>
        </pc:spChg>
        <pc:spChg chg="mod">
          <ac:chgData name="Aude Van de WIELE" userId="7317e673-04dd-415c-a4d7-718682339b40" providerId="ADAL" clId="{80D4E734-020D-4C1F-A028-1B9E9B483F9A}" dt="2021-05-25T08:49:50.483" v="9032" actId="790"/>
          <ac:spMkLst>
            <pc:docMk/>
            <pc:sldMk cId="4132730322" sldId="10412"/>
            <ac:spMk id="171" creationId="{BCC6DEFD-6FEB-4777-9432-E3B2F5C51000}"/>
          </ac:spMkLst>
        </pc:spChg>
        <pc:spChg chg="mod">
          <ac:chgData name="Aude Van de WIELE" userId="7317e673-04dd-415c-a4d7-718682339b40" providerId="ADAL" clId="{80D4E734-020D-4C1F-A028-1B9E9B483F9A}" dt="2021-05-25T08:49:50.492" v="9041" actId="790"/>
          <ac:spMkLst>
            <pc:docMk/>
            <pc:sldMk cId="4132730322" sldId="10412"/>
            <ac:spMk id="172" creationId="{04568322-5012-422B-991D-C9A4712E25C9}"/>
          </ac:spMkLst>
        </pc:spChg>
        <pc:spChg chg="mod">
          <ac:chgData name="Aude Van de WIELE" userId="7317e673-04dd-415c-a4d7-718682339b40" providerId="ADAL" clId="{80D4E734-020D-4C1F-A028-1B9E9B483F9A}" dt="2021-05-25T08:49:50.515" v="9056" actId="790"/>
          <ac:spMkLst>
            <pc:docMk/>
            <pc:sldMk cId="4132730322" sldId="10412"/>
            <ac:spMk id="173" creationId="{12CF5400-8130-4C36-8441-6F18A54EAB6C}"/>
          </ac:spMkLst>
        </pc:spChg>
        <pc:spChg chg="mod">
          <ac:chgData name="Aude Van de WIELE" userId="7317e673-04dd-415c-a4d7-718682339b40" providerId="ADAL" clId="{80D4E734-020D-4C1F-A028-1B9E9B483F9A}" dt="2021-05-25T08:49:50.516" v="9057" actId="790"/>
          <ac:spMkLst>
            <pc:docMk/>
            <pc:sldMk cId="4132730322" sldId="10412"/>
            <ac:spMk id="174" creationId="{E456CD77-671C-432C-92EF-A57CEC085AB9}"/>
          </ac:spMkLst>
        </pc:spChg>
        <pc:spChg chg="mod">
          <ac:chgData name="Aude Van de WIELE" userId="7317e673-04dd-415c-a4d7-718682339b40" providerId="ADAL" clId="{80D4E734-020D-4C1F-A028-1B9E9B483F9A}" dt="2021-05-25T08:49:50.517" v="9058" actId="790"/>
          <ac:spMkLst>
            <pc:docMk/>
            <pc:sldMk cId="4132730322" sldId="10412"/>
            <ac:spMk id="179" creationId="{4CCDD4FF-C268-44FF-854A-367865EF23F4}"/>
          </ac:spMkLst>
        </pc:spChg>
        <pc:spChg chg="mod">
          <ac:chgData name="Aude Van de WIELE" userId="7317e673-04dd-415c-a4d7-718682339b40" providerId="ADAL" clId="{80D4E734-020D-4C1F-A028-1B9E9B483F9A}" dt="2021-05-25T08:49:50.518" v="9059" actId="790"/>
          <ac:spMkLst>
            <pc:docMk/>
            <pc:sldMk cId="4132730322" sldId="10412"/>
            <ac:spMk id="180" creationId="{6216DA4C-BFB7-439F-9097-8EDF1DDFEAAE}"/>
          </ac:spMkLst>
        </pc:spChg>
        <pc:spChg chg="mod">
          <ac:chgData name="Aude Van de WIELE" userId="7317e673-04dd-415c-a4d7-718682339b40" providerId="ADAL" clId="{80D4E734-020D-4C1F-A028-1B9E9B483F9A}" dt="2021-05-25T08:49:50.518" v="9060" actId="790"/>
          <ac:spMkLst>
            <pc:docMk/>
            <pc:sldMk cId="4132730322" sldId="10412"/>
            <ac:spMk id="181" creationId="{C3DA98EC-EFF8-4F41-AB2A-0CC5B5635747}"/>
          </ac:spMkLst>
        </pc:spChg>
        <pc:spChg chg="mod">
          <ac:chgData name="Aude Van de WIELE" userId="7317e673-04dd-415c-a4d7-718682339b40" providerId="ADAL" clId="{80D4E734-020D-4C1F-A028-1B9E9B483F9A}" dt="2021-05-25T08:49:50.509" v="9050" actId="790"/>
          <ac:spMkLst>
            <pc:docMk/>
            <pc:sldMk cId="4132730322" sldId="10412"/>
            <ac:spMk id="190" creationId="{80FB9A68-8543-4E87-9333-0CD3831C6B87}"/>
          </ac:spMkLst>
        </pc:spChg>
        <pc:spChg chg="mod">
          <ac:chgData name="Aude Van de WIELE" userId="7317e673-04dd-415c-a4d7-718682339b40" providerId="ADAL" clId="{80D4E734-020D-4C1F-A028-1B9E9B483F9A}" dt="2021-05-25T08:49:50.510" v="9051" actId="790"/>
          <ac:spMkLst>
            <pc:docMk/>
            <pc:sldMk cId="4132730322" sldId="10412"/>
            <ac:spMk id="191" creationId="{AAAF38BB-9E2A-4BC9-83CA-69A43B1ABBB3}"/>
          </ac:spMkLst>
        </pc:spChg>
        <pc:spChg chg="mod">
          <ac:chgData name="Aude Van de WIELE" userId="7317e673-04dd-415c-a4d7-718682339b40" providerId="ADAL" clId="{80D4E734-020D-4C1F-A028-1B9E9B483F9A}" dt="2021-05-25T08:49:50.497" v="9044" actId="790"/>
          <ac:spMkLst>
            <pc:docMk/>
            <pc:sldMk cId="4132730322" sldId="10412"/>
            <ac:spMk id="197" creationId="{EB1ED8EE-1371-4F31-B475-A7FD22F01C88}"/>
          </ac:spMkLst>
        </pc:spChg>
        <pc:spChg chg="mod">
          <ac:chgData name="Aude Van de WIELE" userId="7317e673-04dd-415c-a4d7-718682339b40" providerId="ADAL" clId="{80D4E734-020D-4C1F-A028-1B9E9B483F9A}" dt="2021-05-25T08:49:50.498" v="9045" actId="790"/>
          <ac:spMkLst>
            <pc:docMk/>
            <pc:sldMk cId="4132730322" sldId="10412"/>
            <ac:spMk id="212" creationId="{F492C173-DFD6-47CF-9BB4-C8925127E1EE}"/>
          </ac:spMkLst>
        </pc:spChg>
        <pc:spChg chg="mod">
          <ac:chgData name="Aude Van de WIELE" userId="7317e673-04dd-415c-a4d7-718682339b40" providerId="ADAL" clId="{80D4E734-020D-4C1F-A028-1B9E9B483F9A}" dt="2021-05-25T08:49:50.480" v="9029" actId="790"/>
          <ac:spMkLst>
            <pc:docMk/>
            <pc:sldMk cId="4132730322" sldId="10412"/>
            <ac:spMk id="1031" creationId="{A3845A5C-C65F-4C44-AE3B-D3285DF51268}"/>
          </ac:spMkLst>
        </pc:spChg>
        <pc:spChg chg="mod">
          <ac:chgData name="Aude Van de WIELE" userId="7317e673-04dd-415c-a4d7-718682339b40" providerId="ADAL" clId="{80D4E734-020D-4C1F-A028-1B9E9B483F9A}" dt="2021-05-25T08:49:50.489" v="9039" actId="790"/>
          <ac:spMkLst>
            <pc:docMk/>
            <pc:sldMk cId="4132730322" sldId="10412"/>
            <ac:spMk id="1035" creationId="{9164A53F-4711-41A4-BE3D-8D2F4243A495}"/>
          </ac:spMkLst>
        </pc:spChg>
        <pc:spChg chg="mod">
          <ac:chgData name="Aude Van de WIELE" userId="7317e673-04dd-415c-a4d7-718682339b40" providerId="ADAL" clId="{80D4E734-020D-4C1F-A028-1B9E9B483F9A}" dt="2021-05-25T08:49:50.485" v="9034" actId="790"/>
          <ac:spMkLst>
            <pc:docMk/>
            <pc:sldMk cId="4132730322" sldId="10412"/>
            <ac:spMk id="4107" creationId="{EBC573C8-C4E3-432A-81F7-B99236DF594A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13:50:11.348" v="12778" actId="20577"/>
        <pc:sldMkLst>
          <pc:docMk/>
          <pc:sldMk cId="3463901835" sldId="10414"/>
        </pc:sldMkLst>
        <pc:spChg chg="mod">
          <ac:chgData name="Aude Van de WIELE" userId="7317e673-04dd-415c-a4d7-718682339b40" providerId="ADAL" clId="{80D4E734-020D-4C1F-A028-1B9E9B483F9A}" dt="2021-05-25T10:57:10.233" v="10415" actId="20577"/>
          <ac:spMkLst>
            <pc:docMk/>
            <pc:sldMk cId="3463901835" sldId="10414"/>
            <ac:spMk id="2" creationId="{6141F854-3009-40D7-9038-56590105A49E}"/>
          </ac:spMkLst>
        </pc:spChg>
        <pc:spChg chg="add mod">
          <ac:chgData name="Aude Van de WIELE" userId="7317e673-04dd-415c-a4d7-718682339b40" providerId="ADAL" clId="{80D4E734-020D-4C1F-A028-1B9E9B483F9A}" dt="2021-05-25T08:49:48.331" v="7206" actId="790"/>
          <ac:spMkLst>
            <pc:docMk/>
            <pc:sldMk cId="3463901835" sldId="10414"/>
            <ac:spMk id="3" creationId="{560625DF-BB9A-476B-B434-FFCE76A905DE}"/>
          </ac:spMkLst>
        </pc:spChg>
        <pc:spChg chg="del">
          <ac:chgData name="Aude Van de WIELE" userId="7317e673-04dd-415c-a4d7-718682339b40" providerId="ADAL" clId="{80D4E734-020D-4C1F-A028-1B9E9B483F9A}" dt="2021-05-24T12:45:02.263" v="3405" actId="478"/>
          <ac:spMkLst>
            <pc:docMk/>
            <pc:sldMk cId="3463901835" sldId="10414"/>
            <ac:spMk id="11" creationId="{563B210D-AA79-4D5F-ACE6-ABADF843D2FA}"/>
          </ac:spMkLst>
        </pc:spChg>
        <pc:spChg chg="del">
          <ac:chgData name="Aude Van de WIELE" userId="7317e673-04dd-415c-a4d7-718682339b40" providerId="ADAL" clId="{80D4E734-020D-4C1F-A028-1B9E9B483F9A}" dt="2021-05-24T12:45:02.263" v="3405" actId="478"/>
          <ac:spMkLst>
            <pc:docMk/>
            <pc:sldMk cId="3463901835" sldId="10414"/>
            <ac:spMk id="12" creationId="{1E623B1C-37C8-4895-B26E-15F871736A36}"/>
          </ac:spMkLst>
        </pc:spChg>
        <pc:spChg chg="del">
          <ac:chgData name="Aude Van de WIELE" userId="7317e673-04dd-415c-a4d7-718682339b40" providerId="ADAL" clId="{80D4E734-020D-4C1F-A028-1B9E9B483F9A}" dt="2021-05-24T12:45:02.263" v="3405" actId="478"/>
          <ac:spMkLst>
            <pc:docMk/>
            <pc:sldMk cId="3463901835" sldId="10414"/>
            <ac:spMk id="13" creationId="{878F2793-BE4D-4FF3-B02D-53D881283C27}"/>
          </ac:spMkLst>
        </pc:spChg>
        <pc:spChg chg="mod">
          <ac:chgData name="Aude Van de WIELE" userId="7317e673-04dd-415c-a4d7-718682339b40" providerId="ADAL" clId="{80D4E734-020D-4C1F-A028-1B9E9B483F9A}" dt="2021-05-25T08:49:48.287" v="7170" actId="790"/>
          <ac:spMkLst>
            <pc:docMk/>
            <pc:sldMk cId="3463901835" sldId="10414"/>
            <ac:spMk id="14" creationId="{BF99168B-58D2-49E3-9128-C54D5771CCAF}"/>
          </ac:spMkLst>
        </pc:spChg>
        <pc:spChg chg="mod">
          <ac:chgData name="Aude Van de WIELE" userId="7317e673-04dd-415c-a4d7-718682339b40" providerId="ADAL" clId="{80D4E734-020D-4C1F-A028-1B9E9B483F9A}" dt="2021-05-25T08:49:48.288" v="7171" actId="790"/>
          <ac:spMkLst>
            <pc:docMk/>
            <pc:sldMk cId="3463901835" sldId="10414"/>
            <ac:spMk id="15" creationId="{05128460-7BFC-4307-97D3-8D6BCE648098}"/>
          </ac:spMkLst>
        </pc:spChg>
        <pc:spChg chg="mod">
          <ac:chgData name="Aude Van de WIELE" userId="7317e673-04dd-415c-a4d7-718682339b40" providerId="ADAL" clId="{80D4E734-020D-4C1F-A028-1B9E9B483F9A}" dt="2021-05-25T08:49:48.289" v="7172" actId="790"/>
          <ac:spMkLst>
            <pc:docMk/>
            <pc:sldMk cId="3463901835" sldId="10414"/>
            <ac:spMk id="16" creationId="{52DC22F7-50A1-4F9E-BDE2-AEB9287C6358}"/>
          </ac:spMkLst>
        </pc:spChg>
        <pc:spChg chg="mod">
          <ac:chgData name="Aude Van de WIELE" userId="7317e673-04dd-415c-a4d7-718682339b40" providerId="ADAL" clId="{80D4E734-020D-4C1F-A028-1B9E9B483F9A}" dt="2021-05-25T08:49:48.289" v="7173" actId="790"/>
          <ac:spMkLst>
            <pc:docMk/>
            <pc:sldMk cId="3463901835" sldId="10414"/>
            <ac:spMk id="17" creationId="{13362563-A54C-40FC-9CE3-98BEEED7C283}"/>
          </ac:spMkLst>
        </pc:spChg>
        <pc:spChg chg="mod">
          <ac:chgData name="Aude Van de WIELE" userId="7317e673-04dd-415c-a4d7-718682339b40" providerId="ADAL" clId="{80D4E734-020D-4C1F-A028-1B9E9B483F9A}" dt="2021-05-25T08:49:48.290" v="7174" actId="790"/>
          <ac:spMkLst>
            <pc:docMk/>
            <pc:sldMk cId="3463901835" sldId="10414"/>
            <ac:spMk id="18" creationId="{A0FC123E-1912-4BE1-A532-BD9FD91F6D4C}"/>
          </ac:spMkLst>
        </pc:spChg>
        <pc:spChg chg="mod">
          <ac:chgData name="Aude Van de WIELE" userId="7317e673-04dd-415c-a4d7-718682339b40" providerId="ADAL" clId="{80D4E734-020D-4C1F-A028-1B9E9B483F9A}" dt="2021-05-25T08:49:48.291" v="7175" actId="790"/>
          <ac:spMkLst>
            <pc:docMk/>
            <pc:sldMk cId="3463901835" sldId="10414"/>
            <ac:spMk id="19" creationId="{53B1CD2F-0672-4E2A-A3D2-D816C1F3C13A}"/>
          </ac:spMkLst>
        </pc:spChg>
        <pc:spChg chg="mod">
          <ac:chgData name="Aude Van de WIELE" userId="7317e673-04dd-415c-a4d7-718682339b40" providerId="ADAL" clId="{80D4E734-020D-4C1F-A028-1B9E9B483F9A}" dt="2021-05-25T08:49:48.292" v="7176" actId="790"/>
          <ac:spMkLst>
            <pc:docMk/>
            <pc:sldMk cId="3463901835" sldId="10414"/>
            <ac:spMk id="20" creationId="{2C72074C-EA62-427A-B807-7B4830414ADA}"/>
          </ac:spMkLst>
        </pc:spChg>
        <pc:spChg chg="mod">
          <ac:chgData name="Aude Van de WIELE" userId="7317e673-04dd-415c-a4d7-718682339b40" providerId="ADAL" clId="{80D4E734-020D-4C1F-A028-1B9E9B483F9A}" dt="2021-05-25T08:49:48.293" v="7177" actId="790"/>
          <ac:spMkLst>
            <pc:docMk/>
            <pc:sldMk cId="3463901835" sldId="10414"/>
            <ac:spMk id="21" creationId="{3CAD7744-8624-4211-8642-F7A97366903A}"/>
          </ac:spMkLst>
        </pc:spChg>
        <pc:spChg chg="mod">
          <ac:chgData name="Aude Van de WIELE" userId="7317e673-04dd-415c-a4d7-718682339b40" providerId="ADAL" clId="{80D4E734-020D-4C1F-A028-1B9E9B483F9A}" dt="2021-05-25T08:49:48.294" v="7178" actId="790"/>
          <ac:spMkLst>
            <pc:docMk/>
            <pc:sldMk cId="3463901835" sldId="10414"/>
            <ac:spMk id="22" creationId="{0EE64BA2-0E59-4319-86FD-6DC0E3B07DC6}"/>
          </ac:spMkLst>
        </pc:spChg>
        <pc:spChg chg="mod">
          <ac:chgData name="Aude Van de WIELE" userId="7317e673-04dd-415c-a4d7-718682339b40" providerId="ADAL" clId="{80D4E734-020D-4C1F-A028-1B9E9B483F9A}" dt="2021-05-25T08:49:48.295" v="7179" actId="790"/>
          <ac:spMkLst>
            <pc:docMk/>
            <pc:sldMk cId="3463901835" sldId="10414"/>
            <ac:spMk id="23" creationId="{C50B6671-D4B5-4C43-8259-C37662E047AC}"/>
          </ac:spMkLst>
        </pc:spChg>
        <pc:spChg chg="mod">
          <ac:chgData name="Aude Van de WIELE" userId="7317e673-04dd-415c-a4d7-718682339b40" providerId="ADAL" clId="{80D4E734-020D-4C1F-A028-1B9E9B483F9A}" dt="2021-05-25T08:49:48.295" v="7180" actId="790"/>
          <ac:spMkLst>
            <pc:docMk/>
            <pc:sldMk cId="3463901835" sldId="10414"/>
            <ac:spMk id="24" creationId="{6FD5383A-D90F-4793-9EE4-978E5E77E6AE}"/>
          </ac:spMkLst>
        </pc:spChg>
        <pc:spChg chg="mod">
          <ac:chgData name="Aude Van de WIELE" userId="7317e673-04dd-415c-a4d7-718682339b40" providerId="ADAL" clId="{80D4E734-020D-4C1F-A028-1B9E9B483F9A}" dt="2021-05-25T08:49:48.296" v="7181" actId="790"/>
          <ac:spMkLst>
            <pc:docMk/>
            <pc:sldMk cId="3463901835" sldId="10414"/>
            <ac:spMk id="25" creationId="{E73D5AA9-9BED-4CFE-9B15-BA2CA34D3A8F}"/>
          </ac:spMkLst>
        </pc:spChg>
        <pc:spChg chg="mod">
          <ac:chgData name="Aude Van de WIELE" userId="7317e673-04dd-415c-a4d7-718682339b40" providerId="ADAL" clId="{80D4E734-020D-4C1F-A028-1B9E9B483F9A}" dt="2021-05-25T08:49:48.297" v="7182" actId="790"/>
          <ac:spMkLst>
            <pc:docMk/>
            <pc:sldMk cId="3463901835" sldId="10414"/>
            <ac:spMk id="26" creationId="{1CF178C9-FA09-4B3B-8961-A7D3052DF2A2}"/>
          </ac:spMkLst>
        </pc:spChg>
        <pc:spChg chg="del mod">
          <ac:chgData name="Aude Van de WIELE" userId="7317e673-04dd-415c-a4d7-718682339b40" providerId="ADAL" clId="{80D4E734-020D-4C1F-A028-1B9E9B483F9A}" dt="2021-05-24T12:54:14.559" v="3507" actId="478"/>
          <ac:spMkLst>
            <pc:docMk/>
            <pc:sldMk cId="3463901835" sldId="10414"/>
            <ac:spMk id="27" creationId="{D8D4D570-E556-4136-82DA-1FDC69F4B871}"/>
          </ac:spMkLst>
        </pc:spChg>
        <pc:spChg chg="del">
          <ac:chgData name="Aude Van de WIELE" userId="7317e673-04dd-415c-a4d7-718682339b40" providerId="ADAL" clId="{80D4E734-020D-4C1F-A028-1B9E9B483F9A}" dt="2021-05-24T12:45:02.263" v="3405" actId="478"/>
          <ac:spMkLst>
            <pc:docMk/>
            <pc:sldMk cId="3463901835" sldId="10414"/>
            <ac:spMk id="28" creationId="{FCC4D2C6-1441-4E66-A37F-3A76B43E83CE}"/>
          </ac:spMkLst>
        </pc:spChg>
        <pc:spChg chg="mod">
          <ac:chgData name="Aude Van de WIELE" userId="7317e673-04dd-415c-a4d7-718682339b40" providerId="ADAL" clId="{80D4E734-020D-4C1F-A028-1B9E9B483F9A}" dt="2021-05-25T08:49:48.298" v="7183" actId="790"/>
          <ac:spMkLst>
            <pc:docMk/>
            <pc:sldMk cId="3463901835" sldId="10414"/>
            <ac:spMk id="29" creationId="{4EBEFE44-2A14-4F09-A3EB-58ED287D0203}"/>
          </ac:spMkLst>
        </pc:spChg>
        <pc:spChg chg="mod">
          <ac:chgData name="Aude Van de WIELE" userId="7317e673-04dd-415c-a4d7-718682339b40" providerId="ADAL" clId="{80D4E734-020D-4C1F-A028-1B9E9B483F9A}" dt="2021-05-25T13:50:11.348" v="12778" actId="20577"/>
          <ac:spMkLst>
            <pc:docMk/>
            <pc:sldMk cId="3463901835" sldId="10414"/>
            <ac:spMk id="30" creationId="{0D81CDD6-14AC-4542-8189-57ADD3120D86}"/>
          </ac:spMkLst>
        </pc:spChg>
        <pc:spChg chg="mod">
          <ac:chgData name="Aude Van de WIELE" userId="7317e673-04dd-415c-a4d7-718682339b40" providerId="ADAL" clId="{80D4E734-020D-4C1F-A028-1B9E9B483F9A}" dt="2021-05-25T08:49:48.300" v="7185" actId="790"/>
          <ac:spMkLst>
            <pc:docMk/>
            <pc:sldMk cId="3463901835" sldId="10414"/>
            <ac:spMk id="31" creationId="{0A21BF8A-4686-4FC7-B72A-00B5F9563C97}"/>
          </ac:spMkLst>
        </pc:spChg>
        <pc:spChg chg="del">
          <ac:chgData name="Aude Van de WIELE" userId="7317e673-04dd-415c-a4d7-718682339b40" providerId="ADAL" clId="{80D4E734-020D-4C1F-A028-1B9E9B483F9A}" dt="2021-05-24T12:37:04.420" v="3244" actId="478"/>
          <ac:spMkLst>
            <pc:docMk/>
            <pc:sldMk cId="3463901835" sldId="10414"/>
            <ac:spMk id="32" creationId="{0B4EA174-DBE6-401C-806A-3A9DC28290D2}"/>
          </ac:spMkLst>
        </pc:spChg>
        <pc:spChg chg="mod">
          <ac:chgData name="Aude Van de WIELE" userId="7317e673-04dd-415c-a4d7-718682339b40" providerId="ADAL" clId="{80D4E734-020D-4C1F-A028-1B9E9B483F9A}" dt="2021-05-25T08:49:48.301" v="7186" actId="790"/>
          <ac:spMkLst>
            <pc:docMk/>
            <pc:sldMk cId="3463901835" sldId="10414"/>
            <ac:spMk id="33" creationId="{6F619186-A29F-47FC-B4C9-60FE5B327007}"/>
          </ac:spMkLst>
        </pc:spChg>
        <pc:spChg chg="mod">
          <ac:chgData name="Aude Van de WIELE" userId="7317e673-04dd-415c-a4d7-718682339b40" providerId="ADAL" clId="{80D4E734-020D-4C1F-A028-1B9E9B483F9A}" dt="2021-05-25T08:49:48.302" v="7187" actId="790"/>
          <ac:spMkLst>
            <pc:docMk/>
            <pc:sldMk cId="3463901835" sldId="10414"/>
            <ac:spMk id="34" creationId="{7710F13B-8FD8-4679-A9E3-0FF42D7E205D}"/>
          </ac:spMkLst>
        </pc:spChg>
        <pc:spChg chg="mod">
          <ac:chgData name="Aude Van de WIELE" userId="7317e673-04dd-415c-a4d7-718682339b40" providerId="ADAL" clId="{80D4E734-020D-4C1F-A028-1B9E9B483F9A}" dt="2021-05-25T08:49:48.303" v="7188" actId="790"/>
          <ac:spMkLst>
            <pc:docMk/>
            <pc:sldMk cId="3463901835" sldId="10414"/>
            <ac:spMk id="38" creationId="{443D7E13-5E25-417A-AA2B-D37766447346}"/>
          </ac:spMkLst>
        </pc:spChg>
        <pc:spChg chg="del">
          <ac:chgData name="Aude Van de WIELE" userId="7317e673-04dd-415c-a4d7-718682339b40" providerId="ADAL" clId="{80D4E734-020D-4C1F-A028-1B9E9B483F9A}" dt="2021-05-24T12:37:04.420" v="3244" actId="478"/>
          <ac:spMkLst>
            <pc:docMk/>
            <pc:sldMk cId="3463901835" sldId="10414"/>
            <ac:spMk id="39" creationId="{560C4695-6845-4318-AF0C-9108A8886DF2}"/>
          </ac:spMkLst>
        </pc:spChg>
        <pc:spChg chg="mod">
          <ac:chgData name="Aude Van de WIELE" userId="7317e673-04dd-415c-a4d7-718682339b40" providerId="ADAL" clId="{80D4E734-020D-4C1F-A028-1B9E9B483F9A}" dt="2021-05-25T08:49:48.304" v="7189" actId="790"/>
          <ac:spMkLst>
            <pc:docMk/>
            <pc:sldMk cId="3463901835" sldId="10414"/>
            <ac:spMk id="40" creationId="{951BFB89-3A96-459C-8E4A-080B28FCA297}"/>
          </ac:spMkLst>
        </pc:spChg>
        <pc:spChg chg="mod">
          <ac:chgData name="Aude Van de WIELE" userId="7317e673-04dd-415c-a4d7-718682339b40" providerId="ADAL" clId="{80D4E734-020D-4C1F-A028-1B9E9B483F9A}" dt="2021-05-25T08:49:48.305" v="7190" actId="790"/>
          <ac:spMkLst>
            <pc:docMk/>
            <pc:sldMk cId="3463901835" sldId="10414"/>
            <ac:spMk id="41" creationId="{8514CDF6-D3F3-4CEC-96D8-EB94AFEB3106}"/>
          </ac:spMkLst>
        </pc:spChg>
        <pc:spChg chg="mod">
          <ac:chgData name="Aude Van de WIELE" userId="7317e673-04dd-415c-a4d7-718682339b40" providerId="ADAL" clId="{80D4E734-020D-4C1F-A028-1B9E9B483F9A}" dt="2021-05-25T10:53:32.787" v="10309" actId="20577"/>
          <ac:spMkLst>
            <pc:docMk/>
            <pc:sldMk cId="3463901835" sldId="10414"/>
            <ac:spMk id="42" creationId="{B14DB10B-7FE9-42ED-B303-F33106400EA9}"/>
          </ac:spMkLst>
        </pc:spChg>
        <pc:spChg chg="mod">
          <ac:chgData name="Aude Van de WIELE" userId="7317e673-04dd-415c-a4d7-718682339b40" providerId="ADAL" clId="{80D4E734-020D-4C1F-A028-1B9E9B483F9A}" dt="2021-05-25T08:49:48.307" v="7192" actId="790"/>
          <ac:spMkLst>
            <pc:docMk/>
            <pc:sldMk cId="3463901835" sldId="10414"/>
            <ac:spMk id="43" creationId="{E84EA5FA-08E9-40F6-A71F-8BA8F3E3ED99}"/>
          </ac:spMkLst>
        </pc:spChg>
        <pc:spChg chg="mod">
          <ac:chgData name="Aude Van de WIELE" userId="7317e673-04dd-415c-a4d7-718682339b40" providerId="ADAL" clId="{80D4E734-020D-4C1F-A028-1B9E9B483F9A}" dt="2021-05-25T08:49:48.308" v="7193" actId="790"/>
          <ac:spMkLst>
            <pc:docMk/>
            <pc:sldMk cId="3463901835" sldId="10414"/>
            <ac:spMk id="44" creationId="{F595688A-2B2A-4B18-BC8F-3E1BBE846D86}"/>
          </ac:spMkLst>
        </pc:spChg>
        <pc:spChg chg="mod">
          <ac:chgData name="Aude Van de WIELE" userId="7317e673-04dd-415c-a4d7-718682339b40" providerId="ADAL" clId="{80D4E734-020D-4C1F-A028-1B9E9B483F9A}" dt="2021-05-25T08:49:48.309" v="7194" actId="790"/>
          <ac:spMkLst>
            <pc:docMk/>
            <pc:sldMk cId="3463901835" sldId="10414"/>
            <ac:spMk id="45" creationId="{7A651798-9873-484A-BCBC-F1732F254FCF}"/>
          </ac:spMkLst>
        </pc:spChg>
        <pc:spChg chg="mod">
          <ac:chgData name="Aude Van de WIELE" userId="7317e673-04dd-415c-a4d7-718682339b40" providerId="ADAL" clId="{80D4E734-020D-4C1F-A028-1B9E9B483F9A}" dt="2021-05-25T10:52:08.041" v="10221" actId="20577"/>
          <ac:spMkLst>
            <pc:docMk/>
            <pc:sldMk cId="3463901835" sldId="10414"/>
            <ac:spMk id="46" creationId="{54AFC57A-2292-4CA3-B567-A14B5835A6E8}"/>
          </ac:spMkLst>
        </pc:spChg>
        <pc:spChg chg="mod">
          <ac:chgData name="Aude Van de WIELE" userId="7317e673-04dd-415c-a4d7-718682339b40" providerId="ADAL" clId="{80D4E734-020D-4C1F-A028-1B9E9B483F9A}" dt="2021-05-25T08:49:48.311" v="7196" actId="790"/>
          <ac:spMkLst>
            <pc:docMk/>
            <pc:sldMk cId="3463901835" sldId="10414"/>
            <ac:spMk id="47" creationId="{A14096DC-4CAE-4A32-BFA3-6DBFBDDF9334}"/>
          </ac:spMkLst>
        </pc:spChg>
        <pc:spChg chg="mod">
          <ac:chgData name="Aude Van de WIELE" userId="7317e673-04dd-415c-a4d7-718682339b40" providerId="ADAL" clId="{80D4E734-020D-4C1F-A028-1B9E9B483F9A}" dt="2021-05-25T08:49:48.312" v="7197" actId="790"/>
          <ac:spMkLst>
            <pc:docMk/>
            <pc:sldMk cId="3463901835" sldId="10414"/>
            <ac:spMk id="48" creationId="{071ECFC0-1FE9-49A0-A0B0-4AFD8164EB62}"/>
          </ac:spMkLst>
        </pc:spChg>
        <pc:spChg chg="mod">
          <ac:chgData name="Aude Van de WIELE" userId="7317e673-04dd-415c-a4d7-718682339b40" providerId="ADAL" clId="{80D4E734-020D-4C1F-A028-1B9E9B483F9A}" dt="2021-05-25T08:49:48.313" v="7198" actId="790"/>
          <ac:spMkLst>
            <pc:docMk/>
            <pc:sldMk cId="3463901835" sldId="10414"/>
            <ac:spMk id="49" creationId="{D81D2065-13CD-4420-A58C-E72AE87D1A42}"/>
          </ac:spMkLst>
        </pc:spChg>
        <pc:spChg chg="mod">
          <ac:chgData name="Aude Van de WIELE" userId="7317e673-04dd-415c-a4d7-718682339b40" providerId="ADAL" clId="{80D4E734-020D-4C1F-A028-1B9E9B483F9A}" dt="2021-05-25T08:49:48.313" v="7199" actId="790"/>
          <ac:spMkLst>
            <pc:docMk/>
            <pc:sldMk cId="3463901835" sldId="10414"/>
            <ac:spMk id="50" creationId="{ACAAB4F1-8D2B-4B8D-A0C1-3794501DF384}"/>
          </ac:spMkLst>
        </pc:spChg>
        <pc:spChg chg="mod">
          <ac:chgData name="Aude Van de WIELE" userId="7317e673-04dd-415c-a4d7-718682339b40" providerId="ADAL" clId="{80D4E734-020D-4C1F-A028-1B9E9B483F9A}" dt="2021-05-25T08:49:48.314" v="7200" actId="790"/>
          <ac:spMkLst>
            <pc:docMk/>
            <pc:sldMk cId="3463901835" sldId="10414"/>
            <ac:spMk id="51" creationId="{CCA5A507-9498-412A-8734-37E9A0CAFBC2}"/>
          </ac:spMkLst>
        </pc:spChg>
        <pc:spChg chg="mod">
          <ac:chgData name="Aude Van de WIELE" userId="7317e673-04dd-415c-a4d7-718682339b40" providerId="ADAL" clId="{80D4E734-020D-4C1F-A028-1B9E9B483F9A}" dt="2021-05-25T08:49:48.315" v="7201" actId="790"/>
          <ac:spMkLst>
            <pc:docMk/>
            <pc:sldMk cId="3463901835" sldId="10414"/>
            <ac:spMk id="52" creationId="{9926A3AA-BF17-44D4-8DE7-9339CF1BE6FD}"/>
          </ac:spMkLst>
        </pc:spChg>
        <pc:spChg chg="del mod">
          <ac:chgData name="Aude Van de WIELE" userId="7317e673-04dd-415c-a4d7-718682339b40" providerId="ADAL" clId="{80D4E734-020D-4C1F-A028-1B9E9B483F9A}" dt="2021-05-25T07:50:39.705" v="6732" actId="478"/>
          <ac:spMkLst>
            <pc:docMk/>
            <pc:sldMk cId="3463901835" sldId="10414"/>
            <ac:spMk id="53" creationId="{5E59300E-921D-44E2-90E6-C444434FE1E2}"/>
          </ac:spMkLst>
        </pc:spChg>
        <pc:spChg chg="mod">
          <ac:chgData name="Aude Van de WIELE" userId="7317e673-04dd-415c-a4d7-718682339b40" providerId="ADAL" clId="{80D4E734-020D-4C1F-A028-1B9E9B483F9A}" dt="2021-05-25T08:49:48.319" v="7202" actId="790"/>
          <ac:spMkLst>
            <pc:docMk/>
            <pc:sldMk cId="3463901835" sldId="10414"/>
            <ac:spMk id="56" creationId="{2FB57385-9778-4E16-88A7-927D307E97B3}"/>
          </ac:spMkLst>
        </pc:spChg>
        <pc:spChg chg="mod">
          <ac:chgData name="Aude Van de WIELE" userId="7317e673-04dd-415c-a4d7-718682339b40" providerId="ADAL" clId="{80D4E734-020D-4C1F-A028-1B9E9B483F9A}" dt="2021-05-25T08:49:48.320" v="7203" actId="790"/>
          <ac:spMkLst>
            <pc:docMk/>
            <pc:sldMk cId="3463901835" sldId="10414"/>
            <ac:spMk id="58" creationId="{328B4C86-96DF-4F0B-9DF0-1048DA68F379}"/>
          </ac:spMkLst>
        </pc:spChg>
        <pc:spChg chg="mod">
          <ac:chgData name="Aude Van de WIELE" userId="7317e673-04dd-415c-a4d7-718682339b40" providerId="ADAL" clId="{80D4E734-020D-4C1F-A028-1B9E9B483F9A}" dt="2021-05-25T08:49:48.330" v="7204" actId="790"/>
          <ac:spMkLst>
            <pc:docMk/>
            <pc:sldMk cId="3463901835" sldId="10414"/>
            <ac:spMk id="61" creationId="{D8946D35-831B-4FB2-9D8B-4DC903BFA94D}"/>
          </ac:spMkLst>
        </pc:spChg>
        <pc:spChg chg="mod">
          <ac:chgData name="Aude Van de WIELE" userId="7317e673-04dd-415c-a4d7-718682339b40" providerId="ADAL" clId="{80D4E734-020D-4C1F-A028-1B9E9B483F9A}" dt="2021-05-25T08:49:48.331" v="7205" actId="790"/>
          <ac:spMkLst>
            <pc:docMk/>
            <pc:sldMk cId="3463901835" sldId="10414"/>
            <ac:spMk id="62" creationId="{B272D2A6-27B4-4CCB-9AAB-635DCFACB418}"/>
          </ac:spMkLst>
        </pc:spChg>
        <pc:spChg chg="add mod">
          <ac:chgData name="Aude Van de WIELE" userId="7317e673-04dd-415c-a4d7-718682339b40" providerId="ADAL" clId="{80D4E734-020D-4C1F-A028-1B9E9B483F9A}" dt="2021-05-25T08:49:48.332" v="7207" actId="790"/>
          <ac:spMkLst>
            <pc:docMk/>
            <pc:sldMk cId="3463901835" sldId="10414"/>
            <ac:spMk id="63" creationId="{CACC76FC-2977-4355-BF81-4E5EDB67542C}"/>
          </ac:spMkLst>
        </pc:spChg>
        <pc:spChg chg="add mod">
          <ac:chgData name="Aude Van de WIELE" userId="7317e673-04dd-415c-a4d7-718682339b40" providerId="ADAL" clId="{80D4E734-020D-4C1F-A028-1B9E9B483F9A}" dt="2021-05-25T08:49:48.333" v="7208" actId="790"/>
          <ac:spMkLst>
            <pc:docMk/>
            <pc:sldMk cId="3463901835" sldId="10414"/>
            <ac:spMk id="64" creationId="{E69A6A78-2AD3-4D53-8B9B-27B1B6264317}"/>
          </ac:spMkLst>
        </pc:spChg>
        <pc:spChg chg="add mod">
          <ac:chgData name="Aude Van de WIELE" userId="7317e673-04dd-415c-a4d7-718682339b40" providerId="ADAL" clId="{80D4E734-020D-4C1F-A028-1B9E9B483F9A}" dt="2021-05-25T08:49:48.333" v="7209" actId="790"/>
          <ac:spMkLst>
            <pc:docMk/>
            <pc:sldMk cId="3463901835" sldId="10414"/>
            <ac:spMk id="65" creationId="{B996472B-4494-4092-90D2-F9B0598EDA9B}"/>
          </ac:spMkLst>
        </pc:spChg>
        <pc:spChg chg="add mod">
          <ac:chgData name="Aude Van de WIELE" userId="7317e673-04dd-415c-a4d7-718682339b40" providerId="ADAL" clId="{80D4E734-020D-4C1F-A028-1B9E9B483F9A}" dt="2021-05-25T08:49:48.334" v="7210" actId="790"/>
          <ac:spMkLst>
            <pc:docMk/>
            <pc:sldMk cId="3463901835" sldId="10414"/>
            <ac:spMk id="66" creationId="{580E88D8-DB2D-4BAA-87C9-C7877E27FD4E}"/>
          </ac:spMkLst>
        </pc:spChg>
        <pc:spChg chg="add mod">
          <ac:chgData name="Aude Van de WIELE" userId="7317e673-04dd-415c-a4d7-718682339b40" providerId="ADAL" clId="{80D4E734-020D-4C1F-A028-1B9E9B483F9A}" dt="2021-05-25T08:49:48.335" v="7211" actId="790"/>
          <ac:spMkLst>
            <pc:docMk/>
            <pc:sldMk cId="3463901835" sldId="10414"/>
            <ac:spMk id="67" creationId="{29C19D83-CDAD-468C-B418-83C2D1E45543}"/>
          </ac:spMkLst>
        </pc:spChg>
        <pc:spChg chg="add mod">
          <ac:chgData name="Aude Van de WIELE" userId="7317e673-04dd-415c-a4d7-718682339b40" providerId="ADAL" clId="{80D4E734-020D-4C1F-A028-1B9E9B483F9A}" dt="2021-05-25T08:49:48.335" v="7212" actId="790"/>
          <ac:spMkLst>
            <pc:docMk/>
            <pc:sldMk cId="3463901835" sldId="10414"/>
            <ac:spMk id="68" creationId="{7BD2CCAB-CCFD-487A-BBD3-6041900F9E7C}"/>
          </ac:spMkLst>
        </pc:spChg>
        <pc:spChg chg="add mod">
          <ac:chgData name="Aude Van de WIELE" userId="7317e673-04dd-415c-a4d7-718682339b40" providerId="ADAL" clId="{80D4E734-020D-4C1F-A028-1B9E9B483F9A}" dt="2021-05-25T08:49:48.336" v="7213" actId="790"/>
          <ac:spMkLst>
            <pc:docMk/>
            <pc:sldMk cId="3463901835" sldId="10414"/>
            <ac:spMk id="69" creationId="{B7EBBC5A-DA14-4F74-B1F0-E98AF52DABD0}"/>
          </ac:spMkLst>
        </pc:spChg>
        <pc:spChg chg="add mod">
          <ac:chgData name="Aude Van de WIELE" userId="7317e673-04dd-415c-a4d7-718682339b40" providerId="ADAL" clId="{80D4E734-020D-4C1F-A028-1B9E9B483F9A}" dt="2021-05-25T08:49:48.337" v="7214" actId="790"/>
          <ac:spMkLst>
            <pc:docMk/>
            <pc:sldMk cId="3463901835" sldId="10414"/>
            <ac:spMk id="70" creationId="{3291AB25-490F-4B63-A46D-E02764883457}"/>
          </ac:spMkLst>
        </pc:spChg>
        <pc:spChg chg="add mod">
          <ac:chgData name="Aude Van de WIELE" userId="7317e673-04dd-415c-a4d7-718682339b40" providerId="ADAL" clId="{80D4E734-020D-4C1F-A028-1B9E9B483F9A}" dt="2021-05-25T08:49:48.337" v="7215" actId="790"/>
          <ac:spMkLst>
            <pc:docMk/>
            <pc:sldMk cId="3463901835" sldId="10414"/>
            <ac:spMk id="71" creationId="{075BD30D-D6B5-4502-AB64-F5EF3A546F22}"/>
          </ac:spMkLst>
        </pc:spChg>
        <pc:spChg chg="add mod">
          <ac:chgData name="Aude Van de WIELE" userId="7317e673-04dd-415c-a4d7-718682339b40" providerId="ADAL" clId="{80D4E734-020D-4C1F-A028-1B9E9B483F9A}" dt="2021-05-25T08:49:48.338" v="7216" actId="790"/>
          <ac:spMkLst>
            <pc:docMk/>
            <pc:sldMk cId="3463901835" sldId="10414"/>
            <ac:spMk id="72" creationId="{B8A5B5FA-956D-4336-94C9-315F1C4DA686}"/>
          </ac:spMkLst>
        </pc:spChg>
        <pc:spChg chg="add mod">
          <ac:chgData name="Aude Van de WIELE" userId="7317e673-04dd-415c-a4d7-718682339b40" providerId="ADAL" clId="{80D4E734-020D-4C1F-A028-1B9E9B483F9A}" dt="2021-05-25T08:49:48.339" v="7217" actId="790"/>
          <ac:spMkLst>
            <pc:docMk/>
            <pc:sldMk cId="3463901835" sldId="10414"/>
            <ac:spMk id="73" creationId="{BB81862D-1352-415B-9794-C265DDB814EE}"/>
          </ac:spMkLst>
        </pc:spChg>
        <pc:spChg chg="add mod">
          <ac:chgData name="Aude Van de WIELE" userId="7317e673-04dd-415c-a4d7-718682339b40" providerId="ADAL" clId="{80D4E734-020D-4C1F-A028-1B9E9B483F9A}" dt="2021-05-25T08:49:48.339" v="7218" actId="790"/>
          <ac:spMkLst>
            <pc:docMk/>
            <pc:sldMk cId="3463901835" sldId="10414"/>
            <ac:spMk id="74" creationId="{5013318F-F7B4-4AAF-ADC5-C66BF396BB1E}"/>
          </ac:spMkLst>
        </pc:spChg>
        <pc:spChg chg="mod">
          <ac:chgData name="Aude Van de WIELE" userId="7317e673-04dd-415c-a4d7-718682339b40" providerId="ADAL" clId="{80D4E734-020D-4C1F-A028-1B9E9B483F9A}" dt="2021-05-24T10:26:49.032" v="1881" actId="1076"/>
          <ac:spMkLst>
            <pc:docMk/>
            <pc:sldMk cId="3463901835" sldId="10414"/>
            <ac:spMk id="79" creationId="{43B23F38-045E-49AC-BFC0-E481E439ED01}"/>
          </ac:spMkLst>
        </pc:spChg>
        <pc:spChg chg="mod">
          <ac:chgData name="Aude Van de WIELE" userId="7317e673-04dd-415c-a4d7-718682339b40" providerId="ADAL" clId="{80D4E734-020D-4C1F-A028-1B9E9B483F9A}" dt="2021-05-24T11:58:02.018" v="2948"/>
          <ac:spMkLst>
            <pc:docMk/>
            <pc:sldMk cId="3463901835" sldId="10414"/>
            <ac:spMk id="82" creationId="{B65168FD-5524-49F5-BEF3-7591A51BA454}"/>
          </ac:spMkLst>
        </pc:spChg>
        <pc:spChg chg="add mod">
          <ac:chgData name="Aude Van de WIELE" userId="7317e673-04dd-415c-a4d7-718682339b40" providerId="ADAL" clId="{80D4E734-020D-4C1F-A028-1B9E9B483F9A}" dt="2021-05-25T08:49:48.340" v="7219" actId="790"/>
          <ac:spMkLst>
            <pc:docMk/>
            <pc:sldMk cId="3463901835" sldId="10414"/>
            <ac:spMk id="83" creationId="{B022D544-F72E-4747-A8CA-168E2A57EA0D}"/>
          </ac:spMkLst>
        </pc:spChg>
        <pc:spChg chg="add del mod">
          <ac:chgData name="Aude Van de WIELE" userId="7317e673-04dd-415c-a4d7-718682339b40" providerId="ADAL" clId="{80D4E734-020D-4C1F-A028-1B9E9B483F9A}" dt="2021-05-24T12:54:46.005" v="3515" actId="478"/>
          <ac:spMkLst>
            <pc:docMk/>
            <pc:sldMk cId="3463901835" sldId="10414"/>
            <ac:spMk id="84" creationId="{ED94BC90-E815-498D-AE2A-C1B3B233E931}"/>
          </ac:spMkLst>
        </pc:spChg>
        <pc:spChg chg="add mod">
          <ac:chgData name="Aude Van de WIELE" userId="7317e673-04dd-415c-a4d7-718682339b40" providerId="ADAL" clId="{80D4E734-020D-4C1F-A028-1B9E9B483F9A}" dt="2021-05-25T08:49:48.341" v="7220" actId="790"/>
          <ac:spMkLst>
            <pc:docMk/>
            <pc:sldMk cId="3463901835" sldId="10414"/>
            <ac:spMk id="85" creationId="{C88CFD24-A3E1-478D-B34C-1E0ECF85A40D}"/>
          </ac:spMkLst>
        </pc:spChg>
        <pc:spChg chg="add mod">
          <ac:chgData name="Aude Van de WIELE" userId="7317e673-04dd-415c-a4d7-718682339b40" providerId="ADAL" clId="{80D4E734-020D-4C1F-A028-1B9E9B483F9A}" dt="2021-05-25T08:49:48.342" v="7221" actId="790"/>
          <ac:spMkLst>
            <pc:docMk/>
            <pc:sldMk cId="3463901835" sldId="10414"/>
            <ac:spMk id="86" creationId="{6CB430ED-F66D-45D4-8301-C9F93105C4D1}"/>
          </ac:spMkLst>
        </pc:spChg>
        <pc:spChg chg="add mod">
          <ac:chgData name="Aude Van de WIELE" userId="7317e673-04dd-415c-a4d7-718682339b40" providerId="ADAL" clId="{80D4E734-020D-4C1F-A028-1B9E9B483F9A}" dt="2021-05-25T08:49:48.343" v="7222" actId="790"/>
          <ac:spMkLst>
            <pc:docMk/>
            <pc:sldMk cId="3463901835" sldId="10414"/>
            <ac:spMk id="87" creationId="{C2862B83-240F-4A1D-B35E-91B2A481B969}"/>
          </ac:spMkLst>
        </pc:spChg>
        <pc:spChg chg="add mod">
          <ac:chgData name="Aude Van de WIELE" userId="7317e673-04dd-415c-a4d7-718682339b40" providerId="ADAL" clId="{80D4E734-020D-4C1F-A028-1B9E9B483F9A}" dt="2021-05-25T08:49:48.344" v="7223" actId="790"/>
          <ac:spMkLst>
            <pc:docMk/>
            <pc:sldMk cId="3463901835" sldId="10414"/>
            <ac:spMk id="88" creationId="{7FB8AE25-3C90-4AC1-A2A5-ADD97D79DB6C}"/>
          </ac:spMkLst>
        </pc:spChg>
        <pc:spChg chg="add mod">
          <ac:chgData name="Aude Van de WIELE" userId="7317e673-04dd-415c-a4d7-718682339b40" providerId="ADAL" clId="{80D4E734-020D-4C1F-A028-1B9E9B483F9A}" dt="2021-05-25T08:49:48.346" v="7224" actId="790"/>
          <ac:spMkLst>
            <pc:docMk/>
            <pc:sldMk cId="3463901835" sldId="10414"/>
            <ac:spMk id="89" creationId="{7889FD5A-6C5A-4272-B1C1-B8A724F2B10F}"/>
          </ac:spMkLst>
        </pc:spChg>
        <pc:spChg chg="add mod">
          <ac:chgData name="Aude Van de WIELE" userId="7317e673-04dd-415c-a4d7-718682339b40" providerId="ADAL" clId="{80D4E734-020D-4C1F-A028-1B9E9B483F9A}" dt="2021-05-25T08:49:48.347" v="7225" actId="790"/>
          <ac:spMkLst>
            <pc:docMk/>
            <pc:sldMk cId="3463901835" sldId="10414"/>
            <ac:spMk id="90" creationId="{77F48DB9-7925-4FD7-8D0B-8F07F8491523}"/>
          </ac:spMkLst>
        </pc:spChg>
        <pc:spChg chg="add mod">
          <ac:chgData name="Aude Van de WIELE" userId="7317e673-04dd-415c-a4d7-718682339b40" providerId="ADAL" clId="{80D4E734-020D-4C1F-A028-1B9E9B483F9A}" dt="2021-05-25T08:49:48.348" v="7226" actId="790"/>
          <ac:spMkLst>
            <pc:docMk/>
            <pc:sldMk cId="3463901835" sldId="10414"/>
            <ac:spMk id="94" creationId="{0F4F10F5-977E-4EB0-91A1-B96246179616}"/>
          </ac:spMkLst>
        </pc:spChg>
        <pc:spChg chg="add mod">
          <ac:chgData name="Aude Van de WIELE" userId="7317e673-04dd-415c-a4d7-718682339b40" providerId="ADAL" clId="{80D4E734-020D-4C1F-A028-1B9E9B483F9A}" dt="2021-05-25T08:49:48.349" v="7227" actId="790"/>
          <ac:spMkLst>
            <pc:docMk/>
            <pc:sldMk cId="3463901835" sldId="10414"/>
            <ac:spMk id="111" creationId="{AAE2193E-2CF1-466B-885D-77842A9A9102}"/>
          </ac:spMkLst>
        </pc:spChg>
        <pc:spChg chg="add mod">
          <ac:chgData name="Aude Van de WIELE" userId="7317e673-04dd-415c-a4d7-718682339b40" providerId="ADAL" clId="{80D4E734-020D-4C1F-A028-1B9E9B483F9A}" dt="2021-05-25T08:49:48.349" v="7228" actId="790"/>
          <ac:spMkLst>
            <pc:docMk/>
            <pc:sldMk cId="3463901835" sldId="10414"/>
            <ac:spMk id="112" creationId="{58F1BE0C-A14B-42E1-B182-64C59CD08680}"/>
          </ac:spMkLst>
        </pc:spChg>
        <pc:spChg chg="mod">
          <ac:chgData name="Aude Van de WIELE" userId="7317e673-04dd-415c-a4d7-718682339b40" providerId="ADAL" clId="{80D4E734-020D-4C1F-A028-1B9E9B483F9A}" dt="2021-05-25T08:49:48.350" v="7229" actId="790"/>
          <ac:spMkLst>
            <pc:docMk/>
            <pc:sldMk cId="3463901835" sldId="10414"/>
            <ac:spMk id="115" creationId="{4C8FA9C8-0FBF-4037-96F3-8EFAF86EDF43}"/>
          </ac:spMkLst>
        </pc:spChg>
        <pc:spChg chg="mod">
          <ac:chgData name="Aude Van de WIELE" userId="7317e673-04dd-415c-a4d7-718682339b40" providerId="ADAL" clId="{80D4E734-020D-4C1F-A028-1B9E9B483F9A}" dt="2021-05-25T08:49:48.351" v="7230" actId="790"/>
          <ac:spMkLst>
            <pc:docMk/>
            <pc:sldMk cId="3463901835" sldId="10414"/>
            <ac:spMk id="116" creationId="{E9EB210A-3C43-464B-B1D9-552CCCE3C790}"/>
          </ac:spMkLst>
        </pc:spChg>
        <pc:spChg chg="mod">
          <ac:chgData name="Aude Van de WIELE" userId="7317e673-04dd-415c-a4d7-718682339b40" providerId="ADAL" clId="{80D4E734-020D-4C1F-A028-1B9E9B483F9A}" dt="2021-05-25T08:49:48.352" v="7231" actId="790"/>
          <ac:spMkLst>
            <pc:docMk/>
            <pc:sldMk cId="3463901835" sldId="10414"/>
            <ac:spMk id="118" creationId="{36EAF917-2EDA-4E57-AFC3-B7BE0FEE1368}"/>
          </ac:spMkLst>
        </pc:spChg>
        <pc:spChg chg="mod">
          <ac:chgData name="Aude Van de WIELE" userId="7317e673-04dd-415c-a4d7-718682339b40" providerId="ADAL" clId="{80D4E734-020D-4C1F-A028-1B9E9B483F9A}" dt="2021-05-25T08:49:48.352" v="7232" actId="790"/>
          <ac:spMkLst>
            <pc:docMk/>
            <pc:sldMk cId="3463901835" sldId="10414"/>
            <ac:spMk id="119" creationId="{15943C5A-2408-4C86-97FC-4509C9806305}"/>
          </ac:spMkLst>
        </pc:spChg>
        <pc:spChg chg="mod">
          <ac:chgData name="Aude Van de WIELE" userId="7317e673-04dd-415c-a4d7-718682339b40" providerId="ADAL" clId="{80D4E734-020D-4C1F-A028-1B9E9B483F9A}" dt="2021-05-25T08:49:48.353" v="7233" actId="790"/>
          <ac:spMkLst>
            <pc:docMk/>
            <pc:sldMk cId="3463901835" sldId="10414"/>
            <ac:spMk id="120" creationId="{57EECD1B-589F-4C0F-9484-034BBF13B65A}"/>
          </ac:spMkLst>
        </pc:spChg>
        <pc:spChg chg="mod">
          <ac:chgData name="Aude Van de WIELE" userId="7317e673-04dd-415c-a4d7-718682339b40" providerId="ADAL" clId="{80D4E734-020D-4C1F-A028-1B9E9B483F9A}" dt="2021-05-25T08:49:48.354" v="7234" actId="790"/>
          <ac:spMkLst>
            <pc:docMk/>
            <pc:sldMk cId="3463901835" sldId="10414"/>
            <ac:spMk id="121" creationId="{8FCC1005-0160-4A13-A573-F95998ED5187}"/>
          </ac:spMkLst>
        </pc:spChg>
        <pc:spChg chg="mod">
          <ac:chgData name="Aude Van de WIELE" userId="7317e673-04dd-415c-a4d7-718682339b40" providerId="ADAL" clId="{80D4E734-020D-4C1F-A028-1B9E9B483F9A}" dt="2021-05-25T08:49:48.355" v="7235" actId="790"/>
          <ac:spMkLst>
            <pc:docMk/>
            <pc:sldMk cId="3463901835" sldId="10414"/>
            <ac:spMk id="122" creationId="{C870D215-6CC7-46AA-992F-A47306A7E127}"/>
          </ac:spMkLst>
        </pc:spChg>
        <pc:spChg chg="mod">
          <ac:chgData name="Aude Van de WIELE" userId="7317e673-04dd-415c-a4d7-718682339b40" providerId="ADAL" clId="{80D4E734-020D-4C1F-A028-1B9E9B483F9A}" dt="2021-05-25T08:49:48.355" v="7236" actId="790"/>
          <ac:spMkLst>
            <pc:docMk/>
            <pc:sldMk cId="3463901835" sldId="10414"/>
            <ac:spMk id="123" creationId="{70A96BF7-6A69-43E4-873C-1D9B36A01421}"/>
          </ac:spMkLst>
        </pc:spChg>
        <pc:spChg chg="add mod">
          <ac:chgData name="Aude Van de WIELE" userId="7317e673-04dd-415c-a4d7-718682339b40" providerId="ADAL" clId="{80D4E734-020D-4C1F-A028-1B9E9B483F9A}" dt="2021-05-25T08:49:48.357" v="7237" actId="790"/>
          <ac:spMkLst>
            <pc:docMk/>
            <pc:sldMk cId="3463901835" sldId="10414"/>
            <ac:spMk id="160" creationId="{4520D56D-3B79-43CB-B84B-E057C5EA703B}"/>
          </ac:spMkLst>
        </pc:spChg>
        <pc:spChg chg="add mod">
          <ac:chgData name="Aude Van de WIELE" userId="7317e673-04dd-415c-a4d7-718682339b40" providerId="ADAL" clId="{80D4E734-020D-4C1F-A028-1B9E9B483F9A}" dt="2021-05-25T10:52:57.361" v="10270" actId="20577"/>
          <ac:spMkLst>
            <pc:docMk/>
            <pc:sldMk cId="3463901835" sldId="10414"/>
            <ac:spMk id="161" creationId="{3C336A9A-5573-4E7F-9707-73EC798AFA2F}"/>
          </ac:spMkLst>
        </pc:spChg>
        <pc:spChg chg="add mod">
          <ac:chgData name="Aude Van de WIELE" userId="7317e673-04dd-415c-a4d7-718682339b40" providerId="ADAL" clId="{80D4E734-020D-4C1F-A028-1B9E9B483F9A}" dt="2021-05-25T10:55:08.105" v="10362" actId="20577"/>
          <ac:spMkLst>
            <pc:docMk/>
            <pc:sldMk cId="3463901835" sldId="10414"/>
            <ac:spMk id="162" creationId="{61804EA3-4E75-4335-A703-963D409C9434}"/>
          </ac:spMkLst>
        </pc:spChg>
        <pc:spChg chg="mod">
          <ac:chgData name="Aude Van de WIELE" userId="7317e673-04dd-415c-a4d7-718682339b40" providerId="ADAL" clId="{80D4E734-020D-4C1F-A028-1B9E9B483F9A}" dt="2021-05-25T12:04:21.116" v="11339" actId="1076"/>
          <ac:spMkLst>
            <pc:docMk/>
            <pc:sldMk cId="3463901835" sldId="10414"/>
            <ac:spMk id="167" creationId="{85343B7B-FA9F-423E-9110-E022B7AB66AB}"/>
          </ac:spMkLst>
        </pc:spChg>
        <pc:spChg chg="del mod">
          <ac:chgData name="Aude Van de WIELE" userId="7317e673-04dd-415c-a4d7-718682339b40" providerId="ADAL" clId="{80D4E734-020D-4C1F-A028-1B9E9B483F9A}" dt="2021-05-25T12:04:44.788" v="11342" actId="478"/>
          <ac:spMkLst>
            <pc:docMk/>
            <pc:sldMk cId="3463901835" sldId="10414"/>
            <ac:spMk id="168" creationId="{97CEBF19-A4E2-44F8-8148-A7DB0C354FDE}"/>
          </ac:spMkLst>
        </pc:spChg>
        <pc:grpChg chg="add del mod">
          <ac:chgData name="Aude Van de WIELE" userId="7317e673-04dd-415c-a4d7-718682339b40" providerId="ADAL" clId="{80D4E734-020D-4C1F-A028-1B9E9B483F9A}" dt="2021-05-24T12:54:57.894" v="3518" actId="21"/>
          <ac:grpSpMkLst>
            <pc:docMk/>
            <pc:sldMk cId="3463901835" sldId="10414"/>
            <ac:grpSpMk id="80" creationId="{6DE6E9C7-F8E3-49B3-BE21-D58C5B3298FD}"/>
          </ac:grpSpMkLst>
        </pc:grpChg>
        <pc:grpChg chg="add mod">
          <ac:chgData name="Aude Van de WIELE" userId="7317e673-04dd-415c-a4d7-718682339b40" providerId="ADAL" clId="{80D4E734-020D-4C1F-A028-1B9E9B483F9A}" dt="2021-05-24T12:54:58.187" v="3519"/>
          <ac:grpSpMkLst>
            <pc:docMk/>
            <pc:sldMk cId="3463901835" sldId="10414"/>
            <ac:grpSpMk id="113" creationId="{26176979-829B-4768-90D5-1114392336A7}"/>
          </ac:grpSpMkLst>
        </pc:grpChg>
        <pc:picChg chg="del">
          <ac:chgData name="Aude Van de WIELE" userId="7317e673-04dd-415c-a4d7-718682339b40" providerId="ADAL" clId="{80D4E734-020D-4C1F-A028-1B9E9B483F9A}" dt="2021-05-24T12:45:02.263" v="3405" actId="478"/>
          <ac:picMkLst>
            <pc:docMk/>
            <pc:sldMk cId="3463901835" sldId="10414"/>
            <ac:picMk id="35" creationId="{F1C5DD21-C757-4A91-A85D-86702D4AEDF3}"/>
          </ac:picMkLst>
        </pc:picChg>
        <pc:picChg chg="del">
          <ac:chgData name="Aude Van de WIELE" userId="7317e673-04dd-415c-a4d7-718682339b40" providerId="ADAL" clId="{80D4E734-020D-4C1F-A028-1B9E9B483F9A}" dt="2021-05-24T12:45:02.263" v="3405" actId="478"/>
          <ac:picMkLst>
            <pc:docMk/>
            <pc:sldMk cId="3463901835" sldId="10414"/>
            <ac:picMk id="36" creationId="{53508858-4042-4B07-B198-BC1D77D6B753}"/>
          </ac:picMkLst>
        </pc:picChg>
        <pc:picChg chg="del">
          <ac:chgData name="Aude Van de WIELE" userId="7317e673-04dd-415c-a4d7-718682339b40" providerId="ADAL" clId="{80D4E734-020D-4C1F-A028-1B9E9B483F9A}" dt="2021-05-24T12:45:02.263" v="3405" actId="478"/>
          <ac:picMkLst>
            <pc:docMk/>
            <pc:sldMk cId="3463901835" sldId="10414"/>
            <ac:picMk id="37" creationId="{C061D5FE-31D1-4290-8481-2D13495F900E}"/>
          </ac:picMkLst>
        </pc:picChg>
        <pc:picChg chg="mod">
          <ac:chgData name="Aude Van de WIELE" userId="7317e673-04dd-415c-a4d7-718682339b40" providerId="ADAL" clId="{80D4E734-020D-4C1F-A028-1B9E9B483F9A}" dt="2021-05-24T11:58:02.018" v="2948"/>
          <ac:picMkLst>
            <pc:docMk/>
            <pc:sldMk cId="3463901835" sldId="10414"/>
            <ac:picMk id="81" creationId="{87B3E701-8D7D-402A-8219-B71792E11E76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1" creationId="{76662782-376E-4BA5-8214-A7251DCECFC8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2" creationId="{1ECE2B24-81F5-40BD-AE19-39BC10E4A568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3" creationId="{E5A016FB-8830-4F33-BDDF-18B283A47984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5" creationId="{FA00BB56-5F6E-4191-A189-D16B28B16161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6" creationId="{FD9B47CC-86AC-4215-9D4F-DF66956C413B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7" creationId="{FFA4AFC3-1586-4712-A567-77273D95BA10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8" creationId="{7746BD21-599C-45A5-B28B-B8B03FE6AA95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99" creationId="{E9CCC8D9-0EE5-47B6-A4A9-CBF9447EAB29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0" creationId="{377C5FD4-0DE8-44BE-9839-157124ADCB06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1" creationId="{2DA012EE-4138-47E1-923C-66501280BF95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2" creationId="{FA4983E7-00A1-43AB-8441-E8F0057379A0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3" creationId="{A48E8CD5-3797-446F-9501-C6EA99DB0AAA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4" creationId="{6429F9A5-0CE3-4E54-95B5-A44220DEBE72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5" creationId="{C71E7665-FCE3-4CB4-A0AC-4E02D181BC92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6" creationId="{094EA593-0741-4DBB-84A4-289D614D7AC7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7" creationId="{0A203A12-5C19-4E5E-AFD8-7E53E89C8E5C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8" creationId="{1C394ABC-1929-496A-93A9-6FD97EFE1222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09" creationId="{BF6E24F4-4C46-4F86-9335-BBBFA36941B4}"/>
          </ac:picMkLst>
        </pc:picChg>
        <pc:picChg chg="add mod">
          <ac:chgData name="Aude Van de WIELE" userId="7317e673-04dd-415c-a4d7-718682339b40" providerId="ADAL" clId="{80D4E734-020D-4C1F-A028-1B9E9B483F9A}" dt="2021-05-24T12:53:59.898" v="3503"/>
          <ac:picMkLst>
            <pc:docMk/>
            <pc:sldMk cId="3463901835" sldId="10414"/>
            <ac:picMk id="110" creationId="{05E59333-7B38-449A-86AC-9052E31E893F}"/>
          </ac:picMkLst>
        </pc:picChg>
        <pc:picChg chg="mod">
          <ac:chgData name="Aude Van de WIELE" userId="7317e673-04dd-415c-a4d7-718682339b40" providerId="ADAL" clId="{80D4E734-020D-4C1F-A028-1B9E9B483F9A}" dt="2021-05-24T12:54:58.187" v="3519"/>
          <ac:picMkLst>
            <pc:docMk/>
            <pc:sldMk cId="3463901835" sldId="10414"/>
            <ac:picMk id="114" creationId="{3278B3DA-6010-4CB6-96BE-2A6017074D7B}"/>
          </ac:picMkLst>
        </pc:picChg>
      </pc:sldChg>
      <pc:sldChg chg="addSp delSp modSp mod ord">
        <pc:chgData name="Aude Van de WIELE" userId="7317e673-04dd-415c-a4d7-718682339b40" providerId="ADAL" clId="{80D4E734-020D-4C1F-A028-1B9E9B483F9A}" dt="2021-05-25T13:55:33.749" v="12779"/>
        <pc:sldMkLst>
          <pc:docMk/>
          <pc:sldMk cId="718926585" sldId="10416"/>
        </pc:sldMkLst>
        <pc:spChg chg="mod">
          <ac:chgData name="Aude Van de WIELE" userId="7317e673-04dd-415c-a4d7-718682339b40" providerId="ADAL" clId="{80D4E734-020D-4C1F-A028-1B9E9B483F9A}" dt="2021-05-25T08:49:48.361" v="7241" actId="790"/>
          <ac:spMkLst>
            <pc:docMk/>
            <pc:sldMk cId="718926585" sldId="10416"/>
            <ac:spMk id="2" creationId="{6141F854-3009-40D7-9038-56590105A49E}"/>
          </ac:spMkLst>
        </pc:spChg>
        <pc:spChg chg="add mod ord">
          <ac:chgData name="Aude Van de WIELE" userId="7317e673-04dd-415c-a4d7-718682339b40" providerId="ADAL" clId="{80D4E734-020D-4C1F-A028-1B9E9B483F9A}" dt="2021-05-25T12:51:17.567" v="12327" actId="207"/>
          <ac:spMkLst>
            <pc:docMk/>
            <pc:sldMk cId="718926585" sldId="10416"/>
            <ac:spMk id="3" creationId="{48869A05-7BE3-4023-88EE-F61AB40F1A46}"/>
          </ac:spMkLst>
        </pc:spChg>
        <pc:spChg chg="del mod">
          <ac:chgData name="Aude Van de WIELE" userId="7317e673-04dd-415c-a4d7-718682339b40" providerId="ADAL" clId="{80D4E734-020D-4C1F-A028-1B9E9B483F9A}" dt="2021-05-25T12:10:31.121" v="11451" actId="478"/>
          <ac:spMkLst>
            <pc:docMk/>
            <pc:sldMk cId="718926585" sldId="10416"/>
            <ac:spMk id="7" creationId="{9F978BF0-A2ED-423C-83F1-4F728472B1F8}"/>
          </ac:spMkLst>
        </pc:spChg>
        <pc:spChg chg="del mod">
          <ac:chgData name="Aude Van de WIELE" userId="7317e673-04dd-415c-a4d7-718682339b40" providerId="ADAL" clId="{80D4E734-020D-4C1F-A028-1B9E9B483F9A}" dt="2021-05-25T12:10:32.606" v="11452" actId="478"/>
          <ac:spMkLst>
            <pc:docMk/>
            <pc:sldMk cId="718926585" sldId="10416"/>
            <ac:spMk id="9" creationId="{75BECECC-CD31-4F42-8A47-EE3665FCBFD8}"/>
          </ac:spMkLst>
        </pc:spChg>
        <pc:spChg chg="mod">
          <ac:chgData name="Aude Van de WIELE" userId="7317e673-04dd-415c-a4d7-718682339b40" providerId="ADAL" clId="{80D4E734-020D-4C1F-A028-1B9E9B483F9A}" dt="2021-05-25T08:49:48.359" v="7240" actId="790"/>
          <ac:spMkLst>
            <pc:docMk/>
            <pc:sldMk cId="718926585" sldId="10416"/>
            <ac:spMk id="14" creationId="{79163A55-8253-4415-87E3-49B6AA0C98BF}"/>
          </ac:spMkLst>
        </pc:spChg>
        <pc:spChg chg="mod ord">
          <ac:chgData name="Aude Van de WIELE" userId="7317e673-04dd-415c-a4d7-718682339b40" providerId="ADAL" clId="{80D4E734-020D-4C1F-A028-1B9E9B483F9A}" dt="2021-05-25T12:13:21.460" v="11459" actId="14100"/>
          <ac:spMkLst>
            <pc:docMk/>
            <pc:sldMk cId="718926585" sldId="10416"/>
            <ac:spMk id="15" creationId="{C7CC0E72-2C4D-4227-BE31-58EBB8D10C2D}"/>
          </ac:spMkLst>
        </pc:spChg>
        <pc:spChg chg="mod">
          <ac:chgData name="Aude Van de WIELE" userId="7317e673-04dd-415c-a4d7-718682339b40" providerId="ADAL" clId="{80D4E734-020D-4C1F-A028-1B9E9B483F9A}" dt="2021-05-25T12:10:24.091" v="11450" actId="207"/>
          <ac:spMkLst>
            <pc:docMk/>
            <pc:sldMk cId="718926585" sldId="10416"/>
            <ac:spMk id="16" creationId="{D2E2D690-327F-4633-A872-ADB29F27F398}"/>
          </ac:spMkLst>
        </pc:spChg>
        <pc:spChg chg="mod">
          <ac:chgData name="Aude Van de WIELE" userId="7317e673-04dd-415c-a4d7-718682339b40" providerId="ADAL" clId="{80D4E734-020D-4C1F-A028-1B9E9B483F9A}" dt="2021-05-25T08:49:48.362" v="7242" actId="790"/>
          <ac:spMkLst>
            <pc:docMk/>
            <pc:sldMk cId="718926585" sldId="10416"/>
            <ac:spMk id="25" creationId="{C509ABA6-0D56-4D9A-8217-F214397AC6C6}"/>
          </ac:spMkLst>
        </pc:spChg>
        <pc:spChg chg="mod">
          <ac:chgData name="Aude Van de WIELE" userId="7317e673-04dd-415c-a4d7-718682339b40" providerId="ADAL" clId="{80D4E734-020D-4C1F-A028-1B9E9B483F9A}" dt="2021-05-25T08:49:48.362" v="7243" actId="790"/>
          <ac:spMkLst>
            <pc:docMk/>
            <pc:sldMk cId="718926585" sldId="10416"/>
            <ac:spMk id="26" creationId="{7214233D-03FD-4212-9D98-B0CAE1EA952D}"/>
          </ac:spMkLst>
        </pc:spChg>
        <pc:spChg chg="mod">
          <ac:chgData name="Aude Van de WIELE" userId="7317e673-04dd-415c-a4d7-718682339b40" providerId="ADAL" clId="{80D4E734-020D-4C1F-A028-1B9E9B483F9A}" dt="2021-05-25T11:01:20.284" v="10423" actId="207"/>
          <ac:spMkLst>
            <pc:docMk/>
            <pc:sldMk cId="718926585" sldId="10416"/>
            <ac:spMk id="27" creationId="{63FECFE8-77A5-4C8D-9A95-E5E89281A837}"/>
          </ac:spMkLst>
        </pc:spChg>
        <pc:spChg chg="mod">
          <ac:chgData name="Aude Van de WIELE" userId="7317e673-04dd-415c-a4d7-718682339b40" providerId="ADAL" clId="{80D4E734-020D-4C1F-A028-1B9E9B483F9A}" dt="2021-05-25T08:49:48.364" v="7245" actId="790"/>
          <ac:spMkLst>
            <pc:docMk/>
            <pc:sldMk cId="718926585" sldId="10416"/>
            <ac:spMk id="28" creationId="{B4F1C8B4-203B-4299-B34E-7D33C44B7B71}"/>
          </ac:spMkLst>
        </pc:spChg>
        <pc:spChg chg="mod">
          <ac:chgData name="Aude Van de WIELE" userId="7317e673-04dd-415c-a4d7-718682339b40" providerId="ADAL" clId="{80D4E734-020D-4C1F-A028-1B9E9B483F9A}" dt="2021-05-25T08:49:48.365" v="7246" actId="790"/>
          <ac:spMkLst>
            <pc:docMk/>
            <pc:sldMk cId="718926585" sldId="10416"/>
            <ac:spMk id="29" creationId="{8A165B1F-6634-43C5-A885-140265BE12E8}"/>
          </ac:spMkLst>
        </pc:spChg>
        <pc:spChg chg="mod">
          <ac:chgData name="Aude Van de WIELE" userId="7317e673-04dd-415c-a4d7-718682339b40" providerId="ADAL" clId="{80D4E734-020D-4C1F-A028-1B9E9B483F9A}" dt="2021-05-25T08:49:48.366" v="7247" actId="790"/>
          <ac:spMkLst>
            <pc:docMk/>
            <pc:sldMk cId="718926585" sldId="10416"/>
            <ac:spMk id="30" creationId="{52F7899A-6E23-45C9-AB1D-5A04E49DE8D3}"/>
          </ac:spMkLst>
        </pc:spChg>
        <pc:spChg chg="mod">
          <ac:chgData name="Aude Van de WIELE" userId="7317e673-04dd-415c-a4d7-718682339b40" providerId="ADAL" clId="{80D4E734-020D-4C1F-A028-1B9E9B483F9A}" dt="2021-05-25T08:49:48.367" v="7248" actId="790"/>
          <ac:spMkLst>
            <pc:docMk/>
            <pc:sldMk cId="718926585" sldId="10416"/>
            <ac:spMk id="31" creationId="{39A4E537-6B70-42D6-B76D-22EBE99E5324}"/>
          </ac:spMkLst>
        </pc:spChg>
        <pc:spChg chg="mod">
          <ac:chgData name="Aude Van de WIELE" userId="7317e673-04dd-415c-a4d7-718682339b40" providerId="ADAL" clId="{80D4E734-020D-4C1F-A028-1B9E9B483F9A}" dt="2021-05-25T08:49:48.368" v="7249" actId="790"/>
          <ac:spMkLst>
            <pc:docMk/>
            <pc:sldMk cId="718926585" sldId="10416"/>
            <ac:spMk id="32" creationId="{E344EE6B-B062-4077-8C00-8A44A9ED2DC4}"/>
          </ac:spMkLst>
        </pc:spChg>
        <pc:spChg chg="mod">
          <ac:chgData name="Aude Van de WIELE" userId="7317e673-04dd-415c-a4d7-718682339b40" providerId="ADAL" clId="{80D4E734-020D-4C1F-A028-1B9E9B483F9A}" dt="2021-05-25T08:49:48.368" v="7250" actId="790"/>
          <ac:spMkLst>
            <pc:docMk/>
            <pc:sldMk cId="718926585" sldId="10416"/>
            <ac:spMk id="35" creationId="{6E4A10E1-DD55-4BBC-B8E8-2B3625C3D109}"/>
          </ac:spMkLst>
        </pc:spChg>
        <pc:spChg chg="mod">
          <ac:chgData name="Aude Van de WIELE" userId="7317e673-04dd-415c-a4d7-718682339b40" providerId="ADAL" clId="{80D4E734-020D-4C1F-A028-1B9E9B483F9A}" dt="2021-05-25T08:49:48.369" v="7251" actId="790"/>
          <ac:spMkLst>
            <pc:docMk/>
            <pc:sldMk cId="718926585" sldId="10416"/>
            <ac:spMk id="36" creationId="{E88FEEFE-E9AA-4FA4-BD22-4477BCB96162}"/>
          </ac:spMkLst>
        </pc:spChg>
        <pc:spChg chg="add mod">
          <ac:chgData name="Aude Van de WIELE" userId="7317e673-04dd-415c-a4d7-718682339b40" providerId="ADAL" clId="{80D4E734-020D-4C1F-A028-1B9E9B483F9A}" dt="2021-05-25T10:58:52.735" v="10416" actId="571"/>
          <ac:spMkLst>
            <pc:docMk/>
            <pc:sldMk cId="718926585" sldId="10416"/>
            <ac:spMk id="37" creationId="{32DACDDC-5FA7-4AC4-9343-BD5E5911AA8C}"/>
          </ac:spMkLst>
        </pc:spChg>
        <pc:spChg chg="del">
          <ac:chgData name="Aude Van de WIELE" userId="7317e673-04dd-415c-a4d7-718682339b40" providerId="ADAL" clId="{80D4E734-020D-4C1F-A028-1B9E9B483F9A}" dt="2021-05-24T10:27:03.845" v="1886" actId="478"/>
          <ac:spMkLst>
            <pc:docMk/>
            <pc:sldMk cId="718926585" sldId="10416"/>
            <ac:spMk id="42" creationId="{72CC8CD0-E8F4-4627-8A22-56D76E21EC50}"/>
          </ac:spMkLst>
        </pc:spChg>
        <pc:spChg chg="mod">
          <ac:chgData name="Aude Van de WIELE" userId="7317e673-04dd-415c-a4d7-718682339b40" providerId="ADAL" clId="{80D4E734-020D-4C1F-A028-1B9E9B483F9A}" dt="2021-05-25T08:49:48.372" v="7252" actId="790"/>
          <ac:spMkLst>
            <pc:docMk/>
            <pc:sldMk cId="718926585" sldId="10416"/>
            <ac:spMk id="43" creationId="{82E1424B-3A43-4D65-BCD8-062689C60A78}"/>
          </ac:spMkLst>
        </pc:spChg>
        <pc:spChg chg="mod">
          <ac:chgData name="Aude Van de WIELE" userId="7317e673-04dd-415c-a4d7-718682339b40" providerId="ADAL" clId="{80D4E734-020D-4C1F-A028-1B9E9B483F9A}" dt="2021-05-25T12:51:57.111" v="12341" actId="20577"/>
          <ac:spMkLst>
            <pc:docMk/>
            <pc:sldMk cId="718926585" sldId="10416"/>
            <ac:spMk id="44" creationId="{5B2A13CB-D242-4CEC-BD84-9421FD92C730}"/>
          </ac:spMkLst>
        </pc:spChg>
        <pc:spChg chg="mod">
          <ac:chgData name="Aude Van de WIELE" userId="7317e673-04dd-415c-a4d7-718682339b40" providerId="ADAL" clId="{80D4E734-020D-4C1F-A028-1B9E9B483F9A}" dt="2021-05-25T12:52:15.210" v="12376" actId="1076"/>
          <ac:spMkLst>
            <pc:docMk/>
            <pc:sldMk cId="718926585" sldId="10416"/>
            <ac:spMk id="45" creationId="{C3F0F705-A049-4672-849F-319AB1731825}"/>
          </ac:spMkLst>
        </pc:spChg>
        <pc:spChg chg="mod">
          <ac:chgData name="Aude Van de WIELE" userId="7317e673-04dd-415c-a4d7-718682339b40" providerId="ADAL" clId="{80D4E734-020D-4C1F-A028-1B9E9B483F9A}" dt="2021-05-25T08:49:48.374" v="7255" actId="790"/>
          <ac:spMkLst>
            <pc:docMk/>
            <pc:sldMk cId="718926585" sldId="10416"/>
            <ac:spMk id="46" creationId="{133D97A8-1546-424C-9184-ED69A50C0630}"/>
          </ac:spMkLst>
        </pc:spChg>
        <pc:spChg chg="add mod ord">
          <ac:chgData name="Aude Van de WIELE" userId="7317e673-04dd-415c-a4d7-718682339b40" providerId="ADAL" clId="{80D4E734-020D-4C1F-A028-1B9E9B483F9A}" dt="2021-05-25T12:51:17.567" v="12327" actId="207"/>
          <ac:spMkLst>
            <pc:docMk/>
            <pc:sldMk cId="718926585" sldId="10416"/>
            <ac:spMk id="47" creationId="{A85ED436-2044-4CBB-8176-FA206D62E4CC}"/>
          </ac:spMkLst>
        </pc:spChg>
        <pc:spChg chg="add mod ord">
          <ac:chgData name="Aude Van de WIELE" userId="7317e673-04dd-415c-a4d7-718682339b40" providerId="ADAL" clId="{80D4E734-020D-4C1F-A028-1B9E9B483F9A}" dt="2021-05-25T12:51:17.567" v="12327" actId="207"/>
          <ac:spMkLst>
            <pc:docMk/>
            <pc:sldMk cId="718926585" sldId="10416"/>
            <ac:spMk id="48" creationId="{B7C93D54-DB18-4357-B383-D4288FCD598B}"/>
          </ac:spMkLst>
        </pc:spChg>
        <pc:spChg chg="mod">
          <ac:chgData name="Aude Van de WIELE" userId="7317e673-04dd-415c-a4d7-718682339b40" providerId="ADAL" clId="{80D4E734-020D-4C1F-A028-1B9E9B483F9A}" dt="2021-05-25T08:49:48.374" v="7256" actId="790"/>
          <ac:spMkLst>
            <pc:docMk/>
            <pc:sldMk cId="718926585" sldId="10416"/>
            <ac:spMk id="49" creationId="{FBEB6038-28B9-4622-A72B-871078F5D725}"/>
          </ac:spMkLst>
        </pc:spChg>
        <pc:spChg chg="add mod ord">
          <ac:chgData name="Aude Van de WIELE" userId="7317e673-04dd-415c-a4d7-718682339b40" providerId="ADAL" clId="{80D4E734-020D-4C1F-A028-1B9E9B483F9A}" dt="2021-05-25T12:51:27.618" v="12337" actId="207"/>
          <ac:spMkLst>
            <pc:docMk/>
            <pc:sldMk cId="718926585" sldId="10416"/>
            <ac:spMk id="50" creationId="{C97E20DE-197F-4C3E-8041-D69FD9B20A33}"/>
          </ac:spMkLst>
        </pc:spChg>
        <pc:spChg chg="add del mod">
          <ac:chgData name="Aude Van de WIELE" userId="7317e673-04dd-415c-a4d7-718682339b40" providerId="ADAL" clId="{80D4E734-020D-4C1F-A028-1B9E9B483F9A}" dt="2021-05-25T12:09:19.646" v="11381" actId="478"/>
          <ac:spMkLst>
            <pc:docMk/>
            <pc:sldMk cId="718926585" sldId="10416"/>
            <ac:spMk id="51" creationId="{2EB99B60-BBCC-48DC-9BB2-3E15934723AE}"/>
          </ac:spMkLst>
        </pc:spChg>
        <pc:spChg chg="del">
          <ac:chgData name="Aude Van de WIELE" userId="7317e673-04dd-415c-a4d7-718682339b40" providerId="ADAL" clId="{80D4E734-020D-4C1F-A028-1B9E9B483F9A}" dt="2021-05-24T10:27:05.230" v="1887" actId="478"/>
          <ac:spMkLst>
            <pc:docMk/>
            <pc:sldMk cId="718926585" sldId="10416"/>
            <ac:spMk id="52" creationId="{374AEB49-977E-45EF-B719-80CC76AB2C58}"/>
          </ac:spMkLst>
        </pc:spChg>
        <pc:spChg chg="add del mod">
          <ac:chgData name="Aude Van de WIELE" userId="7317e673-04dd-415c-a4d7-718682339b40" providerId="ADAL" clId="{80D4E734-020D-4C1F-A028-1B9E9B483F9A}" dt="2021-05-25T12:12:07.761" v="11458" actId="478"/>
          <ac:spMkLst>
            <pc:docMk/>
            <pc:sldMk cId="718926585" sldId="10416"/>
            <ac:spMk id="52" creationId="{5F31F691-8411-47F1-ABF6-A39221A61736}"/>
          </ac:spMkLst>
        </pc:spChg>
        <pc:spChg chg="add mod">
          <ac:chgData name="Aude Van de WIELE" userId="7317e673-04dd-415c-a4d7-718682339b40" providerId="ADAL" clId="{80D4E734-020D-4C1F-A028-1B9E9B483F9A}" dt="2021-05-24T10:27:05.449" v="1888"/>
          <ac:spMkLst>
            <pc:docMk/>
            <pc:sldMk cId="718926585" sldId="10416"/>
            <ac:spMk id="53" creationId="{7300335C-C243-4E9A-972A-83983E5D26AE}"/>
          </ac:spMkLst>
        </pc:spChg>
        <pc:spChg chg="add mod">
          <ac:chgData name="Aude Van de WIELE" userId="7317e673-04dd-415c-a4d7-718682339b40" providerId="ADAL" clId="{80D4E734-020D-4C1F-A028-1B9E9B483F9A}" dt="2021-05-25T08:49:48.375" v="7257" actId="790"/>
          <ac:spMkLst>
            <pc:docMk/>
            <pc:sldMk cId="718926585" sldId="10416"/>
            <ac:spMk id="54" creationId="{0430F2AF-1132-469B-87C0-1811AC4EE4A6}"/>
          </ac:spMkLst>
        </pc:spChg>
        <pc:spChg chg="mod">
          <ac:chgData name="Aude Van de WIELE" userId="7317e673-04dd-415c-a4d7-718682339b40" providerId="ADAL" clId="{80D4E734-020D-4C1F-A028-1B9E9B483F9A}" dt="2021-05-25T08:49:48.377" v="7258" actId="790"/>
          <ac:spMkLst>
            <pc:docMk/>
            <pc:sldMk cId="718926585" sldId="10416"/>
            <ac:spMk id="55" creationId="{8F49C6D1-BE00-4BD4-B114-2E2DE10B7B67}"/>
          </ac:spMkLst>
        </pc:spChg>
        <pc:spChg chg="mod">
          <ac:chgData name="Aude Van de WIELE" userId="7317e673-04dd-415c-a4d7-718682339b40" providerId="ADAL" clId="{80D4E734-020D-4C1F-A028-1B9E9B483F9A}" dt="2021-05-25T08:49:48.377" v="7259" actId="790"/>
          <ac:spMkLst>
            <pc:docMk/>
            <pc:sldMk cId="718926585" sldId="10416"/>
            <ac:spMk id="57" creationId="{CAE7DA71-5164-43DC-B481-888856A52D66}"/>
          </ac:spMkLst>
        </pc:spChg>
        <pc:spChg chg="mod">
          <ac:chgData name="Aude Van de WIELE" userId="7317e673-04dd-415c-a4d7-718682339b40" providerId="ADAL" clId="{80D4E734-020D-4C1F-A028-1B9E9B483F9A}" dt="2021-05-25T08:49:48.378" v="7260" actId="790"/>
          <ac:spMkLst>
            <pc:docMk/>
            <pc:sldMk cId="718926585" sldId="10416"/>
            <ac:spMk id="58" creationId="{B441CFCB-B013-4166-94F0-56D132AA3AB6}"/>
          </ac:spMkLst>
        </pc:spChg>
        <pc:spChg chg="mod">
          <ac:chgData name="Aude Van de WIELE" userId="7317e673-04dd-415c-a4d7-718682339b40" providerId="ADAL" clId="{80D4E734-020D-4C1F-A028-1B9E9B483F9A}" dt="2021-05-25T08:49:48.379" v="7261" actId="790"/>
          <ac:spMkLst>
            <pc:docMk/>
            <pc:sldMk cId="718926585" sldId="10416"/>
            <ac:spMk id="59" creationId="{34E09D3E-52E5-47A8-8840-8CC116656F14}"/>
          </ac:spMkLst>
        </pc:spChg>
        <pc:spChg chg="mod">
          <ac:chgData name="Aude Van de WIELE" userId="7317e673-04dd-415c-a4d7-718682339b40" providerId="ADAL" clId="{80D4E734-020D-4C1F-A028-1B9E9B483F9A}" dt="2021-05-25T08:49:48.379" v="7262" actId="790"/>
          <ac:spMkLst>
            <pc:docMk/>
            <pc:sldMk cId="718926585" sldId="10416"/>
            <ac:spMk id="60" creationId="{831D71D9-701F-4A9D-B68E-F1F1E1DA1BD2}"/>
          </ac:spMkLst>
        </pc:spChg>
        <pc:spChg chg="mod">
          <ac:chgData name="Aude Van de WIELE" userId="7317e673-04dd-415c-a4d7-718682339b40" providerId="ADAL" clId="{80D4E734-020D-4C1F-A028-1B9E9B483F9A}" dt="2021-05-25T08:49:48.380" v="7263" actId="790"/>
          <ac:spMkLst>
            <pc:docMk/>
            <pc:sldMk cId="718926585" sldId="10416"/>
            <ac:spMk id="61" creationId="{3E20FCD3-1741-476D-B17B-97937935A4AB}"/>
          </ac:spMkLst>
        </pc:spChg>
        <pc:spChg chg="mod">
          <ac:chgData name="Aude Van de WIELE" userId="7317e673-04dd-415c-a4d7-718682339b40" providerId="ADAL" clId="{80D4E734-020D-4C1F-A028-1B9E9B483F9A}" dt="2021-05-25T08:49:48.381" v="7264" actId="790"/>
          <ac:spMkLst>
            <pc:docMk/>
            <pc:sldMk cId="718926585" sldId="10416"/>
            <ac:spMk id="62" creationId="{1A29DBC8-4BC3-4B3D-8920-D44CBADB948B}"/>
          </ac:spMkLst>
        </pc:spChg>
        <pc:graphicFrameChg chg="mod">
          <ac:chgData name="Aude Van de WIELE" userId="7317e673-04dd-415c-a4d7-718682339b40" providerId="ADAL" clId="{80D4E734-020D-4C1F-A028-1B9E9B483F9A}" dt="2021-05-25T13:55:33.749" v="12779"/>
          <ac:graphicFrameMkLst>
            <pc:docMk/>
            <pc:sldMk cId="718926585" sldId="10416"/>
            <ac:graphicFrameMk id="13" creationId="{DA5795B9-898C-4C1A-A701-D345F5549D94}"/>
          </ac:graphicFrameMkLst>
        </pc:graphicFrameChg>
      </pc:sldChg>
      <pc:sldChg chg="del">
        <pc:chgData name="Aude Van de WIELE" userId="7317e673-04dd-415c-a4d7-718682339b40" providerId="ADAL" clId="{80D4E734-020D-4C1F-A028-1B9E9B483F9A}" dt="2021-05-24T13:41:32.486" v="4132" actId="47"/>
        <pc:sldMkLst>
          <pc:docMk/>
          <pc:sldMk cId="1802608156" sldId="10417"/>
        </pc:sldMkLst>
      </pc:sldChg>
      <pc:sldChg chg="addSp delSp modSp mod">
        <pc:chgData name="Aude Van de WIELE" userId="7317e673-04dd-415c-a4d7-718682339b40" providerId="ADAL" clId="{80D4E734-020D-4C1F-A028-1B9E9B483F9A}" dt="2021-05-25T14:22:38.259" v="12781" actId="14100"/>
        <pc:sldMkLst>
          <pc:docMk/>
          <pc:sldMk cId="1880839470" sldId="10420"/>
        </pc:sldMkLst>
        <pc:spChg chg="mod">
          <ac:chgData name="Aude Van de WIELE" userId="7317e673-04dd-415c-a4d7-718682339b40" providerId="ADAL" clId="{80D4E734-020D-4C1F-A028-1B9E9B483F9A}" dt="2021-05-25T08:49:48.495" v="7367" actId="790"/>
          <ac:spMkLst>
            <pc:docMk/>
            <pc:sldMk cId="1880839470" sldId="10420"/>
            <ac:spMk id="2" creationId="{873006D4-BF82-4F00-B534-5D28B2DDCEF5}"/>
          </ac:spMkLst>
        </pc:spChg>
        <pc:spChg chg="mod">
          <ac:chgData name="Aude Van de WIELE" userId="7317e673-04dd-415c-a4d7-718682339b40" providerId="ADAL" clId="{80D4E734-020D-4C1F-A028-1B9E9B483F9A}" dt="2021-05-25T08:49:48.497" v="7368" actId="790"/>
          <ac:spMkLst>
            <pc:docMk/>
            <pc:sldMk cId="1880839470" sldId="10420"/>
            <ac:spMk id="3" creationId="{79D8092C-AC66-484C-9645-EEB08D4A59C6}"/>
          </ac:spMkLst>
        </pc:spChg>
        <pc:spChg chg="mod">
          <ac:chgData name="Aude Van de WIELE" userId="7317e673-04dd-415c-a4d7-718682339b40" providerId="ADAL" clId="{80D4E734-020D-4C1F-A028-1B9E9B483F9A}" dt="2021-05-25T08:49:48.498" v="7369" actId="790"/>
          <ac:spMkLst>
            <pc:docMk/>
            <pc:sldMk cId="1880839470" sldId="10420"/>
            <ac:spMk id="4" creationId="{02BD46C9-B279-482D-89B3-4956B609E15C}"/>
          </ac:spMkLst>
        </pc:spChg>
        <pc:spChg chg="mod">
          <ac:chgData name="Aude Van de WIELE" userId="7317e673-04dd-415c-a4d7-718682339b40" providerId="ADAL" clId="{80D4E734-020D-4C1F-A028-1B9E9B483F9A}" dt="2021-05-25T08:49:48.499" v="7370" actId="790"/>
          <ac:spMkLst>
            <pc:docMk/>
            <pc:sldMk cId="1880839470" sldId="10420"/>
            <ac:spMk id="5" creationId="{661F72E1-48F0-44F4-A92A-E722B8B95227}"/>
          </ac:spMkLst>
        </pc:spChg>
        <pc:spChg chg="mod">
          <ac:chgData name="Aude Van de WIELE" userId="7317e673-04dd-415c-a4d7-718682339b40" providerId="ADAL" clId="{80D4E734-020D-4C1F-A028-1B9E9B483F9A}" dt="2021-05-25T08:49:48.502" v="7372" actId="790"/>
          <ac:spMkLst>
            <pc:docMk/>
            <pc:sldMk cId="1880839470" sldId="10420"/>
            <ac:spMk id="6" creationId="{70B52D0E-DC9C-4722-916E-D6FDF79A7420}"/>
          </ac:spMkLst>
        </pc:spChg>
        <pc:spChg chg="mod">
          <ac:chgData name="Aude Van de WIELE" userId="7317e673-04dd-415c-a4d7-718682339b40" providerId="ADAL" clId="{80D4E734-020D-4C1F-A028-1B9E9B483F9A}" dt="2021-05-25T08:49:48.505" v="7377" actId="790"/>
          <ac:spMkLst>
            <pc:docMk/>
            <pc:sldMk cId="1880839470" sldId="10420"/>
            <ac:spMk id="15" creationId="{371FD0C6-BD25-4B85-8EAD-0502F14E088E}"/>
          </ac:spMkLst>
        </pc:spChg>
        <pc:spChg chg="mod">
          <ac:chgData name="Aude Van de WIELE" userId="7317e673-04dd-415c-a4d7-718682339b40" providerId="ADAL" clId="{80D4E734-020D-4C1F-A028-1B9E9B483F9A}" dt="2021-05-25T08:49:48.509" v="7382" actId="790"/>
          <ac:spMkLst>
            <pc:docMk/>
            <pc:sldMk cId="1880839470" sldId="10420"/>
            <ac:spMk id="17" creationId="{A9119019-F679-42BB-B49F-4E0DCA81AB7E}"/>
          </ac:spMkLst>
        </pc:spChg>
        <pc:spChg chg="mod">
          <ac:chgData name="Aude Van de WIELE" userId="7317e673-04dd-415c-a4d7-718682339b40" providerId="ADAL" clId="{80D4E734-020D-4C1F-A028-1B9E9B483F9A}" dt="2021-05-25T08:49:48.510" v="7383" actId="790"/>
          <ac:spMkLst>
            <pc:docMk/>
            <pc:sldMk cId="1880839470" sldId="10420"/>
            <ac:spMk id="26" creationId="{D02F1702-75A2-41D0-81F2-2BFAC3621779}"/>
          </ac:spMkLst>
        </pc:spChg>
        <pc:spChg chg="mod">
          <ac:chgData name="Aude Van de WIELE" userId="7317e673-04dd-415c-a4d7-718682339b40" providerId="ADAL" clId="{80D4E734-020D-4C1F-A028-1B9E9B483F9A}" dt="2021-05-25T08:49:48.508" v="7381" actId="790"/>
          <ac:spMkLst>
            <pc:docMk/>
            <pc:sldMk cId="1880839470" sldId="10420"/>
            <ac:spMk id="29" creationId="{89FB3B56-79F8-4EBD-967A-A373F7652C6A}"/>
          </ac:spMkLst>
        </pc:spChg>
        <pc:spChg chg="mod">
          <ac:chgData name="Aude Van de WIELE" userId="7317e673-04dd-415c-a4d7-718682339b40" providerId="ADAL" clId="{80D4E734-020D-4C1F-A028-1B9E9B483F9A}" dt="2021-05-25T08:49:48.511" v="7384" actId="790"/>
          <ac:spMkLst>
            <pc:docMk/>
            <pc:sldMk cId="1880839470" sldId="10420"/>
            <ac:spMk id="31" creationId="{A8ABB57D-9FC1-44C5-8530-23D192F77D78}"/>
          </ac:spMkLst>
        </pc:spChg>
        <pc:spChg chg="mod">
          <ac:chgData name="Aude Van de WIELE" userId="7317e673-04dd-415c-a4d7-718682339b40" providerId="ADAL" clId="{80D4E734-020D-4C1F-A028-1B9E9B483F9A}" dt="2021-05-25T08:49:48.507" v="7380" actId="790"/>
          <ac:spMkLst>
            <pc:docMk/>
            <pc:sldMk cId="1880839470" sldId="10420"/>
            <ac:spMk id="32" creationId="{9D4D3A71-F2C6-47DF-BD49-C3D7BFBF9438}"/>
          </ac:spMkLst>
        </pc:spChg>
        <pc:spChg chg="mod">
          <ac:chgData name="Aude Van de WIELE" userId="7317e673-04dd-415c-a4d7-718682339b40" providerId="ADAL" clId="{80D4E734-020D-4C1F-A028-1B9E9B483F9A}" dt="2021-05-25T08:49:48.507" v="7379" actId="790"/>
          <ac:spMkLst>
            <pc:docMk/>
            <pc:sldMk cId="1880839470" sldId="10420"/>
            <ac:spMk id="35" creationId="{6458FF84-438E-4544-91C9-92CD6839FCA3}"/>
          </ac:spMkLst>
        </pc:spChg>
        <pc:spChg chg="mod">
          <ac:chgData name="Aude Van de WIELE" userId="7317e673-04dd-415c-a4d7-718682339b40" providerId="ADAL" clId="{80D4E734-020D-4C1F-A028-1B9E9B483F9A}" dt="2021-05-25T08:49:48.501" v="7371" actId="790"/>
          <ac:spMkLst>
            <pc:docMk/>
            <pc:sldMk cId="1880839470" sldId="10420"/>
            <ac:spMk id="36" creationId="{20444DA5-5894-4095-8895-C57452F8E45B}"/>
          </ac:spMkLst>
        </pc:spChg>
        <pc:spChg chg="mod">
          <ac:chgData name="Aude Van de WIELE" userId="7317e673-04dd-415c-a4d7-718682339b40" providerId="ADAL" clId="{80D4E734-020D-4C1F-A028-1B9E9B483F9A}" dt="2021-05-25T08:49:48.511" v="7385" actId="790"/>
          <ac:spMkLst>
            <pc:docMk/>
            <pc:sldMk cId="1880839470" sldId="10420"/>
            <ac:spMk id="37" creationId="{6503BBF8-FED4-48DE-A886-460FB05439F0}"/>
          </ac:spMkLst>
        </pc:spChg>
        <pc:spChg chg="mod">
          <ac:chgData name="Aude Van de WIELE" userId="7317e673-04dd-415c-a4d7-718682339b40" providerId="ADAL" clId="{80D4E734-020D-4C1F-A028-1B9E9B483F9A}" dt="2021-05-25T14:22:38.259" v="12781" actId="14100"/>
          <ac:spMkLst>
            <pc:docMk/>
            <pc:sldMk cId="1880839470" sldId="10420"/>
            <ac:spMk id="38" creationId="{3F11B4ED-9D89-44C6-97B5-84A9B88A28A0}"/>
          </ac:spMkLst>
        </pc:spChg>
        <pc:spChg chg="mod">
          <ac:chgData name="Aude Van de WIELE" userId="7317e673-04dd-415c-a4d7-718682339b40" providerId="ADAL" clId="{80D4E734-020D-4C1F-A028-1B9E9B483F9A}" dt="2021-05-25T08:49:48.513" v="7387" actId="790"/>
          <ac:spMkLst>
            <pc:docMk/>
            <pc:sldMk cId="1880839470" sldId="10420"/>
            <ac:spMk id="39" creationId="{8D6F807D-093C-4031-8B72-64CF391C111D}"/>
          </ac:spMkLst>
        </pc:spChg>
        <pc:spChg chg="mod">
          <ac:chgData name="Aude Van de WIELE" userId="7317e673-04dd-415c-a4d7-718682339b40" providerId="ADAL" clId="{80D4E734-020D-4C1F-A028-1B9E9B483F9A}" dt="2021-05-25T08:49:48.514" v="7388" actId="790"/>
          <ac:spMkLst>
            <pc:docMk/>
            <pc:sldMk cId="1880839470" sldId="10420"/>
            <ac:spMk id="40" creationId="{E671D48A-B1A4-4B26-B60F-65E19EB4D45B}"/>
          </ac:spMkLst>
        </pc:spChg>
        <pc:spChg chg="mod">
          <ac:chgData name="Aude Van de WIELE" userId="7317e673-04dd-415c-a4d7-718682339b40" providerId="ADAL" clId="{80D4E734-020D-4C1F-A028-1B9E9B483F9A}" dt="2021-05-25T08:49:48.502" v="7373" actId="790"/>
          <ac:spMkLst>
            <pc:docMk/>
            <pc:sldMk cId="1880839470" sldId="10420"/>
            <ac:spMk id="42" creationId="{1247795D-0072-40BA-AF93-9C1D019692A8}"/>
          </ac:spMkLst>
        </pc:spChg>
        <pc:spChg chg="mod">
          <ac:chgData name="Aude Van de WIELE" userId="7317e673-04dd-415c-a4d7-718682339b40" providerId="ADAL" clId="{80D4E734-020D-4C1F-A028-1B9E9B483F9A}" dt="2021-05-25T08:49:48.503" v="7374" actId="790"/>
          <ac:spMkLst>
            <pc:docMk/>
            <pc:sldMk cId="1880839470" sldId="10420"/>
            <ac:spMk id="43" creationId="{36DDE4C0-A9E6-441D-96A4-45A7DBB77394}"/>
          </ac:spMkLst>
        </pc:spChg>
        <pc:spChg chg="mod">
          <ac:chgData name="Aude Van de WIELE" userId="7317e673-04dd-415c-a4d7-718682339b40" providerId="ADAL" clId="{80D4E734-020D-4C1F-A028-1B9E9B483F9A}" dt="2021-05-25T08:49:48.504" v="7375" actId="790"/>
          <ac:spMkLst>
            <pc:docMk/>
            <pc:sldMk cId="1880839470" sldId="10420"/>
            <ac:spMk id="44" creationId="{2F8E33B2-FF7C-48A6-A801-E93B48683090}"/>
          </ac:spMkLst>
        </pc:spChg>
        <pc:spChg chg="mod">
          <ac:chgData name="Aude Van de WIELE" userId="7317e673-04dd-415c-a4d7-718682339b40" providerId="ADAL" clId="{80D4E734-020D-4C1F-A028-1B9E9B483F9A}" dt="2021-05-25T08:49:48.505" v="7376" actId="790"/>
          <ac:spMkLst>
            <pc:docMk/>
            <pc:sldMk cId="1880839470" sldId="10420"/>
            <ac:spMk id="51" creationId="{30907CB5-2327-4812-BF4E-80ADB62C119C}"/>
          </ac:spMkLst>
        </pc:spChg>
        <pc:spChg chg="mod">
          <ac:chgData name="Aude Van de WIELE" userId="7317e673-04dd-415c-a4d7-718682339b40" providerId="ADAL" clId="{80D4E734-020D-4C1F-A028-1B9E9B483F9A}" dt="2021-05-24T10:05:48.314" v="1507" actId="1076"/>
          <ac:spMkLst>
            <pc:docMk/>
            <pc:sldMk cId="1880839470" sldId="10420"/>
            <ac:spMk id="59" creationId="{7D3CB576-6910-4580-8B93-61400A776F0F}"/>
          </ac:spMkLst>
        </pc:spChg>
        <pc:spChg chg="mod">
          <ac:chgData name="Aude Van de WIELE" userId="7317e673-04dd-415c-a4d7-718682339b40" providerId="ADAL" clId="{80D4E734-020D-4C1F-A028-1B9E9B483F9A}" dt="2021-05-24T10:27:11.809" v="1891" actId="1076"/>
          <ac:spMkLst>
            <pc:docMk/>
            <pc:sldMk cId="1880839470" sldId="10420"/>
            <ac:spMk id="60" creationId="{C1AC785B-60D5-4A61-9BD4-9BD82AA91B30}"/>
          </ac:spMkLst>
        </pc:spChg>
        <pc:spChg chg="mod">
          <ac:chgData name="Aude Van de WIELE" userId="7317e673-04dd-415c-a4d7-718682339b40" providerId="ADAL" clId="{80D4E734-020D-4C1F-A028-1B9E9B483F9A}" dt="2021-05-25T08:49:48.515" v="7390" actId="790"/>
          <ac:spMkLst>
            <pc:docMk/>
            <pc:sldMk cId="1880839470" sldId="10420"/>
            <ac:spMk id="61" creationId="{6AD76FA3-6E7D-4573-94F3-B77C5EE0163C}"/>
          </ac:spMkLst>
        </pc:spChg>
        <pc:spChg chg="add mod">
          <ac:chgData name="Aude Van de WIELE" userId="7317e673-04dd-415c-a4d7-718682339b40" providerId="ADAL" clId="{80D4E734-020D-4C1F-A028-1B9E9B483F9A}" dt="2021-05-25T08:49:48.529" v="7404" actId="790"/>
          <ac:spMkLst>
            <pc:docMk/>
            <pc:sldMk cId="1880839470" sldId="10420"/>
            <ac:spMk id="63" creationId="{68579EF2-D9C9-42A6-9EFA-D329BA498B2D}"/>
          </ac:spMkLst>
        </pc:spChg>
        <pc:spChg chg="del">
          <ac:chgData name="Aude Van de WIELE" userId="7317e673-04dd-415c-a4d7-718682339b40" providerId="ADAL" clId="{80D4E734-020D-4C1F-A028-1B9E9B483F9A}" dt="2021-05-25T11:04:56.755" v="10627" actId="478"/>
          <ac:spMkLst>
            <pc:docMk/>
            <pc:sldMk cId="1880839470" sldId="10420"/>
            <ac:spMk id="64" creationId="{AA83050A-CAD5-4C9F-BBB4-7565837DA1A0}"/>
          </ac:spMkLst>
        </pc:spChg>
        <pc:spChg chg="del">
          <ac:chgData name="Aude Van de WIELE" userId="7317e673-04dd-415c-a4d7-718682339b40" providerId="ADAL" clId="{80D4E734-020D-4C1F-A028-1B9E9B483F9A}" dt="2021-05-25T11:04:56.755" v="10627" actId="478"/>
          <ac:spMkLst>
            <pc:docMk/>
            <pc:sldMk cId="1880839470" sldId="10420"/>
            <ac:spMk id="65" creationId="{F0F22F56-752A-43DE-8CC7-20EB03DD1187}"/>
          </ac:spMkLst>
        </pc:spChg>
        <pc:spChg chg="del">
          <ac:chgData name="Aude Van de WIELE" userId="7317e673-04dd-415c-a4d7-718682339b40" providerId="ADAL" clId="{80D4E734-020D-4C1F-A028-1B9E9B483F9A}" dt="2021-05-25T11:04:56.755" v="10627" actId="478"/>
          <ac:spMkLst>
            <pc:docMk/>
            <pc:sldMk cId="1880839470" sldId="10420"/>
            <ac:spMk id="66" creationId="{FB1463C1-ADB9-49FA-92CC-16E830562850}"/>
          </ac:spMkLst>
        </pc:spChg>
        <pc:spChg chg="del">
          <ac:chgData name="Aude Van de WIELE" userId="7317e673-04dd-415c-a4d7-718682339b40" providerId="ADAL" clId="{80D4E734-020D-4C1F-A028-1B9E9B483F9A}" dt="2021-05-24T10:27:15.401" v="1894" actId="478"/>
          <ac:spMkLst>
            <pc:docMk/>
            <pc:sldMk cId="1880839470" sldId="10420"/>
            <ac:spMk id="66" creationId="{FDE740BC-B4AB-4375-AF48-F62A4E8A938D}"/>
          </ac:spMkLst>
        </pc:spChg>
        <pc:spChg chg="add del mod">
          <ac:chgData name="Aude Van de WIELE" userId="7317e673-04dd-415c-a4d7-718682339b40" providerId="ADAL" clId="{80D4E734-020D-4C1F-A028-1B9E9B483F9A}" dt="2021-05-24T10:27:14.366" v="1893"/>
          <ac:spMkLst>
            <pc:docMk/>
            <pc:sldMk cId="1880839470" sldId="10420"/>
            <ac:spMk id="67" creationId="{D583D55B-1CFA-4D70-9542-6AC7A79968ED}"/>
          </ac:spMkLst>
        </pc:spChg>
        <pc:spChg chg="del">
          <ac:chgData name="Aude Van de WIELE" userId="7317e673-04dd-415c-a4d7-718682339b40" providerId="ADAL" clId="{80D4E734-020D-4C1F-A028-1B9E9B483F9A}" dt="2021-05-25T11:04:56.755" v="10627" actId="478"/>
          <ac:spMkLst>
            <pc:docMk/>
            <pc:sldMk cId="1880839470" sldId="10420"/>
            <ac:spMk id="67" creationId="{D59121BA-62EE-4DD0-B872-8DF99444F7AA}"/>
          </ac:spMkLst>
        </pc:spChg>
        <pc:spChg chg="add mod">
          <ac:chgData name="Aude Van de WIELE" userId="7317e673-04dd-415c-a4d7-718682339b40" providerId="ADAL" clId="{80D4E734-020D-4C1F-A028-1B9E9B483F9A}" dt="2021-05-24T10:27:15.646" v="1895"/>
          <ac:spMkLst>
            <pc:docMk/>
            <pc:sldMk cId="1880839470" sldId="10420"/>
            <ac:spMk id="68" creationId="{2A9EDC9E-A4BB-4383-A3B0-88EFE282711B}"/>
          </ac:spMkLst>
        </pc:spChg>
        <pc:spChg chg="add mod">
          <ac:chgData name="Aude Van de WIELE" userId="7317e673-04dd-415c-a4d7-718682339b40" providerId="ADAL" clId="{80D4E734-020D-4C1F-A028-1B9E9B483F9A}" dt="2021-05-25T11:04:50.742" v="10626" actId="1076"/>
          <ac:spMkLst>
            <pc:docMk/>
            <pc:sldMk cId="1880839470" sldId="10420"/>
            <ac:spMk id="68" creationId="{31C670E6-F1C0-4932-930D-13E6ADDAD434}"/>
          </ac:spMkLst>
        </pc:spChg>
        <pc:spChg chg="mod">
          <ac:chgData name="Aude Van de WIELE" userId="7317e673-04dd-415c-a4d7-718682339b40" providerId="ADAL" clId="{80D4E734-020D-4C1F-A028-1B9E9B483F9A}" dt="2021-05-25T08:49:48.523" v="7396" actId="790"/>
          <ac:spMkLst>
            <pc:docMk/>
            <pc:sldMk cId="1880839470" sldId="10420"/>
            <ac:spMk id="69" creationId="{01D1152F-DC04-47F3-B3E6-FE427477534B}"/>
          </ac:spMkLst>
        </pc:spChg>
        <pc:spChg chg="mod">
          <ac:chgData name="Aude Van de WIELE" userId="7317e673-04dd-415c-a4d7-718682339b40" providerId="ADAL" clId="{80D4E734-020D-4C1F-A028-1B9E9B483F9A}" dt="2021-05-25T08:49:48.524" v="7397" actId="790"/>
          <ac:spMkLst>
            <pc:docMk/>
            <pc:sldMk cId="1880839470" sldId="10420"/>
            <ac:spMk id="71" creationId="{1110DCA5-C0ED-4E32-B622-D42F7E75F087}"/>
          </ac:spMkLst>
        </pc:spChg>
        <pc:spChg chg="del">
          <ac:chgData name="Aude Van de WIELE" userId="7317e673-04dd-415c-a4d7-718682339b40" providerId="ADAL" clId="{80D4E734-020D-4C1F-A028-1B9E9B483F9A}" dt="2021-05-25T07:51:43.897" v="6745" actId="478"/>
          <ac:spMkLst>
            <pc:docMk/>
            <pc:sldMk cId="1880839470" sldId="10420"/>
            <ac:spMk id="73" creationId="{C04BD52F-AA2B-4CAE-B639-93262B0CFA81}"/>
          </ac:spMkLst>
        </pc:spChg>
        <pc:spChg chg="mod">
          <ac:chgData name="Aude Van de WIELE" userId="7317e673-04dd-415c-a4d7-718682339b40" providerId="ADAL" clId="{80D4E734-020D-4C1F-A028-1B9E9B483F9A}" dt="2021-05-25T08:49:48.524" v="7398" actId="790"/>
          <ac:spMkLst>
            <pc:docMk/>
            <pc:sldMk cId="1880839470" sldId="10420"/>
            <ac:spMk id="74" creationId="{305F0BE6-DEBA-4EAA-BE46-38FC4E20BD59}"/>
          </ac:spMkLst>
        </pc:spChg>
        <pc:spChg chg="mod">
          <ac:chgData name="Aude Van de WIELE" userId="7317e673-04dd-415c-a4d7-718682339b40" providerId="ADAL" clId="{80D4E734-020D-4C1F-A028-1B9E9B483F9A}" dt="2021-05-25T08:49:48.525" v="7399" actId="790"/>
          <ac:spMkLst>
            <pc:docMk/>
            <pc:sldMk cId="1880839470" sldId="10420"/>
            <ac:spMk id="75" creationId="{7E21AEFA-DDFF-4EFD-9F77-05E47F124F6E}"/>
          </ac:spMkLst>
        </pc:spChg>
        <pc:spChg chg="mod">
          <ac:chgData name="Aude Van de WIELE" userId="7317e673-04dd-415c-a4d7-718682339b40" providerId="ADAL" clId="{80D4E734-020D-4C1F-A028-1B9E9B483F9A}" dt="2021-05-25T08:49:48.506" v="7378" actId="790"/>
          <ac:spMkLst>
            <pc:docMk/>
            <pc:sldMk cId="1880839470" sldId="10420"/>
            <ac:spMk id="77" creationId="{34FF3F00-6BF4-4528-85CB-44C6EF344C99}"/>
          </ac:spMkLst>
        </pc:spChg>
        <pc:spChg chg="mod">
          <ac:chgData name="Aude Van de WIELE" userId="7317e673-04dd-415c-a4d7-718682339b40" providerId="ADAL" clId="{80D4E734-020D-4C1F-A028-1B9E9B483F9A}" dt="2021-05-25T08:49:48.526" v="7400" actId="790"/>
          <ac:spMkLst>
            <pc:docMk/>
            <pc:sldMk cId="1880839470" sldId="10420"/>
            <ac:spMk id="79" creationId="{71D09F23-8FFD-4D9F-8487-394634952140}"/>
          </ac:spMkLst>
        </pc:spChg>
        <pc:spChg chg="mod">
          <ac:chgData name="Aude Van de WIELE" userId="7317e673-04dd-415c-a4d7-718682339b40" providerId="ADAL" clId="{80D4E734-020D-4C1F-A028-1B9E9B483F9A}" dt="2021-05-25T08:49:48.527" v="7401" actId="790"/>
          <ac:spMkLst>
            <pc:docMk/>
            <pc:sldMk cId="1880839470" sldId="10420"/>
            <ac:spMk id="80" creationId="{B74B23A4-2E97-4140-BCE8-AD19AA1BAFA4}"/>
          </ac:spMkLst>
        </pc:spChg>
        <pc:spChg chg="mod">
          <ac:chgData name="Aude Van de WIELE" userId="7317e673-04dd-415c-a4d7-718682339b40" providerId="ADAL" clId="{80D4E734-020D-4C1F-A028-1B9E9B483F9A}" dt="2021-05-25T08:49:48.527" v="7402" actId="790"/>
          <ac:spMkLst>
            <pc:docMk/>
            <pc:sldMk cId="1880839470" sldId="10420"/>
            <ac:spMk id="81" creationId="{D6151953-C018-432F-848B-9479A7B7C504}"/>
          </ac:spMkLst>
        </pc:spChg>
        <pc:spChg chg="mod">
          <ac:chgData name="Aude Van de WIELE" userId="7317e673-04dd-415c-a4d7-718682339b40" providerId="ADAL" clId="{80D4E734-020D-4C1F-A028-1B9E9B483F9A}" dt="2021-05-25T08:49:48.528" v="7403" actId="790"/>
          <ac:spMkLst>
            <pc:docMk/>
            <pc:sldMk cId="1880839470" sldId="10420"/>
            <ac:spMk id="83" creationId="{EB964CC9-6A52-460E-8525-23FCA33D987C}"/>
          </ac:spMkLst>
        </pc:spChg>
        <pc:spChg chg="add mod">
          <ac:chgData name="Aude Van de WIELE" userId="7317e673-04dd-415c-a4d7-718682339b40" providerId="ADAL" clId="{80D4E734-020D-4C1F-A028-1B9E9B483F9A}" dt="2021-05-25T11:04:50.742" v="10626" actId="1076"/>
          <ac:spMkLst>
            <pc:docMk/>
            <pc:sldMk cId="1880839470" sldId="10420"/>
            <ac:spMk id="84" creationId="{4ECD5616-AFDF-414F-8A88-7F94A5251900}"/>
          </ac:spMkLst>
        </pc:spChg>
        <pc:spChg chg="add mod">
          <ac:chgData name="Aude Van de WIELE" userId="7317e673-04dd-415c-a4d7-718682339b40" providerId="ADAL" clId="{80D4E734-020D-4C1F-A028-1B9E9B483F9A}" dt="2021-05-25T11:04:50.742" v="10626" actId="1076"/>
          <ac:spMkLst>
            <pc:docMk/>
            <pc:sldMk cId="1880839470" sldId="10420"/>
            <ac:spMk id="85" creationId="{B82744E7-0816-4214-84A2-D10A9FA55958}"/>
          </ac:spMkLst>
        </pc:spChg>
        <pc:spChg chg="add mod">
          <ac:chgData name="Aude Van de WIELE" userId="7317e673-04dd-415c-a4d7-718682339b40" providerId="ADAL" clId="{80D4E734-020D-4C1F-A028-1B9E9B483F9A}" dt="2021-05-25T11:04:50.742" v="10626" actId="1076"/>
          <ac:spMkLst>
            <pc:docMk/>
            <pc:sldMk cId="1880839470" sldId="10420"/>
            <ac:spMk id="86" creationId="{3D784052-28C0-4EEB-8D75-162017EFEF8A}"/>
          </ac:spMkLst>
        </pc:spChg>
        <pc:spChg chg="mod">
          <ac:chgData name="Aude Van de WIELE" userId="7317e673-04dd-415c-a4d7-718682339b40" providerId="ADAL" clId="{80D4E734-020D-4C1F-A028-1B9E9B483F9A}" dt="2021-05-25T08:49:48.514" v="7389" actId="790"/>
          <ac:spMkLst>
            <pc:docMk/>
            <pc:sldMk cId="1880839470" sldId="10420"/>
            <ac:spMk id="87" creationId="{969B0457-9AFB-478C-83F9-279061671C83}"/>
          </ac:spMkLst>
        </pc:spChg>
        <pc:spChg chg="mod">
          <ac:chgData name="Aude Van de WIELE" userId="7317e673-04dd-415c-a4d7-718682339b40" providerId="ADAL" clId="{80D4E734-020D-4C1F-A028-1B9E9B483F9A}" dt="2021-05-25T08:49:48.516" v="7391" actId="790"/>
          <ac:spMkLst>
            <pc:docMk/>
            <pc:sldMk cId="1880839470" sldId="10420"/>
            <ac:spMk id="102" creationId="{E0A3228D-D7F4-4A30-B4B2-A7E4D2315ACB}"/>
          </ac:spMkLst>
        </pc:spChg>
        <pc:spChg chg="mod">
          <ac:chgData name="Aude Van de WIELE" userId="7317e673-04dd-415c-a4d7-718682339b40" providerId="ADAL" clId="{80D4E734-020D-4C1F-A028-1B9E9B483F9A}" dt="2021-05-25T08:49:48.517" v="7392" actId="790"/>
          <ac:spMkLst>
            <pc:docMk/>
            <pc:sldMk cId="1880839470" sldId="10420"/>
            <ac:spMk id="103" creationId="{60955DD5-4169-4F04-B2BF-2D2A64980A04}"/>
          </ac:spMkLst>
        </pc:spChg>
        <pc:spChg chg="mod">
          <ac:chgData name="Aude Van de WIELE" userId="7317e673-04dd-415c-a4d7-718682339b40" providerId="ADAL" clId="{80D4E734-020D-4C1F-A028-1B9E9B483F9A}" dt="2021-05-25T08:49:48.519" v="7393" actId="790"/>
          <ac:spMkLst>
            <pc:docMk/>
            <pc:sldMk cId="1880839470" sldId="10420"/>
            <ac:spMk id="104" creationId="{4A968F88-0BEE-4D26-A5E9-83CB21CDAC4E}"/>
          </ac:spMkLst>
        </pc:spChg>
        <pc:spChg chg="mod">
          <ac:chgData name="Aude Van de WIELE" userId="7317e673-04dd-415c-a4d7-718682339b40" providerId="ADAL" clId="{80D4E734-020D-4C1F-A028-1B9E9B483F9A}" dt="2021-05-25T08:49:48.520" v="7394" actId="790"/>
          <ac:spMkLst>
            <pc:docMk/>
            <pc:sldMk cId="1880839470" sldId="10420"/>
            <ac:spMk id="105" creationId="{8CE0D118-0AFC-408B-A2A2-0061AEB48222}"/>
          </ac:spMkLst>
        </pc:spChg>
        <pc:spChg chg="mod">
          <ac:chgData name="Aude Van de WIELE" userId="7317e673-04dd-415c-a4d7-718682339b40" providerId="ADAL" clId="{80D4E734-020D-4C1F-A028-1B9E9B483F9A}" dt="2021-05-25T08:49:48.521" v="7395" actId="790"/>
          <ac:spMkLst>
            <pc:docMk/>
            <pc:sldMk cId="1880839470" sldId="10420"/>
            <ac:spMk id="120" creationId="{C57198B3-D8BE-4D70-B9B4-2277FF73857B}"/>
          </ac:spMkLst>
        </pc:spChg>
        <pc:picChg chg="add mod">
          <ac:chgData name="Aude Van de WIELE" userId="7317e673-04dd-415c-a4d7-718682339b40" providerId="ADAL" clId="{80D4E734-020D-4C1F-A028-1B9E9B483F9A}" dt="2021-05-24T11:29:21.669" v="2271" actId="1076"/>
          <ac:picMkLst>
            <pc:docMk/>
            <pc:sldMk cId="1880839470" sldId="10420"/>
            <ac:picMk id="70" creationId="{17CE572B-6001-4C14-A3A7-E6908DCE20D9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08:49:48.710" v="7560" actId="790"/>
        <pc:sldMkLst>
          <pc:docMk/>
          <pc:sldMk cId="3436081094" sldId="10430"/>
        </pc:sldMkLst>
        <pc:spChg chg="mod">
          <ac:chgData name="Aude Van de WIELE" userId="7317e673-04dd-415c-a4d7-718682339b40" providerId="ADAL" clId="{80D4E734-020D-4C1F-A028-1B9E9B483F9A}" dt="2021-05-25T08:49:48.672" v="7538" actId="790"/>
          <ac:spMkLst>
            <pc:docMk/>
            <pc:sldMk cId="3436081094" sldId="10430"/>
            <ac:spMk id="2" creationId="{076A8F7F-F895-46CF-AE68-CFD9FFD3C71A}"/>
          </ac:spMkLst>
        </pc:spChg>
        <pc:spChg chg="mod">
          <ac:chgData name="Aude Van de WIELE" userId="7317e673-04dd-415c-a4d7-718682339b40" providerId="ADAL" clId="{80D4E734-020D-4C1F-A028-1B9E9B483F9A}" dt="2021-05-25T08:49:48.691" v="7548" actId="790"/>
          <ac:spMkLst>
            <pc:docMk/>
            <pc:sldMk cId="3436081094" sldId="10430"/>
            <ac:spMk id="3" creationId="{99D55450-9CBF-4572-8BF1-B9F5C66D1D7B}"/>
          </ac:spMkLst>
        </pc:spChg>
        <pc:spChg chg="mod">
          <ac:chgData name="Aude Van de WIELE" userId="7317e673-04dd-415c-a4d7-718682339b40" providerId="ADAL" clId="{80D4E734-020D-4C1F-A028-1B9E9B483F9A}" dt="2021-05-25T08:49:48.673" v="7539" actId="790"/>
          <ac:spMkLst>
            <pc:docMk/>
            <pc:sldMk cId="3436081094" sldId="10430"/>
            <ac:spMk id="5" creationId="{14879C95-E469-44D8-A9AD-02681D654566}"/>
          </ac:spMkLst>
        </pc:spChg>
        <pc:spChg chg="mod">
          <ac:chgData name="Aude Van de WIELE" userId="7317e673-04dd-415c-a4d7-718682339b40" providerId="ADAL" clId="{80D4E734-020D-4C1F-A028-1B9E9B483F9A}" dt="2021-05-25T08:49:48.674" v="7540" actId="790"/>
          <ac:spMkLst>
            <pc:docMk/>
            <pc:sldMk cId="3436081094" sldId="10430"/>
            <ac:spMk id="6" creationId="{668934EF-3B2B-41C8-A852-24F884CDB87E}"/>
          </ac:spMkLst>
        </pc:spChg>
        <pc:spChg chg="mod">
          <ac:chgData name="Aude Van de WIELE" userId="7317e673-04dd-415c-a4d7-718682339b40" providerId="ADAL" clId="{80D4E734-020D-4C1F-A028-1B9E9B483F9A}" dt="2021-05-25T08:49:48.675" v="7541" actId="790"/>
          <ac:spMkLst>
            <pc:docMk/>
            <pc:sldMk cId="3436081094" sldId="10430"/>
            <ac:spMk id="7" creationId="{6A3CD12F-6027-43F5-950A-553D45044CF9}"/>
          </ac:spMkLst>
        </pc:spChg>
        <pc:spChg chg="mod">
          <ac:chgData name="Aude Van de WIELE" userId="7317e673-04dd-415c-a4d7-718682339b40" providerId="ADAL" clId="{80D4E734-020D-4C1F-A028-1B9E9B483F9A}" dt="2021-05-25T08:49:48.676" v="7542" actId="790"/>
          <ac:spMkLst>
            <pc:docMk/>
            <pc:sldMk cId="3436081094" sldId="10430"/>
            <ac:spMk id="12" creationId="{6E04BA92-898B-4C5B-BC90-D7370A80E238}"/>
          </ac:spMkLst>
        </pc:spChg>
        <pc:spChg chg="del">
          <ac:chgData name="Aude Van de WIELE" userId="7317e673-04dd-415c-a4d7-718682339b40" providerId="ADAL" clId="{80D4E734-020D-4C1F-A028-1B9E9B483F9A}" dt="2021-05-24T14:42:54.364" v="5262" actId="478"/>
          <ac:spMkLst>
            <pc:docMk/>
            <pc:sldMk cId="3436081094" sldId="10430"/>
            <ac:spMk id="13" creationId="{C8EA018C-656F-4BDB-B2B9-2FFD5332FC18}"/>
          </ac:spMkLst>
        </pc:spChg>
        <pc:spChg chg="del">
          <ac:chgData name="Aude Van de WIELE" userId="7317e673-04dd-415c-a4d7-718682339b40" providerId="ADAL" clId="{80D4E734-020D-4C1F-A028-1B9E9B483F9A}" dt="2021-05-24T14:42:54.364" v="5262" actId="478"/>
          <ac:spMkLst>
            <pc:docMk/>
            <pc:sldMk cId="3436081094" sldId="10430"/>
            <ac:spMk id="22" creationId="{EBF0E669-8D33-4070-9105-67259B66237A}"/>
          </ac:spMkLst>
        </pc:spChg>
        <pc:spChg chg="mod">
          <ac:chgData name="Aude Van de WIELE" userId="7317e673-04dd-415c-a4d7-718682339b40" providerId="ADAL" clId="{80D4E734-020D-4C1F-A028-1B9E9B483F9A}" dt="2021-05-25T08:49:48.677" v="7543" actId="790"/>
          <ac:spMkLst>
            <pc:docMk/>
            <pc:sldMk cId="3436081094" sldId="10430"/>
            <ac:spMk id="23" creationId="{9D6B7B07-4A05-4C23-B8C2-BF6B61723B12}"/>
          </ac:spMkLst>
        </pc:spChg>
        <pc:spChg chg="mod">
          <ac:chgData name="Aude Van de WIELE" userId="7317e673-04dd-415c-a4d7-718682339b40" providerId="ADAL" clId="{80D4E734-020D-4C1F-A028-1B9E9B483F9A}" dt="2021-05-25T08:49:48.677" v="7544" actId="790"/>
          <ac:spMkLst>
            <pc:docMk/>
            <pc:sldMk cId="3436081094" sldId="10430"/>
            <ac:spMk id="24" creationId="{92BE8562-398F-47AA-9DFF-98ED6254380E}"/>
          </ac:spMkLst>
        </pc:spChg>
        <pc:spChg chg="mod">
          <ac:chgData name="Aude Van de WIELE" userId="7317e673-04dd-415c-a4d7-718682339b40" providerId="ADAL" clId="{80D4E734-020D-4C1F-A028-1B9E9B483F9A}" dt="2021-05-25T08:49:48.678" v="7545" actId="790"/>
          <ac:spMkLst>
            <pc:docMk/>
            <pc:sldMk cId="3436081094" sldId="10430"/>
            <ac:spMk id="28" creationId="{B3C1858A-F04B-4556-8114-AD5557508D65}"/>
          </ac:spMkLst>
        </pc:spChg>
        <pc:spChg chg="mod">
          <ac:chgData name="Aude Van de WIELE" userId="7317e673-04dd-415c-a4d7-718682339b40" providerId="ADAL" clId="{80D4E734-020D-4C1F-A028-1B9E9B483F9A}" dt="2021-05-25T08:49:48.656" v="7525" actId="790"/>
          <ac:spMkLst>
            <pc:docMk/>
            <pc:sldMk cId="3436081094" sldId="10430"/>
            <ac:spMk id="32" creationId="{D2B59A52-D9C2-4E24-B600-1E848B32C8F5}"/>
          </ac:spMkLst>
        </pc:spChg>
        <pc:spChg chg="mod">
          <ac:chgData name="Aude Van de WIELE" userId="7317e673-04dd-415c-a4d7-718682339b40" providerId="ADAL" clId="{80D4E734-020D-4C1F-A028-1B9E9B483F9A}" dt="2021-05-25T08:49:48.656" v="7526" actId="790"/>
          <ac:spMkLst>
            <pc:docMk/>
            <pc:sldMk cId="3436081094" sldId="10430"/>
            <ac:spMk id="33" creationId="{1C409526-FEBB-4615-AD48-EE2919594103}"/>
          </ac:spMkLst>
        </pc:spChg>
        <pc:spChg chg="mod">
          <ac:chgData name="Aude Van de WIELE" userId="7317e673-04dd-415c-a4d7-718682339b40" providerId="ADAL" clId="{80D4E734-020D-4C1F-A028-1B9E9B483F9A}" dt="2021-05-25T08:49:48.657" v="7527" actId="790"/>
          <ac:spMkLst>
            <pc:docMk/>
            <pc:sldMk cId="3436081094" sldId="10430"/>
            <ac:spMk id="34" creationId="{CE2902A1-02DE-4841-A5FF-EC6817C779C2}"/>
          </ac:spMkLst>
        </pc:spChg>
        <pc:spChg chg="mod">
          <ac:chgData name="Aude Van de WIELE" userId="7317e673-04dd-415c-a4d7-718682339b40" providerId="ADAL" clId="{80D4E734-020D-4C1F-A028-1B9E9B483F9A}" dt="2021-05-25T08:49:48.658" v="7528" actId="790"/>
          <ac:spMkLst>
            <pc:docMk/>
            <pc:sldMk cId="3436081094" sldId="10430"/>
            <ac:spMk id="35" creationId="{C69C2033-6801-4C94-9428-2C2E3E7C61BC}"/>
          </ac:spMkLst>
        </pc:spChg>
        <pc:spChg chg="mod">
          <ac:chgData name="Aude Van de WIELE" userId="7317e673-04dd-415c-a4d7-718682339b40" providerId="ADAL" clId="{80D4E734-020D-4C1F-A028-1B9E9B483F9A}" dt="2021-05-25T08:49:48.659" v="7529" actId="790"/>
          <ac:spMkLst>
            <pc:docMk/>
            <pc:sldMk cId="3436081094" sldId="10430"/>
            <ac:spMk id="36" creationId="{F13CE92D-4D69-4443-A30B-E51A006B440F}"/>
          </ac:spMkLst>
        </pc:spChg>
        <pc:spChg chg="mod">
          <ac:chgData name="Aude Van de WIELE" userId="7317e673-04dd-415c-a4d7-718682339b40" providerId="ADAL" clId="{80D4E734-020D-4C1F-A028-1B9E9B483F9A}" dt="2021-05-25T08:49:48.660" v="7530" actId="790"/>
          <ac:spMkLst>
            <pc:docMk/>
            <pc:sldMk cId="3436081094" sldId="10430"/>
            <ac:spMk id="37" creationId="{12A3E4D8-FE24-4296-A901-6835576F358F}"/>
          </ac:spMkLst>
        </pc:spChg>
        <pc:spChg chg="mod">
          <ac:chgData name="Aude Van de WIELE" userId="7317e673-04dd-415c-a4d7-718682339b40" providerId="ADAL" clId="{80D4E734-020D-4C1F-A028-1B9E9B483F9A}" dt="2021-05-25T08:49:48.661" v="7531" actId="790"/>
          <ac:spMkLst>
            <pc:docMk/>
            <pc:sldMk cId="3436081094" sldId="10430"/>
            <ac:spMk id="38" creationId="{FA551D75-70A3-4189-B8FD-D16A5A806F6C}"/>
          </ac:spMkLst>
        </pc:spChg>
        <pc:spChg chg="mod">
          <ac:chgData name="Aude Van de WIELE" userId="7317e673-04dd-415c-a4d7-718682339b40" providerId="ADAL" clId="{80D4E734-020D-4C1F-A028-1B9E9B483F9A}" dt="2021-05-25T08:49:48.662" v="7532" actId="790"/>
          <ac:spMkLst>
            <pc:docMk/>
            <pc:sldMk cId="3436081094" sldId="10430"/>
            <ac:spMk id="39" creationId="{4E0AD551-D0E4-4018-8925-446955E03DBD}"/>
          </ac:spMkLst>
        </pc:spChg>
        <pc:spChg chg="mod">
          <ac:chgData name="Aude Van de WIELE" userId="7317e673-04dd-415c-a4d7-718682339b40" providerId="ADAL" clId="{80D4E734-020D-4C1F-A028-1B9E9B483F9A}" dt="2021-05-25T08:49:48.662" v="7533" actId="790"/>
          <ac:spMkLst>
            <pc:docMk/>
            <pc:sldMk cId="3436081094" sldId="10430"/>
            <ac:spMk id="40" creationId="{D4585E7A-1C58-48F0-8CCC-695615F47DDC}"/>
          </ac:spMkLst>
        </pc:spChg>
        <pc:spChg chg="mod">
          <ac:chgData name="Aude Van de WIELE" userId="7317e673-04dd-415c-a4d7-718682339b40" providerId="ADAL" clId="{80D4E734-020D-4C1F-A028-1B9E9B483F9A}" dt="2021-05-25T08:49:48.663" v="7534" actId="790"/>
          <ac:spMkLst>
            <pc:docMk/>
            <pc:sldMk cId="3436081094" sldId="10430"/>
            <ac:spMk id="41" creationId="{1DF4E5BB-492B-465C-8444-C36507B49283}"/>
          </ac:spMkLst>
        </pc:spChg>
        <pc:spChg chg="mod">
          <ac:chgData name="Aude Van de WIELE" userId="7317e673-04dd-415c-a4d7-718682339b40" providerId="ADAL" clId="{80D4E734-020D-4C1F-A028-1B9E9B483F9A}" dt="2021-05-25T08:49:48.664" v="7535" actId="790"/>
          <ac:spMkLst>
            <pc:docMk/>
            <pc:sldMk cId="3436081094" sldId="10430"/>
            <ac:spMk id="42" creationId="{9C8D8134-054F-4F04-A0C0-2524CCD41437}"/>
          </ac:spMkLst>
        </pc:spChg>
        <pc:spChg chg="mod">
          <ac:chgData name="Aude Van de WIELE" userId="7317e673-04dd-415c-a4d7-718682339b40" providerId="ADAL" clId="{80D4E734-020D-4C1F-A028-1B9E9B483F9A}" dt="2021-05-25T08:49:48.665" v="7536" actId="790"/>
          <ac:spMkLst>
            <pc:docMk/>
            <pc:sldMk cId="3436081094" sldId="10430"/>
            <ac:spMk id="43" creationId="{6A651D37-072C-499F-BDC9-221E2F280D91}"/>
          </ac:spMkLst>
        </pc:spChg>
        <pc:spChg chg="mod">
          <ac:chgData name="Aude Van de WIELE" userId="7317e673-04dd-415c-a4d7-718682339b40" providerId="ADAL" clId="{80D4E734-020D-4C1F-A028-1B9E9B483F9A}" dt="2021-05-25T08:49:48.671" v="7537" actId="790"/>
          <ac:spMkLst>
            <pc:docMk/>
            <pc:sldMk cId="3436081094" sldId="10430"/>
            <ac:spMk id="65" creationId="{FA6B510C-60D3-4CD8-A4E3-3EBD62B303AE}"/>
          </ac:spMkLst>
        </pc:spChg>
        <pc:spChg chg="mod">
          <ac:chgData name="Aude Van de WIELE" userId="7317e673-04dd-415c-a4d7-718682339b40" providerId="ADAL" clId="{80D4E734-020D-4C1F-A028-1B9E9B483F9A}" dt="2021-05-25T08:49:48.679" v="7546" actId="790"/>
          <ac:spMkLst>
            <pc:docMk/>
            <pc:sldMk cId="3436081094" sldId="10430"/>
            <ac:spMk id="67" creationId="{E5E66E1D-661C-4AEE-ACAF-A6E612D011ED}"/>
          </ac:spMkLst>
        </pc:spChg>
        <pc:spChg chg="mod">
          <ac:chgData name="Aude Van de WIELE" userId="7317e673-04dd-415c-a4d7-718682339b40" providerId="ADAL" clId="{80D4E734-020D-4C1F-A028-1B9E9B483F9A}" dt="2021-05-25T08:49:48.680" v="7547" actId="790"/>
          <ac:spMkLst>
            <pc:docMk/>
            <pc:sldMk cId="3436081094" sldId="10430"/>
            <ac:spMk id="68" creationId="{D2F63D90-54E3-4593-AE50-12673AAD1AC5}"/>
          </ac:spMkLst>
        </pc:spChg>
        <pc:spChg chg="mod">
          <ac:chgData name="Aude Van de WIELE" userId="7317e673-04dd-415c-a4d7-718682339b40" providerId="ADAL" clId="{80D4E734-020D-4C1F-A028-1B9E9B483F9A}" dt="2021-05-25T08:49:48.692" v="7549" actId="790"/>
          <ac:spMkLst>
            <pc:docMk/>
            <pc:sldMk cId="3436081094" sldId="10430"/>
            <ac:spMk id="73" creationId="{BC60175A-9B83-4F54-8FC1-AB31B35E1F8F}"/>
          </ac:spMkLst>
        </pc:spChg>
        <pc:spChg chg="add mod">
          <ac:chgData name="Aude Van de WIELE" userId="7317e673-04dd-415c-a4d7-718682339b40" providerId="ADAL" clId="{80D4E734-020D-4C1F-A028-1B9E9B483F9A}" dt="2021-05-25T08:49:48.710" v="7560" actId="790"/>
          <ac:spMkLst>
            <pc:docMk/>
            <pc:sldMk cId="3436081094" sldId="10430"/>
            <ac:spMk id="77" creationId="{5527824B-76F4-45D6-8FE2-1C69A0F12F7E}"/>
          </ac:spMkLst>
        </pc:spChg>
        <pc:spChg chg="mod">
          <ac:chgData name="Aude Van de WIELE" userId="7317e673-04dd-415c-a4d7-718682339b40" providerId="ADAL" clId="{80D4E734-020D-4C1F-A028-1B9E9B483F9A}" dt="2021-05-25T08:49:48.701" v="7550" actId="790"/>
          <ac:spMkLst>
            <pc:docMk/>
            <pc:sldMk cId="3436081094" sldId="10430"/>
            <ac:spMk id="80" creationId="{D1A3758C-C7AE-4A43-B86B-B40616756D1F}"/>
          </ac:spMkLst>
        </pc:spChg>
        <pc:spChg chg="mod">
          <ac:chgData name="Aude Van de WIELE" userId="7317e673-04dd-415c-a4d7-718682339b40" providerId="ADAL" clId="{80D4E734-020D-4C1F-A028-1B9E9B483F9A}" dt="2021-05-24T10:27:49.592" v="1911" actId="1035"/>
          <ac:spMkLst>
            <pc:docMk/>
            <pc:sldMk cId="3436081094" sldId="10430"/>
            <ac:spMk id="84" creationId="{48C78E64-7325-4F8D-81FB-F20A3B3C52DE}"/>
          </ac:spMkLst>
        </pc:spChg>
        <pc:spChg chg="del">
          <ac:chgData name="Aude Van de WIELE" userId="7317e673-04dd-415c-a4d7-718682339b40" providerId="ADAL" clId="{80D4E734-020D-4C1F-A028-1B9E9B483F9A}" dt="2021-05-24T16:12:23.059" v="6208" actId="478"/>
          <ac:spMkLst>
            <pc:docMk/>
            <pc:sldMk cId="3436081094" sldId="10430"/>
            <ac:spMk id="85" creationId="{901F42A7-BDFF-4D41-AF9F-7FE4D47B1848}"/>
          </ac:spMkLst>
        </pc:spChg>
        <pc:spChg chg="mod">
          <ac:chgData name="Aude Van de WIELE" userId="7317e673-04dd-415c-a4d7-718682339b40" providerId="ADAL" clId="{80D4E734-020D-4C1F-A028-1B9E9B483F9A}" dt="2021-05-25T08:49:48.703" v="7551" actId="790"/>
          <ac:spMkLst>
            <pc:docMk/>
            <pc:sldMk cId="3436081094" sldId="10430"/>
            <ac:spMk id="86" creationId="{E7961BDE-6076-4E21-960D-1961F2C205C8}"/>
          </ac:spMkLst>
        </pc:spChg>
        <pc:spChg chg="mod">
          <ac:chgData name="Aude Van de WIELE" userId="7317e673-04dd-415c-a4d7-718682339b40" providerId="ADAL" clId="{80D4E734-020D-4C1F-A028-1B9E9B483F9A}" dt="2021-05-25T08:49:48.704" v="7552" actId="790"/>
          <ac:spMkLst>
            <pc:docMk/>
            <pc:sldMk cId="3436081094" sldId="10430"/>
            <ac:spMk id="87" creationId="{FF25DA73-14ED-477C-9B99-1D5DA2FA800B}"/>
          </ac:spMkLst>
        </pc:spChg>
        <pc:spChg chg="mod">
          <ac:chgData name="Aude Van de WIELE" userId="7317e673-04dd-415c-a4d7-718682339b40" providerId="ADAL" clId="{80D4E734-020D-4C1F-A028-1B9E9B483F9A}" dt="2021-05-25T08:49:48.704" v="7553" actId="790"/>
          <ac:spMkLst>
            <pc:docMk/>
            <pc:sldMk cId="3436081094" sldId="10430"/>
            <ac:spMk id="88" creationId="{DBE3F4AA-FA46-4787-9255-35C92E486ECE}"/>
          </ac:spMkLst>
        </pc:spChg>
        <pc:spChg chg="mod">
          <ac:chgData name="Aude Van de WIELE" userId="7317e673-04dd-415c-a4d7-718682339b40" providerId="ADAL" clId="{80D4E734-020D-4C1F-A028-1B9E9B483F9A}" dt="2021-05-25T08:49:48.705" v="7554" actId="790"/>
          <ac:spMkLst>
            <pc:docMk/>
            <pc:sldMk cId="3436081094" sldId="10430"/>
            <ac:spMk id="89" creationId="{4C8D3EF4-7154-4318-9DE1-AADE3D0EB9BA}"/>
          </ac:spMkLst>
        </pc:spChg>
        <pc:spChg chg="mod">
          <ac:chgData name="Aude Van de WIELE" userId="7317e673-04dd-415c-a4d7-718682339b40" providerId="ADAL" clId="{80D4E734-020D-4C1F-A028-1B9E9B483F9A}" dt="2021-05-25T08:49:48.706" v="7555" actId="790"/>
          <ac:spMkLst>
            <pc:docMk/>
            <pc:sldMk cId="3436081094" sldId="10430"/>
            <ac:spMk id="90" creationId="{D2F0B971-BE9E-45CC-A144-B0139CDB4A50}"/>
          </ac:spMkLst>
        </pc:spChg>
        <pc:spChg chg="mod">
          <ac:chgData name="Aude Van de WIELE" userId="7317e673-04dd-415c-a4d7-718682339b40" providerId="ADAL" clId="{80D4E734-020D-4C1F-A028-1B9E9B483F9A}" dt="2021-05-25T08:49:48.707" v="7556" actId="790"/>
          <ac:spMkLst>
            <pc:docMk/>
            <pc:sldMk cId="3436081094" sldId="10430"/>
            <ac:spMk id="91" creationId="{E64B60F5-8B2D-40AA-86F9-59B1E1D0FECF}"/>
          </ac:spMkLst>
        </pc:spChg>
        <pc:spChg chg="mod">
          <ac:chgData name="Aude Van de WIELE" userId="7317e673-04dd-415c-a4d7-718682339b40" providerId="ADAL" clId="{80D4E734-020D-4C1F-A028-1B9E9B483F9A}" dt="2021-05-25T08:49:48.707" v="7557" actId="790"/>
          <ac:spMkLst>
            <pc:docMk/>
            <pc:sldMk cId="3436081094" sldId="10430"/>
            <ac:spMk id="92" creationId="{4764BC01-78A1-416F-96B7-4FB959471A8B}"/>
          </ac:spMkLst>
        </pc:spChg>
        <pc:spChg chg="add mod">
          <ac:chgData name="Aude Van de WIELE" userId="7317e673-04dd-415c-a4d7-718682339b40" providerId="ADAL" clId="{80D4E734-020D-4C1F-A028-1B9E9B483F9A}" dt="2021-05-25T08:49:48.708" v="7558" actId="790"/>
          <ac:spMkLst>
            <pc:docMk/>
            <pc:sldMk cId="3436081094" sldId="10430"/>
            <ac:spMk id="93" creationId="{F8A1DEBA-0A47-4AF0-8016-2E7AACF911FA}"/>
          </ac:spMkLst>
        </pc:spChg>
        <pc:spChg chg="add mod">
          <ac:chgData name="Aude Van de WIELE" userId="7317e673-04dd-415c-a4d7-718682339b40" providerId="ADAL" clId="{80D4E734-020D-4C1F-A028-1B9E9B483F9A}" dt="2021-05-25T08:49:48.709" v="7559" actId="790"/>
          <ac:spMkLst>
            <pc:docMk/>
            <pc:sldMk cId="3436081094" sldId="10430"/>
            <ac:spMk id="98" creationId="{E179A47A-9B95-4CAE-B926-4582178F5874}"/>
          </ac:spMkLst>
        </pc:spChg>
        <pc:picChg chg="del">
          <ac:chgData name="Aude Van de WIELE" userId="7317e673-04dd-415c-a4d7-718682339b40" providerId="ADAL" clId="{80D4E734-020D-4C1F-A028-1B9E9B483F9A}" dt="2021-05-24T14:42:54.364" v="5262" actId="478"/>
          <ac:picMkLst>
            <pc:docMk/>
            <pc:sldMk cId="3436081094" sldId="10430"/>
            <ac:picMk id="18" creationId="{695022ED-8312-4428-924E-30C92EF17E11}"/>
          </ac:picMkLst>
        </pc:picChg>
        <pc:picChg chg="del">
          <ac:chgData name="Aude Van de WIELE" userId="7317e673-04dd-415c-a4d7-718682339b40" providerId="ADAL" clId="{80D4E734-020D-4C1F-A028-1B9E9B483F9A}" dt="2021-05-24T14:42:54.364" v="5262" actId="478"/>
          <ac:picMkLst>
            <pc:docMk/>
            <pc:sldMk cId="3436081094" sldId="10430"/>
            <ac:picMk id="19" creationId="{E4E6D581-FD96-4BD2-9AFC-9C8F0EC4913E}"/>
          </ac:picMkLst>
        </pc:picChg>
        <pc:picChg chg="del">
          <ac:chgData name="Aude Van de WIELE" userId="7317e673-04dd-415c-a4d7-718682339b40" providerId="ADAL" clId="{80D4E734-020D-4C1F-A028-1B9E9B483F9A}" dt="2021-05-24T14:42:54.364" v="5262" actId="478"/>
          <ac:picMkLst>
            <pc:docMk/>
            <pc:sldMk cId="3436081094" sldId="10430"/>
            <ac:picMk id="20" creationId="{4782C74A-C3C7-486A-8F68-5B39266E6C25}"/>
          </ac:picMkLst>
        </pc:picChg>
        <pc:picChg chg="del">
          <ac:chgData name="Aude Van de WIELE" userId="7317e673-04dd-415c-a4d7-718682339b40" providerId="ADAL" clId="{80D4E734-020D-4C1F-A028-1B9E9B483F9A}" dt="2021-05-24T14:42:54.364" v="5262" actId="478"/>
          <ac:picMkLst>
            <pc:docMk/>
            <pc:sldMk cId="3436081094" sldId="10430"/>
            <ac:picMk id="21" creationId="{AFD44D1A-D74C-4533-849D-2F39AFC237D5}"/>
          </ac:picMkLst>
        </pc:picChg>
        <pc:picChg chg="del">
          <ac:chgData name="Aude Van de WIELE" userId="7317e673-04dd-415c-a4d7-718682339b40" providerId="ADAL" clId="{80D4E734-020D-4C1F-A028-1B9E9B483F9A}" dt="2021-05-24T14:42:54.364" v="5262" actId="478"/>
          <ac:picMkLst>
            <pc:docMk/>
            <pc:sldMk cId="3436081094" sldId="10430"/>
            <ac:picMk id="29" creationId="{E6290D64-2EC4-472E-A33E-28F9AC8CDEAF}"/>
          </ac:picMkLst>
        </pc:picChg>
        <pc:picChg chg="del">
          <ac:chgData name="Aude Van de WIELE" userId="7317e673-04dd-415c-a4d7-718682339b40" providerId="ADAL" clId="{80D4E734-020D-4C1F-A028-1B9E9B483F9A}" dt="2021-05-24T14:42:54.364" v="5262" actId="478"/>
          <ac:picMkLst>
            <pc:docMk/>
            <pc:sldMk cId="3436081094" sldId="10430"/>
            <ac:picMk id="30" creationId="{A4F4B78C-2F8D-4D8A-910C-FF181A892FC5}"/>
          </ac:picMkLst>
        </pc:picChg>
        <pc:picChg chg="add mod">
          <ac:chgData name="Aude Van de WIELE" userId="7317e673-04dd-415c-a4d7-718682339b40" providerId="ADAL" clId="{80D4E734-020D-4C1F-A028-1B9E9B483F9A}" dt="2021-05-24T14:42:54.698" v="5263"/>
          <ac:picMkLst>
            <pc:docMk/>
            <pc:sldMk cId="3436081094" sldId="10430"/>
            <ac:picMk id="94" creationId="{975426AD-AF59-4A9A-88FF-86BDD97C925F}"/>
          </ac:picMkLst>
        </pc:picChg>
        <pc:picChg chg="add mod">
          <ac:chgData name="Aude Van de WIELE" userId="7317e673-04dd-415c-a4d7-718682339b40" providerId="ADAL" clId="{80D4E734-020D-4C1F-A028-1B9E9B483F9A}" dt="2021-05-24T14:42:54.698" v="5263"/>
          <ac:picMkLst>
            <pc:docMk/>
            <pc:sldMk cId="3436081094" sldId="10430"/>
            <ac:picMk id="95" creationId="{31436DD5-C914-48D3-ABC4-C780E272A955}"/>
          </ac:picMkLst>
        </pc:picChg>
        <pc:picChg chg="add mod">
          <ac:chgData name="Aude Van de WIELE" userId="7317e673-04dd-415c-a4d7-718682339b40" providerId="ADAL" clId="{80D4E734-020D-4C1F-A028-1B9E9B483F9A}" dt="2021-05-24T14:42:54.698" v="5263"/>
          <ac:picMkLst>
            <pc:docMk/>
            <pc:sldMk cId="3436081094" sldId="10430"/>
            <ac:picMk id="96" creationId="{9B57537F-C5F9-4E5E-BD5B-F432D902A950}"/>
          </ac:picMkLst>
        </pc:picChg>
        <pc:picChg chg="add mod">
          <ac:chgData name="Aude Van de WIELE" userId="7317e673-04dd-415c-a4d7-718682339b40" providerId="ADAL" clId="{80D4E734-020D-4C1F-A028-1B9E9B483F9A}" dt="2021-05-24T14:42:54.698" v="5263"/>
          <ac:picMkLst>
            <pc:docMk/>
            <pc:sldMk cId="3436081094" sldId="10430"/>
            <ac:picMk id="97" creationId="{CFEC6FF8-8EF5-4462-B7C6-584887ACC3F4}"/>
          </ac:picMkLst>
        </pc:picChg>
        <pc:picChg chg="add mod">
          <ac:chgData name="Aude Van de WIELE" userId="7317e673-04dd-415c-a4d7-718682339b40" providerId="ADAL" clId="{80D4E734-020D-4C1F-A028-1B9E9B483F9A}" dt="2021-05-24T14:42:54.698" v="5263"/>
          <ac:picMkLst>
            <pc:docMk/>
            <pc:sldMk cId="3436081094" sldId="10430"/>
            <ac:picMk id="99" creationId="{28E2797F-1FD1-4145-9FC5-A6DCD1D96DDE}"/>
          </ac:picMkLst>
        </pc:picChg>
        <pc:picChg chg="add mod">
          <ac:chgData name="Aude Van de WIELE" userId="7317e673-04dd-415c-a4d7-718682339b40" providerId="ADAL" clId="{80D4E734-020D-4C1F-A028-1B9E9B483F9A}" dt="2021-05-24T14:42:54.698" v="5263"/>
          <ac:picMkLst>
            <pc:docMk/>
            <pc:sldMk cId="3436081094" sldId="10430"/>
            <ac:picMk id="100" creationId="{2591313F-5E43-489D-91B7-CAEB224CADE9}"/>
          </ac:picMkLst>
        </pc:pic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1700559501" sldId="10431"/>
        </pc:sldMkLst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2399574436" sldId="10432"/>
        </pc:sldMkLst>
      </pc:sldChg>
      <pc:sldChg chg="addSp delSp modSp mod">
        <pc:chgData name="Aude Van de WIELE" userId="7317e673-04dd-415c-a4d7-718682339b40" providerId="ADAL" clId="{80D4E734-020D-4C1F-A028-1B9E9B483F9A}" dt="2021-05-25T07:52:24.731" v="6794" actId="20577"/>
        <pc:sldMkLst>
          <pc:docMk/>
          <pc:sldMk cId="1782056456" sldId="10434"/>
        </pc:sldMkLst>
        <pc:spChg chg="mod">
          <ac:chgData name="Aude Van de WIELE" userId="7317e673-04dd-415c-a4d7-718682339b40" providerId="ADAL" clId="{80D4E734-020D-4C1F-A028-1B9E9B483F9A}" dt="2021-05-24T10:10:29.791" v="1517" actId="948"/>
          <ac:spMkLst>
            <pc:docMk/>
            <pc:sldMk cId="1782056456" sldId="10434"/>
            <ac:spMk id="33" creationId="{BC847A98-E385-4268-A8B8-68418B0916EB}"/>
          </ac:spMkLst>
        </pc:spChg>
        <pc:spChg chg="mod">
          <ac:chgData name="Aude Van de WIELE" userId="7317e673-04dd-415c-a4d7-718682339b40" providerId="ADAL" clId="{80D4E734-020D-4C1F-A028-1B9E9B483F9A}" dt="2021-05-24T10:10:29.791" v="1517" actId="948"/>
          <ac:spMkLst>
            <pc:docMk/>
            <pc:sldMk cId="1782056456" sldId="10434"/>
            <ac:spMk id="35" creationId="{81BD3286-79C1-4AD5-827B-F5E96A7F940D}"/>
          </ac:spMkLst>
        </pc:spChg>
        <pc:spChg chg="del">
          <ac:chgData name="Aude Van de WIELE" userId="7317e673-04dd-415c-a4d7-718682339b40" providerId="ADAL" clId="{80D4E734-020D-4C1F-A028-1B9E9B483F9A}" dt="2021-05-24T10:27:21.352" v="1898" actId="478"/>
          <ac:spMkLst>
            <pc:docMk/>
            <pc:sldMk cId="1782056456" sldId="10434"/>
            <ac:spMk id="57" creationId="{B5865E10-A30F-42AB-A8D1-1F8D34D7FFC0}"/>
          </ac:spMkLst>
        </pc:spChg>
        <pc:spChg chg="add mod">
          <ac:chgData name="Aude Van de WIELE" userId="7317e673-04dd-415c-a4d7-718682339b40" providerId="ADAL" clId="{80D4E734-020D-4C1F-A028-1B9E9B483F9A}" dt="2021-05-24T10:05:55.574" v="1508"/>
          <ac:spMkLst>
            <pc:docMk/>
            <pc:sldMk cId="1782056456" sldId="10434"/>
            <ac:spMk id="59" creationId="{828B114B-0950-4E6B-92A3-84AFD3F3C3BF}"/>
          </ac:spMkLst>
        </pc:spChg>
        <pc:spChg chg="add mod">
          <ac:chgData name="Aude Van de WIELE" userId="7317e673-04dd-415c-a4d7-718682339b40" providerId="ADAL" clId="{80D4E734-020D-4C1F-A028-1B9E9B483F9A}" dt="2021-05-24T10:27:21.567" v="1899"/>
          <ac:spMkLst>
            <pc:docMk/>
            <pc:sldMk cId="1782056456" sldId="10434"/>
            <ac:spMk id="61" creationId="{A8693A9A-910B-4E14-AA60-3179AF2BEF5E}"/>
          </ac:spMkLst>
        </pc:spChg>
        <pc:spChg chg="add mod">
          <ac:chgData name="Aude Van de WIELE" userId="7317e673-04dd-415c-a4d7-718682339b40" providerId="ADAL" clId="{80D4E734-020D-4C1F-A028-1B9E9B483F9A}" dt="2021-05-25T07:52:24.731" v="6794" actId="20577"/>
          <ac:spMkLst>
            <pc:docMk/>
            <pc:sldMk cId="1782056456" sldId="10434"/>
            <ac:spMk id="62" creationId="{E16C1019-EC6C-4338-A31A-ACDFD5EFC767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08:50:45.800" v="9829" actId="207"/>
        <pc:sldMkLst>
          <pc:docMk/>
          <pc:sldMk cId="2765598525" sldId="10435"/>
        </pc:sldMkLst>
        <pc:spChg chg="mod">
          <ac:chgData name="Aude Van de WIELE" userId="7317e673-04dd-415c-a4d7-718682339b40" providerId="ADAL" clId="{80D4E734-020D-4C1F-A028-1B9E9B483F9A}" dt="2021-05-25T08:49:50.814" v="9300" actId="790"/>
          <ac:spMkLst>
            <pc:docMk/>
            <pc:sldMk cId="2765598525" sldId="10435"/>
            <ac:spMk id="2" creationId="{EC591099-5136-44AA-B77C-AE0AD4DCABDF}"/>
          </ac:spMkLst>
        </pc:spChg>
        <pc:spChg chg="mod">
          <ac:chgData name="Aude Van de WIELE" userId="7317e673-04dd-415c-a4d7-718682339b40" providerId="ADAL" clId="{80D4E734-020D-4C1F-A028-1B9E9B483F9A}" dt="2021-05-25T08:49:50.816" v="9301" actId="790"/>
          <ac:spMkLst>
            <pc:docMk/>
            <pc:sldMk cId="2765598525" sldId="10435"/>
            <ac:spMk id="3" creationId="{DD2E96F6-2E57-4675-BC16-4DA440530E35}"/>
          </ac:spMkLst>
        </pc:spChg>
        <pc:spChg chg="mod">
          <ac:chgData name="Aude Van de WIELE" userId="7317e673-04dd-415c-a4d7-718682339b40" providerId="ADAL" clId="{80D4E734-020D-4C1F-A028-1B9E9B483F9A}" dt="2021-05-25T08:49:50.818" v="9302" actId="790"/>
          <ac:spMkLst>
            <pc:docMk/>
            <pc:sldMk cId="2765598525" sldId="10435"/>
            <ac:spMk id="4" creationId="{3C26708D-8FD1-4162-A79F-E85299ED6CF0}"/>
          </ac:spMkLst>
        </pc:spChg>
        <pc:spChg chg="mod">
          <ac:chgData name="Aude Van de WIELE" userId="7317e673-04dd-415c-a4d7-718682339b40" providerId="ADAL" clId="{80D4E734-020D-4C1F-A028-1B9E9B483F9A}" dt="2021-05-25T08:49:50.821" v="9303" actId="790"/>
          <ac:spMkLst>
            <pc:docMk/>
            <pc:sldMk cId="2765598525" sldId="10435"/>
            <ac:spMk id="8" creationId="{A6B52ADE-C6C9-45C2-843E-F5D6B61A9114}"/>
          </ac:spMkLst>
        </pc:spChg>
        <pc:spChg chg="mod">
          <ac:chgData name="Aude Van de WIELE" userId="7317e673-04dd-415c-a4d7-718682339b40" providerId="ADAL" clId="{80D4E734-020D-4C1F-A028-1B9E9B483F9A}" dt="2021-05-25T08:49:50.822" v="9304" actId="790"/>
          <ac:spMkLst>
            <pc:docMk/>
            <pc:sldMk cId="2765598525" sldId="10435"/>
            <ac:spMk id="9" creationId="{8F0D622A-5573-4746-8AB0-56CBA48208B1}"/>
          </ac:spMkLst>
        </pc:spChg>
        <pc:spChg chg="mod">
          <ac:chgData name="Aude Van de WIELE" userId="7317e673-04dd-415c-a4d7-718682339b40" providerId="ADAL" clId="{80D4E734-020D-4C1F-A028-1B9E9B483F9A}" dt="2021-05-25T08:49:50.823" v="9305" actId="790"/>
          <ac:spMkLst>
            <pc:docMk/>
            <pc:sldMk cId="2765598525" sldId="10435"/>
            <ac:spMk id="10" creationId="{D6CBEC82-D509-43A2-8044-DFD9FF7838D4}"/>
          </ac:spMkLst>
        </pc:spChg>
        <pc:spChg chg="mod">
          <ac:chgData name="Aude Van de WIELE" userId="7317e673-04dd-415c-a4d7-718682339b40" providerId="ADAL" clId="{80D4E734-020D-4C1F-A028-1B9E9B483F9A}" dt="2021-05-25T08:49:50.824" v="9306" actId="790"/>
          <ac:spMkLst>
            <pc:docMk/>
            <pc:sldMk cId="2765598525" sldId="10435"/>
            <ac:spMk id="11" creationId="{94D1F405-16AC-4E70-9A21-B8DC490952C1}"/>
          </ac:spMkLst>
        </pc:spChg>
        <pc:spChg chg="mod">
          <ac:chgData name="Aude Van de WIELE" userId="7317e673-04dd-415c-a4d7-718682339b40" providerId="ADAL" clId="{80D4E734-020D-4C1F-A028-1B9E9B483F9A}" dt="2021-05-25T08:49:50.825" v="9307" actId="790"/>
          <ac:spMkLst>
            <pc:docMk/>
            <pc:sldMk cId="2765598525" sldId="10435"/>
            <ac:spMk id="12" creationId="{52AD597C-357C-41FE-8444-653952863F47}"/>
          </ac:spMkLst>
        </pc:spChg>
        <pc:spChg chg="mod">
          <ac:chgData name="Aude Van de WIELE" userId="7317e673-04dd-415c-a4d7-718682339b40" providerId="ADAL" clId="{80D4E734-020D-4C1F-A028-1B9E9B483F9A}" dt="2021-05-25T08:49:50.826" v="9308" actId="790"/>
          <ac:spMkLst>
            <pc:docMk/>
            <pc:sldMk cId="2765598525" sldId="10435"/>
            <ac:spMk id="13" creationId="{911F5F24-D734-4C10-9BA6-47F05CD2E240}"/>
          </ac:spMkLst>
        </pc:spChg>
        <pc:spChg chg="mod">
          <ac:chgData name="Aude Van de WIELE" userId="7317e673-04dd-415c-a4d7-718682339b40" providerId="ADAL" clId="{80D4E734-020D-4C1F-A028-1B9E9B483F9A}" dt="2021-05-25T08:49:50.827" v="9309" actId="790"/>
          <ac:spMkLst>
            <pc:docMk/>
            <pc:sldMk cId="2765598525" sldId="10435"/>
            <ac:spMk id="14" creationId="{9847F5CB-BDE3-498E-940B-8F44B0358F12}"/>
          </ac:spMkLst>
        </pc:spChg>
        <pc:spChg chg="mod">
          <ac:chgData name="Aude Van de WIELE" userId="7317e673-04dd-415c-a4d7-718682339b40" providerId="ADAL" clId="{80D4E734-020D-4C1F-A028-1B9E9B483F9A}" dt="2021-05-25T08:49:50.828" v="9310" actId="790"/>
          <ac:spMkLst>
            <pc:docMk/>
            <pc:sldMk cId="2765598525" sldId="10435"/>
            <ac:spMk id="15" creationId="{4E709C52-37C3-45B2-AB0F-69DA749EA359}"/>
          </ac:spMkLst>
        </pc:spChg>
        <pc:spChg chg="mod">
          <ac:chgData name="Aude Van de WIELE" userId="7317e673-04dd-415c-a4d7-718682339b40" providerId="ADAL" clId="{80D4E734-020D-4C1F-A028-1B9E9B483F9A}" dt="2021-05-25T08:49:50.846" v="9319" actId="790"/>
          <ac:spMkLst>
            <pc:docMk/>
            <pc:sldMk cId="2765598525" sldId="10435"/>
            <ac:spMk id="25" creationId="{D0893839-FCA8-44A2-9EE6-AB39ECB9D8B7}"/>
          </ac:spMkLst>
        </pc:spChg>
        <pc:spChg chg="mod">
          <ac:chgData name="Aude Van de WIELE" userId="7317e673-04dd-415c-a4d7-718682339b40" providerId="ADAL" clId="{80D4E734-020D-4C1F-A028-1B9E9B483F9A}" dt="2021-05-25T08:49:50.829" v="9311" actId="790"/>
          <ac:spMkLst>
            <pc:docMk/>
            <pc:sldMk cId="2765598525" sldId="10435"/>
            <ac:spMk id="26" creationId="{D3DE6BE8-F4EB-4250-A1AC-CAE093D62085}"/>
          </ac:spMkLst>
        </pc:spChg>
        <pc:spChg chg="mod">
          <ac:chgData name="Aude Van de WIELE" userId="7317e673-04dd-415c-a4d7-718682339b40" providerId="ADAL" clId="{80D4E734-020D-4C1F-A028-1B9E9B483F9A}" dt="2021-05-25T08:49:50.834" v="9312" actId="790"/>
          <ac:spMkLst>
            <pc:docMk/>
            <pc:sldMk cId="2765598525" sldId="10435"/>
            <ac:spMk id="27" creationId="{77DF0992-6025-4E2D-B409-A1CE1585BE4A}"/>
          </ac:spMkLst>
        </pc:spChg>
        <pc:spChg chg="del mod">
          <ac:chgData name="Aude Van de WIELE" userId="7317e673-04dd-415c-a4d7-718682339b40" providerId="ADAL" clId="{80D4E734-020D-4C1F-A028-1B9E9B483F9A}" dt="2021-05-25T07:58:21.328" v="6906"/>
          <ac:spMkLst>
            <pc:docMk/>
            <pc:sldMk cId="2765598525" sldId="10435"/>
            <ac:spMk id="31" creationId="{47BE7687-A515-426B-B81A-4A89ECB7AA14}"/>
          </ac:spMkLst>
        </pc:spChg>
        <pc:spChg chg="mod">
          <ac:chgData name="Aude Van de WIELE" userId="7317e673-04dd-415c-a4d7-718682339b40" providerId="ADAL" clId="{80D4E734-020D-4C1F-A028-1B9E9B483F9A}" dt="2021-05-25T08:49:50.835" v="9313" actId="790"/>
          <ac:spMkLst>
            <pc:docMk/>
            <pc:sldMk cId="2765598525" sldId="10435"/>
            <ac:spMk id="32" creationId="{36587DAE-9B3C-4706-BA2D-0A286CB69953}"/>
          </ac:spMkLst>
        </pc:spChg>
        <pc:spChg chg="mod">
          <ac:chgData name="Aude Van de WIELE" userId="7317e673-04dd-415c-a4d7-718682339b40" providerId="ADAL" clId="{80D4E734-020D-4C1F-A028-1B9E9B483F9A}" dt="2021-05-25T08:49:50.837" v="9314" actId="790"/>
          <ac:spMkLst>
            <pc:docMk/>
            <pc:sldMk cId="2765598525" sldId="10435"/>
            <ac:spMk id="37" creationId="{6D996438-2A04-4866-B4C7-335C0031D0D2}"/>
          </ac:spMkLst>
        </pc:spChg>
        <pc:spChg chg="mod">
          <ac:chgData name="Aude Van de WIELE" userId="7317e673-04dd-415c-a4d7-718682339b40" providerId="ADAL" clId="{80D4E734-020D-4C1F-A028-1B9E9B483F9A}" dt="2021-05-25T08:49:50.838" v="9315" actId="790"/>
          <ac:spMkLst>
            <pc:docMk/>
            <pc:sldMk cId="2765598525" sldId="10435"/>
            <ac:spMk id="39" creationId="{5D40534F-3F1E-4C03-929E-AA7F8DCD307B}"/>
          </ac:spMkLst>
        </pc:spChg>
        <pc:spChg chg="mod">
          <ac:chgData name="Aude Van de WIELE" userId="7317e673-04dd-415c-a4d7-718682339b40" providerId="ADAL" clId="{80D4E734-020D-4C1F-A028-1B9E9B483F9A}" dt="2021-05-25T08:50:45.800" v="9829" actId="207"/>
          <ac:spMkLst>
            <pc:docMk/>
            <pc:sldMk cId="2765598525" sldId="10435"/>
            <ac:spMk id="40" creationId="{99AF67C3-160C-4177-9C17-3461D134EEE4}"/>
          </ac:spMkLst>
        </pc:spChg>
        <pc:spChg chg="mod">
          <ac:chgData name="Aude Van de WIELE" userId="7317e673-04dd-415c-a4d7-718682339b40" providerId="ADAL" clId="{80D4E734-020D-4C1F-A028-1B9E9B483F9A}" dt="2021-05-25T08:49:50.842" v="9317" actId="790"/>
          <ac:spMkLst>
            <pc:docMk/>
            <pc:sldMk cId="2765598525" sldId="10435"/>
            <ac:spMk id="41" creationId="{E1A159BC-0828-460F-B383-CA6B6D4FA551}"/>
          </ac:spMkLst>
        </pc:spChg>
        <pc:spChg chg="mod">
          <ac:chgData name="Aude Van de WIELE" userId="7317e673-04dd-415c-a4d7-718682339b40" providerId="ADAL" clId="{80D4E734-020D-4C1F-A028-1B9E9B483F9A}" dt="2021-05-25T08:49:50.845" v="9318" actId="790"/>
          <ac:spMkLst>
            <pc:docMk/>
            <pc:sldMk cId="2765598525" sldId="10435"/>
            <ac:spMk id="42" creationId="{B55D48E5-96AE-4404-9E04-DBD77B7488EA}"/>
          </ac:spMkLst>
        </pc:spChg>
        <pc:spChg chg="mod">
          <ac:chgData name="Aude Van de WIELE" userId="7317e673-04dd-415c-a4d7-718682339b40" providerId="ADAL" clId="{80D4E734-020D-4C1F-A028-1B9E9B483F9A}" dt="2021-05-25T08:49:50.857" v="9326" actId="790"/>
          <ac:spMkLst>
            <pc:docMk/>
            <pc:sldMk cId="2765598525" sldId="10435"/>
            <ac:spMk id="49" creationId="{DCA24736-C921-4820-BD41-3BB3642FD803}"/>
          </ac:spMkLst>
        </pc:spChg>
        <pc:spChg chg="mod">
          <ac:chgData name="Aude Van de WIELE" userId="7317e673-04dd-415c-a4d7-718682339b40" providerId="ADAL" clId="{80D4E734-020D-4C1F-A028-1B9E9B483F9A}" dt="2021-05-25T08:49:50.848" v="9320" actId="790"/>
          <ac:spMkLst>
            <pc:docMk/>
            <pc:sldMk cId="2765598525" sldId="10435"/>
            <ac:spMk id="57" creationId="{1C30E004-DFA6-45BF-A5E8-2C530ABCBF9D}"/>
          </ac:spMkLst>
        </pc:spChg>
        <pc:spChg chg="add mod">
          <ac:chgData name="Aude Van de WIELE" userId="7317e673-04dd-415c-a4d7-718682339b40" providerId="ADAL" clId="{80D4E734-020D-4C1F-A028-1B9E9B483F9A}" dt="2021-05-25T08:49:50.869" v="9338" actId="790"/>
          <ac:spMkLst>
            <pc:docMk/>
            <pc:sldMk cId="2765598525" sldId="10435"/>
            <ac:spMk id="62" creationId="{B4DB3DD5-8015-4912-B437-0DA63DBB4290}"/>
          </ac:spMkLst>
        </pc:spChg>
        <pc:spChg chg="mod">
          <ac:chgData name="Aude Van de WIELE" userId="7317e673-04dd-415c-a4d7-718682339b40" providerId="ADAL" clId="{80D4E734-020D-4C1F-A028-1B9E9B483F9A}" dt="2021-05-25T08:49:50.860" v="9328" actId="790"/>
          <ac:spMkLst>
            <pc:docMk/>
            <pc:sldMk cId="2765598525" sldId="10435"/>
            <ac:spMk id="63" creationId="{FEC106FA-F773-4E76-A121-BFA96EB32610}"/>
          </ac:spMkLst>
        </pc:spChg>
        <pc:spChg chg="mod">
          <ac:chgData name="Aude Van de WIELE" userId="7317e673-04dd-415c-a4d7-718682339b40" providerId="ADAL" clId="{80D4E734-020D-4C1F-A028-1B9E9B483F9A}" dt="2021-05-25T08:49:50.861" v="9329" actId="790"/>
          <ac:spMkLst>
            <pc:docMk/>
            <pc:sldMk cId="2765598525" sldId="10435"/>
            <ac:spMk id="64" creationId="{566DDF3C-152B-405E-91B5-BFE3854E9B99}"/>
          </ac:spMkLst>
        </pc:spChg>
        <pc:spChg chg="mod">
          <ac:chgData name="Aude Van de WIELE" userId="7317e673-04dd-415c-a4d7-718682339b40" providerId="ADAL" clId="{80D4E734-020D-4C1F-A028-1B9E9B483F9A}" dt="2021-05-25T08:49:50.857" v="9327" actId="790"/>
          <ac:spMkLst>
            <pc:docMk/>
            <pc:sldMk cId="2765598525" sldId="10435"/>
            <ac:spMk id="65" creationId="{63BC922A-E119-45ED-AD41-4AA3DB639CCA}"/>
          </ac:spMkLst>
        </pc:spChg>
        <pc:spChg chg="mod">
          <ac:chgData name="Aude Van de WIELE" userId="7317e673-04dd-415c-a4d7-718682339b40" providerId="ADAL" clId="{80D4E734-020D-4C1F-A028-1B9E9B483F9A}" dt="2021-05-25T08:49:50.850" v="9321" actId="790"/>
          <ac:spMkLst>
            <pc:docMk/>
            <pc:sldMk cId="2765598525" sldId="10435"/>
            <ac:spMk id="66" creationId="{C6A8EA40-B6D5-497D-9B6D-39FDC84D3A91}"/>
          </ac:spMkLst>
        </pc:spChg>
        <pc:spChg chg="mod">
          <ac:chgData name="Aude Van de WIELE" userId="7317e673-04dd-415c-a4d7-718682339b40" providerId="ADAL" clId="{80D4E734-020D-4C1F-A028-1B9E9B483F9A}" dt="2021-05-25T08:49:50.851" v="9322" actId="790"/>
          <ac:spMkLst>
            <pc:docMk/>
            <pc:sldMk cId="2765598525" sldId="10435"/>
            <ac:spMk id="68" creationId="{B3FDAE9B-6237-4D44-9C56-6C2ABE08C1C5}"/>
          </ac:spMkLst>
        </pc:spChg>
        <pc:spChg chg="mod">
          <ac:chgData name="Aude Van de WIELE" userId="7317e673-04dd-415c-a4d7-718682339b40" providerId="ADAL" clId="{80D4E734-020D-4C1F-A028-1B9E9B483F9A}" dt="2021-05-25T08:49:50.852" v="9323" actId="790"/>
          <ac:spMkLst>
            <pc:docMk/>
            <pc:sldMk cId="2765598525" sldId="10435"/>
            <ac:spMk id="69" creationId="{C19101E2-49D4-4D57-84DB-BD95186C2384}"/>
          </ac:spMkLst>
        </pc:spChg>
        <pc:spChg chg="mod">
          <ac:chgData name="Aude Van de WIELE" userId="7317e673-04dd-415c-a4d7-718682339b40" providerId="ADAL" clId="{80D4E734-020D-4C1F-A028-1B9E9B483F9A}" dt="2021-05-25T08:49:50.853" v="9324" actId="790"/>
          <ac:spMkLst>
            <pc:docMk/>
            <pc:sldMk cId="2765598525" sldId="10435"/>
            <ac:spMk id="70" creationId="{E7F54798-5D30-4D44-9892-860B1F1097BA}"/>
          </ac:spMkLst>
        </pc:spChg>
        <pc:spChg chg="mod">
          <ac:chgData name="Aude Van de WIELE" userId="7317e673-04dd-415c-a4d7-718682339b40" providerId="ADAL" clId="{80D4E734-020D-4C1F-A028-1B9E9B483F9A}" dt="2021-05-25T08:49:50.856" v="9325" actId="790"/>
          <ac:spMkLst>
            <pc:docMk/>
            <pc:sldMk cId="2765598525" sldId="10435"/>
            <ac:spMk id="72" creationId="{38D55508-C45D-4729-9781-105E4D6EE81A}"/>
          </ac:spMkLst>
        </pc:spChg>
        <pc:spChg chg="mod">
          <ac:chgData name="Aude Van de WIELE" userId="7317e673-04dd-415c-a4d7-718682339b40" providerId="ADAL" clId="{80D4E734-020D-4C1F-A028-1B9E9B483F9A}" dt="2021-05-25T08:49:50.861" v="9330" actId="790"/>
          <ac:spMkLst>
            <pc:docMk/>
            <pc:sldMk cId="2765598525" sldId="10435"/>
            <ac:spMk id="84" creationId="{4054EE9B-8E45-40D1-8288-56C20079DF82}"/>
          </ac:spMkLst>
        </pc:spChg>
        <pc:spChg chg="mod">
          <ac:chgData name="Aude Van de WIELE" userId="7317e673-04dd-415c-a4d7-718682339b40" providerId="ADAL" clId="{80D4E734-020D-4C1F-A028-1B9E9B483F9A}" dt="2021-05-25T08:49:50.862" v="9331" actId="790"/>
          <ac:spMkLst>
            <pc:docMk/>
            <pc:sldMk cId="2765598525" sldId="10435"/>
            <ac:spMk id="85" creationId="{4F2CC5AE-1ECD-4C7F-B5BC-7C0C3EAA70FD}"/>
          </ac:spMkLst>
        </pc:spChg>
        <pc:spChg chg="mod">
          <ac:chgData name="Aude Van de WIELE" userId="7317e673-04dd-415c-a4d7-718682339b40" providerId="ADAL" clId="{80D4E734-020D-4C1F-A028-1B9E9B483F9A}" dt="2021-05-25T08:49:50.863" v="9332" actId="790"/>
          <ac:spMkLst>
            <pc:docMk/>
            <pc:sldMk cId="2765598525" sldId="10435"/>
            <ac:spMk id="86" creationId="{0EB4F0E5-0360-4090-9486-E155A4293D5C}"/>
          </ac:spMkLst>
        </pc:spChg>
        <pc:spChg chg="mod">
          <ac:chgData name="Aude Van de WIELE" userId="7317e673-04dd-415c-a4d7-718682339b40" providerId="ADAL" clId="{80D4E734-020D-4C1F-A028-1B9E9B483F9A}" dt="2021-05-25T08:49:50.864" v="9333" actId="790"/>
          <ac:spMkLst>
            <pc:docMk/>
            <pc:sldMk cId="2765598525" sldId="10435"/>
            <ac:spMk id="87" creationId="{E972938D-05F4-4787-A501-7EB8C2A635E3}"/>
          </ac:spMkLst>
        </pc:spChg>
        <pc:spChg chg="mod">
          <ac:chgData name="Aude Van de WIELE" userId="7317e673-04dd-415c-a4d7-718682339b40" providerId="ADAL" clId="{80D4E734-020D-4C1F-A028-1B9E9B483F9A}" dt="2021-05-25T08:49:50.865" v="9334" actId="790"/>
          <ac:spMkLst>
            <pc:docMk/>
            <pc:sldMk cId="2765598525" sldId="10435"/>
            <ac:spMk id="88" creationId="{CA26FE7A-62CF-441A-8876-93155FF3E42E}"/>
          </ac:spMkLst>
        </pc:spChg>
        <pc:spChg chg="mod">
          <ac:chgData name="Aude Van de WIELE" userId="7317e673-04dd-415c-a4d7-718682339b40" providerId="ADAL" clId="{80D4E734-020D-4C1F-A028-1B9E9B483F9A}" dt="2021-05-25T08:49:50.866" v="9335" actId="790"/>
          <ac:spMkLst>
            <pc:docMk/>
            <pc:sldMk cId="2765598525" sldId="10435"/>
            <ac:spMk id="89" creationId="{D21E2756-8745-43D7-8058-14502CF2ADCE}"/>
          </ac:spMkLst>
        </pc:spChg>
        <pc:spChg chg="mod">
          <ac:chgData name="Aude Van de WIELE" userId="7317e673-04dd-415c-a4d7-718682339b40" providerId="ADAL" clId="{80D4E734-020D-4C1F-A028-1B9E9B483F9A}" dt="2021-05-25T08:49:50.867" v="9336" actId="790"/>
          <ac:spMkLst>
            <pc:docMk/>
            <pc:sldMk cId="2765598525" sldId="10435"/>
            <ac:spMk id="90" creationId="{F50F646F-5FB0-44EF-8DB6-F985EDBCA99C}"/>
          </ac:spMkLst>
        </pc:spChg>
        <pc:spChg chg="mod">
          <ac:chgData name="Aude Van de WIELE" userId="7317e673-04dd-415c-a4d7-718682339b40" providerId="ADAL" clId="{80D4E734-020D-4C1F-A028-1B9E9B483F9A}" dt="2021-05-25T08:49:50.868" v="9337" actId="790"/>
          <ac:spMkLst>
            <pc:docMk/>
            <pc:sldMk cId="2765598525" sldId="10435"/>
            <ac:spMk id="91" creationId="{B2DD806F-1AF8-432C-8F0C-C618F2BDE4CB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14:18:29.722" v="12780" actId="20577"/>
        <pc:sldMkLst>
          <pc:docMk/>
          <pc:sldMk cId="3781687056" sldId="10437"/>
        </pc:sldMkLst>
        <pc:spChg chg="mod">
          <ac:chgData name="Aude Van de WIELE" userId="7317e673-04dd-415c-a4d7-718682339b40" providerId="ADAL" clId="{80D4E734-020D-4C1F-A028-1B9E9B483F9A}" dt="2021-05-25T12:57:07.740" v="12543" actId="207"/>
          <ac:spMkLst>
            <pc:docMk/>
            <pc:sldMk cId="3781687056" sldId="10437"/>
            <ac:spMk id="2" creationId="{6141F854-3009-40D7-9038-56590105A49E}"/>
          </ac:spMkLst>
        </pc:spChg>
        <pc:spChg chg="mod">
          <ac:chgData name="Aude Van de WIELE" userId="7317e673-04dd-415c-a4d7-718682339b40" providerId="ADAL" clId="{80D4E734-020D-4C1F-A028-1B9E9B483F9A}" dt="2021-05-25T08:49:48.394" v="7269" actId="790"/>
          <ac:spMkLst>
            <pc:docMk/>
            <pc:sldMk cId="3781687056" sldId="10437"/>
            <ac:spMk id="3" creationId="{F5CA8CC9-6A13-4BDE-9953-50691A73BA81}"/>
          </ac:spMkLst>
        </pc:spChg>
        <pc:spChg chg="mod">
          <ac:chgData name="Aude Van de WIELE" userId="7317e673-04dd-415c-a4d7-718682339b40" providerId="ADAL" clId="{80D4E734-020D-4C1F-A028-1B9E9B483F9A}" dt="2021-05-25T08:49:48.429" v="7314" actId="790"/>
          <ac:spMkLst>
            <pc:docMk/>
            <pc:sldMk cId="3781687056" sldId="10437"/>
            <ac:spMk id="4" creationId="{8F15B80F-09DF-4F44-A671-16DAD8DB32D1}"/>
          </ac:spMkLst>
        </pc:spChg>
        <pc:spChg chg="mod">
          <ac:chgData name="Aude Van de WIELE" userId="7317e673-04dd-415c-a4d7-718682339b40" providerId="ADAL" clId="{80D4E734-020D-4C1F-A028-1B9E9B483F9A}" dt="2021-05-25T08:49:48.383" v="7267" actId="790"/>
          <ac:spMkLst>
            <pc:docMk/>
            <pc:sldMk cId="3781687056" sldId="10437"/>
            <ac:spMk id="14" creationId="{79163A55-8253-4415-87E3-49B6AA0C98BF}"/>
          </ac:spMkLst>
        </pc:spChg>
        <pc:spChg chg="mod">
          <ac:chgData name="Aude Van de WIELE" userId="7317e673-04dd-415c-a4d7-718682339b40" providerId="ADAL" clId="{80D4E734-020D-4C1F-A028-1B9E9B483F9A}" dt="2021-05-25T08:49:48.382" v="7266" actId="790"/>
          <ac:spMkLst>
            <pc:docMk/>
            <pc:sldMk cId="3781687056" sldId="10437"/>
            <ac:spMk id="15" creationId="{C7CC0E72-2C4D-4227-BE31-58EBB8D10C2D}"/>
          </ac:spMkLst>
        </pc:spChg>
        <pc:spChg chg="mod">
          <ac:chgData name="Aude Van de WIELE" userId="7317e673-04dd-415c-a4d7-718682339b40" providerId="ADAL" clId="{80D4E734-020D-4C1F-A028-1B9E9B483F9A}" dt="2021-05-25T08:49:48.382" v="7265" actId="790"/>
          <ac:spMkLst>
            <pc:docMk/>
            <pc:sldMk cId="3781687056" sldId="10437"/>
            <ac:spMk id="16" creationId="{D2E2D690-327F-4633-A872-ADB29F27F398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7" creationId="{A2D0F004-7BB1-4CB7-8D0B-42321F6A5542}"/>
          </ac:spMkLst>
        </pc:spChg>
        <pc:spChg chg="mod">
          <ac:chgData name="Aude Van de WIELE" userId="7317e673-04dd-415c-a4d7-718682339b40" providerId="ADAL" clId="{80D4E734-020D-4C1F-A028-1B9E9B483F9A}" dt="2021-05-25T08:49:48.398" v="7274" actId="790"/>
          <ac:spMkLst>
            <pc:docMk/>
            <pc:sldMk cId="3781687056" sldId="10437"/>
            <ac:spMk id="21" creationId="{AF93235F-7D4B-4DEB-B632-8AD82BB62757}"/>
          </ac:spMkLst>
        </pc:spChg>
        <pc:spChg chg="mod">
          <ac:chgData name="Aude Van de WIELE" userId="7317e673-04dd-415c-a4d7-718682339b40" providerId="ADAL" clId="{80D4E734-020D-4C1F-A028-1B9E9B483F9A}" dt="2021-05-25T08:49:48.395" v="7270" actId="790"/>
          <ac:spMkLst>
            <pc:docMk/>
            <pc:sldMk cId="3781687056" sldId="10437"/>
            <ac:spMk id="25" creationId="{C509ABA6-0D56-4D9A-8217-F214397AC6C6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30" creationId="{52F7899A-6E23-45C9-AB1D-5A04E49DE8D3}"/>
          </ac:spMkLst>
        </pc:spChg>
        <pc:spChg chg="mod">
          <ac:chgData name="Aude Van de WIELE" userId="7317e673-04dd-415c-a4d7-718682339b40" providerId="ADAL" clId="{80D4E734-020D-4C1F-A028-1B9E9B483F9A}" dt="2021-05-25T08:49:48.397" v="7272" actId="790"/>
          <ac:spMkLst>
            <pc:docMk/>
            <pc:sldMk cId="3781687056" sldId="10437"/>
            <ac:spMk id="31" creationId="{39A4E537-6B70-42D6-B76D-22EBE99E5324}"/>
          </ac:spMkLst>
        </pc:spChg>
        <pc:spChg chg="mod">
          <ac:chgData name="Aude Van de WIELE" userId="7317e673-04dd-415c-a4d7-718682339b40" providerId="ADAL" clId="{80D4E734-020D-4C1F-A028-1B9E9B483F9A}" dt="2021-05-25T08:49:48.398" v="7273" actId="790"/>
          <ac:spMkLst>
            <pc:docMk/>
            <pc:sldMk cId="3781687056" sldId="10437"/>
            <ac:spMk id="32" creationId="{E344EE6B-B062-4077-8C00-8A44A9ED2DC4}"/>
          </ac:spMkLst>
        </pc:spChg>
        <pc:spChg chg="mod">
          <ac:chgData name="Aude Van de WIELE" userId="7317e673-04dd-415c-a4d7-718682339b40" providerId="ADAL" clId="{80D4E734-020D-4C1F-A028-1B9E9B483F9A}" dt="2021-05-25T08:49:48.399" v="7275" actId="790"/>
          <ac:spMkLst>
            <pc:docMk/>
            <pc:sldMk cId="3781687056" sldId="10437"/>
            <ac:spMk id="44" creationId="{477526AF-EDB0-4811-B55E-5B4DBA8CB600}"/>
          </ac:spMkLst>
        </pc:spChg>
        <pc:spChg chg="mod">
          <ac:chgData name="Aude Van de WIELE" userId="7317e673-04dd-415c-a4d7-718682339b40" providerId="ADAL" clId="{80D4E734-020D-4C1F-A028-1B9E9B483F9A}" dt="2021-05-25T08:49:48.400" v="7276" actId="790"/>
          <ac:spMkLst>
            <pc:docMk/>
            <pc:sldMk cId="3781687056" sldId="10437"/>
            <ac:spMk id="45" creationId="{2BA6CE4E-7982-4D26-9262-C56F0898C5E2}"/>
          </ac:spMkLst>
        </pc:spChg>
        <pc:spChg chg="mod">
          <ac:chgData name="Aude Van de WIELE" userId="7317e673-04dd-415c-a4d7-718682339b40" providerId="ADAL" clId="{80D4E734-020D-4C1F-A028-1B9E9B483F9A}" dt="2021-05-25T08:49:48.401" v="7277" actId="790"/>
          <ac:spMkLst>
            <pc:docMk/>
            <pc:sldMk cId="3781687056" sldId="10437"/>
            <ac:spMk id="46" creationId="{78000759-D0F4-4489-B0F9-BB8EC55A1191}"/>
          </ac:spMkLst>
        </pc:spChg>
        <pc:spChg chg="mod">
          <ac:chgData name="Aude Van de WIELE" userId="7317e673-04dd-415c-a4d7-718682339b40" providerId="ADAL" clId="{80D4E734-020D-4C1F-A028-1B9E9B483F9A}" dt="2021-05-25T08:49:48.401" v="7278" actId="790"/>
          <ac:spMkLst>
            <pc:docMk/>
            <pc:sldMk cId="3781687056" sldId="10437"/>
            <ac:spMk id="47" creationId="{0D2666E1-A6F4-409F-9431-C0A5F6D79FC6}"/>
          </ac:spMkLst>
        </pc:spChg>
        <pc:spChg chg="mod">
          <ac:chgData name="Aude Van de WIELE" userId="7317e673-04dd-415c-a4d7-718682339b40" providerId="ADAL" clId="{80D4E734-020D-4C1F-A028-1B9E9B483F9A}" dt="2021-05-25T08:49:48.402" v="7279" actId="790"/>
          <ac:spMkLst>
            <pc:docMk/>
            <pc:sldMk cId="3781687056" sldId="10437"/>
            <ac:spMk id="51" creationId="{60050807-8211-434C-BE82-707449B0447B}"/>
          </ac:spMkLst>
        </pc:spChg>
        <pc:spChg chg="mod">
          <ac:chgData name="Aude Van de WIELE" userId="7317e673-04dd-415c-a4d7-718682339b40" providerId="ADAL" clId="{80D4E734-020D-4C1F-A028-1B9E9B483F9A}" dt="2021-05-25T08:49:48.403" v="7280" actId="790"/>
          <ac:spMkLst>
            <pc:docMk/>
            <pc:sldMk cId="3781687056" sldId="10437"/>
            <ac:spMk id="62" creationId="{7D8F5ED0-E7B3-4EAD-A092-DD77FEE8ABC5}"/>
          </ac:spMkLst>
        </pc:spChg>
        <pc:spChg chg="mod">
          <ac:chgData name="Aude Van de WIELE" userId="7317e673-04dd-415c-a4d7-718682339b40" providerId="ADAL" clId="{80D4E734-020D-4C1F-A028-1B9E9B483F9A}" dt="2021-05-25T08:49:48.403" v="7281" actId="790"/>
          <ac:spMkLst>
            <pc:docMk/>
            <pc:sldMk cId="3781687056" sldId="10437"/>
            <ac:spMk id="63" creationId="{A827C968-C9A3-42BF-9067-1B9B7FACBBE1}"/>
          </ac:spMkLst>
        </pc:spChg>
        <pc:spChg chg="mod">
          <ac:chgData name="Aude Van de WIELE" userId="7317e673-04dd-415c-a4d7-718682339b40" providerId="ADAL" clId="{80D4E734-020D-4C1F-A028-1B9E9B483F9A}" dt="2021-05-25T08:49:48.404" v="7282" actId="790"/>
          <ac:spMkLst>
            <pc:docMk/>
            <pc:sldMk cId="3781687056" sldId="10437"/>
            <ac:spMk id="64" creationId="{936D48D8-1ACB-4C16-905F-95AF33ADDFE8}"/>
          </ac:spMkLst>
        </pc:spChg>
        <pc:spChg chg="mod">
          <ac:chgData name="Aude Van de WIELE" userId="7317e673-04dd-415c-a4d7-718682339b40" providerId="ADAL" clId="{80D4E734-020D-4C1F-A028-1B9E9B483F9A}" dt="2021-05-25T08:49:48.405" v="7283" actId="790"/>
          <ac:spMkLst>
            <pc:docMk/>
            <pc:sldMk cId="3781687056" sldId="10437"/>
            <ac:spMk id="65" creationId="{280CB374-1003-4E64-B285-3AD939EEEBA9}"/>
          </ac:spMkLst>
        </pc:spChg>
        <pc:spChg chg="mod">
          <ac:chgData name="Aude Van de WIELE" userId="7317e673-04dd-415c-a4d7-718682339b40" providerId="ADAL" clId="{80D4E734-020D-4C1F-A028-1B9E9B483F9A}" dt="2021-05-25T12:57:35.450" v="12547" actId="14100"/>
          <ac:spMkLst>
            <pc:docMk/>
            <pc:sldMk cId="3781687056" sldId="10437"/>
            <ac:spMk id="97" creationId="{6E066559-1B4D-4775-A03B-28E34099AAD8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98" creationId="{F900BD09-AFFE-497B-B047-11FEDC423513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99" creationId="{DC487871-5C77-464A-96E3-EB8F962B5B65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00" creationId="{E861CDD7-D84C-4719-BEF7-4DE00D716D3B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05" creationId="{4E53DF95-5458-4785-8AB8-BA8F7CC5269E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06" creationId="{E56D1CA8-2FB9-43F1-A907-EB7C2D369A11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07" creationId="{051E6C51-8EC8-4D80-924E-5F5E3BC36BE1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08" creationId="{952E5143-D5F8-491F-ACA6-DBB69B23DBC2}"/>
          </ac:spMkLst>
        </pc:spChg>
        <pc:spChg chg="mod">
          <ac:chgData name="Aude Van de WIELE" userId="7317e673-04dd-415c-a4d7-718682339b40" providerId="ADAL" clId="{80D4E734-020D-4C1F-A028-1B9E9B483F9A}" dt="2021-05-25T12:58:31.954" v="12556" actId="14100"/>
          <ac:spMkLst>
            <pc:docMk/>
            <pc:sldMk cId="3781687056" sldId="10437"/>
            <ac:spMk id="111" creationId="{120AA726-0FF6-4209-BB20-1BA916108E4E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13" creationId="{BF24D132-C786-48A4-9A3E-983BFF02BDDA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21" creationId="{0CF79484-111D-4568-AFFF-3CBDCB38027C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22" creationId="{CE6AD5A9-0724-4E52-8533-36B2B7A8E8FB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23" creationId="{AB25344D-A8FC-4A5C-A43F-4B01CA4A8800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24" creationId="{5980143D-7AF7-4D97-8D06-A50037CCB903}"/>
          </ac:spMkLst>
        </pc:spChg>
        <pc:spChg chg="mod">
          <ac:chgData name="Aude Van de WIELE" userId="7317e673-04dd-415c-a4d7-718682339b40" providerId="ADAL" clId="{80D4E734-020D-4C1F-A028-1B9E9B483F9A}" dt="2021-05-25T08:49:48.416" v="7298" actId="790"/>
          <ac:spMkLst>
            <pc:docMk/>
            <pc:sldMk cId="3781687056" sldId="10437"/>
            <ac:spMk id="129" creationId="{555638A0-D999-4327-A4A7-179DEE0BEA1B}"/>
          </ac:spMkLst>
        </pc:spChg>
        <pc:spChg chg="mod">
          <ac:chgData name="Aude Van de WIELE" userId="7317e673-04dd-415c-a4d7-718682339b40" providerId="ADAL" clId="{80D4E734-020D-4C1F-A028-1B9E9B483F9A}" dt="2021-05-25T08:49:48.417" v="7299" actId="790"/>
          <ac:spMkLst>
            <pc:docMk/>
            <pc:sldMk cId="3781687056" sldId="10437"/>
            <ac:spMk id="130" creationId="{D30FFD4A-C467-4F1C-A4DF-BCB3EB71D32F}"/>
          </ac:spMkLst>
        </pc:spChg>
        <pc:spChg chg="mod">
          <ac:chgData name="Aude Van de WIELE" userId="7317e673-04dd-415c-a4d7-718682339b40" providerId="ADAL" clId="{80D4E734-020D-4C1F-A028-1B9E9B483F9A}" dt="2021-05-25T08:49:48.418" v="7300" actId="790"/>
          <ac:spMkLst>
            <pc:docMk/>
            <pc:sldMk cId="3781687056" sldId="10437"/>
            <ac:spMk id="131" creationId="{93EEF8DD-E42C-4C2B-94DD-89C3DDAF9A59}"/>
          </ac:spMkLst>
        </pc:spChg>
        <pc:spChg chg="mod">
          <ac:chgData name="Aude Van de WIELE" userId="7317e673-04dd-415c-a4d7-718682339b40" providerId="ADAL" clId="{80D4E734-020D-4C1F-A028-1B9E9B483F9A}" dt="2021-05-25T08:49:48.418" v="7301" actId="790"/>
          <ac:spMkLst>
            <pc:docMk/>
            <pc:sldMk cId="3781687056" sldId="10437"/>
            <ac:spMk id="132" creationId="{37866BA4-BF7F-46F4-9BDC-A7E6E551D6F2}"/>
          </ac:spMkLst>
        </pc:spChg>
        <pc:spChg chg="mod">
          <ac:chgData name="Aude Van de WIELE" userId="7317e673-04dd-415c-a4d7-718682339b40" providerId="ADAL" clId="{80D4E734-020D-4C1F-A028-1B9E9B483F9A}" dt="2021-05-25T08:49:48.419" v="7302" actId="790"/>
          <ac:spMkLst>
            <pc:docMk/>
            <pc:sldMk cId="3781687056" sldId="10437"/>
            <ac:spMk id="144" creationId="{433FC52C-1389-4204-AEEB-C9CA9E418A00}"/>
          </ac:spMkLst>
        </pc:spChg>
        <pc:spChg chg="mod">
          <ac:chgData name="Aude Van de WIELE" userId="7317e673-04dd-415c-a4d7-718682339b40" providerId="ADAL" clId="{80D4E734-020D-4C1F-A028-1B9E9B483F9A}" dt="2021-05-25T08:49:48.420" v="7303" actId="790"/>
          <ac:spMkLst>
            <pc:docMk/>
            <pc:sldMk cId="3781687056" sldId="10437"/>
            <ac:spMk id="145" creationId="{6A96C0AC-EDD4-48F7-A707-F61145038153}"/>
          </ac:spMkLst>
        </pc:spChg>
        <pc:spChg chg="mod">
          <ac:chgData name="Aude Van de WIELE" userId="7317e673-04dd-415c-a4d7-718682339b40" providerId="ADAL" clId="{80D4E734-020D-4C1F-A028-1B9E9B483F9A}" dt="2021-05-25T08:49:48.420" v="7304" actId="790"/>
          <ac:spMkLst>
            <pc:docMk/>
            <pc:sldMk cId="3781687056" sldId="10437"/>
            <ac:spMk id="146" creationId="{054F79DE-098B-4A1C-93C7-642B122E7D15}"/>
          </ac:spMkLst>
        </pc:spChg>
        <pc:spChg chg="mod">
          <ac:chgData name="Aude Van de WIELE" userId="7317e673-04dd-415c-a4d7-718682339b40" providerId="ADAL" clId="{80D4E734-020D-4C1F-A028-1B9E9B483F9A}" dt="2021-05-25T08:49:48.421" v="7305" actId="790"/>
          <ac:spMkLst>
            <pc:docMk/>
            <pc:sldMk cId="3781687056" sldId="10437"/>
            <ac:spMk id="147" creationId="{C050FFFB-6045-4F5E-B830-458E17DA18F1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49" creationId="{51177F13-2291-4C01-AEE0-FF9DC1F9FBC4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50" creationId="{8EAE2B76-2313-4656-A866-046474D9996A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51" creationId="{1EC6A59F-072B-4B31-95CB-BE3AA5E1AF39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52" creationId="{EF73B3A9-E91B-41E1-8986-2718E25E62D9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53" creationId="{6326A5C1-03CF-4303-91D8-855CCFCB6188}"/>
          </ac:spMkLst>
        </pc:spChg>
        <pc:spChg chg="mod">
          <ac:chgData name="Aude Van de WIELE" userId="7317e673-04dd-415c-a4d7-718682339b40" providerId="ADAL" clId="{80D4E734-020D-4C1F-A028-1B9E9B483F9A}" dt="2021-05-25T08:49:48.426" v="7310" actId="790"/>
          <ac:spMkLst>
            <pc:docMk/>
            <pc:sldMk cId="3781687056" sldId="10437"/>
            <ac:spMk id="154" creationId="{94C8C856-D1CB-4225-A7D9-CA0FD6CF89C6}"/>
          </ac:spMkLst>
        </pc:spChg>
        <pc:spChg chg="mod">
          <ac:chgData name="Aude Van de WIELE" userId="7317e673-04dd-415c-a4d7-718682339b40" providerId="ADAL" clId="{80D4E734-020D-4C1F-A028-1B9E9B483F9A}" dt="2021-05-25T08:49:48.427" v="7311" actId="790"/>
          <ac:spMkLst>
            <pc:docMk/>
            <pc:sldMk cId="3781687056" sldId="10437"/>
            <ac:spMk id="155" creationId="{54C742CD-5C48-4EB7-99B5-8A28818C5366}"/>
          </ac:spMkLst>
        </pc:spChg>
        <pc:spChg chg="mod">
          <ac:chgData name="Aude Van de WIELE" userId="7317e673-04dd-415c-a4d7-718682339b40" providerId="ADAL" clId="{80D4E734-020D-4C1F-A028-1B9E9B483F9A}" dt="2021-05-25T08:49:48.428" v="7312" actId="790"/>
          <ac:spMkLst>
            <pc:docMk/>
            <pc:sldMk cId="3781687056" sldId="10437"/>
            <ac:spMk id="156" creationId="{1F440329-79EC-471D-BDCF-46FA131899D6}"/>
          </ac:spMkLst>
        </pc:spChg>
        <pc:spChg chg="mod">
          <ac:chgData name="Aude Van de WIELE" userId="7317e673-04dd-415c-a4d7-718682339b40" providerId="ADAL" clId="{80D4E734-020D-4C1F-A028-1B9E9B483F9A}" dt="2021-05-25T08:49:48.428" v="7313" actId="790"/>
          <ac:spMkLst>
            <pc:docMk/>
            <pc:sldMk cId="3781687056" sldId="10437"/>
            <ac:spMk id="157" creationId="{12F4AF09-179E-4827-BED1-C78EB213DC6B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58" creationId="{940755A0-54AE-46D5-A1E6-19420F62A0B1}"/>
          </ac:spMkLst>
        </pc:spChg>
        <pc:spChg chg="mod">
          <ac:chgData name="Aude Van de WIELE" userId="7317e673-04dd-415c-a4d7-718682339b40" providerId="ADAL" clId="{80D4E734-020D-4C1F-A028-1B9E9B483F9A}" dt="2021-05-25T08:49:48.430" v="7315" actId="790"/>
          <ac:spMkLst>
            <pc:docMk/>
            <pc:sldMk cId="3781687056" sldId="10437"/>
            <ac:spMk id="159" creationId="{B80AF701-FD02-4A49-AF04-0D717773F8CE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60" creationId="{6794BF10-E356-4CFA-A5D2-64019521185A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61" creationId="{98B95108-A1D7-406A-9437-35CC8389273C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62" creationId="{E1AEBA31-2AB3-475A-A9D4-798F713EEFD7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63" creationId="{A02BA35A-F494-480F-8210-97DCAE0F40D4}"/>
          </ac:spMkLst>
        </pc:spChg>
        <pc:spChg chg="mod">
          <ac:chgData name="Aude Van de WIELE" userId="7317e673-04dd-415c-a4d7-718682339b40" providerId="ADAL" clId="{80D4E734-020D-4C1F-A028-1B9E9B483F9A}" dt="2021-05-25T08:49:48.433" v="7320" actId="790"/>
          <ac:spMkLst>
            <pc:docMk/>
            <pc:sldMk cId="3781687056" sldId="10437"/>
            <ac:spMk id="164" creationId="{96799BBD-9716-4675-B816-A24F8B182973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65" creationId="{D4EDE54C-EDC4-47FA-8DE8-CB94D6B5C6A5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66" creationId="{B6AA02B5-624F-48CC-968A-ED55D21C1D4B}"/>
          </ac:spMkLst>
        </pc:spChg>
        <pc:spChg chg="mod">
          <ac:chgData name="Aude Van de WIELE" userId="7317e673-04dd-415c-a4d7-718682339b40" providerId="ADAL" clId="{80D4E734-020D-4C1F-A028-1B9E9B483F9A}" dt="2021-05-25T08:49:48.476" v="7357" actId="790"/>
          <ac:spMkLst>
            <pc:docMk/>
            <pc:sldMk cId="3781687056" sldId="10437"/>
            <ac:spMk id="167" creationId="{AABEE270-608F-479B-8CA5-B82D4B6E27AA}"/>
          </ac:spMkLst>
        </pc:spChg>
        <pc:spChg chg="mod">
          <ac:chgData name="Aude Van de WIELE" userId="7317e673-04dd-415c-a4d7-718682339b40" providerId="ADAL" clId="{80D4E734-020D-4C1F-A028-1B9E9B483F9A}" dt="2021-05-25T08:49:48.434" v="7321" actId="790"/>
          <ac:spMkLst>
            <pc:docMk/>
            <pc:sldMk cId="3781687056" sldId="10437"/>
            <ac:spMk id="168" creationId="{F93FCD89-38BE-4A9F-89B4-7F9F1F03E6AA}"/>
          </ac:spMkLst>
        </pc:spChg>
        <pc:spChg chg="add mod">
          <ac:chgData name="Aude Van de WIELE" userId="7317e673-04dd-415c-a4d7-718682339b40" providerId="ADAL" clId="{80D4E734-020D-4C1F-A028-1B9E9B483F9A}" dt="2021-05-25T08:49:48.493" v="7366" actId="790"/>
          <ac:spMkLst>
            <pc:docMk/>
            <pc:sldMk cId="3781687056" sldId="10437"/>
            <ac:spMk id="169" creationId="{01F3BF53-D1F7-4A33-B6FA-94F3E4805773}"/>
          </ac:spMkLst>
        </pc:spChg>
        <pc:spChg chg="add del mod">
          <ac:chgData name="Aude Van de WIELE" userId="7317e673-04dd-415c-a4d7-718682339b40" providerId="ADAL" clId="{80D4E734-020D-4C1F-A028-1B9E9B483F9A}" dt="2021-05-25T13:05:22.741" v="12708" actId="478"/>
          <ac:spMkLst>
            <pc:docMk/>
            <pc:sldMk cId="3781687056" sldId="10437"/>
            <ac:spMk id="170" creationId="{D3BF5DBE-98F0-4D39-B1EF-15BA2B0D594B}"/>
          </ac:spMkLst>
        </pc:spChg>
        <pc:spChg chg="mod">
          <ac:chgData name="Aude Van de WIELE" userId="7317e673-04dd-415c-a4d7-718682339b40" providerId="ADAL" clId="{80D4E734-020D-4C1F-A028-1B9E9B483F9A}" dt="2021-05-25T08:49:48.435" v="7322" actId="790"/>
          <ac:spMkLst>
            <pc:docMk/>
            <pc:sldMk cId="3781687056" sldId="10437"/>
            <ac:spMk id="171" creationId="{1C8173C6-5E3A-4216-8804-5399B6AA31C6}"/>
          </ac:spMkLst>
        </pc:spChg>
        <pc:spChg chg="mod">
          <ac:chgData name="Aude Van de WIELE" userId="7317e673-04dd-415c-a4d7-718682339b40" providerId="ADAL" clId="{80D4E734-020D-4C1F-A028-1B9E9B483F9A}" dt="2021-05-25T08:49:48.435" v="7323" actId="790"/>
          <ac:spMkLst>
            <pc:docMk/>
            <pc:sldMk cId="3781687056" sldId="10437"/>
            <ac:spMk id="172" creationId="{863FD84C-845E-42CC-B2EE-54140523C6B3}"/>
          </ac:spMkLst>
        </pc:spChg>
        <pc:spChg chg="mod">
          <ac:chgData name="Aude Van de WIELE" userId="7317e673-04dd-415c-a4d7-718682339b40" providerId="ADAL" clId="{80D4E734-020D-4C1F-A028-1B9E9B483F9A}" dt="2021-05-25T08:49:48.436" v="7324" actId="790"/>
          <ac:spMkLst>
            <pc:docMk/>
            <pc:sldMk cId="3781687056" sldId="10437"/>
            <ac:spMk id="173" creationId="{1DD71EE6-7E10-4444-888A-89EBA3A5DBED}"/>
          </ac:spMkLst>
        </pc:spChg>
        <pc:spChg chg="add del mod">
          <ac:chgData name="Aude Van de WIELE" userId="7317e673-04dd-415c-a4d7-718682339b40" providerId="ADAL" clId="{80D4E734-020D-4C1F-A028-1B9E9B483F9A}" dt="2021-05-25T13:05:22.741" v="12708" actId="478"/>
          <ac:spMkLst>
            <pc:docMk/>
            <pc:sldMk cId="3781687056" sldId="10437"/>
            <ac:spMk id="174" creationId="{128509C2-52C7-48E3-B652-5C80D2E6D17C}"/>
          </ac:spMkLst>
        </pc:spChg>
        <pc:spChg chg="mod">
          <ac:chgData name="Aude Van de WIELE" userId="7317e673-04dd-415c-a4d7-718682339b40" providerId="ADAL" clId="{80D4E734-020D-4C1F-A028-1B9E9B483F9A}" dt="2021-05-25T08:49:48.437" v="7325" actId="790"/>
          <ac:spMkLst>
            <pc:docMk/>
            <pc:sldMk cId="3781687056" sldId="10437"/>
            <ac:spMk id="176" creationId="{04D2C6B9-3B58-4E34-BE83-8AA3849160DE}"/>
          </ac:spMkLst>
        </pc:spChg>
        <pc:spChg chg="mod">
          <ac:chgData name="Aude Van de WIELE" userId="7317e673-04dd-415c-a4d7-718682339b40" providerId="ADAL" clId="{80D4E734-020D-4C1F-A028-1B9E9B483F9A}" dt="2021-05-25T08:49:48.437" v="7326" actId="790"/>
          <ac:spMkLst>
            <pc:docMk/>
            <pc:sldMk cId="3781687056" sldId="10437"/>
            <ac:spMk id="177" creationId="{93AA6B9B-95A6-4425-A52D-B73C84CE1796}"/>
          </ac:spMkLst>
        </pc:spChg>
        <pc:spChg chg="mod">
          <ac:chgData name="Aude Van de WIELE" userId="7317e673-04dd-415c-a4d7-718682339b40" providerId="ADAL" clId="{80D4E734-020D-4C1F-A028-1B9E9B483F9A}" dt="2021-05-25T08:49:48.439" v="7328" actId="790"/>
          <ac:spMkLst>
            <pc:docMk/>
            <pc:sldMk cId="3781687056" sldId="10437"/>
            <ac:spMk id="183" creationId="{289DFA16-857A-412F-9C0A-278A9227568F}"/>
          </ac:spMkLst>
        </pc:spChg>
        <pc:spChg chg="del mod">
          <ac:chgData name="Aude Van de WIELE" userId="7317e673-04dd-415c-a4d7-718682339b40" providerId="ADAL" clId="{80D4E734-020D-4C1F-A028-1B9E9B483F9A}" dt="2021-05-25T13:05:22.741" v="12708" actId="478"/>
          <ac:spMkLst>
            <pc:docMk/>
            <pc:sldMk cId="3781687056" sldId="10437"/>
            <ac:spMk id="189" creationId="{06E35682-F489-4A97-ABCF-9A91DAC741CA}"/>
          </ac:spMkLst>
        </pc:spChg>
        <pc:spChg chg="del">
          <ac:chgData name="Aude Van de WIELE" userId="7317e673-04dd-415c-a4d7-718682339b40" providerId="ADAL" clId="{80D4E734-020D-4C1F-A028-1B9E9B483F9A}" dt="2021-05-24T10:04:29.730" v="1453" actId="478"/>
          <ac:spMkLst>
            <pc:docMk/>
            <pc:sldMk cId="3781687056" sldId="10437"/>
            <ac:spMk id="190" creationId="{A520A727-1C94-4AB3-90D3-F7A76FF5254F}"/>
          </ac:spMkLst>
        </pc:spChg>
        <pc:spChg chg="add mod">
          <ac:chgData name="Aude Van de WIELE" userId="7317e673-04dd-415c-a4d7-718682339b40" providerId="ADAL" clId="{80D4E734-020D-4C1F-A028-1B9E9B483F9A}" dt="2021-05-25T14:18:29.722" v="12780" actId="20577"/>
          <ac:spMkLst>
            <pc:docMk/>
            <pc:sldMk cId="3781687056" sldId="10437"/>
            <ac:spMk id="191" creationId="{7F91FB9F-8162-4A56-A275-1FAC63ED8765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93" creationId="{915FFD09-509D-4ABE-A16F-AF3093003B4D}"/>
          </ac:spMkLst>
        </pc:spChg>
        <pc:spChg chg="mod">
          <ac:chgData name="Aude Van de WIELE" userId="7317e673-04dd-415c-a4d7-718682339b40" providerId="ADAL" clId="{80D4E734-020D-4C1F-A028-1B9E9B483F9A}" dt="2021-05-25T08:49:48.441" v="7330" actId="790"/>
          <ac:spMkLst>
            <pc:docMk/>
            <pc:sldMk cId="3781687056" sldId="10437"/>
            <ac:spMk id="194" creationId="{7EB2B24B-10F1-4463-82D8-A136B9B73716}"/>
          </ac:spMkLst>
        </pc:spChg>
        <pc:spChg chg="mod">
          <ac:chgData name="Aude Van de WIELE" userId="7317e673-04dd-415c-a4d7-718682339b40" providerId="ADAL" clId="{80D4E734-020D-4C1F-A028-1B9E9B483F9A}" dt="2021-05-25T08:49:48.442" v="7331" actId="790"/>
          <ac:spMkLst>
            <pc:docMk/>
            <pc:sldMk cId="3781687056" sldId="10437"/>
            <ac:spMk id="195" creationId="{47138FD4-27DF-40DB-BAE0-23F8E66AD89B}"/>
          </ac:spMkLst>
        </pc:spChg>
        <pc:spChg chg="mod">
          <ac:chgData name="Aude Van de WIELE" userId="7317e673-04dd-415c-a4d7-718682339b40" providerId="ADAL" clId="{80D4E734-020D-4C1F-A028-1B9E9B483F9A}" dt="2021-05-25T08:49:48.442" v="7332" actId="790"/>
          <ac:spMkLst>
            <pc:docMk/>
            <pc:sldMk cId="3781687056" sldId="10437"/>
            <ac:spMk id="196" creationId="{4FB2EC28-4905-4CA5-BF08-392B3782DA49}"/>
          </ac:spMkLst>
        </pc:spChg>
        <pc:spChg chg="mod">
          <ac:chgData name="Aude Van de WIELE" userId="7317e673-04dd-415c-a4d7-718682339b40" providerId="ADAL" clId="{80D4E734-020D-4C1F-A028-1B9E9B483F9A}" dt="2021-05-25T08:49:48.443" v="7333" actId="790"/>
          <ac:spMkLst>
            <pc:docMk/>
            <pc:sldMk cId="3781687056" sldId="10437"/>
            <ac:spMk id="197" creationId="{3A832681-45CF-4B0A-B698-69DF86F8325C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98" creationId="{E0927A02-123E-4F6E-A17B-48818630B8DA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199" creationId="{8CA4A8A4-2C34-4930-B088-A9E050673F3D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201" creationId="{22C293ED-3457-456B-B33E-9B30D283EC28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202" creationId="{2C411495-2DDE-4ED8-87D0-24644C529575}"/>
          </ac:spMkLst>
        </pc:spChg>
        <pc:spChg chg="mod">
          <ac:chgData name="Aude Van de WIELE" userId="7317e673-04dd-415c-a4d7-718682339b40" providerId="ADAL" clId="{80D4E734-020D-4C1F-A028-1B9E9B483F9A}" dt="2021-05-25T12:57:13.397" v="12544" actId="14100"/>
          <ac:spMkLst>
            <pc:docMk/>
            <pc:sldMk cId="3781687056" sldId="10437"/>
            <ac:spMk id="203" creationId="{7A291F4F-8749-4061-BCD8-D0352D5BBAFA}"/>
          </ac:spMkLst>
        </pc:spChg>
        <pc:spChg chg="mod">
          <ac:chgData name="Aude Van de WIELE" userId="7317e673-04dd-415c-a4d7-718682339b40" providerId="ADAL" clId="{80D4E734-020D-4C1F-A028-1B9E9B483F9A}" dt="2021-05-25T08:49:48.448" v="7339" actId="790"/>
          <ac:spMkLst>
            <pc:docMk/>
            <pc:sldMk cId="3781687056" sldId="10437"/>
            <ac:spMk id="204" creationId="{333F5019-7477-45B2-9491-F98E8A940981}"/>
          </ac:spMkLst>
        </pc:spChg>
        <pc:spChg chg="mod">
          <ac:chgData name="Aude Van de WIELE" userId="7317e673-04dd-415c-a4d7-718682339b40" providerId="ADAL" clId="{80D4E734-020D-4C1F-A028-1B9E9B483F9A}" dt="2021-05-25T08:49:48.448" v="7340" actId="790"/>
          <ac:spMkLst>
            <pc:docMk/>
            <pc:sldMk cId="3781687056" sldId="10437"/>
            <ac:spMk id="206" creationId="{ADD53EE2-BB87-4918-A4B7-FBC3599F15EC}"/>
          </ac:spMkLst>
        </pc:spChg>
        <pc:spChg chg="mod">
          <ac:chgData name="Aude Van de WIELE" userId="7317e673-04dd-415c-a4d7-718682339b40" providerId="ADAL" clId="{80D4E734-020D-4C1F-A028-1B9E9B483F9A}" dt="2021-05-25T08:49:48.449" v="7341" actId="790"/>
          <ac:spMkLst>
            <pc:docMk/>
            <pc:sldMk cId="3781687056" sldId="10437"/>
            <ac:spMk id="207" creationId="{EE59E0A7-A0EB-4AA2-91E2-F7A50124575E}"/>
          </ac:spMkLst>
        </pc:spChg>
        <pc:spChg chg="mod">
          <ac:chgData name="Aude Van de WIELE" userId="7317e673-04dd-415c-a4d7-718682339b40" providerId="ADAL" clId="{80D4E734-020D-4C1F-A028-1B9E9B483F9A}" dt="2021-05-25T08:49:48.450" v="7342" actId="790"/>
          <ac:spMkLst>
            <pc:docMk/>
            <pc:sldMk cId="3781687056" sldId="10437"/>
            <ac:spMk id="208" creationId="{0363F8E2-3219-4530-BBCF-E04F28BC621F}"/>
          </ac:spMkLst>
        </pc:spChg>
        <pc:spChg chg="mod">
          <ac:chgData name="Aude Van de WIELE" userId="7317e673-04dd-415c-a4d7-718682339b40" providerId="ADAL" clId="{80D4E734-020D-4C1F-A028-1B9E9B483F9A}" dt="2021-05-25T08:49:48.450" v="7343" actId="790"/>
          <ac:spMkLst>
            <pc:docMk/>
            <pc:sldMk cId="3781687056" sldId="10437"/>
            <ac:spMk id="209" creationId="{31F9DB55-FB49-48A9-829D-19B3145A727D}"/>
          </ac:spMkLst>
        </pc:spChg>
        <pc:spChg chg="mod">
          <ac:chgData name="Aude Van de WIELE" userId="7317e673-04dd-415c-a4d7-718682339b40" providerId="ADAL" clId="{80D4E734-020D-4C1F-A028-1B9E9B483F9A}" dt="2021-05-25T08:49:48.454" v="7344" actId="790"/>
          <ac:spMkLst>
            <pc:docMk/>
            <pc:sldMk cId="3781687056" sldId="10437"/>
            <ac:spMk id="210" creationId="{02DFB263-4201-4CE5-9E34-D9E8F5DCEF68}"/>
          </ac:spMkLst>
        </pc:spChg>
        <pc:spChg chg="mod">
          <ac:chgData name="Aude Van de WIELE" userId="7317e673-04dd-415c-a4d7-718682339b40" providerId="ADAL" clId="{80D4E734-020D-4C1F-A028-1B9E9B483F9A}" dt="2021-05-25T08:49:48.457" v="7345" actId="790"/>
          <ac:spMkLst>
            <pc:docMk/>
            <pc:sldMk cId="3781687056" sldId="10437"/>
            <ac:spMk id="211" creationId="{E80B6C42-3CAD-4FA1-9728-E3089DD967C0}"/>
          </ac:spMkLst>
        </pc:spChg>
        <pc:spChg chg="mod">
          <ac:chgData name="Aude Van de WIELE" userId="7317e673-04dd-415c-a4d7-718682339b40" providerId="ADAL" clId="{80D4E734-020D-4C1F-A028-1B9E9B483F9A}" dt="2021-05-25T08:49:48.460" v="7346" actId="790"/>
          <ac:spMkLst>
            <pc:docMk/>
            <pc:sldMk cId="3781687056" sldId="10437"/>
            <ac:spMk id="212" creationId="{37F99B79-C2EB-4E9B-8867-29C88DDE31D2}"/>
          </ac:spMkLst>
        </pc:spChg>
        <pc:spChg chg="mod">
          <ac:chgData name="Aude Van de WIELE" userId="7317e673-04dd-415c-a4d7-718682339b40" providerId="ADAL" clId="{80D4E734-020D-4C1F-A028-1B9E9B483F9A}" dt="2021-05-25T12:57:38.554" v="12548" actId="14100"/>
          <ac:spMkLst>
            <pc:docMk/>
            <pc:sldMk cId="3781687056" sldId="10437"/>
            <ac:spMk id="213" creationId="{5EE59935-F88B-4713-91C2-CDA6D67F98C8}"/>
          </ac:spMkLst>
        </pc:spChg>
        <pc:spChg chg="mod">
          <ac:chgData name="Aude Van de WIELE" userId="7317e673-04dd-415c-a4d7-718682339b40" providerId="ADAL" clId="{80D4E734-020D-4C1F-A028-1B9E9B483F9A}" dt="2021-05-25T08:49:48.464" v="7348" actId="790"/>
          <ac:spMkLst>
            <pc:docMk/>
            <pc:sldMk cId="3781687056" sldId="10437"/>
            <ac:spMk id="214" creationId="{BE823D1E-AA34-4C5D-A606-17F7CE404F90}"/>
          </ac:spMkLst>
        </pc:spChg>
        <pc:spChg chg="mod">
          <ac:chgData name="Aude Van de WIELE" userId="7317e673-04dd-415c-a4d7-718682339b40" providerId="ADAL" clId="{80D4E734-020D-4C1F-A028-1B9E9B483F9A}" dt="2021-05-25T08:49:48.467" v="7349" actId="790"/>
          <ac:spMkLst>
            <pc:docMk/>
            <pc:sldMk cId="3781687056" sldId="10437"/>
            <ac:spMk id="215" creationId="{B62FC16B-4040-4AF6-B5CC-BF978E5158FB}"/>
          </ac:spMkLst>
        </pc:spChg>
        <pc:spChg chg="mod">
          <ac:chgData name="Aude Van de WIELE" userId="7317e673-04dd-415c-a4d7-718682339b40" providerId="ADAL" clId="{80D4E734-020D-4C1F-A028-1B9E9B483F9A}" dt="2021-05-25T08:49:48.469" v="7350" actId="790"/>
          <ac:spMkLst>
            <pc:docMk/>
            <pc:sldMk cId="3781687056" sldId="10437"/>
            <ac:spMk id="216" creationId="{9C9C8A51-74C6-4591-B716-ABF7D96667F0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221" creationId="{EE7607F0-4F39-4335-9266-F10C12A764C8}"/>
          </ac:spMkLst>
        </pc:spChg>
        <pc:spChg chg="mod">
          <ac:chgData name="Aude Van de WIELE" userId="7317e673-04dd-415c-a4d7-718682339b40" providerId="ADAL" clId="{80D4E734-020D-4C1F-A028-1B9E9B483F9A}" dt="2021-05-25T12:57:30.088" v="12545" actId="1076"/>
          <ac:spMkLst>
            <pc:docMk/>
            <pc:sldMk cId="3781687056" sldId="10437"/>
            <ac:spMk id="222" creationId="{62A0F709-C64C-49D4-B7C3-A4046DA2A523}"/>
          </ac:spMkLst>
        </pc:spChg>
        <pc:spChg chg="mod">
          <ac:chgData name="Aude Van de WIELE" userId="7317e673-04dd-415c-a4d7-718682339b40" providerId="ADAL" clId="{80D4E734-020D-4C1F-A028-1B9E9B483F9A}" dt="2021-05-25T08:49:48.472" v="7351" actId="790"/>
          <ac:spMkLst>
            <pc:docMk/>
            <pc:sldMk cId="3781687056" sldId="10437"/>
            <ac:spMk id="228" creationId="{C5E41BFB-BA58-4B75-B52C-2FED687832D0}"/>
          </ac:spMkLst>
        </pc:spChg>
        <pc:spChg chg="mod">
          <ac:chgData name="Aude Van de WIELE" userId="7317e673-04dd-415c-a4d7-718682339b40" providerId="ADAL" clId="{80D4E734-020D-4C1F-A028-1B9E9B483F9A}" dt="2021-05-25T08:49:48.473" v="7352" actId="790"/>
          <ac:spMkLst>
            <pc:docMk/>
            <pc:sldMk cId="3781687056" sldId="10437"/>
            <ac:spMk id="229" creationId="{CBB51DE1-A100-48E7-817E-76CD6A70193B}"/>
          </ac:spMkLst>
        </pc:spChg>
        <pc:spChg chg="del">
          <ac:chgData name="Aude Van de WIELE" userId="7317e673-04dd-415c-a4d7-718682339b40" providerId="ADAL" clId="{80D4E734-020D-4C1F-A028-1B9E9B483F9A}" dt="2021-05-24T10:27:08.670" v="1889" actId="478"/>
          <ac:spMkLst>
            <pc:docMk/>
            <pc:sldMk cId="3781687056" sldId="10437"/>
            <ac:spMk id="232" creationId="{97EAC7C7-A043-4FF4-BD0C-A6F254269024}"/>
          </ac:spMkLst>
        </pc:spChg>
        <pc:spChg chg="mod">
          <ac:chgData name="Aude Van de WIELE" userId="7317e673-04dd-415c-a4d7-718682339b40" providerId="ADAL" clId="{80D4E734-020D-4C1F-A028-1B9E9B483F9A}" dt="2021-05-24T10:02:08.091" v="1327" actId="1076"/>
          <ac:spMkLst>
            <pc:docMk/>
            <pc:sldMk cId="3781687056" sldId="10437"/>
            <ac:spMk id="234" creationId="{E3C487CC-7467-4328-BCED-C220680776B7}"/>
          </ac:spMkLst>
        </pc:spChg>
        <pc:spChg chg="mod">
          <ac:chgData name="Aude Van de WIELE" userId="7317e673-04dd-415c-a4d7-718682339b40" providerId="ADAL" clId="{80D4E734-020D-4C1F-A028-1B9E9B483F9A}" dt="2021-05-24T10:02:08.091" v="1327" actId="1076"/>
          <ac:spMkLst>
            <pc:docMk/>
            <pc:sldMk cId="3781687056" sldId="10437"/>
            <ac:spMk id="235" creationId="{69E5F7E7-27F9-4944-88D2-5C0869ABE8D7}"/>
          </ac:spMkLst>
        </pc:spChg>
        <pc:spChg chg="add mod">
          <ac:chgData name="Aude Van de WIELE" userId="7317e673-04dd-415c-a4d7-718682339b40" providerId="ADAL" clId="{80D4E734-020D-4C1F-A028-1B9E9B483F9A}" dt="2021-05-24T10:27:08.902" v="1890"/>
          <ac:spMkLst>
            <pc:docMk/>
            <pc:sldMk cId="3781687056" sldId="10437"/>
            <ac:spMk id="236" creationId="{F1ABE7E4-6101-4028-94E8-06D28E561CE1}"/>
          </ac:spMkLst>
        </pc:spChg>
        <pc:spChg chg="add del mod">
          <ac:chgData name="Aude Van de WIELE" userId="7317e673-04dd-415c-a4d7-718682339b40" providerId="ADAL" clId="{80D4E734-020D-4C1F-A028-1B9E9B483F9A}" dt="2021-05-24T16:12:10.001" v="6204" actId="478"/>
          <ac:spMkLst>
            <pc:docMk/>
            <pc:sldMk cId="3781687056" sldId="10437"/>
            <ac:spMk id="237" creationId="{3BCC8D0B-8609-4886-88F3-BE2664FA764C}"/>
          </ac:spMkLst>
        </pc:spChg>
        <pc:spChg chg="mod">
          <ac:chgData name="Aude Van de WIELE" userId="7317e673-04dd-415c-a4d7-718682339b40" providerId="ADAL" clId="{80D4E734-020D-4C1F-A028-1B9E9B483F9A}" dt="2021-05-25T08:49:48.488" v="7359" actId="790"/>
          <ac:spMkLst>
            <pc:docMk/>
            <pc:sldMk cId="3781687056" sldId="10437"/>
            <ac:spMk id="238" creationId="{F826A47F-757C-409C-BEA6-01FCBF8A383B}"/>
          </ac:spMkLst>
        </pc:spChg>
        <pc:spChg chg="mod">
          <ac:chgData name="Aude Van de WIELE" userId="7317e673-04dd-415c-a4d7-718682339b40" providerId="ADAL" clId="{80D4E734-020D-4C1F-A028-1B9E9B483F9A}" dt="2021-05-25T08:49:48.489" v="7360" actId="790"/>
          <ac:spMkLst>
            <pc:docMk/>
            <pc:sldMk cId="3781687056" sldId="10437"/>
            <ac:spMk id="240" creationId="{13739CED-36E7-4042-8E31-7FC1FA8FC488}"/>
          </ac:spMkLst>
        </pc:spChg>
        <pc:spChg chg="mod">
          <ac:chgData name="Aude Van de WIELE" userId="7317e673-04dd-415c-a4d7-718682339b40" providerId="ADAL" clId="{80D4E734-020D-4C1F-A028-1B9E9B483F9A}" dt="2021-05-25T08:49:48.489" v="7361" actId="790"/>
          <ac:spMkLst>
            <pc:docMk/>
            <pc:sldMk cId="3781687056" sldId="10437"/>
            <ac:spMk id="241" creationId="{2A39AAA1-5B67-4357-939C-F53D8008D2DF}"/>
          </ac:spMkLst>
        </pc:spChg>
        <pc:spChg chg="mod">
          <ac:chgData name="Aude Van de WIELE" userId="7317e673-04dd-415c-a4d7-718682339b40" providerId="ADAL" clId="{80D4E734-020D-4C1F-A028-1B9E9B483F9A}" dt="2021-05-25T08:49:48.490" v="7362" actId="790"/>
          <ac:spMkLst>
            <pc:docMk/>
            <pc:sldMk cId="3781687056" sldId="10437"/>
            <ac:spMk id="242" creationId="{4BEFCB21-CC2C-4D05-B885-30FAE32863F1}"/>
          </ac:spMkLst>
        </pc:spChg>
        <pc:spChg chg="mod">
          <ac:chgData name="Aude Van de WIELE" userId="7317e673-04dd-415c-a4d7-718682339b40" providerId="ADAL" clId="{80D4E734-020D-4C1F-A028-1B9E9B483F9A}" dt="2021-05-25T08:49:48.491" v="7363" actId="790"/>
          <ac:spMkLst>
            <pc:docMk/>
            <pc:sldMk cId="3781687056" sldId="10437"/>
            <ac:spMk id="243" creationId="{BD9C4DEC-2369-4827-9F9A-3E9E4EEE84C0}"/>
          </ac:spMkLst>
        </pc:spChg>
        <pc:spChg chg="mod">
          <ac:chgData name="Aude Van de WIELE" userId="7317e673-04dd-415c-a4d7-718682339b40" providerId="ADAL" clId="{80D4E734-020D-4C1F-A028-1B9E9B483F9A}" dt="2021-05-25T08:49:48.492" v="7364" actId="790"/>
          <ac:spMkLst>
            <pc:docMk/>
            <pc:sldMk cId="3781687056" sldId="10437"/>
            <ac:spMk id="244" creationId="{BCCD53EC-6927-442A-BAAE-7B54EA6A2A57}"/>
          </ac:spMkLst>
        </pc:spChg>
        <pc:spChg chg="mod">
          <ac:chgData name="Aude Van de WIELE" userId="7317e673-04dd-415c-a4d7-718682339b40" providerId="ADAL" clId="{80D4E734-020D-4C1F-A028-1B9E9B483F9A}" dt="2021-05-25T08:49:48.492" v="7365" actId="790"/>
          <ac:spMkLst>
            <pc:docMk/>
            <pc:sldMk cId="3781687056" sldId="10437"/>
            <ac:spMk id="245" creationId="{12C8EFD0-71B9-4983-9923-5CE05799F1EF}"/>
          </ac:spMkLst>
        </pc:spChg>
        <pc:grpChg chg="mod">
          <ac:chgData name="Aude Van de WIELE" userId="7317e673-04dd-415c-a4d7-718682339b40" providerId="ADAL" clId="{80D4E734-020D-4C1F-A028-1B9E9B483F9A}" dt="2021-05-25T12:57:30.088" v="12545" actId="1076"/>
          <ac:grpSpMkLst>
            <pc:docMk/>
            <pc:sldMk cId="3781687056" sldId="10437"/>
            <ac:grpSpMk id="104" creationId="{4A1FB31B-9720-43CB-AE60-5541DADFB35A}"/>
          </ac:grpSpMkLst>
        </pc:grpChg>
        <pc:grpChg chg="mod">
          <ac:chgData name="Aude Van de WIELE" userId="7317e673-04dd-415c-a4d7-718682339b40" providerId="ADAL" clId="{80D4E734-020D-4C1F-A028-1B9E9B483F9A}" dt="2021-05-25T12:57:30.088" v="12545" actId="1076"/>
          <ac:grpSpMkLst>
            <pc:docMk/>
            <pc:sldMk cId="3781687056" sldId="10437"/>
            <ac:grpSpMk id="112" creationId="{BCAF6075-5A0A-426C-BE07-730C814D8929}"/>
          </ac:grpSpMkLst>
        </pc:grpChg>
        <pc:grpChg chg="mod">
          <ac:chgData name="Aude Van de WIELE" userId="7317e673-04dd-415c-a4d7-718682339b40" providerId="ADAL" clId="{80D4E734-020D-4C1F-A028-1B9E9B483F9A}" dt="2021-05-25T12:57:30.088" v="12545" actId="1076"/>
          <ac:grpSpMkLst>
            <pc:docMk/>
            <pc:sldMk cId="3781687056" sldId="10437"/>
            <ac:grpSpMk id="120" creationId="{98F4A28E-2E49-4796-8789-4D7AB3B6CFD2}"/>
          </ac:grpSpMkLst>
        </pc:grpChg>
        <pc:grpChg chg="mod">
          <ac:chgData name="Aude Van de WIELE" userId="7317e673-04dd-415c-a4d7-718682339b40" providerId="ADAL" clId="{80D4E734-020D-4C1F-A028-1B9E9B483F9A}" dt="2021-05-25T12:57:30.088" v="12545" actId="1076"/>
          <ac:grpSpMkLst>
            <pc:docMk/>
            <pc:sldMk cId="3781687056" sldId="10437"/>
            <ac:grpSpMk id="148" creationId="{A45CC702-29E9-42FD-987C-424344FC61DA}"/>
          </ac:grpSpMkLst>
        </pc:grpChg>
        <pc:grpChg chg="mod">
          <ac:chgData name="Aude Van de WIELE" userId="7317e673-04dd-415c-a4d7-718682339b40" providerId="ADAL" clId="{80D4E734-020D-4C1F-A028-1B9E9B483F9A}" dt="2021-05-25T12:57:30.088" v="12545" actId="1076"/>
          <ac:grpSpMkLst>
            <pc:docMk/>
            <pc:sldMk cId="3781687056" sldId="10437"/>
            <ac:grpSpMk id="220" creationId="{60C270A4-4F70-4D44-9130-58E087F2547A}"/>
          </ac:grpSpMkLst>
        </pc:grpChg>
        <pc:grpChg chg="add del mod">
          <ac:chgData name="Aude Van de WIELE" userId="7317e673-04dd-415c-a4d7-718682339b40" providerId="ADAL" clId="{80D4E734-020D-4C1F-A028-1B9E9B483F9A}" dt="2021-05-24T10:02:09.663" v="1328" actId="478"/>
          <ac:grpSpMkLst>
            <pc:docMk/>
            <pc:sldMk cId="3781687056" sldId="10437"/>
            <ac:grpSpMk id="233" creationId="{D6324F7C-85BE-4BCC-87D7-9BB0E1DE71A7}"/>
          </ac:grpSpMkLst>
        </pc:grpChg>
        <pc:picChg chg="mod">
          <ac:chgData name="Aude Van de WIELE" userId="7317e673-04dd-415c-a4d7-718682339b40" providerId="ADAL" clId="{80D4E734-020D-4C1F-A028-1B9E9B483F9A}" dt="2021-05-25T12:57:30.088" v="12545" actId="1076"/>
          <ac:picMkLst>
            <pc:docMk/>
            <pc:sldMk cId="3781687056" sldId="10437"/>
            <ac:picMk id="103" creationId="{08B68E32-6CC5-48AE-847D-EDF423AAE264}"/>
          </ac:picMkLst>
        </pc:picChg>
        <pc:picChg chg="mod">
          <ac:chgData name="Aude Van de WIELE" userId="7317e673-04dd-415c-a4d7-718682339b40" providerId="ADAL" clId="{80D4E734-020D-4C1F-A028-1B9E9B483F9A}" dt="2021-05-25T12:57:30.088" v="12545" actId="1076"/>
          <ac:picMkLst>
            <pc:docMk/>
            <pc:sldMk cId="3781687056" sldId="10437"/>
            <ac:picMk id="109" creationId="{A2699CDE-57F5-49C6-8121-8DC37371DDEA}"/>
          </ac:picMkLst>
        </pc:picChg>
        <pc:picChg chg="mod">
          <ac:chgData name="Aude Van de WIELE" userId="7317e673-04dd-415c-a4d7-718682339b40" providerId="ADAL" clId="{80D4E734-020D-4C1F-A028-1B9E9B483F9A}" dt="2021-05-25T12:57:30.088" v="12545" actId="1076"/>
          <ac:picMkLst>
            <pc:docMk/>
            <pc:sldMk cId="3781687056" sldId="10437"/>
            <ac:picMk id="110" creationId="{EACA0370-F359-40ED-A8B0-E41ABBDFBFD3}"/>
          </ac:picMkLst>
        </pc:picChg>
        <pc:picChg chg="mod">
          <ac:chgData name="Aude Van de WIELE" userId="7317e673-04dd-415c-a4d7-718682339b40" providerId="ADAL" clId="{80D4E734-020D-4C1F-A028-1B9E9B483F9A}" dt="2021-05-25T12:57:30.088" v="12545" actId="1076"/>
          <ac:picMkLst>
            <pc:docMk/>
            <pc:sldMk cId="3781687056" sldId="10437"/>
            <ac:picMk id="114" creationId="{89B17123-4FE4-481C-BAA2-FBBD26C853F1}"/>
          </ac:picMkLst>
        </pc:picChg>
        <pc:picChg chg="mod">
          <ac:chgData name="Aude Van de WIELE" userId="7317e673-04dd-415c-a4d7-718682339b40" providerId="ADAL" clId="{80D4E734-020D-4C1F-A028-1B9E9B483F9A}" dt="2021-05-25T12:57:30.088" v="12545" actId="1076"/>
          <ac:picMkLst>
            <pc:docMk/>
            <pc:sldMk cId="3781687056" sldId="10437"/>
            <ac:picMk id="180" creationId="{C12BF57E-C00E-406B-8E6A-8E384CE705BD}"/>
          </ac:picMkLst>
        </pc:picChg>
        <pc:picChg chg="mod">
          <ac:chgData name="Aude Van de WIELE" userId="7317e673-04dd-415c-a4d7-718682339b40" providerId="ADAL" clId="{80D4E734-020D-4C1F-A028-1B9E9B483F9A}" dt="2021-05-25T12:57:30.088" v="12545" actId="1076"/>
          <ac:picMkLst>
            <pc:docMk/>
            <pc:sldMk cId="3781687056" sldId="10437"/>
            <ac:picMk id="181" creationId="{1256FA07-658A-4C04-952C-F3CA36CA4BF8}"/>
          </ac:picMkLst>
        </pc:picChg>
        <pc:picChg chg="mod">
          <ac:chgData name="Aude Van de WIELE" userId="7317e673-04dd-415c-a4d7-718682339b40" providerId="ADAL" clId="{80D4E734-020D-4C1F-A028-1B9E9B483F9A}" dt="2021-05-25T12:57:30.088" v="12545" actId="1076"/>
          <ac:picMkLst>
            <pc:docMk/>
            <pc:sldMk cId="3781687056" sldId="10437"/>
            <ac:picMk id="182" creationId="{DF485F4D-B144-4BD6-998E-B2095A225123}"/>
          </ac:picMkLst>
        </pc:picChg>
        <pc:picChg chg="add mod">
          <ac:chgData name="Aude Van de WIELE" userId="7317e673-04dd-415c-a4d7-718682339b40" providerId="ADAL" clId="{80D4E734-020D-4C1F-A028-1B9E9B483F9A}" dt="2021-05-25T13:05:11.868" v="12707" actId="1076"/>
          <ac:picMkLst>
            <pc:docMk/>
            <pc:sldMk cId="3781687056" sldId="10437"/>
            <ac:picMk id="192" creationId="{E975B35A-034B-46E9-A9ED-0E64D26035A0}"/>
          </ac:picMkLst>
        </pc:picChg>
      </pc:sldChg>
      <pc:sldChg chg="modSp mod">
        <pc:chgData name="Aude Van de WIELE" userId="7317e673-04dd-415c-a4d7-718682339b40" providerId="ADAL" clId="{80D4E734-020D-4C1F-A028-1B9E9B483F9A}" dt="2021-05-25T08:49:50.249" v="8887" actId="790"/>
        <pc:sldMkLst>
          <pc:docMk/>
          <pc:sldMk cId="203190409" sldId="10438"/>
        </pc:sldMkLst>
        <pc:spChg chg="mod">
          <ac:chgData name="Aude Van de WIELE" userId="7317e673-04dd-415c-a4d7-718682339b40" providerId="ADAL" clId="{80D4E734-020D-4C1F-A028-1B9E9B483F9A}" dt="2021-05-25T08:49:50.212" v="8853" actId="790"/>
          <ac:spMkLst>
            <pc:docMk/>
            <pc:sldMk cId="203190409" sldId="10438"/>
            <ac:spMk id="2" creationId="{1B8B41D0-3B5A-41F2-BD36-274CA5605C3A}"/>
          </ac:spMkLst>
        </pc:spChg>
        <pc:spChg chg="mod">
          <ac:chgData name="Aude Van de WIELE" userId="7317e673-04dd-415c-a4d7-718682339b40" providerId="ADAL" clId="{80D4E734-020D-4C1F-A028-1B9E9B483F9A}" dt="2021-05-25T08:49:50.205" v="8845" actId="790"/>
          <ac:spMkLst>
            <pc:docMk/>
            <pc:sldMk cId="203190409" sldId="10438"/>
            <ac:spMk id="3" creationId="{F2961EB7-FC0B-4AEF-8BF3-7969101BE0A7}"/>
          </ac:spMkLst>
        </pc:spChg>
        <pc:spChg chg="mod">
          <ac:chgData name="Aude Van de WIELE" userId="7317e673-04dd-415c-a4d7-718682339b40" providerId="ADAL" clId="{80D4E734-020D-4C1F-A028-1B9E9B483F9A}" dt="2021-05-25T08:49:50.205" v="8846" actId="790"/>
          <ac:spMkLst>
            <pc:docMk/>
            <pc:sldMk cId="203190409" sldId="10438"/>
            <ac:spMk id="4" creationId="{43E0D5C7-0986-42B1-8E8C-7B58D0CBD773}"/>
          </ac:spMkLst>
        </pc:spChg>
        <pc:spChg chg="mod">
          <ac:chgData name="Aude Van de WIELE" userId="7317e673-04dd-415c-a4d7-718682339b40" providerId="ADAL" clId="{80D4E734-020D-4C1F-A028-1B9E9B483F9A}" dt="2021-05-25T08:49:50.213" v="8854" actId="790"/>
          <ac:spMkLst>
            <pc:docMk/>
            <pc:sldMk cId="203190409" sldId="10438"/>
            <ac:spMk id="5" creationId="{32E0BE14-B2E8-4A96-ADE4-0BE247A47D79}"/>
          </ac:spMkLst>
        </pc:spChg>
        <pc:spChg chg="mod">
          <ac:chgData name="Aude Van de WIELE" userId="7317e673-04dd-415c-a4d7-718682339b40" providerId="ADAL" clId="{80D4E734-020D-4C1F-A028-1B9E9B483F9A}" dt="2021-05-25T08:49:50.214" v="8855" actId="790"/>
          <ac:spMkLst>
            <pc:docMk/>
            <pc:sldMk cId="203190409" sldId="10438"/>
            <ac:spMk id="6" creationId="{8AEA1672-C0F9-4DB2-A6F4-76831980F749}"/>
          </ac:spMkLst>
        </pc:spChg>
        <pc:spChg chg="mod">
          <ac:chgData name="Aude Van de WIELE" userId="7317e673-04dd-415c-a4d7-718682339b40" providerId="ADAL" clId="{80D4E734-020D-4C1F-A028-1B9E9B483F9A}" dt="2021-05-25T08:49:50.209" v="8851" actId="790"/>
          <ac:spMkLst>
            <pc:docMk/>
            <pc:sldMk cId="203190409" sldId="10438"/>
            <ac:spMk id="7" creationId="{064EAC16-1947-4EB5-B699-F79BA984701D}"/>
          </ac:spMkLst>
        </pc:spChg>
        <pc:spChg chg="mod">
          <ac:chgData name="Aude Van de WIELE" userId="7317e673-04dd-415c-a4d7-718682339b40" providerId="ADAL" clId="{80D4E734-020D-4C1F-A028-1B9E9B483F9A}" dt="2021-05-25T08:49:50.210" v="8852" actId="790"/>
          <ac:spMkLst>
            <pc:docMk/>
            <pc:sldMk cId="203190409" sldId="10438"/>
            <ac:spMk id="8" creationId="{17235FB0-B480-4F11-BAB2-ECCE97A0AE35}"/>
          </ac:spMkLst>
        </pc:spChg>
        <pc:spChg chg="mod">
          <ac:chgData name="Aude Van de WIELE" userId="7317e673-04dd-415c-a4d7-718682339b40" providerId="ADAL" clId="{80D4E734-020D-4C1F-A028-1B9E9B483F9A}" dt="2021-05-25T08:49:50.215" v="8856" actId="790"/>
          <ac:spMkLst>
            <pc:docMk/>
            <pc:sldMk cId="203190409" sldId="10438"/>
            <ac:spMk id="9" creationId="{E57AC7D2-FC03-4826-B2B4-B86B10C8A912}"/>
          </ac:spMkLst>
        </pc:spChg>
        <pc:spChg chg="mod">
          <ac:chgData name="Aude Van de WIELE" userId="7317e673-04dd-415c-a4d7-718682339b40" providerId="ADAL" clId="{80D4E734-020D-4C1F-A028-1B9E9B483F9A}" dt="2021-05-25T08:49:50.233" v="8870" actId="790"/>
          <ac:spMkLst>
            <pc:docMk/>
            <pc:sldMk cId="203190409" sldId="10438"/>
            <ac:spMk id="10" creationId="{EC4BC8E5-CDE6-4BDA-8B1B-E89284306AC8}"/>
          </ac:spMkLst>
        </pc:spChg>
        <pc:spChg chg="mod">
          <ac:chgData name="Aude Van de WIELE" userId="7317e673-04dd-415c-a4d7-718682339b40" providerId="ADAL" clId="{80D4E734-020D-4C1F-A028-1B9E9B483F9A}" dt="2021-05-25T08:49:50.208" v="8849" actId="790"/>
          <ac:spMkLst>
            <pc:docMk/>
            <pc:sldMk cId="203190409" sldId="10438"/>
            <ac:spMk id="12" creationId="{06146879-726F-492D-B854-B9E140208671}"/>
          </ac:spMkLst>
        </pc:spChg>
        <pc:spChg chg="mod">
          <ac:chgData name="Aude Van de WIELE" userId="7317e673-04dd-415c-a4d7-718682339b40" providerId="ADAL" clId="{80D4E734-020D-4C1F-A028-1B9E9B483F9A}" dt="2021-05-25T08:49:50.238" v="8876" actId="790"/>
          <ac:spMkLst>
            <pc:docMk/>
            <pc:sldMk cId="203190409" sldId="10438"/>
            <ac:spMk id="13" creationId="{E9F049B4-9F79-4754-AA4A-B557B2A6D3C9}"/>
          </ac:spMkLst>
        </pc:spChg>
        <pc:spChg chg="mod">
          <ac:chgData name="Aude Van de WIELE" userId="7317e673-04dd-415c-a4d7-718682339b40" providerId="ADAL" clId="{80D4E734-020D-4C1F-A028-1B9E9B483F9A}" dt="2021-05-25T08:49:50.230" v="8866" actId="790"/>
          <ac:spMkLst>
            <pc:docMk/>
            <pc:sldMk cId="203190409" sldId="10438"/>
            <ac:spMk id="18" creationId="{E5E5B17C-AF5B-4FCB-935E-796FE66056AC}"/>
          </ac:spMkLst>
        </pc:spChg>
        <pc:spChg chg="mod">
          <ac:chgData name="Aude Van de WIELE" userId="7317e673-04dd-415c-a4d7-718682339b40" providerId="ADAL" clId="{80D4E734-020D-4C1F-A028-1B9E9B483F9A}" dt="2021-05-25T08:49:50.216" v="8857" actId="790"/>
          <ac:spMkLst>
            <pc:docMk/>
            <pc:sldMk cId="203190409" sldId="10438"/>
            <ac:spMk id="19" creationId="{D183DC4A-A310-4818-8DE5-DD81DA31ACA2}"/>
          </ac:spMkLst>
        </pc:spChg>
        <pc:spChg chg="mod">
          <ac:chgData name="Aude Van de WIELE" userId="7317e673-04dd-415c-a4d7-718682339b40" providerId="ADAL" clId="{80D4E734-020D-4C1F-A028-1B9E9B483F9A}" dt="2021-05-25T08:49:50.217" v="8858" actId="790"/>
          <ac:spMkLst>
            <pc:docMk/>
            <pc:sldMk cId="203190409" sldId="10438"/>
            <ac:spMk id="20" creationId="{54E8F179-87EF-4A92-9C29-92D7E20EB946}"/>
          </ac:spMkLst>
        </pc:spChg>
        <pc:spChg chg="mod">
          <ac:chgData name="Aude Van de WIELE" userId="7317e673-04dd-415c-a4d7-718682339b40" providerId="ADAL" clId="{80D4E734-020D-4C1F-A028-1B9E9B483F9A}" dt="2021-05-25T08:49:50.217" v="8859" actId="790"/>
          <ac:spMkLst>
            <pc:docMk/>
            <pc:sldMk cId="203190409" sldId="10438"/>
            <ac:spMk id="21" creationId="{44BA4EC0-19D7-41DC-B319-396D8267BC37}"/>
          </ac:spMkLst>
        </pc:spChg>
        <pc:spChg chg="mod">
          <ac:chgData name="Aude Van de WIELE" userId="7317e673-04dd-415c-a4d7-718682339b40" providerId="ADAL" clId="{80D4E734-020D-4C1F-A028-1B9E9B483F9A}" dt="2021-05-25T08:49:50.218" v="8860" actId="790"/>
          <ac:spMkLst>
            <pc:docMk/>
            <pc:sldMk cId="203190409" sldId="10438"/>
            <ac:spMk id="22" creationId="{43B8FABF-5816-42AC-8939-29224794884E}"/>
          </ac:spMkLst>
        </pc:spChg>
        <pc:spChg chg="mod">
          <ac:chgData name="Aude Van de WIELE" userId="7317e673-04dd-415c-a4d7-718682339b40" providerId="ADAL" clId="{80D4E734-020D-4C1F-A028-1B9E9B483F9A}" dt="2021-05-25T08:49:50.231" v="8867" actId="790"/>
          <ac:spMkLst>
            <pc:docMk/>
            <pc:sldMk cId="203190409" sldId="10438"/>
            <ac:spMk id="33" creationId="{243F8FAD-0118-4F1B-B40B-A7D84FD36396}"/>
          </ac:spMkLst>
        </pc:spChg>
        <pc:spChg chg="mod">
          <ac:chgData name="Aude Van de WIELE" userId="7317e673-04dd-415c-a4d7-718682339b40" providerId="ADAL" clId="{80D4E734-020D-4C1F-A028-1B9E9B483F9A}" dt="2021-05-25T08:49:50.219" v="8861" actId="790"/>
          <ac:spMkLst>
            <pc:docMk/>
            <pc:sldMk cId="203190409" sldId="10438"/>
            <ac:spMk id="47" creationId="{9E10C541-E455-4AF2-AA1A-715E3DF2DDC1}"/>
          </ac:spMkLst>
        </pc:spChg>
        <pc:spChg chg="mod">
          <ac:chgData name="Aude Van de WIELE" userId="7317e673-04dd-415c-a4d7-718682339b40" providerId="ADAL" clId="{80D4E734-020D-4C1F-A028-1B9E9B483F9A}" dt="2021-05-25T08:49:50.220" v="8862" actId="790"/>
          <ac:spMkLst>
            <pc:docMk/>
            <pc:sldMk cId="203190409" sldId="10438"/>
            <ac:spMk id="49" creationId="{B10468A4-1BAC-4153-BC9A-99B8715C0AD1}"/>
          </ac:spMkLst>
        </pc:spChg>
        <pc:spChg chg="mod">
          <ac:chgData name="Aude Van de WIELE" userId="7317e673-04dd-415c-a4d7-718682339b40" providerId="ADAL" clId="{80D4E734-020D-4C1F-A028-1B9E9B483F9A}" dt="2021-05-25T08:49:50.209" v="8850" actId="790"/>
          <ac:spMkLst>
            <pc:docMk/>
            <pc:sldMk cId="203190409" sldId="10438"/>
            <ac:spMk id="50" creationId="{06AD3339-7557-4559-B2EA-6A391CF2BF0C}"/>
          </ac:spMkLst>
        </pc:spChg>
        <pc:spChg chg="mod">
          <ac:chgData name="Aude Van de WIELE" userId="7317e673-04dd-415c-a4d7-718682339b40" providerId="ADAL" clId="{80D4E734-020D-4C1F-A028-1B9E9B483F9A}" dt="2021-05-25T08:49:50.231" v="8868" actId="790"/>
          <ac:spMkLst>
            <pc:docMk/>
            <pc:sldMk cId="203190409" sldId="10438"/>
            <ac:spMk id="88" creationId="{336D463B-B815-4500-8F61-78A091129044}"/>
          </ac:spMkLst>
        </pc:spChg>
        <pc:spChg chg="mod">
          <ac:chgData name="Aude Van de WIELE" userId="7317e673-04dd-415c-a4d7-718682339b40" providerId="ADAL" clId="{80D4E734-020D-4C1F-A028-1B9E9B483F9A}" dt="2021-05-25T08:49:50.237" v="8874" actId="790"/>
          <ac:spMkLst>
            <pc:docMk/>
            <pc:sldMk cId="203190409" sldId="10438"/>
            <ac:spMk id="96" creationId="{5BB653FA-7502-456B-9DD5-1867522D3A88}"/>
          </ac:spMkLst>
        </pc:spChg>
        <pc:spChg chg="mod">
          <ac:chgData name="Aude Van de WIELE" userId="7317e673-04dd-415c-a4d7-718682339b40" providerId="ADAL" clId="{80D4E734-020D-4C1F-A028-1B9E9B483F9A}" dt="2021-05-25T08:49:50.221" v="8863" actId="790"/>
          <ac:spMkLst>
            <pc:docMk/>
            <pc:sldMk cId="203190409" sldId="10438"/>
            <ac:spMk id="100" creationId="{EF6C7B41-C54E-4684-BB9A-36701E115EBF}"/>
          </ac:spMkLst>
        </pc:spChg>
        <pc:spChg chg="mod">
          <ac:chgData name="Aude Van de WIELE" userId="7317e673-04dd-415c-a4d7-718682339b40" providerId="ADAL" clId="{80D4E734-020D-4C1F-A028-1B9E9B483F9A}" dt="2021-05-25T08:49:50.249" v="8887" actId="790"/>
          <ac:spMkLst>
            <pc:docMk/>
            <pc:sldMk cId="203190409" sldId="10438"/>
            <ac:spMk id="101" creationId="{DA7B562D-2A6F-42DF-9E67-3035C79FFC2C}"/>
          </ac:spMkLst>
        </pc:spChg>
        <pc:spChg chg="mod">
          <ac:chgData name="Aude Van de WIELE" userId="7317e673-04dd-415c-a4d7-718682339b40" providerId="ADAL" clId="{80D4E734-020D-4C1F-A028-1B9E9B483F9A}" dt="2021-05-25T08:49:50.206" v="8847" actId="790"/>
          <ac:spMkLst>
            <pc:docMk/>
            <pc:sldMk cId="203190409" sldId="10438"/>
            <ac:spMk id="107" creationId="{31D0AEAA-51DD-4312-8DD3-D5664A3B479D}"/>
          </ac:spMkLst>
        </pc:spChg>
        <pc:spChg chg="mod">
          <ac:chgData name="Aude Van de WIELE" userId="7317e673-04dd-415c-a4d7-718682339b40" providerId="ADAL" clId="{80D4E734-020D-4C1F-A028-1B9E9B483F9A}" dt="2021-05-25T08:49:50.232" v="8869" actId="790"/>
          <ac:spMkLst>
            <pc:docMk/>
            <pc:sldMk cId="203190409" sldId="10438"/>
            <ac:spMk id="108" creationId="{B4E79E7D-0395-4CE2-8F8E-F7FFDE4BA106}"/>
          </ac:spMkLst>
        </pc:spChg>
        <pc:spChg chg="mod">
          <ac:chgData name="Aude Van de WIELE" userId="7317e673-04dd-415c-a4d7-718682339b40" providerId="ADAL" clId="{80D4E734-020D-4C1F-A028-1B9E9B483F9A}" dt="2021-05-25T08:49:50.234" v="8871" actId="790"/>
          <ac:spMkLst>
            <pc:docMk/>
            <pc:sldMk cId="203190409" sldId="10438"/>
            <ac:spMk id="119" creationId="{EEF55E94-FD53-41D7-A423-6B56C40D88A1}"/>
          </ac:spMkLst>
        </pc:spChg>
        <pc:spChg chg="mod">
          <ac:chgData name="Aude Van de WIELE" userId="7317e673-04dd-415c-a4d7-718682339b40" providerId="ADAL" clId="{80D4E734-020D-4C1F-A028-1B9E9B483F9A}" dt="2021-05-25T08:49:50.236" v="8873" actId="790"/>
          <ac:spMkLst>
            <pc:docMk/>
            <pc:sldMk cId="203190409" sldId="10438"/>
            <ac:spMk id="120" creationId="{697B9F9F-BFD2-4BBC-A2BC-06F0D17B4298}"/>
          </ac:spMkLst>
        </pc:spChg>
        <pc:spChg chg="mod">
          <ac:chgData name="Aude Van de WIELE" userId="7317e673-04dd-415c-a4d7-718682339b40" providerId="ADAL" clId="{80D4E734-020D-4C1F-A028-1B9E9B483F9A}" dt="2021-05-25T08:49:50.235" v="8872" actId="790"/>
          <ac:spMkLst>
            <pc:docMk/>
            <pc:sldMk cId="203190409" sldId="10438"/>
            <ac:spMk id="122" creationId="{7ED4A8D8-06EE-4620-B65B-5E3B52A3ABAE}"/>
          </ac:spMkLst>
        </pc:spChg>
        <pc:spChg chg="mod">
          <ac:chgData name="Aude Van de WIELE" userId="7317e673-04dd-415c-a4d7-718682339b40" providerId="ADAL" clId="{80D4E734-020D-4C1F-A028-1B9E9B483F9A}" dt="2021-05-25T08:49:50.237" v="8875" actId="790"/>
          <ac:spMkLst>
            <pc:docMk/>
            <pc:sldMk cId="203190409" sldId="10438"/>
            <ac:spMk id="123" creationId="{CCD5F39F-64EB-4F4E-BE6B-002C617492EF}"/>
          </ac:spMkLst>
        </pc:spChg>
        <pc:spChg chg="mod">
          <ac:chgData name="Aude Van de WIELE" userId="7317e673-04dd-415c-a4d7-718682339b40" providerId="ADAL" clId="{80D4E734-020D-4C1F-A028-1B9E9B483F9A}" dt="2021-05-25T08:49:50.246" v="8884" actId="790"/>
          <ac:spMkLst>
            <pc:docMk/>
            <pc:sldMk cId="203190409" sldId="10438"/>
            <ac:spMk id="154" creationId="{A7269958-7FC5-479F-B17B-49D115F118B6}"/>
          </ac:spMkLst>
        </pc:spChg>
        <pc:spChg chg="mod">
          <ac:chgData name="Aude Van de WIELE" userId="7317e673-04dd-415c-a4d7-718682339b40" providerId="ADAL" clId="{80D4E734-020D-4C1F-A028-1B9E9B483F9A}" dt="2021-05-25T08:49:50.240" v="8877" actId="790"/>
          <ac:spMkLst>
            <pc:docMk/>
            <pc:sldMk cId="203190409" sldId="10438"/>
            <ac:spMk id="165" creationId="{C389F3EC-7313-454E-9942-F14FD0BD4C77}"/>
          </ac:spMkLst>
        </pc:spChg>
        <pc:spChg chg="mod">
          <ac:chgData name="Aude Van de WIELE" userId="7317e673-04dd-415c-a4d7-718682339b40" providerId="ADAL" clId="{80D4E734-020D-4C1F-A028-1B9E9B483F9A}" dt="2021-05-25T08:49:50.241" v="8878" actId="790"/>
          <ac:spMkLst>
            <pc:docMk/>
            <pc:sldMk cId="203190409" sldId="10438"/>
            <ac:spMk id="166" creationId="{A3938D6F-1923-42FF-B2ED-6C2BEA79BA03}"/>
          </ac:spMkLst>
        </pc:spChg>
        <pc:spChg chg="mod">
          <ac:chgData name="Aude Van de WIELE" userId="7317e673-04dd-415c-a4d7-718682339b40" providerId="ADAL" clId="{80D4E734-020D-4C1F-A028-1B9E9B483F9A}" dt="2021-05-25T08:49:50.242" v="8879" actId="790"/>
          <ac:spMkLst>
            <pc:docMk/>
            <pc:sldMk cId="203190409" sldId="10438"/>
            <ac:spMk id="168" creationId="{C423BD9F-9E4A-46B8-89D7-67C1FE84B168}"/>
          </ac:spMkLst>
        </pc:spChg>
        <pc:spChg chg="mod">
          <ac:chgData name="Aude Van de WIELE" userId="7317e673-04dd-415c-a4d7-718682339b40" providerId="ADAL" clId="{80D4E734-020D-4C1F-A028-1B9E9B483F9A}" dt="2021-05-25T08:49:50.243" v="8880" actId="790"/>
          <ac:spMkLst>
            <pc:docMk/>
            <pc:sldMk cId="203190409" sldId="10438"/>
            <ac:spMk id="169" creationId="{7881ABC3-A97B-4E90-939F-E48D9595FFFF}"/>
          </ac:spMkLst>
        </pc:spChg>
        <pc:spChg chg="mod">
          <ac:chgData name="Aude Van de WIELE" userId="7317e673-04dd-415c-a4d7-718682339b40" providerId="ADAL" clId="{80D4E734-020D-4C1F-A028-1B9E9B483F9A}" dt="2021-05-25T08:49:50.244" v="8881" actId="790"/>
          <ac:spMkLst>
            <pc:docMk/>
            <pc:sldMk cId="203190409" sldId="10438"/>
            <ac:spMk id="170" creationId="{A886CA56-9620-415B-9489-A004AB6EB706}"/>
          </ac:spMkLst>
        </pc:spChg>
        <pc:spChg chg="mod">
          <ac:chgData name="Aude Van de WIELE" userId="7317e673-04dd-415c-a4d7-718682339b40" providerId="ADAL" clId="{80D4E734-020D-4C1F-A028-1B9E9B483F9A}" dt="2021-05-25T08:49:50.244" v="8882" actId="790"/>
          <ac:spMkLst>
            <pc:docMk/>
            <pc:sldMk cId="203190409" sldId="10438"/>
            <ac:spMk id="171" creationId="{BCC6DEFD-6FEB-4777-9432-E3B2F5C51000}"/>
          </ac:spMkLst>
        </pc:spChg>
        <pc:spChg chg="mod">
          <ac:chgData name="Aude Van de WIELE" userId="7317e673-04dd-415c-a4d7-718682339b40" providerId="ADAL" clId="{80D4E734-020D-4C1F-A028-1B9E9B483F9A}" dt="2021-05-25T08:49:50.245" v="8883" actId="790"/>
          <ac:spMkLst>
            <pc:docMk/>
            <pc:sldMk cId="203190409" sldId="10438"/>
            <ac:spMk id="172" creationId="{04568322-5012-422B-991D-C9A4712E25C9}"/>
          </ac:spMkLst>
        </pc:spChg>
        <pc:spChg chg="mod">
          <ac:chgData name="Aude Van de WIELE" userId="7317e673-04dd-415c-a4d7-718682339b40" providerId="ADAL" clId="{80D4E734-020D-4C1F-A028-1B9E9B483F9A}" dt="2021-05-25T08:49:50.247" v="8885" actId="790"/>
          <ac:spMkLst>
            <pc:docMk/>
            <pc:sldMk cId="203190409" sldId="10438"/>
            <ac:spMk id="197" creationId="{EB1ED8EE-1371-4F31-B475-A7FD22F01C88}"/>
          </ac:spMkLst>
        </pc:spChg>
        <pc:spChg chg="mod">
          <ac:chgData name="Aude Van de WIELE" userId="7317e673-04dd-415c-a4d7-718682339b40" providerId="ADAL" clId="{80D4E734-020D-4C1F-A028-1B9E9B483F9A}" dt="2021-05-25T08:49:50.248" v="8886" actId="790"/>
          <ac:spMkLst>
            <pc:docMk/>
            <pc:sldMk cId="203190409" sldId="10438"/>
            <ac:spMk id="212" creationId="{F492C173-DFD6-47CF-9BB4-C8925127E1EE}"/>
          </ac:spMkLst>
        </pc:spChg>
        <pc:spChg chg="mod">
          <ac:chgData name="Aude Van de WIELE" userId="7317e673-04dd-415c-a4d7-718682339b40" providerId="ADAL" clId="{80D4E734-020D-4C1F-A028-1B9E9B483F9A}" dt="2021-05-25T08:49:50.228" v="8864" actId="790"/>
          <ac:spMkLst>
            <pc:docMk/>
            <pc:sldMk cId="203190409" sldId="10438"/>
            <ac:spMk id="1031" creationId="{A3845A5C-C65F-4C44-AE3B-D3285DF51268}"/>
          </ac:spMkLst>
        </pc:spChg>
        <pc:spChg chg="mod">
          <ac:chgData name="Aude Van de WIELE" userId="7317e673-04dd-415c-a4d7-718682339b40" providerId="ADAL" clId="{80D4E734-020D-4C1F-A028-1B9E9B483F9A}" dt="2021-05-25T08:49:50.229" v="8865" actId="790"/>
          <ac:spMkLst>
            <pc:docMk/>
            <pc:sldMk cId="203190409" sldId="10438"/>
            <ac:spMk id="1035" creationId="{9164A53F-4711-41A4-BE3D-8D2F4243A495}"/>
          </ac:spMkLst>
        </pc:spChg>
        <pc:spChg chg="mod">
          <ac:chgData name="Aude Van de WIELE" userId="7317e673-04dd-415c-a4d7-718682339b40" providerId="ADAL" clId="{80D4E734-020D-4C1F-A028-1B9E9B483F9A}" dt="2021-05-25T08:49:50.207" v="8848" actId="790"/>
          <ac:spMkLst>
            <pc:docMk/>
            <pc:sldMk cId="203190409" sldId="10438"/>
            <ac:spMk id="4107" creationId="{EBC573C8-C4E3-432A-81F7-B99236DF594A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15:27:45.189" v="12808" actId="20577"/>
        <pc:sldMkLst>
          <pc:docMk/>
          <pc:sldMk cId="1845337448" sldId="10441"/>
        </pc:sldMkLst>
        <pc:spChg chg="mod ord">
          <ac:chgData name="Aude Van de WIELE" userId="7317e673-04dd-415c-a4d7-718682339b40" providerId="ADAL" clId="{80D4E734-020D-4C1F-A028-1B9E9B483F9A}" dt="2021-05-25T08:49:48.654" v="7523" actId="790"/>
          <ac:spMkLst>
            <pc:docMk/>
            <pc:sldMk cId="1845337448" sldId="10441"/>
            <ac:spMk id="2" creationId="{1B8B41D0-3B5A-41F2-BD36-274CA5605C3A}"/>
          </ac:spMkLst>
        </pc:spChg>
        <pc:spChg chg="mod">
          <ac:chgData name="Aude Van de WIELE" userId="7317e673-04dd-415c-a4d7-718682339b40" providerId="ADAL" clId="{80D4E734-020D-4C1F-A028-1B9E9B483F9A}" dt="2021-05-25T08:49:48.605" v="7475" actId="790"/>
          <ac:spMkLst>
            <pc:docMk/>
            <pc:sldMk cId="1845337448" sldId="10441"/>
            <ac:spMk id="3" creationId="{F2961EB7-FC0B-4AEF-8BF3-7969101BE0A7}"/>
          </ac:spMkLst>
        </pc:spChg>
        <pc:spChg chg="mod">
          <ac:chgData name="Aude Van de WIELE" userId="7317e673-04dd-415c-a4d7-718682339b40" providerId="ADAL" clId="{80D4E734-020D-4C1F-A028-1B9E9B483F9A}" dt="2021-05-25T08:49:48.606" v="7476" actId="790"/>
          <ac:spMkLst>
            <pc:docMk/>
            <pc:sldMk cId="1845337448" sldId="10441"/>
            <ac:spMk id="4" creationId="{43E0D5C7-0986-42B1-8E8C-7B58D0CBD773}"/>
          </ac:spMkLst>
        </pc:spChg>
        <pc:spChg chg="mod">
          <ac:chgData name="Aude Van de WIELE" userId="7317e673-04dd-415c-a4d7-718682339b40" providerId="ADAL" clId="{80D4E734-020D-4C1F-A028-1B9E9B483F9A}" dt="2021-05-25T08:49:48.612" v="7483" actId="790"/>
          <ac:spMkLst>
            <pc:docMk/>
            <pc:sldMk cId="1845337448" sldId="10441"/>
            <ac:spMk id="5" creationId="{32E0BE14-B2E8-4A96-ADE4-0BE247A47D79}"/>
          </ac:spMkLst>
        </pc:spChg>
        <pc:spChg chg="mod">
          <ac:chgData name="Aude Van de WIELE" userId="7317e673-04dd-415c-a4d7-718682339b40" providerId="ADAL" clId="{80D4E734-020D-4C1F-A028-1B9E9B483F9A}" dt="2021-05-25T08:49:48.613" v="7484" actId="790"/>
          <ac:spMkLst>
            <pc:docMk/>
            <pc:sldMk cId="1845337448" sldId="10441"/>
            <ac:spMk id="6" creationId="{8AEA1672-C0F9-4DB2-A6F4-76831980F749}"/>
          </ac:spMkLst>
        </pc:spChg>
        <pc:spChg chg="mod">
          <ac:chgData name="Aude Van de WIELE" userId="7317e673-04dd-415c-a4d7-718682339b40" providerId="ADAL" clId="{80D4E734-020D-4C1F-A028-1B9E9B483F9A}" dt="2021-05-25T08:49:48.610" v="7481" actId="790"/>
          <ac:spMkLst>
            <pc:docMk/>
            <pc:sldMk cId="1845337448" sldId="10441"/>
            <ac:spMk id="7" creationId="{064EAC16-1947-4EB5-B699-F79BA984701D}"/>
          </ac:spMkLst>
        </pc:spChg>
        <pc:spChg chg="mod">
          <ac:chgData name="Aude Van de WIELE" userId="7317e673-04dd-415c-a4d7-718682339b40" providerId="ADAL" clId="{80D4E734-020D-4C1F-A028-1B9E9B483F9A}" dt="2021-05-25T08:49:48.611" v="7482" actId="790"/>
          <ac:spMkLst>
            <pc:docMk/>
            <pc:sldMk cId="1845337448" sldId="10441"/>
            <ac:spMk id="8" creationId="{17235FB0-B480-4F11-BAB2-ECCE97A0AE35}"/>
          </ac:spMkLst>
        </pc:spChg>
        <pc:spChg chg="mod">
          <ac:chgData name="Aude Van de WIELE" userId="7317e673-04dd-415c-a4d7-718682339b40" providerId="ADAL" clId="{80D4E734-020D-4C1F-A028-1B9E9B483F9A}" dt="2021-05-25T08:49:48.614" v="7485" actId="790"/>
          <ac:spMkLst>
            <pc:docMk/>
            <pc:sldMk cId="1845337448" sldId="10441"/>
            <ac:spMk id="9" creationId="{E57AC7D2-FC03-4826-B2B4-B86B10C8A912}"/>
          </ac:spMkLst>
        </pc:spChg>
        <pc:spChg chg="mod">
          <ac:chgData name="Aude Van de WIELE" userId="7317e673-04dd-415c-a4d7-718682339b40" providerId="ADAL" clId="{80D4E734-020D-4C1F-A028-1B9E9B483F9A}" dt="2021-05-25T08:49:48.631" v="7498" actId="790"/>
          <ac:spMkLst>
            <pc:docMk/>
            <pc:sldMk cId="1845337448" sldId="10441"/>
            <ac:spMk id="10" creationId="{EC4BC8E5-CDE6-4BDA-8B1B-E89284306AC8}"/>
          </ac:spMkLst>
        </pc:spChg>
        <pc:spChg chg="mod">
          <ac:chgData name="Aude Van de WIELE" userId="7317e673-04dd-415c-a4d7-718682339b40" providerId="ADAL" clId="{80D4E734-020D-4C1F-A028-1B9E9B483F9A}" dt="2021-05-25T08:49:48.609" v="7479" actId="790"/>
          <ac:spMkLst>
            <pc:docMk/>
            <pc:sldMk cId="1845337448" sldId="10441"/>
            <ac:spMk id="12" creationId="{06146879-726F-492D-B854-B9E140208671}"/>
          </ac:spMkLst>
        </pc:spChg>
        <pc:spChg chg="mod">
          <ac:chgData name="Aude Van de WIELE" userId="7317e673-04dd-415c-a4d7-718682339b40" providerId="ADAL" clId="{80D4E734-020D-4C1F-A028-1B9E9B483F9A}" dt="2021-05-25T08:49:48.637" v="7505" actId="790"/>
          <ac:spMkLst>
            <pc:docMk/>
            <pc:sldMk cId="1845337448" sldId="10441"/>
            <ac:spMk id="13" creationId="{E9F049B4-9F79-4754-AA4A-B557B2A6D3C9}"/>
          </ac:spMkLst>
        </pc:spChg>
        <pc:spChg chg="mod">
          <ac:chgData name="Aude Van de WIELE" userId="7317e673-04dd-415c-a4d7-718682339b40" providerId="ADAL" clId="{80D4E734-020D-4C1F-A028-1B9E9B483F9A}" dt="2021-05-25T11:06:23.937" v="10682" actId="20577"/>
          <ac:spMkLst>
            <pc:docMk/>
            <pc:sldMk cId="1845337448" sldId="10441"/>
            <ac:spMk id="15" creationId="{F7EB4D52-F761-46DD-8A27-ACFCD9D9408B}"/>
          </ac:spMkLst>
        </pc:spChg>
        <pc:spChg chg="mod">
          <ac:chgData name="Aude Van de WIELE" userId="7317e673-04dd-415c-a4d7-718682339b40" providerId="ADAL" clId="{80D4E734-020D-4C1F-A028-1B9E9B483F9A}" dt="2021-05-25T08:49:48.628" v="7494" actId="790"/>
          <ac:spMkLst>
            <pc:docMk/>
            <pc:sldMk cId="1845337448" sldId="10441"/>
            <ac:spMk id="18" creationId="{E5E5B17C-AF5B-4FCB-935E-796FE66056AC}"/>
          </ac:spMkLst>
        </pc:spChg>
        <pc:spChg chg="mod">
          <ac:chgData name="Aude Van de WIELE" userId="7317e673-04dd-415c-a4d7-718682339b40" providerId="ADAL" clId="{80D4E734-020D-4C1F-A028-1B9E9B483F9A}" dt="2021-05-25T08:49:48.614" v="7486" actId="790"/>
          <ac:spMkLst>
            <pc:docMk/>
            <pc:sldMk cId="1845337448" sldId="10441"/>
            <ac:spMk id="19" creationId="{D183DC4A-A310-4818-8DE5-DD81DA31ACA2}"/>
          </ac:spMkLst>
        </pc:spChg>
        <pc:spChg chg="mod">
          <ac:chgData name="Aude Van de WIELE" userId="7317e673-04dd-415c-a4d7-718682339b40" providerId="ADAL" clId="{80D4E734-020D-4C1F-A028-1B9E9B483F9A}" dt="2021-05-25T08:49:48.615" v="7487" actId="790"/>
          <ac:spMkLst>
            <pc:docMk/>
            <pc:sldMk cId="1845337448" sldId="10441"/>
            <ac:spMk id="20" creationId="{54E8F179-87EF-4A92-9C29-92D7E20EB946}"/>
          </ac:spMkLst>
        </pc:spChg>
        <pc:spChg chg="mod">
          <ac:chgData name="Aude Van de WIELE" userId="7317e673-04dd-415c-a4d7-718682339b40" providerId="ADAL" clId="{80D4E734-020D-4C1F-A028-1B9E9B483F9A}" dt="2021-05-25T08:49:48.616" v="7488" actId="790"/>
          <ac:spMkLst>
            <pc:docMk/>
            <pc:sldMk cId="1845337448" sldId="10441"/>
            <ac:spMk id="21" creationId="{44BA4EC0-19D7-41DC-B319-396D8267BC37}"/>
          </ac:spMkLst>
        </pc:spChg>
        <pc:spChg chg="mod">
          <ac:chgData name="Aude Van de WIELE" userId="7317e673-04dd-415c-a4d7-718682339b40" providerId="ADAL" clId="{80D4E734-020D-4C1F-A028-1B9E9B483F9A}" dt="2021-05-25T08:49:48.616" v="7489" actId="790"/>
          <ac:spMkLst>
            <pc:docMk/>
            <pc:sldMk cId="1845337448" sldId="10441"/>
            <ac:spMk id="22" creationId="{43B8FABF-5816-42AC-8939-29224794884E}"/>
          </ac:spMkLst>
        </pc:spChg>
        <pc:spChg chg="mod">
          <ac:chgData name="Aude Van de WIELE" userId="7317e673-04dd-415c-a4d7-718682339b40" providerId="ADAL" clId="{80D4E734-020D-4C1F-A028-1B9E9B483F9A}" dt="2021-05-25T08:49:48.629" v="7495" actId="790"/>
          <ac:spMkLst>
            <pc:docMk/>
            <pc:sldMk cId="1845337448" sldId="10441"/>
            <ac:spMk id="33" creationId="{243F8FAD-0118-4F1B-B40B-A7D84FD36396}"/>
          </ac:spMkLst>
        </pc:spChg>
        <pc:spChg chg="mod">
          <ac:chgData name="Aude Van de WIELE" userId="7317e673-04dd-415c-a4d7-718682339b40" providerId="ADAL" clId="{80D4E734-020D-4C1F-A028-1B9E9B483F9A}" dt="2021-05-25T08:49:48.617" v="7490" actId="790"/>
          <ac:spMkLst>
            <pc:docMk/>
            <pc:sldMk cId="1845337448" sldId="10441"/>
            <ac:spMk id="47" creationId="{9E10C541-E455-4AF2-AA1A-715E3DF2DDC1}"/>
          </ac:spMkLst>
        </pc:spChg>
        <pc:spChg chg="mod">
          <ac:chgData name="Aude Van de WIELE" userId="7317e673-04dd-415c-a4d7-718682339b40" providerId="ADAL" clId="{80D4E734-020D-4C1F-A028-1B9E9B483F9A}" dt="2021-05-25T08:49:48.618" v="7491" actId="790"/>
          <ac:spMkLst>
            <pc:docMk/>
            <pc:sldMk cId="1845337448" sldId="10441"/>
            <ac:spMk id="49" creationId="{B10468A4-1BAC-4153-BC9A-99B8715C0AD1}"/>
          </ac:spMkLst>
        </pc:spChg>
        <pc:spChg chg="mod">
          <ac:chgData name="Aude Van de WIELE" userId="7317e673-04dd-415c-a4d7-718682339b40" providerId="ADAL" clId="{80D4E734-020D-4C1F-A028-1B9E9B483F9A}" dt="2021-05-25T08:49:48.610" v="7480" actId="790"/>
          <ac:spMkLst>
            <pc:docMk/>
            <pc:sldMk cId="1845337448" sldId="10441"/>
            <ac:spMk id="50" creationId="{06AD3339-7557-4559-B2EA-6A391CF2BF0C}"/>
          </ac:spMkLst>
        </pc:spChg>
        <pc:spChg chg="mod">
          <ac:chgData name="Aude Van de WIELE" userId="7317e673-04dd-415c-a4d7-718682339b40" providerId="ADAL" clId="{80D4E734-020D-4C1F-A028-1B9E9B483F9A}" dt="2021-05-25T08:49:48.630" v="7496" actId="790"/>
          <ac:spMkLst>
            <pc:docMk/>
            <pc:sldMk cId="1845337448" sldId="10441"/>
            <ac:spMk id="88" creationId="{336D463B-B815-4500-8F61-78A091129044}"/>
          </ac:spMkLst>
        </pc:spChg>
        <pc:spChg chg="mod">
          <ac:chgData name="Aude Van de WIELE" userId="7317e673-04dd-415c-a4d7-718682339b40" providerId="ADAL" clId="{80D4E734-020D-4C1F-A028-1B9E9B483F9A}" dt="2021-05-25T08:49:48.633" v="7500" actId="790"/>
          <ac:spMkLst>
            <pc:docMk/>
            <pc:sldMk cId="1845337448" sldId="10441"/>
            <ac:spMk id="90" creationId="{C1682200-357E-4434-8AD7-5A0786BF6D1B}"/>
          </ac:spMkLst>
        </pc:spChg>
        <pc:spChg chg="mod">
          <ac:chgData name="Aude Van de WIELE" userId="7317e673-04dd-415c-a4d7-718682339b40" providerId="ADAL" clId="{80D4E734-020D-4C1F-A028-1B9E9B483F9A}" dt="2021-05-25T08:49:48.636" v="7503" actId="790"/>
          <ac:spMkLst>
            <pc:docMk/>
            <pc:sldMk cId="1845337448" sldId="10441"/>
            <ac:spMk id="96" creationId="{5BB653FA-7502-456B-9DD5-1867522D3A88}"/>
          </ac:spMkLst>
        </pc:spChg>
        <pc:spChg chg="mod">
          <ac:chgData name="Aude Van de WIELE" userId="7317e673-04dd-415c-a4d7-718682339b40" providerId="ADAL" clId="{80D4E734-020D-4C1F-A028-1B9E9B483F9A}" dt="2021-05-25T15:27:45.189" v="12808" actId="20577"/>
          <ac:spMkLst>
            <pc:docMk/>
            <pc:sldMk cId="1845337448" sldId="10441"/>
            <ac:spMk id="100" creationId="{EF6C7B41-C54E-4684-BB9A-36701E115EBF}"/>
          </ac:spMkLst>
        </pc:spChg>
        <pc:spChg chg="mod">
          <ac:chgData name="Aude Van de WIELE" userId="7317e673-04dd-415c-a4d7-718682339b40" providerId="ADAL" clId="{80D4E734-020D-4C1F-A028-1B9E9B483F9A}" dt="2021-05-25T08:49:48.607" v="7477" actId="790"/>
          <ac:spMkLst>
            <pc:docMk/>
            <pc:sldMk cId="1845337448" sldId="10441"/>
            <ac:spMk id="107" creationId="{31D0AEAA-51DD-4312-8DD3-D5664A3B479D}"/>
          </ac:spMkLst>
        </pc:spChg>
        <pc:spChg chg="mod">
          <ac:chgData name="Aude Van de WIELE" userId="7317e673-04dd-415c-a4d7-718682339b40" providerId="ADAL" clId="{80D4E734-020D-4C1F-A028-1B9E9B483F9A}" dt="2021-05-25T08:49:48.631" v="7497" actId="790"/>
          <ac:spMkLst>
            <pc:docMk/>
            <pc:sldMk cId="1845337448" sldId="10441"/>
            <ac:spMk id="108" creationId="{B4E79E7D-0395-4CE2-8F8E-F7FFDE4BA106}"/>
          </ac:spMkLst>
        </pc:spChg>
        <pc:spChg chg="mod">
          <ac:chgData name="Aude Van de WIELE" userId="7317e673-04dd-415c-a4d7-718682339b40" providerId="ADAL" clId="{80D4E734-020D-4C1F-A028-1B9E9B483F9A}" dt="2021-05-25T08:49:48.632" v="7499" actId="790"/>
          <ac:spMkLst>
            <pc:docMk/>
            <pc:sldMk cId="1845337448" sldId="10441"/>
            <ac:spMk id="119" creationId="{EEF55E94-FD53-41D7-A423-6B56C40D88A1}"/>
          </ac:spMkLst>
        </pc:spChg>
        <pc:spChg chg="mod">
          <ac:chgData name="Aude Van de WIELE" userId="7317e673-04dd-415c-a4d7-718682339b40" providerId="ADAL" clId="{80D4E734-020D-4C1F-A028-1B9E9B483F9A}" dt="2021-05-25T08:49:48.635" v="7502" actId="790"/>
          <ac:spMkLst>
            <pc:docMk/>
            <pc:sldMk cId="1845337448" sldId="10441"/>
            <ac:spMk id="120" creationId="{697B9F9F-BFD2-4BBC-A2BC-06F0D17B4298}"/>
          </ac:spMkLst>
        </pc:spChg>
        <pc:spChg chg="mod">
          <ac:chgData name="Aude Van de WIELE" userId="7317e673-04dd-415c-a4d7-718682339b40" providerId="ADAL" clId="{80D4E734-020D-4C1F-A028-1B9E9B483F9A}" dt="2021-05-25T08:49:48.634" v="7501" actId="790"/>
          <ac:spMkLst>
            <pc:docMk/>
            <pc:sldMk cId="1845337448" sldId="10441"/>
            <ac:spMk id="122" creationId="{7ED4A8D8-06EE-4620-B65B-5E3B52A3ABAE}"/>
          </ac:spMkLst>
        </pc:spChg>
        <pc:spChg chg="mod">
          <ac:chgData name="Aude Van de WIELE" userId="7317e673-04dd-415c-a4d7-718682339b40" providerId="ADAL" clId="{80D4E734-020D-4C1F-A028-1B9E9B483F9A}" dt="2021-05-25T08:49:48.636" v="7504" actId="790"/>
          <ac:spMkLst>
            <pc:docMk/>
            <pc:sldMk cId="1845337448" sldId="10441"/>
            <ac:spMk id="123" creationId="{CCD5F39F-64EB-4F4E-BE6B-002C617492EF}"/>
          </ac:spMkLst>
        </pc:spChg>
        <pc:spChg chg="add mod">
          <ac:chgData name="Aude Van de WIELE" userId="7317e673-04dd-415c-a4d7-718682339b40" providerId="ADAL" clId="{80D4E734-020D-4C1F-A028-1B9E9B483F9A}" dt="2021-05-25T08:49:48.655" v="7524" actId="790"/>
          <ac:spMkLst>
            <pc:docMk/>
            <pc:sldMk cId="1845337448" sldId="10441"/>
            <ac:spMk id="126" creationId="{E06ED3AF-AFD9-4773-A600-1A02210910C0}"/>
          </ac:spMkLst>
        </pc:spChg>
        <pc:spChg chg="add mod">
          <ac:chgData name="Aude Van de WIELE" userId="7317e673-04dd-415c-a4d7-718682339b40" providerId="ADAL" clId="{80D4E734-020D-4C1F-A028-1B9E9B483F9A}" dt="2021-05-25T11:05:42.819" v="10628"/>
          <ac:spMkLst>
            <pc:docMk/>
            <pc:sldMk cId="1845337448" sldId="10441"/>
            <ac:spMk id="133" creationId="{F7EB4D52-F761-46DD-8A27-ACFCD9D9408B}"/>
          </ac:spMkLst>
        </pc:spChg>
        <pc:spChg chg="mod">
          <ac:chgData name="Aude Van de WIELE" userId="7317e673-04dd-415c-a4d7-718682339b40" providerId="ADAL" clId="{80D4E734-020D-4C1F-A028-1B9E9B483F9A}" dt="2021-05-25T08:49:48.645" v="7513" actId="790"/>
          <ac:spMkLst>
            <pc:docMk/>
            <pc:sldMk cId="1845337448" sldId="10441"/>
            <ac:spMk id="154" creationId="{A7269958-7FC5-479F-B17B-49D115F118B6}"/>
          </ac:spMkLst>
        </pc:spChg>
        <pc:spChg chg="mod">
          <ac:chgData name="Aude Van de WIELE" userId="7317e673-04dd-415c-a4d7-718682339b40" providerId="ADAL" clId="{80D4E734-020D-4C1F-A028-1B9E9B483F9A}" dt="2021-05-24T10:27:45.385" v="1905" actId="1035"/>
          <ac:spMkLst>
            <pc:docMk/>
            <pc:sldMk cId="1845337448" sldId="10441"/>
            <ac:spMk id="155" creationId="{24811E8C-1BDE-449F-8847-3DF240F42E2A}"/>
          </ac:spMkLst>
        </pc:spChg>
        <pc:spChg chg="mod">
          <ac:chgData name="Aude Van de WIELE" userId="7317e673-04dd-415c-a4d7-718682339b40" providerId="ADAL" clId="{80D4E734-020D-4C1F-A028-1B9E9B483F9A}" dt="2021-05-25T08:49:48.647" v="7516" actId="790"/>
          <ac:spMkLst>
            <pc:docMk/>
            <pc:sldMk cId="1845337448" sldId="10441"/>
            <ac:spMk id="156" creationId="{78B42A74-8402-46F7-85B4-4EA55358E9EE}"/>
          </ac:spMkLst>
        </pc:spChg>
        <pc:spChg chg="mod">
          <ac:chgData name="Aude Van de WIELE" userId="7317e673-04dd-415c-a4d7-718682339b40" providerId="ADAL" clId="{80D4E734-020D-4C1F-A028-1B9E9B483F9A}" dt="2021-05-25T08:49:48.648" v="7517" actId="790"/>
          <ac:spMkLst>
            <pc:docMk/>
            <pc:sldMk cId="1845337448" sldId="10441"/>
            <ac:spMk id="158" creationId="{018C1073-1707-42C1-9EB1-0419864D0894}"/>
          </ac:spMkLst>
        </pc:spChg>
        <pc:spChg chg="mod">
          <ac:chgData name="Aude Van de WIELE" userId="7317e673-04dd-415c-a4d7-718682339b40" providerId="ADAL" clId="{80D4E734-020D-4C1F-A028-1B9E9B483F9A}" dt="2021-05-25T08:49:48.649" v="7518" actId="790"/>
          <ac:spMkLst>
            <pc:docMk/>
            <pc:sldMk cId="1845337448" sldId="10441"/>
            <ac:spMk id="159" creationId="{1F60C19C-B20E-4713-B9B2-B460BB96CBCC}"/>
          </ac:spMkLst>
        </pc:spChg>
        <pc:spChg chg="mod">
          <ac:chgData name="Aude Van de WIELE" userId="7317e673-04dd-415c-a4d7-718682339b40" providerId="ADAL" clId="{80D4E734-020D-4C1F-A028-1B9E9B483F9A}" dt="2021-05-25T08:49:48.650" v="7519" actId="790"/>
          <ac:spMkLst>
            <pc:docMk/>
            <pc:sldMk cId="1845337448" sldId="10441"/>
            <ac:spMk id="160" creationId="{17966E04-7D6E-4A88-871C-02D8F9F76972}"/>
          </ac:spMkLst>
        </pc:spChg>
        <pc:spChg chg="mod">
          <ac:chgData name="Aude Van de WIELE" userId="7317e673-04dd-415c-a4d7-718682339b40" providerId="ADAL" clId="{80D4E734-020D-4C1F-A028-1B9E9B483F9A}" dt="2021-05-25T08:49:48.650" v="7520" actId="790"/>
          <ac:spMkLst>
            <pc:docMk/>
            <pc:sldMk cId="1845337448" sldId="10441"/>
            <ac:spMk id="161" creationId="{B53FB642-A247-41DF-B8C1-743170CD37A4}"/>
          </ac:spMkLst>
        </pc:spChg>
        <pc:spChg chg="mod">
          <ac:chgData name="Aude Van de WIELE" userId="7317e673-04dd-415c-a4d7-718682339b40" providerId="ADAL" clId="{80D4E734-020D-4C1F-A028-1B9E9B483F9A}" dt="2021-05-25T08:49:48.651" v="7521" actId="790"/>
          <ac:spMkLst>
            <pc:docMk/>
            <pc:sldMk cId="1845337448" sldId="10441"/>
            <ac:spMk id="162" creationId="{9F73F5EE-B015-43F6-8CCF-FE13D398FD9A}"/>
          </ac:spMkLst>
        </pc:spChg>
        <pc:spChg chg="mod">
          <ac:chgData name="Aude Van de WIELE" userId="7317e673-04dd-415c-a4d7-718682339b40" providerId="ADAL" clId="{80D4E734-020D-4C1F-A028-1B9E9B483F9A}" dt="2021-05-25T08:49:48.652" v="7522" actId="790"/>
          <ac:spMkLst>
            <pc:docMk/>
            <pc:sldMk cId="1845337448" sldId="10441"/>
            <ac:spMk id="163" creationId="{915CE087-6A01-4C8B-9F1A-FC807317FFA9}"/>
          </ac:spMkLst>
        </pc:spChg>
        <pc:spChg chg="mod">
          <ac:chgData name="Aude Van de WIELE" userId="7317e673-04dd-415c-a4d7-718682339b40" providerId="ADAL" clId="{80D4E734-020D-4C1F-A028-1B9E9B483F9A}" dt="2021-05-25T08:49:48.638" v="7506" actId="790"/>
          <ac:spMkLst>
            <pc:docMk/>
            <pc:sldMk cId="1845337448" sldId="10441"/>
            <ac:spMk id="165" creationId="{C389F3EC-7313-454E-9942-F14FD0BD4C77}"/>
          </ac:spMkLst>
        </pc:spChg>
        <pc:spChg chg="mod">
          <ac:chgData name="Aude Van de WIELE" userId="7317e673-04dd-415c-a4d7-718682339b40" providerId="ADAL" clId="{80D4E734-020D-4C1F-A028-1B9E9B483F9A}" dt="2021-05-25T08:49:48.639" v="7507" actId="790"/>
          <ac:spMkLst>
            <pc:docMk/>
            <pc:sldMk cId="1845337448" sldId="10441"/>
            <ac:spMk id="166" creationId="{A3938D6F-1923-42FF-B2ED-6C2BEA79BA03}"/>
          </ac:spMkLst>
        </pc:spChg>
        <pc:spChg chg="mod">
          <ac:chgData name="Aude Van de WIELE" userId="7317e673-04dd-415c-a4d7-718682339b40" providerId="ADAL" clId="{80D4E734-020D-4C1F-A028-1B9E9B483F9A}" dt="2021-05-25T08:49:48.640" v="7508" actId="790"/>
          <ac:spMkLst>
            <pc:docMk/>
            <pc:sldMk cId="1845337448" sldId="10441"/>
            <ac:spMk id="168" creationId="{C423BD9F-9E4A-46B8-89D7-67C1FE84B168}"/>
          </ac:spMkLst>
        </pc:spChg>
        <pc:spChg chg="mod">
          <ac:chgData name="Aude Van de WIELE" userId="7317e673-04dd-415c-a4d7-718682339b40" providerId="ADAL" clId="{80D4E734-020D-4C1F-A028-1B9E9B483F9A}" dt="2021-05-25T08:49:48.640" v="7509" actId="790"/>
          <ac:spMkLst>
            <pc:docMk/>
            <pc:sldMk cId="1845337448" sldId="10441"/>
            <ac:spMk id="169" creationId="{7881ABC3-A97B-4E90-939F-E48D9595FFFF}"/>
          </ac:spMkLst>
        </pc:spChg>
        <pc:spChg chg="mod">
          <ac:chgData name="Aude Van de WIELE" userId="7317e673-04dd-415c-a4d7-718682339b40" providerId="ADAL" clId="{80D4E734-020D-4C1F-A028-1B9E9B483F9A}" dt="2021-05-25T08:49:48.641" v="7510" actId="790"/>
          <ac:spMkLst>
            <pc:docMk/>
            <pc:sldMk cId="1845337448" sldId="10441"/>
            <ac:spMk id="170" creationId="{A886CA56-9620-415B-9489-A004AB6EB706}"/>
          </ac:spMkLst>
        </pc:spChg>
        <pc:spChg chg="mod">
          <ac:chgData name="Aude Van de WIELE" userId="7317e673-04dd-415c-a4d7-718682339b40" providerId="ADAL" clId="{80D4E734-020D-4C1F-A028-1B9E9B483F9A}" dt="2021-05-25T08:49:48.642" v="7511" actId="790"/>
          <ac:spMkLst>
            <pc:docMk/>
            <pc:sldMk cId="1845337448" sldId="10441"/>
            <ac:spMk id="171" creationId="{BCC6DEFD-6FEB-4777-9432-E3B2F5C51000}"/>
          </ac:spMkLst>
        </pc:spChg>
        <pc:spChg chg="mod">
          <ac:chgData name="Aude Van de WIELE" userId="7317e673-04dd-415c-a4d7-718682339b40" providerId="ADAL" clId="{80D4E734-020D-4C1F-A028-1B9E9B483F9A}" dt="2021-05-25T08:49:48.644" v="7512" actId="790"/>
          <ac:spMkLst>
            <pc:docMk/>
            <pc:sldMk cId="1845337448" sldId="10441"/>
            <ac:spMk id="172" creationId="{04568322-5012-422B-991D-C9A4712E25C9}"/>
          </ac:spMkLst>
        </pc:spChg>
        <pc:spChg chg="mod">
          <ac:chgData name="Aude Van de WIELE" userId="7317e673-04dd-415c-a4d7-718682339b40" providerId="ADAL" clId="{80D4E734-020D-4C1F-A028-1B9E9B483F9A}" dt="2021-05-25T08:49:48.645" v="7514" actId="790"/>
          <ac:spMkLst>
            <pc:docMk/>
            <pc:sldMk cId="1845337448" sldId="10441"/>
            <ac:spMk id="197" creationId="{EB1ED8EE-1371-4F31-B475-A7FD22F01C88}"/>
          </ac:spMkLst>
        </pc:spChg>
        <pc:spChg chg="mod">
          <ac:chgData name="Aude Van de WIELE" userId="7317e673-04dd-415c-a4d7-718682339b40" providerId="ADAL" clId="{80D4E734-020D-4C1F-A028-1B9E9B483F9A}" dt="2021-05-25T08:49:48.646" v="7515" actId="790"/>
          <ac:spMkLst>
            <pc:docMk/>
            <pc:sldMk cId="1845337448" sldId="10441"/>
            <ac:spMk id="212" creationId="{F492C173-DFD6-47CF-9BB4-C8925127E1EE}"/>
          </ac:spMkLst>
        </pc:spChg>
        <pc:spChg chg="del">
          <ac:chgData name="Aude Van de WIELE" userId="7317e673-04dd-415c-a4d7-718682339b40" providerId="ADAL" clId="{80D4E734-020D-4C1F-A028-1B9E9B483F9A}" dt="2021-05-24T16:12:18.497" v="6206" actId="478"/>
          <ac:spMkLst>
            <pc:docMk/>
            <pc:sldMk cId="1845337448" sldId="10441"/>
            <ac:spMk id="1031" creationId="{A3845A5C-C65F-4C44-AE3B-D3285DF51268}"/>
          </ac:spMkLst>
        </pc:spChg>
        <pc:spChg chg="mod">
          <ac:chgData name="Aude Van de WIELE" userId="7317e673-04dd-415c-a4d7-718682339b40" providerId="ADAL" clId="{80D4E734-020D-4C1F-A028-1B9E9B483F9A}" dt="2021-05-25T08:49:48.626" v="7493" actId="790"/>
          <ac:spMkLst>
            <pc:docMk/>
            <pc:sldMk cId="1845337448" sldId="10441"/>
            <ac:spMk id="1035" creationId="{9164A53F-4711-41A4-BE3D-8D2F4243A495}"/>
          </ac:spMkLst>
        </pc:spChg>
        <pc:spChg chg="mod">
          <ac:chgData name="Aude Van de WIELE" userId="7317e673-04dd-415c-a4d7-718682339b40" providerId="ADAL" clId="{80D4E734-020D-4C1F-A028-1B9E9B483F9A}" dt="2021-05-25T08:49:48.608" v="7478" actId="790"/>
          <ac:spMkLst>
            <pc:docMk/>
            <pc:sldMk cId="1845337448" sldId="10441"/>
            <ac:spMk id="4107" creationId="{EBC573C8-C4E3-432A-81F7-B99236DF594A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09:59:02.834" v="10119" actId="313"/>
        <pc:sldMkLst>
          <pc:docMk/>
          <pc:sldMk cId="119867206" sldId="10442"/>
        </pc:sldMkLst>
        <pc:spChg chg="mod">
          <ac:chgData name="Aude Van de WIELE" userId="7317e673-04dd-415c-a4d7-718682339b40" providerId="ADAL" clId="{80D4E734-020D-4C1F-A028-1B9E9B483F9A}" dt="2021-05-25T08:49:50.130" v="8781" actId="790"/>
          <ac:spMkLst>
            <pc:docMk/>
            <pc:sldMk cId="119867206" sldId="10442"/>
            <ac:spMk id="2" creationId="{65FB54C3-7A29-4F52-9D6B-AA323F834961}"/>
          </ac:spMkLst>
        </pc:spChg>
        <pc:spChg chg="mod">
          <ac:chgData name="Aude Van de WIELE" userId="7317e673-04dd-415c-a4d7-718682339b40" providerId="ADAL" clId="{80D4E734-020D-4C1F-A028-1B9E9B483F9A}" dt="2021-05-24T14:52:21.372" v="5267" actId="207"/>
          <ac:spMkLst>
            <pc:docMk/>
            <pc:sldMk cId="119867206" sldId="10442"/>
            <ac:spMk id="6" creationId="{17814E99-965C-4895-9646-E33069A9A320}"/>
          </ac:spMkLst>
        </pc:spChg>
        <pc:spChg chg="add mod">
          <ac:chgData name="Aude Van de WIELE" userId="7317e673-04dd-415c-a4d7-718682339b40" providerId="ADAL" clId="{80D4E734-020D-4C1F-A028-1B9E9B483F9A}" dt="2021-05-24T11:45:19.180" v="2488" actId="1076"/>
          <ac:spMkLst>
            <pc:docMk/>
            <pc:sldMk cId="119867206" sldId="10442"/>
            <ac:spMk id="15" creationId="{5D22D7AF-E656-45E3-A226-B8CF9280DB09}"/>
          </ac:spMkLst>
        </pc:spChg>
        <pc:spChg chg="mod">
          <ac:chgData name="Aude Van de WIELE" userId="7317e673-04dd-415c-a4d7-718682339b40" providerId="ADAL" clId="{80D4E734-020D-4C1F-A028-1B9E9B483F9A}" dt="2021-05-25T08:49:50.132" v="8782" actId="790"/>
          <ac:spMkLst>
            <pc:docMk/>
            <pc:sldMk cId="119867206" sldId="10442"/>
            <ac:spMk id="16" creationId="{E625AD53-64CF-42F3-AA64-D4ABD13045AB}"/>
          </ac:spMkLst>
        </pc:spChg>
        <pc:spChg chg="mod">
          <ac:chgData name="Aude Van de WIELE" userId="7317e673-04dd-415c-a4d7-718682339b40" providerId="ADAL" clId="{80D4E734-020D-4C1F-A028-1B9E9B483F9A}" dt="2021-05-25T08:49:50.133" v="8783" actId="790"/>
          <ac:spMkLst>
            <pc:docMk/>
            <pc:sldMk cId="119867206" sldId="10442"/>
            <ac:spMk id="19" creationId="{CE784874-640E-4FCC-A7A8-772CCF499F02}"/>
          </ac:spMkLst>
        </pc:spChg>
        <pc:spChg chg="mod">
          <ac:chgData name="Aude Van de WIELE" userId="7317e673-04dd-415c-a4d7-718682339b40" providerId="ADAL" clId="{80D4E734-020D-4C1F-A028-1B9E9B483F9A}" dt="2021-05-25T08:49:50.148" v="8799" actId="790"/>
          <ac:spMkLst>
            <pc:docMk/>
            <pc:sldMk cId="119867206" sldId="10442"/>
            <ac:spMk id="20" creationId="{D1FA0833-EFF2-4B7E-9171-123851B44050}"/>
          </ac:spMkLst>
        </pc:spChg>
        <pc:spChg chg="mod">
          <ac:chgData name="Aude Van de WIELE" userId="7317e673-04dd-415c-a4d7-718682339b40" providerId="ADAL" clId="{80D4E734-020D-4C1F-A028-1B9E9B483F9A}" dt="2021-05-25T08:49:50.150" v="8801" actId="790"/>
          <ac:spMkLst>
            <pc:docMk/>
            <pc:sldMk cId="119867206" sldId="10442"/>
            <ac:spMk id="22" creationId="{F3C04D9E-BF7B-4E81-8F68-CB75E5A8639B}"/>
          </ac:spMkLst>
        </pc:spChg>
        <pc:spChg chg="mod">
          <ac:chgData name="Aude Van de WIELE" userId="7317e673-04dd-415c-a4d7-718682339b40" providerId="ADAL" clId="{80D4E734-020D-4C1F-A028-1B9E9B483F9A}" dt="2021-05-25T08:49:50.152" v="8803" actId="790"/>
          <ac:spMkLst>
            <pc:docMk/>
            <pc:sldMk cId="119867206" sldId="10442"/>
            <ac:spMk id="23" creationId="{69708570-8585-4B93-8B60-BFE38DA082AC}"/>
          </ac:spMkLst>
        </pc:spChg>
        <pc:spChg chg="mod">
          <ac:chgData name="Aude Van de WIELE" userId="7317e673-04dd-415c-a4d7-718682339b40" providerId="ADAL" clId="{80D4E734-020D-4C1F-A028-1B9E9B483F9A}" dt="2021-05-25T08:49:50.134" v="8784" actId="790"/>
          <ac:spMkLst>
            <pc:docMk/>
            <pc:sldMk cId="119867206" sldId="10442"/>
            <ac:spMk id="28" creationId="{138E85E6-5B09-4B9A-A67C-B8BF0299E406}"/>
          </ac:spMkLst>
        </pc:spChg>
        <pc:spChg chg="del">
          <ac:chgData name="Aude Van de WIELE" userId="7317e673-04dd-415c-a4d7-718682339b40" providerId="ADAL" clId="{80D4E734-020D-4C1F-A028-1B9E9B483F9A}" dt="2021-05-25T07:56:30.215" v="6862" actId="478"/>
          <ac:spMkLst>
            <pc:docMk/>
            <pc:sldMk cId="119867206" sldId="10442"/>
            <ac:spMk id="29" creationId="{4D05E647-B2AC-4967-8A12-04BF6D849BA2}"/>
          </ac:spMkLst>
        </pc:spChg>
        <pc:spChg chg="mod">
          <ac:chgData name="Aude Van de WIELE" userId="7317e673-04dd-415c-a4d7-718682339b40" providerId="ADAL" clId="{80D4E734-020D-4C1F-A028-1B9E9B483F9A}" dt="2021-05-25T08:49:50.142" v="8793" actId="790"/>
          <ac:spMkLst>
            <pc:docMk/>
            <pc:sldMk cId="119867206" sldId="10442"/>
            <ac:spMk id="30" creationId="{3234BEDE-0EAA-43C8-B745-6264596C01F6}"/>
          </ac:spMkLst>
        </pc:spChg>
        <pc:spChg chg="mod">
          <ac:chgData name="Aude Van de WIELE" userId="7317e673-04dd-415c-a4d7-718682339b40" providerId="ADAL" clId="{80D4E734-020D-4C1F-A028-1B9E9B483F9A}" dt="2021-05-25T08:49:50.144" v="8795" actId="790"/>
          <ac:spMkLst>
            <pc:docMk/>
            <pc:sldMk cId="119867206" sldId="10442"/>
            <ac:spMk id="31" creationId="{FBCCFBAE-290E-4D09-9A7A-6DD2B4B74D5E}"/>
          </ac:spMkLst>
        </pc:spChg>
        <pc:spChg chg="mod">
          <ac:chgData name="Aude Van de WIELE" userId="7317e673-04dd-415c-a4d7-718682339b40" providerId="ADAL" clId="{80D4E734-020D-4C1F-A028-1B9E9B483F9A}" dt="2021-05-25T08:49:50.146" v="8797" actId="790"/>
          <ac:spMkLst>
            <pc:docMk/>
            <pc:sldMk cId="119867206" sldId="10442"/>
            <ac:spMk id="33" creationId="{D943280D-7597-44ED-8893-A5890193057B}"/>
          </ac:spMkLst>
        </pc:spChg>
        <pc:spChg chg="mod">
          <ac:chgData name="Aude Van de WIELE" userId="7317e673-04dd-415c-a4d7-718682339b40" providerId="ADAL" clId="{80D4E734-020D-4C1F-A028-1B9E9B483F9A}" dt="2021-05-25T08:49:50.138" v="8789" actId="790"/>
          <ac:spMkLst>
            <pc:docMk/>
            <pc:sldMk cId="119867206" sldId="10442"/>
            <ac:spMk id="34" creationId="{4FDBDE50-D4D5-423B-89F8-28819E20B66A}"/>
          </ac:spMkLst>
        </pc:spChg>
        <pc:spChg chg="mod">
          <ac:chgData name="Aude Van de WIELE" userId="7317e673-04dd-415c-a4d7-718682339b40" providerId="ADAL" clId="{80D4E734-020D-4C1F-A028-1B9E9B483F9A}" dt="2021-05-25T08:49:50.140" v="8791" actId="790"/>
          <ac:spMkLst>
            <pc:docMk/>
            <pc:sldMk cId="119867206" sldId="10442"/>
            <ac:spMk id="35" creationId="{04821F65-85B0-49C8-8185-2D9762D2388E}"/>
          </ac:spMkLst>
        </pc:spChg>
        <pc:spChg chg="mod">
          <ac:chgData name="Aude Van de WIELE" userId="7317e673-04dd-415c-a4d7-718682339b40" providerId="ADAL" clId="{80D4E734-020D-4C1F-A028-1B9E9B483F9A}" dt="2021-05-25T08:49:50.135" v="8786" actId="790"/>
          <ac:spMkLst>
            <pc:docMk/>
            <pc:sldMk cId="119867206" sldId="10442"/>
            <ac:spMk id="36" creationId="{482A1232-234F-4E6C-ABD1-A62108139B77}"/>
          </ac:spMkLst>
        </pc:spChg>
        <pc:spChg chg="mod">
          <ac:chgData name="Aude Van de WIELE" userId="7317e673-04dd-415c-a4d7-718682339b40" providerId="ADAL" clId="{80D4E734-020D-4C1F-A028-1B9E9B483F9A}" dt="2021-05-25T08:49:50.134" v="8785" actId="790"/>
          <ac:spMkLst>
            <pc:docMk/>
            <pc:sldMk cId="119867206" sldId="10442"/>
            <ac:spMk id="38" creationId="{044C8133-1CA2-451F-9021-BE7A6E1D59C4}"/>
          </ac:spMkLst>
        </pc:spChg>
        <pc:spChg chg="mod">
          <ac:chgData name="Aude Van de WIELE" userId="7317e673-04dd-415c-a4d7-718682339b40" providerId="ADAL" clId="{80D4E734-020D-4C1F-A028-1B9E9B483F9A}" dt="2021-05-25T09:59:02.834" v="10119" actId="313"/>
          <ac:spMkLst>
            <pc:docMk/>
            <pc:sldMk cId="119867206" sldId="10442"/>
            <ac:spMk id="45" creationId="{3E502BB1-A8E8-4A13-9372-A8667C6FB05E}"/>
          </ac:spMkLst>
        </pc:spChg>
        <pc:spChg chg="mod">
          <ac:chgData name="Aude Van de WIELE" userId="7317e673-04dd-415c-a4d7-718682339b40" providerId="ADAL" clId="{80D4E734-020D-4C1F-A028-1B9E9B483F9A}" dt="2021-05-24T14:52:46.725" v="5273"/>
          <ac:spMkLst>
            <pc:docMk/>
            <pc:sldMk cId="119867206" sldId="10442"/>
            <ac:spMk id="51" creationId="{D35E4FD3-95B6-4E14-9FE1-82E6707EB0DE}"/>
          </ac:spMkLst>
        </pc:spChg>
        <pc:spChg chg="mod">
          <ac:chgData name="Aude Van de WIELE" userId="7317e673-04dd-415c-a4d7-718682339b40" providerId="ADAL" clId="{80D4E734-020D-4C1F-A028-1B9E9B483F9A}" dt="2021-05-24T14:52:37.558" v="5270"/>
          <ac:spMkLst>
            <pc:docMk/>
            <pc:sldMk cId="119867206" sldId="10442"/>
            <ac:spMk id="52" creationId="{C96121B6-677E-4398-B6C9-85DBED15011E}"/>
          </ac:spMkLst>
        </pc:spChg>
        <pc:spChg chg="mod">
          <ac:chgData name="Aude Van de WIELE" userId="7317e673-04dd-415c-a4d7-718682339b40" providerId="ADAL" clId="{80D4E734-020D-4C1F-A028-1B9E9B483F9A}" dt="2021-05-25T08:49:50.138" v="8788" actId="790"/>
          <ac:spMkLst>
            <pc:docMk/>
            <pc:sldMk cId="119867206" sldId="10442"/>
            <ac:spMk id="53" creationId="{2D090911-243F-4A27-B4DB-205B60F55F47}"/>
          </ac:spMkLst>
        </pc:spChg>
        <pc:spChg chg="mod">
          <ac:chgData name="Aude Van de WIELE" userId="7317e673-04dd-415c-a4d7-718682339b40" providerId="ADAL" clId="{80D4E734-020D-4C1F-A028-1B9E9B483F9A}" dt="2021-05-25T08:49:50.139" v="8790" actId="790"/>
          <ac:spMkLst>
            <pc:docMk/>
            <pc:sldMk cId="119867206" sldId="10442"/>
            <ac:spMk id="55" creationId="{22FD3FE4-143E-452C-8A68-21746130045F}"/>
          </ac:spMkLst>
        </pc:spChg>
        <pc:spChg chg="mod">
          <ac:chgData name="Aude Van de WIELE" userId="7317e673-04dd-415c-a4d7-718682339b40" providerId="ADAL" clId="{80D4E734-020D-4C1F-A028-1B9E9B483F9A}" dt="2021-05-25T08:49:50.141" v="8792" actId="790"/>
          <ac:spMkLst>
            <pc:docMk/>
            <pc:sldMk cId="119867206" sldId="10442"/>
            <ac:spMk id="56" creationId="{33345204-2C0C-4D2E-A957-6156AE4001F9}"/>
          </ac:spMkLst>
        </pc:spChg>
        <pc:spChg chg="mod">
          <ac:chgData name="Aude Van de WIELE" userId="7317e673-04dd-415c-a4d7-718682339b40" providerId="ADAL" clId="{80D4E734-020D-4C1F-A028-1B9E9B483F9A}" dt="2021-05-25T08:49:50.143" v="8794" actId="790"/>
          <ac:spMkLst>
            <pc:docMk/>
            <pc:sldMk cId="119867206" sldId="10442"/>
            <ac:spMk id="57" creationId="{4C0ABB09-009A-4915-B6C6-174B5F04C563}"/>
          </ac:spMkLst>
        </pc:spChg>
        <pc:spChg chg="mod">
          <ac:chgData name="Aude Van de WIELE" userId="7317e673-04dd-415c-a4d7-718682339b40" providerId="ADAL" clId="{80D4E734-020D-4C1F-A028-1B9E9B483F9A}" dt="2021-05-25T08:49:50.145" v="8796" actId="790"/>
          <ac:spMkLst>
            <pc:docMk/>
            <pc:sldMk cId="119867206" sldId="10442"/>
            <ac:spMk id="58" creationId="{824D8A0B-4FEC-4235-92B9-B2E5612B441F}"/>
          </ac:spMkLst>
        </pc:spChg>
        <pc:spChg chg="mod">
          <ac:chgData name="Aude Van de WIELE" userId="7317e673-04dd-415c-a4d7-718682339b40" providerId="ADAL" clId="{80D4E734-020D-4C1F-A028-1B9E9B483F9A}" dt="2021-05-25T08:49:50.147" v="8798" actId="790"/>
          <ac:spMkLst>
            <pc:docMk/>
            <pc:sldMk cId="119867206" sldId="10442"/>
            <ac:spMk id="59" creationId="{D24B7842-328D-4964-A761-7041F79F2020}"/>
          </ac:spMkLst>
        </pc:spChg>
        <pc:spChg chg="mod">
          <ac:chgData name="Aude Van de WIELE" userId="7317e673-04dd-415c-a4d7-718682339b40" providerId="ADAL" clId="{80D4E734-020D-4C1F-A028-1B9E9B483F9A}" dt="2021-05-25T08:49:50.149" v="8800" actId="790"/>
          <ac:spMkLst>
            <pc:docMk/>
            <pc:sldMk cId="119867206" sldId="10442"/>
            <ac:spMk id="61" creationId="{2344C252-77C1-47F1-9695-C9D5C41D6734}"/>
          </ac:spMkLst>
        </pc:spChg>
        <pc:spChg chg="mod">
          <ac:chgData name="Aude Van de WIELE" userId="7317e673-04dd-415c-a4d7-718682339b40" providerId="ADAL" clId="{80D4E734-020D-4C1F-A028-1B9E9B483F9A}" dt="2021-05-25T08:49:50.151" v="8802" actId="790"/>
          <ac:spMkLst>
            <pc:docMk/>
            <pc:sldMk cId="119867206" sldId="10442"/>
            <ac:spMk id="63" creationId="{2FE9B556-371C-4FD0-9F35-D909BFD38D55}"/>
          </ac:spMkLst>
        </pc:spChg>
        <pc:spChg chg="mod">
          <ac:chgData name="Aude Van de WIELE" userId="7317e673-04dd-415c-a4d7-718682339b40" providerId="ADAL" clId="{80D4E734-020D-4C1F-A028-1B9E9B483F9A}" dt="2021-05-25T08:49:50.152" v="8804" actId="790"/>
          <ac:spMkLst>
            <pc:docMk/>
            <pc:sldMk cId="119867206" sldId="10442"/>
            <ac:spMk id="64" creationId="{26041E40-EA63-4937-8610-E0F42F136D9A}"/>
          </ac:spMkLst>
        </pc:spChg>
        <pc:spChg chg="add mod">
          <ac:chgData name="Aude Van de WIELE" userId="7317e673-04dd-415c-a4d7-718682339b40" providerId="ADAL" clId="{80D4E734-020D-4C1F-A028-1B9E9B483F9A}" dt="2021-05-25T08:49:50.192" v="8836" actId="790"/>
          <ac:spMkLst>
            <pc:docMk/>
            <pc:sldMk cId="119867206" sldId="10442"/>
            <ac:spMk id="95" creationId="{56206D67-3BB2-497F-AB77-ABD8C7C318BA}"/>
          </ac:spMkLst>
        </pc:spChg>
        <pc:spChg chg="mod">
          <ac:chgData name="Aude Van de WIELE" userId="7317e673-04dd-415c-a4d7-718682339b40" providerId="ADAL" clId="{80D4E734-020D-4C1F-A028-1B9E9B483F9A}" dt="2021-05-25T08:49:50.153" v="8805" actId="790"/>
          <ac:spMkLst>
            <pc:docMk/>
            <pc:sldMk cId="119867206" sldId="10442"/>
            <ac:spMk id="104" creationId="{4533AB2B-0301-4919-81AB-4BE02FE8A291}"/>
          </ac:spMkLst>
        </pc:spChg>
        <pc:spChg chg="mod">
          <ac:chgData name="Aude Van de WIELE" userId="7317e673-04dd-415c-a4d7-718682339b40" providerId="ADAL" clId="{80D4E734-020D-4C1F-A028-1B9E9B483F9A}" dt="2021-05-25T08:49:50.155" v="8806" actId="790"/>
          <ac:spMkLst>
            <pc:docMk/>
            <pc:sldMk cId="119867206" sldId="10442"/>
            <ac:spMk id="105" creationId="{B75BBABA-FB81-456B-BD42-DFD10AA7AE3B}"/>
          </ac:spMkLst>
        </pc:spChg>
        <pc:spChg chg="mod">
          <ac:chgData name="Aude Van de WIELE" userId="7317e673-04dd-415c-a4d7-718682339b40" providerId="ADAL" clId="{80D4E734-020D-4C1F-A028-1B9E9B483F9A}" dt="2021-05-25T08:49:50.156" v="8807" actId="790"/>
          <ac:spMkLst>
            <pc:docMk/>
            <pc:sldMk cId="119867206" sldId="10442"/>
            <ac:spMk id="106" creationId="{A133B2BE-2068-4A99-9833-0DA5D8BC0137}"/>
          </ac:spMkLst>
        </pc:spChg>
        <pc:spChg chg="mod">
          <ac:chgData name="Aude Van de WIELE" userId="7317e673-04dd-415c-a4d7-718682339b40" providerId="ADAL" clId="{80D4E734-020D-4C1F-A028-1B9E9B483F9A}" dt="2021-05-25T08:49:50.157" v="8808" actId="790"/>
          <ac:spMkLst>
            <pc:docMk/>
            <pc:sldMk cId="119867206" sldId="10442"/>
            <ac:spMk id="108" creationId="{F09EEB06-45F0-47E2-B53C-B3DD95201528}"/>
          </ac:spMkLst>
        </pc:spChg>
        <pc:spChg chg="mod">
          <ac:chgData name="Aude Van de WIELE" userId="7317e673-04dd-415c-a4d7-718682339b40" providerId="ADAL" clId="{80D4E734-020D-4C1F-A028-1B9E9B483F9A}" dt="2021-05-25T08:49:50.159" v="8809" actId="790"/>
          <ac:spMkLst>
            <pc:docMk/>
            <pc:sldMk cId="119867206" sldId="10442"/>
            <ac:spMk id="109" creationId="{6E2B6BAA-BDFD-4BED-B53C-733E75F8298A}"/>
          </ac:spMkLst>
        </pc:spChg>
        <pc:spChg chg="mod">
          <ac:chgData name="Aude Van de WIELE" userId="7317e673-04dd-415c-a4d7-718682339b40" providerId="ADAL" clId="{80D4E734-020D-4C1F-A028-1B9E9B483F9A}" dt="2021-05-25T08:49:50.160" v="8810" actId="790"/>
          <ac:spMkLst>
            <pc:docMk/>
            <pc:sldMk cId="119867206" sldId="10442"/>
            <ac:spMk id="110" creationId="{F899CAD4-8D7B-4725-8ACD-6E5C03C61B9B}"/>
          </ac:spMkLst>
        </pc:spChg>
        <pc:spChg chg="mod">
          <ac:chgData name="Aude Van de WIELE" userId="7317e673-04dd-415c-a4d7-718682339b40" providerId="ADAL" clId="{80D4E734-020D-4C1F-A028-1B9E9B483F9A}" dt="2021-05-25T08:49:50.162" v="8811" actId="790"/>
          <ac:spMkLst>
            <pc:docMk/>
            <pc:sldMk cId="119867206" sldId="10442"/>
            <ac:spMk id="112" creationId="{891230FB-1862-448C-B85F-FFE2EADAC578}"/>
          </ac:spMkLst>
        </pc:spChg>
        <pc:spChg chg="mod">
          <ac:chgData name="Aude Van de WIELE" userId="7317e673-04dd-415c-a4d7-718682339b40" providerId="ADAL" clId="{80D4E734-020D-4C1F-A028-1B9E9B483F9A}" dt="2021-05-25T09:58:52.893" v="10118" actId="313"/>
          <ac:spMkLst>
            <pc:docMk/>
            <pc:sldMk cId="119867206" sldId="10442"/>
            <ac:spMk id="113" creationId="{71A9A602-8981-4663-A273-24A1CB6A59CE}"/>
          </ac:spMkLst>
        </pc:spChg>
        <pc:spChg chg="mod">
          <ac:chgData name="Aude Van de WIELE" userId="7317e673-04dd-415c-a4d7-718682339b40" providerId="ADAL" clId="{80D4E734-020D-4C1F-A028-1B9E9B483F9A}" dt="2021-05-25T08:49:50.165" v="8813" actId="790"/>
          <ac:spMkLst>
            <pc:docMk/>
            <pc:sldMk cId="119867206" sldId="10442"/>
            <ac:spMk id="129" creationId="{823B65AE-6671-43D3-A32F-C41395D3CB4C}"/>
          </ac:spMkLst>
        </pc:spChg>
        <pc:spChg chg="mod">
          <ac:chgData name="Aude Van de WIELE" userId="7317e673-04dd-415c-a4d7-718682339b40" providerId="ADAL" clId="{80D4E734-020D-4C1F-A028-1B9E9B483F9A}" dt="2021-05-25T08:49:50.165" v="8814" actId="790"/>
          <ac:spMkLst>
            <pc:docMk/>
            <pc:sldMk cId="119867206" sldId="10442"/>
            <ac:spMk id="130" creationId="{7274C6BD-E1D3-4025-AEAC-93EF095573B3}"/>
          </ac:spMkLst>
        </pc:spChg>
        <pc:spChg chg="mod">
          <ac:chgData name="Aude Van de WIELE" userId="7317e673-04dd-415c-a4d7-718682339b40" providerId="ADAL" clId="{80D4E734-020D-4C1F-A028-1B9E9B483F9A}" dt="2021-05-25T08:49:50.168" v="8815" actId="790"/>
          <ac:spMkLst>
            <pc:docMk/>
            <pc:sldMk cId="119867206" sldId="10442"/>
            <ac:spMk id="175" creationId="{5C2DEDAC-44EB-4334-9FDA-E49190484943}"/>
          </ac:spMkLst>
        </pc:spChg>
        <pc:spChg chg="mod">
          <ac:chgData name="Aude Van de WIELE" userId="7317e673-04dd-415c-a4d7-718682339b40" providerId="ADAL" clId="{80D4E734-020D-4C1F-A028-1B9E9B483F9A}" dt="2021-05-25T08:49:50.169" v="8816" actId="790"/>
          <ac:spMkLst>
            <pc:docMk/>
            <pc:sldMk cId="119867206" sldId="10442"/>
            <ac:spMk id="176" creationId="{91408530-0C52-4970-8D86-5CE1F7C05DE8}"/>
          </ac:spMkLst>
        </pc:spChg>
        <pc:spChg chg="mod">
          <ac:chgData name="Aude Van de WIELE" userId="7317e673-04dd-415c-a4d7-718682339b40" providerId="ADAL" clId="{80D4E734-020D-4C1F-A028-1B9E9B483F9A}" dt="2021-05-25T08:49:50.169" v="8817" actId="790"/>
          <ac:spMkLst>
            <pc:docMk/>
            <pc:sldMk cId="119867206" sldId="10442"/>
            <ac:spMk id="177" creationId="{4C7285FD-5877-4C09-A20C-3127954D24A7}"/>
          </ac:spMkLst>
        </pc:spChg>
        <pc:spChg chg="mod">
          <ac:chgData name="Aude Van de WIELE" userId="7317e673-04dd-415c-a4d7-718682339b40" providerId="ADAL" clId="{80D4E734-020D-4C1F-A028-1B9E9B483F9A}" dt="2021-05-25T08:49:50.170" v="8818" actId="790"/>
          <ac:spMkLst>
            <pc:docMk/>
            <pc:sldMk cId="119867206" sldId="10442"/>
            <ac:spMk id="178" creationId="{D64EFAA4-6D69-4699-8A02-F0DB7533D687}"/>
          </ac:spMkLst>
        </pc:spChg>
        <pc:spChg chg="mod">
          <ac:chgData name="Aude Van de WIELE" userId="7317e673-04dd-415c-a4d7-718682339b40" providerId="ADAL" clId="{80D4E734-020D-4C1F-A028-1B9E9B483F9A}" dt="2021-05-25T08:49:50.171" v="8819" actId="790"/>
          <ac:spMkLst>
            <pc:docMk/>
            <pc:sldMk cId="119867206" sldId="10442"/>
            <ac:spMk id="181" creationId="{5A48DF51-841E-4C28-8685-6DEC806A15D8}"/>
          </ac:spMkLst>
        </pc:spChg>
        <pc:spChg chg="mod">
          <ac:chgData name="Aude Van de WIELE" userId="7317e673-04dd-415c-a4d7-718682339b40" providerId="ADAL" clId="{80D4E734-020D-4C1F-A028-1B9E9B483F9A}" dt="2021-05-25T08:49:50.171" v="8820" actId="790"/>
          <ac:spMkLst>
            <pc:docMk/>
            <pc:sldMk cId="119867206" sldId="10442"/>
            <ac:spMk id="182" creationId="{76599DB5-B50D-4D47-A7C5-E17568B9C49D}"/>
          </ac:spMkLst>
        </pc:spChg>
        <pc:spChg chg="mod">
          <ac:chgData name="Aude Van de WIELE" userId="7317e673-04dd-415c-a4d7-718682339b40" providerId="ADAL" clId="{80D4E734-020D-4C1F-A028-1B9E9B483F9A}" dt="2021-05-25T08:49:50.176" v="8821" actId="790"/>
          <ac:spMkLst>
            <pc:docMk/>
            <pc:sldMk cId="119867206" sldId="10442"/>
            <ac:spMk id="202" creationId="{7AEDB99C-DE6E-44A0-96B3-4866C7E1A7D2}"/>
          </ac:spMkLst>
        </pc:spChg>
        <pc:spChg chg="mod">
          <ac:chgData name="Aude Van de WIELE" userId="7317e673-04dd-415c-a4d7-718682339b40" providerId="ADAL" clId="{80D4E734-020D-4C1F-A028-1B9E9B483F9A}" dt="2021-05-25T08:49:50.176" v="8822" actId="790"/>
          <ac:spMkLst>
            <pc:docMk/>
            <pc:sldMk cId="119867206" sldId="10442"/>
            <ac:spMk id="203" creationId="{188A6C56-2174-4152-976A-6D8A2575B158}"/>
          </ac:spMkLst>
        </pc:spChg>
        <pc:spChg chg="mod">
          <ac:chgData name="Aude Van de WIELE" userId="7317e673-04dd-415c-a4d7-718682339b40" providerId="ADAL" clId="{80D4E734-020D-4C1F-A028-1B9E9B483F9A}" dt="2021-05-25T08:49:50.177" v="8823" actId="790"/>
          <ac:spMkLst>
            <pc:docMk/>
            <pc:sldMk cId="119867206" sldId="10442"/>
            <ac:spMk id="204" creationId="{DD0C0FD2-5C64-4550-AD6C-2FE2255D828D}"/>
          </ac:spMkLst>
        </pc:spChg>
        <pc:spChg chg="mod">
          <ac:chgData name="Aude Van de WIELE" userId="7317e673-04dd-415c-a4d7-718682339b40" providerId="ADAL" clId="{80D4E734-020D-4C1F-A028-1B9E9B483F9A}" dt="2021-05-25T08:49:50.178" v="8824" actId="790"/>
          <ac:spMkLst>
            <pc:docMk/>
            <pc:sldMk cId="119867206" sldId="10442"/>
            <ac:spMk id="206" creationId="{E74E2BC6-B95F-4767-B3ED-44D142CD7092}"/>
          </ac:spMkLst>
        </pc:spChg>
        <pc:spChg chg="mod">
          <ac:chgData name="Aude Van de WIELE" userId="7317e673-04dd-415c-a4d7-718682339b40" providerId="ADAL" clId="{80D4E734-020D-4C1F-A028-1B9E9B483F9A}" dt="2021-05-25T08:49:50.179" v="8825" actId="790"/>
          <ac:spMkLst>
            <pc:docMk/>
            <pc:sldMk cId="119867206" sldId="10442"/>
            <ac:spMk id="209" creationId="{F4CE7B0C-5294-4930-B5A4-B333C27010D3}"/>
          </ac:spMkLst>
        </pc:spChg>
        <pc:spChg chg="mod">
          <ac:chgData name="Aude Van de WIELE" userId="7317e673-04dd-415c-a4d7-718682339b40" providerId="ADAL" clId="{80D4E734-020D-4C1F-A028-1B9E9B483F9A}" dt="2021-05-25T08:49:50.179" v="8826" actId="790"/>
          <ac:spMkLst>
            <pc:docMk/>
            <pc:sldMk cId="119867206" sldId="10442"/>
            <ac:spMk id="210" creationId="{9DAE5F46-A6B4-4B74-8576-ABA442D6A216}"/>
          </ac:spMkLst>
        </pc:spChg>
        <pc:spChg chg="mod">
          <ac:chgData name="Aude Van de WIELE" userId="7317e673-04dd-415c-a4d7-718682339b40" providerId="ADAL" clId="{80D4E734-020D-4C1F-A028-1B9E9B483F9A}" dt="2021-05-25T08:49:50.180" v="8827" actId="790"/>
          <ac:spMkLst>
            <pc:docMk/>
            <pc:sldMk cId="119867206" sldId="10442"/>
            <ac:spMk id="212" creationId="{FACEDCAC-5D6C-4607-8510-1FE1033318FA}"/>
          </ac:spMkLst>
        </pc:spChg>
        <pc:spChg chg="mod">
          <ac:chgData name="Aude Van de WIELE" userId="7317e673-04dd-415c-a4d7-718682339b40" providerId="ADAL" clId="{80D4E734-020D-4C1F-A028-1B9E9B483F9A}" dt="2021-05-25T08:49:50.181" v="8828" actId="790"/>
          <ac:spMkLst>
            <pc:docMk/>
            <pc:sldMk cId="119867206" sldId="10442"/>
            <ac:spMk id="213" creationId="{7C91C66F-61E5-43C3-8903-04464463B492}"/>
          </ac:spMkLst>
        </pc:spChg>
        <pc:spChg chg="mod">
          <ac:chgData name="Aude Van de WIELE" userId="7317e673-04dd-415c-a4d7-718682339b40" providerId="ADAL" clId="{80D4E734-020D-4C1F-A028-1B9E9B483F9A}" dt="2021-05-25T08:49:50.183" v="8829" actId="790"/>
          <ac:spMkLst>
            <pc:docMk/>
            <pc:sldMk cId="119867206" sldId="10442"/>
            <ac:spMk id="221" creationId="{8379F084-8F95-415E-B6D7-CFB4E7A3FBC3}"/>
          </ac:spMkLst>
        </pc:spChg>
        <pc:spChg chg="mod">
          <ac:chgData name="Aude Van de WIELE" userId="7317e673-04dd-415c-a4d7-718682339b40" providerId="ADAL" clId="{80D4E734-020D-4C1F-A028-1B9E9B483F9A}" dt="2021-05-25T08:49:50.184" v="8830" actId="790"/>
          <ac:spMkLst>
            <pc:docMk/>
            <pc:sldMk cId="119867206" sldId="10442"/>
            <ac:spMk id="222" creationId="{157E94B0-0409-44CE-B65C-7866FFC77D20}"/>
          </ac:spMkLst>
        </pc:spChg>
        <pc:spChg chg="mod">
          <ac:chgData name="Aude Van de WIELE" userId="7317e673-04dd-415c-a4d7-718682339b40" providerId="ADAL" clId="{80D4E734-020D-4C1F-A028-1B9E9B483F9A}" dt="2021-05-25T08:49:50.185" v="8831" actId="790"/>
          <ac:spMkLst>
            <pc:docMk/>
            <pc:sldMk cId="119867206" sldId="10442"/>
            <ac:spMk id="223" creationId="{59ED9AFD-7240-46F5-B8E5-2E05AA930F79}"/>
          </ac:spMkLst>
        </pc:spChg>
        <pc:spChg chg="mod">
          <ac:chgData name="Aude Van de WIELE" userId="7317e673-04dd-415c-a4d7-718682339b40" providerId="ADAL" clId="{80D4E734-020D-4C1F-A028-1B9E9B483F9A}" dt="2021-05-25T08:49:50.185" v="8832" actId="790"/>
          <ac:spMkLst>
            <pc:docMk/>
            <pc:sldMk cId="119867206" sldId="10442"/>
            <ac:spMk id="224" creationId="{0F99E4E2-C619-4FF5-88D4-C03F403E16A2}"/>
          </ac:spMkLst>
        </pc:spChg>
        <pc:spChg chg="mod">
          <ac:chgData name="Aude Van de WIELE" userId="7317e673-04dd-415c-a4d7-718682339b40" providerId="ADAL" clId="{80D4E734-020D-4C1F-A028-1B9E9B483F9A}" dt="2021-05-25T08:49:50.189" v="8833" actId="790"/>
          <ac:spMkLst>
            <pc:docMk/>
            <pc:sldMk cId="119867206" sldId="10442"/>
            <ac:spMk id="238" creationId="{976BB76C-7D05-41FD-8AE5-B595546207B4}"/>
          </ac:spMkLst>
        </pc:spChg>
        <pc:spChg chg="mod">
          <ac:chgData name="Aude Van de WIELE" userId="7317e673-04dd-415c-a4d7-718682339b40" providerId="ADAL" clId="{80D4E734-020D-4C1F-A028-1B9E9B483F9A}" dt="2021-05-25T08:49:50.190" v="8834" actId="790"/>
          <ac:spMkLst>
            <pc:docMk/>
            <pc:sldMk cId="119867206" sldId="10442"/>
            <ac:spMk id="239" creationId="{3BF5477F-7E89-4507-B592-C57D6A65E6E7}"/>
          </ac:spMkLst>
        </pc:spChg>
        <pc:spChg chg="mod">
          <ac:chgData name="Aude Van de WIELE" userId="7317e673-04dd-415c-a4d7-718682339b40" providerId="ADAL" clId="{80D4E734-020D-4C1F-A028-1B9E9B483F9A}" dt="2021-05-25T08:49:50.191" v="8835" actId="790"/>
          <ac:spMkLst>
            <pc:docMk/>
            <pc:sldMk cId="119867206" sldId="10442"/>
            <ac:spMk id="240" creationId="{E26E8541-5CB2-40C9-A7FD-2B9BAF28C0AA}"/>
          </ac:spMkLst>
        </pc:spChg>
        <pc:picChg chg="add mod">
          <ac:chgData name="Aude Van de WIELE" userId="7317e673-04dd-415c-a4d7-718682339b40" providerId="ADAL" clId="{80D4E734-020D-4C1F-A028-1B9E9B483F9A}" dt="2021-05-24T14:07:39.348" v="4582"/>
          <ac:picMkLst>
            <pc:docMk/>
            <pc:sldMk cId="119867206" sldId="10442"/>
            <ac:picMk id="18" creationId="{0FE37C88-0575-4C5F-AEE2-0B922B86DFDB}"/>
          </ac:picMkLst>
        </pc:picChg>
      </pc:sldChg>
      <pc:sldChg chg="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378554613" sldId="10443"/>
        </pc:sldMkLst>
      </pc:sldChg>
      <pc:sldChg chg="addSp delSp modSp mod">
        <pc:chgData name="Aude Van de WIELE" userId="7317e673-04dd-415c-a4d7-718682339b40" providerId="ADAL" clId="{80D4E734-020D-4C1F-A028-1B9E9B483F9A}" dt="2021-05-25T12:16:17.380" v="11464" actId="13926"/>
        <pc:sldMkLst>
          <pc:docMk/>
          <pc:sldMk cId="3186676131" sldId="10444"/>
        </pc:sldMkLst>
        <pc:spChg chg="mod">
          <ac:chgData name="Aude Van de WIELE" userId="7317e673-04dd-415c-a4d7-718682339b40" providerId="ADAL" clId="{80D4E734-020D-4C1F-A028-1B9E9B483F9A}" dt="2021-05-25T08:49:48.813" v="7639" actId="790"/>
          <ac:spMkLst>
            <pc:docMk/>
            <pc:sldMk cId="3186676131" sldId="10444"/>
            <ac:spMk id="2" creationId="{1B8B41D0-3B5A-41F2-BD36-274CA5605C3A}"/>
          </ac:spMkLst>
        </pc:spChg>
        <pc:spChg chg="mod">
          <ac:chgData name="Aude Van de WIELE" userId="7317e673-04dd-415c-a4d7-718682339b40" providerId="ADAL" clId="{80D4E734-020D-4C1F-A028-1B9E9B483F9A}" dt="2021-05-25T08:49:48.844" v="7668" actId="790"/>
          <ac:spMkLst>
            <pc:docMk/>
            <pc:sldMk cId="3186676131" sldId="10444"/>
            <ac:spMk id="3" creationId="{F2961EB7-FC0B-4AEF-8BF3-7969101BE0A7}"/>
          </ac:spMkLst>
        </pc:spChg>
        <pc:spChg chg="mod">
          <ac:chgData name="Aude Van de WIELE" userId="7317e673-04dd-415c-a4d7-718682339b40" providerId="ADAL" clId="{80D4E734-020D-4C1F-A028-1B9E9B483F9A}" dt="2021-05-25T08:49:48.807" v="7634" actId="790"/>
          <ac:spMkLst>
            <pc:docMk/>
            <pc:sldMk cId="3186676131" sldId="10444"/>
            <ac:spMk id="4" creationId="{43E0D5C7-0986-42B1-8E8C-7B58D0CBD773}"/>
          </ac:spMkLst>
        </pc:spChg>
        <pc:spChg chg="mod">
          <ac:chgData name="Aude Van de WIELE" userId="7317e673-04dd-415c-a4d7-718682339b40" providerId="ADAL" clId="{80D4E734-020D-4C1F-A028-1B9E9B483F9A}" dt="2021-05-25T08:49:48.814" v="7640" actId="790"/>
          <ac:spMkLst>
            <pc:docMk/>
            <pc:sldMk cId="3186676131" sldId="10444"/>
            <ac:spMk id="5" creationId="{32E0BE14-B2E8-4A96-ADE4-0BE247A47D79}"/>
          </ac:spMkLst>
        </pc:spChg>
        <pc:spChg chg="mod">
          <ac:chgData name="Aude Van de WIELE" userId="7317e673-04dd-415c-a4d7-718682339b40" providerId="ADAL" clId="{80D4E734-020D-4C1F-A028-1B9E9B483F9A}" dt="2021-05-25T08:49:48.815" v="7641" actId="790"/>
          <ac:spMkLst>
            <pc:docMk/>
            <pc:sldMk cId="3186676131" sldId="10444"/>
            <ac:spMk id="6" creationId="{8AEA1672-C0F9-4DB2-A6F4-76831980F749}"/>
          </ac:spMkLst>
        </pc:spChg>
        <pc:spChg chg="mod">
          <ac:chgData name="Aude Van de WIELE" userId="7317e673-04dd-415c-a4d7-718682339b40" providerId="ADAL" clId="{80D4E734-020D-4C1F-A028-1B9E9B483F9A}" dt="2021-05-25T08:49:48.810" v="7637" actId="790"/>
          <ac:spMkLst>
            <pc:docMk/>
            <pc:sldMk cId="3186676131" sldId="10444"/>
            <ac:spMk id="7" creationId="{064EAC16-1947-4EB5-B699-F79BA984701D}"/>
          </ac:spMkLst>
        </pc:spChg>
        <pc:spChg chg="mod">
          <ac:chgData name="Aude Van de WIELE" userId="7317e673-04dd-415c-a4d7-718682339b40" providerId="ADAL" clId="{80D4E734-020D-4C1F-A028-1B9E9B483F9A}" dt="2021-05-25T08:49:48.811" v="7638" actId="790"/>
          <ac:spMkLst>
            <pc:docMk/>
            <pc:sldMk cId="3186676131" sldId="10444"/>
            <ac:spMk id="8" creationId="{17235FB0-B480-4F11-BAB2-ECCE97A0AE35}"/>
          </ac:spMkLst>
        </pc:spChg>
        <pc:spChg chg="mod">
          <ac:chgData name="Aude Van de WIELE" userId="7317e673-04dd-415c-a4d7-718682339b40" providerId="ADAL" clId="{80D4E734-020D-4C1F-A028-1B9E9B483F9A}" dt="2021-05-25T08:49:48.815" v="7642" actId="790"/>
          <ac:spMkLst>
            <pc:docMk/>
            <pc:sldMk cId="3186676131" sldId="10444"/>
            <ac:spMk id="9" creationId="{E57AC7D2-FC03-4826-B2B4-B86B10C8A912}"/>
          </ac:spMkLst>
        </pc:spChg>
        <pc:spChg chg="mod">
          <ac:chgData name="Aude Van de WIELE" userId="7317e673-04dd-415c-a4d7-718682339b40" providerId="ADAL" clId="{80D4E734-020D-4C1F-A028-1B9E9B483F9A}" dt="2021-05-25T08:49:48.833" v="7655" actId="790"/>
          <ac:spMkLst>
            <pc:docMk/>
            <pc:sldMk cId="3186676131" sldId="10444"/>
            <ac:spMk id="10" creationId="{EC4BC8E5-CDE6-4BDA-8B1B-E89284306AC8}"/>
          </ac:spMkLst>
        </pc:spChg>
        <pc:spChg chg="mod">
          <ac:chgData name="Aude Van de WIELE" userId="7317e673-04dd-415c-a4d7-718682339b40" providerId="ADAL" clId="{80D4E734-020D-4C1F-A028-1B9E9B483F9A}" dt="2021-05-25T08:49:48.845" v="7669" actId="790"/>
          <ac:spMkLst>
            <pc:docMk/>
            <pc:sldMk cId="3186676131" sldId="10444"/>
            <ac:spMk id="12" creationId="{06146879-726F-492D-B854-B9E140208671}"/>
          </ac:spMkLst>
        </pc:spChg>
        <pc:spChg chg="mod">
          <ac:chgData name="Aude Van de WIELE" userId="7317e673-04dd-415c-a4d7-718682339b40" providerId="ADAL" clId="{80D4E734-020D-4C1F-A028-1B9E9B483F9A}" dt="2021-05-25T08:49:48.850" v="7675" actId="790"/>
          <ac:spMkLst>
            <pc:docMk/>
            <pc:sldMk cId="3186676131" sldId="10444"/>
            <ac:spMk id="13" creationId="{E9F049B4-9F79-4754-AA4A-B557B2A6D3C9}"/>
          </ac:spMkLst>
        </pc:spChg>
        <pc:spChg chg="mod">
          <ac:chgData name="Aude Van de WIELE" userId="7317e673-04dd-415c-a4d7-718682339b40" providerId="ADAL" clId="{80D4E734-020D-4C1F-A028-1B9E9B483F9A}" dt="2021-05-25T08:49:48.829" v="7651" actId="790"/>
          <ac:spMkLst>
            <pc:docMk/>
            <pc:sldMk cId="3186676131" sldId="10444"/>
            <ac:spMk id="18" creationId="{E5E5B17C-AF5B-4FCB-935E-796FE66056AC}"/>
          </ac:spMkLst>
        </pc:spChg>
        <pc:spChg chg="mod">
          <ac:chgData name="Aude Van de WIELE" userId="7317e673-04dd-415c-a4d7-718682339b40" providerId="ADAL" clId="{80D4E734-020D-4C1F-A028-1B9E9B483F9A}" dt="2021-05-25T08:49:48.816" v="7643" actId="790"/>
          <ac:spMkLst>
            <pc:docMk/>
            <pc:sldMk cId="3186676131" sldId="10444"/>
            <ac:spMk id="19" creationId="{D183DC4A-A310-4818-8DE5-DD81DA31ACA2}"/>
          </ac:spMkLst>
        </pc:spChg>
        <pc:spChg chg="mod">
          <ac:chgData name="Aude Van de WIELE" userId="7317e673-04dd-415c-a4d7-718682339b40" providerId="ADAL" clId="{80D4E734-020D-4C1F-A028-1B9E9B483F9A}" dt="2021-05-25T08:49:48.817" v="7644" actId="790"/>
          <ac:spMkLst>
            <pc:docMk/>
            <pc:sldMk cId="3186676131" sldId="10444"/>
            <ac:spMk id="20" creationId="{54E8F179-87EF-4A92-9C29-92D7E20EB946}"/>
          </ac:spMkLst>
        </pc:spChg>
        <pc:spChg chg="mod">
          <ac:chgData name="Aude Van de WIELE" userId="7317e673-04dd-415c-a4d7-718682339b40" providerId="ADAL" clId="{80D4E734-020D-4C1F-A028-1B9E9B483F9A}" dt="2021-05-25T08:49:48.818" v="7645" actId="790"/>
          <ac:spMkLst>
            <pc:docMk/>
            <pc:sldMk cId="3186676131" sldId="10444"/>
            <ac:spMk id="21" creationId="{44BA4EC0-19D7-41DC-B319-396D8267BC37}"/>
          </ac:spMkLst>
        </pc:spChg>
        <pc:spChg chg="mod">
          <ac:chgData name="Aude Van de WIELE" userId="7317e673-04dd-415c-a4d7-718682339b40" providerId="ADAL" clId="{80D4E734-020D-4C1F-A028-1B9E9B483F9A}" dt="2021-05-25T08:49:48.819" v="7646" actId="790"/>
          <ac:spMkLst>
            <pc:docMk/>
            <pc:sldMk cId="3186676131" sldId="10444"/>
            <ac:spMk id="22" creationId="{43B8FABF-5816-42AC-8939-29224794884E}"/>
          </ac:spMkLst>
        </pc:spChg>
        <pc:spChg chg="mod">
          <ac:chgData name="Aude Van de WIELE" userId="7317e673-04dd-415c-a4d7-718682339b40" providerId="ADAL" clId="{80D4E734-020D-4C1F-A028-1B9E9B483F9A}" dt="2021-05-25T08:49:48.868" v="7681" actId="790"/>
          <ac:spMkLst>
            <pc:docMk/>
            <pc:sldMk cId="3186676131" sldId="10444"/>
            <ac:spMk id="29" creationId="{D4661B80-5EE1-48F5-BFBD-98AF2499F029}"/>
          </ac:spMkLst>
        </pc:spChg>
        <pc:spChg chg="mod">
          <ac:chgData name="Aude Van de WIELE" userId="7317e673-04dd-415c-a4d7-718682339b40" providerId="ADAL" clId="{80D4E734-020D-4C1F-A028-1B9E9B483F9A}" dt="2021-05-25T08:49:48.830" v="7652" actId="790"/>
          <ac:spMkLst>
            <pc:docMk/>
            <pc:sldMk cId="3186676131" sldId="10444"/>
            <ac:spMk id="33" creationId="{243F8FAD-0118-4F1B-B40B-A7D84FD36396}"/>
          </ac:spMkLst>
        </pc:spChg>
        <pc:spChg chg="mod">
          <ac:chgData name="Aude Van de WIELE" userId="7317e673-04dd-415c-a4d7-718682339b40" providerId="ADAL" clId="{80D4E734-020D-4C1F-A028-1B9E9B483F9A}" dt="2021-05-25T08:49:48.819" v="7647" actId="790"/>
          <ac:spMkLst>
            <pc:docMk/>
            <pc:sldMk cId="3186676131" sldId="10444"/>
            <ac:spMk id="47" creationId="{9E10C541-E455-4AF2-AA1A-715E3DF2DDC1}"/>
          </ac:spMkLst>
        </pc:spChg>
        <pc:spChg chg="mod">
          <ac:chgData name="Aude Van de WIELE" userId="7317e673-04dd-415c-a4d7-718682339b40" providerId="ADAL" clId="{80D4E734-020D-4C1F-A028-1B9E9B483F9A}" dt="2021-05-25T08:49:48.820" v="7648" actId="790"/>
          <ac:spMkLst>
            <pc:docMk/>
            <pc:sldMk cId="3186676131" sldId="10444"/>
            <ac:spMk id="49" creationId="{B10468A4-1BAC-4153-BC9A-99B8715C0AD1}"/>
          </ac:spMkLst>
        </pc:spChg>
        <pc:spChg chg="mod">
          <ac:chgData name="Aude Van de WIELE" userId="7317e673-04dd-415c-a4d7-718682339b40" providerId="ADAL" clId="{80D4E734-020D-4C1F-A028-1B9E9B483F9A}" dt="2021-05-25T08:49:48.846" v="7670" actId="790"/>
          <ac:spMkLst>
            <pc:docMk/>
            <pc:sldMk cId="3186676131" sldId="10444"/>
            <ac:spMk id="50" creationId="{06AD3339-7557-4559-B2EA-6A391CF2BF0C}"/>
          </ac:spMkLst>
        </pc:spChg>
        <pc:spChg chg="mod">
          <ac:chgData name="Aude Van de WIELE" userId="7317e673-04dd-415c-a4d7-718682339b40" providerId="ADAL" clId="{80D4E734-020D-4C1F-A028-1B9E9B483F9A}" dt="2021-05-25T08:49:48.831" v="7653" actId="790"/>
          <ac:spMkLst>
            <pc:docMk/>
            <pc:sldMk cId="3186676131" sldId="10444"/>
            <ac:spMk id="88" creationId="{336D463B-B815-4500-8F61-78A091129044}"/>
          </ac:spMkLst>
        </pc:spChg>
        <pc:spChg chg="mod">
          <ac:chgData name="Aude Van de WIELE" userId="7317e673-04dd-415c-a4d7-718682339b40" providerId="ADAL" clId="{80D4E734-020D-4C1F-A028-1B9E9B483F9A}" dt="2021-05-25T08:49:48.835" v="7657" actId="790"/>
          <ac:spMkLst>
            <pc:docMk/>
            <pc:sldMk cId="3186676131" sldId="10444"/>
            <ac:spMk id="90" creationId="{C1682200-357E-4434-8AD7-5A0786BF6D1B}"/>
          </ac:spMkLst>
        </pc:spChg>
        <pc:spChg chg="mod">
          <ac:chgData name="Aude Van de WIELE" userId="7317e673-04dd-415c-a4d7-718682339b40" providerId="ADAL" clId="{80D4E734-020D-4C1F-A028-1B9E9B483F9A}" dt="2021-05-25T08:49:48.848" v="7673" actId="790"/>
          <ac:spMkLst>
            <pc:docMk/>
            <pc:sldMk cId="3186676131" sldId="10444"/>
            <ac:spMk id="96" creationId="{5BB653FA-7502-456B-9DD5-1867522D3A88}"/>
          </ac:spMkLst>
        </pc:spChg>
        <pc:spChg chg="mod">
          <ac:chgData name="Aude Van de WIELE" userId="7317e673-04dd-415c-a4d7-718682339b40" providerId="ADAL" clId="{80D4E734-020D-4C1F-A028-1B9E9B483F9A}" dt="2021-05-25T08:49:48.821" v="7649" actId="790"/>
          <ac:spMkLst>
            <pc:docMk/>
            <pc:sldMk cId="3186676131" sldId="10444"/>
            <ac:spMk id="100" creationId="{EF6C7B41-C54E-4684-BB9A-36701E115EBF}"/>
          </ac:spMkLst>
        </pc:spChg>
        <pc:spChg chg="mod">
          <ac:chgData name="Aude Van de WIELE" userId="7317e673-04dd-415c-a4d7-718682339b40" providerId="ADAL" clId="{80D4E734-020D-4C1F-A028-1B9E9B483F9A}" dt="2021-05-25T12:16:14.821" v="11463" actId="13926"/>
          <ac:spMkLst>
            <pc:docMk/>
            <pc:sldMk cId="3186676131" sldId="10444"/>
            <ac:spMk id="102" creationId="{F73D6114-13EA-4394-9588-C5437D84D81B}"/>
          </ac:spMkLst>
        </pc:spChg>
        <pc:spChg chg="mod">
          <ac:chgData name="Aude Van de WIELE" userId="7317e673-04dd-415c-a4d7-718682339b40" providerId="ADAL" clId="{80D4E734-020D-4C1F-A028-1B9E9B483F9A}" dt="2021-05-25T08:49:48.808" v="7635" actId="790"/>
          <ac:spMkLst>
            <pc:docMk/>
            <pc:sldMk cId="3186676131" sldId="10444"/>
            <ac:spMk id="107" creationId="{31D0AEAA-51DD-4312-8DD3-D5664A3B479D}"/>
          </ac:spMkLst>
        </pc:spChg>
        <pc:spChg chg="mod">
          <ac:chgData name="Aude Van de WIELE" userId="7317e673-04dd-415c-a4d7-718682339b40" providerId="ADAL" clId="{80D4E734-020D-4C1F-A028-1B9E9B483F9A}" dt="2021-05-25T08:49:48.832" v="7654" actId="790"/>
          <ac:spMkLst>
            <pc:docMk/>
            <pc:sldMk cId="3186676131" sldId="10444"/>
            <ac:spMk id="108" creationId="{B4E79E7D-0395-4CE2-8F8E-F7FFDE4BA106}"/>
          </ac:spMkLst>
        </pc:spChg>
        <pc:spChg chg="mod">
          <ac:chgData name="Aude Van de WIELE" userId="7317e673-04dd-415c-a4d7-718682339b40" providerId="ADAL" clId="{80D4E734-020D-4C1F-A028-1B9E9B483F9A}" dt="2021-05-25T08:49:48.834" v="7656" actId="790"/>
          <ac:spMkLst>
            <pc:docMk/>
            <pc:sldMk cId="3186676131" sldId="10444"/>
            <ac:spMk id="119" creationId="{EEF55E94-FD53-41D7-A423-6B56C40D88A1}"/>
          </ac:spMkLst>
        </pc:spChg>
        <pc:spChg chg="mod">
          <ac:chgData name="Aude Van de WIELE" userId="7317e673-04dd-415c-a4d7-718682339b40" providerId="ADAL" clId="{80D4E734-020D-4C1F-A028-1B9E9B483F9A}" dt="2021-05-25T08:49:48.848" v="7672" actId="790"/>
          <ac:spMkLst>
            <pc:docMk/>
            <pc:sldMk cId="3186676131" sldId="10444"/>
            <ac:spMk id="120" creationId="{697B9F9F-BFD2-4BBC-A2BC-06F0D17B4298}"/>
          </ac:spMkLst>
        </pc:spChg>
        <pc:spChg chg="mod">
          <ac:chgData name="Aude Van de WIELE" userId="7317e673-04dd-415c-a4d7-718682339b40" providerId="ADAL" clId="{80D4E734-020D-4C1F-A028-1B9E9B483F9A}" dt="2021-05-25T08:49:48.847" v="7671" actId="790"/>
          <ac:spMkLst>
            <pc:docMk/>
            <pc:sldMk cId="3186676131" sldId="10444"/>
            <ac:spMk id="122" creationId="{7ED4A8D8-06EE-4620-B65B-5E3B52A3ABAE}"/>
          </ac:spMkLst>
        </pc:spChg>
        <pc:spChg chg="mod">
          <ac:chgData name="Aude Van de WIELE" userId="7317e673-04dd-415c-a4d7-718682339b40" providerId="ADAL" clId="{80D4E734-020D-4C1F-A028-1B9E9B483F9A}" dt="2021-05-25T08:49:48.849" v="7674" actId="790"/>
          <ac:spMkLst>
            <pc:docMk/>
            <pc:sldMk cId="3186676131" sldId="10444"/>
            <ac:spMk id="123" creationId="{CCD5F39F-64EB-4F4E-BE6B-002C617492EF}"/>
          </ac:spMkLst>
        </pc:spChg>
        <pc:spChg chg="mod">
          <ac:chgData name="Aude Van de WIELE" userId="7317e673-04dd-415c-a4d7-718682339b40" providerId="ADAL" clId="{80D4E734-020D-4C1F-A028-1B9E9B483F9A}" dt="2021-05-25T12:16:05.717" v="11461" actId="13926"/>
          <ac:spMkLst>
            <pc:docMk/>
            <pc:sldMk cId="3186676131" sldId="10444"/>
            <ac:spMk id="134" creationId="{6B4E0DC8-DDD6-4557-BA29-2351AE686AFF}"/>
          </ac:spMkLst>
        </pc:spChg>
        <pc:spChg chg="mod">
          <ac:chgData name="Aude Van de WIELE" userId="7317e673-04dd-415c-a4d7-718682339b40" providerId="ADAL" clId="{80D4E734-020D-4C1F-A028-1B9E9B483F9A}" dt="2021-05-25T12:16:08.317" v="11462" actId="13926"/>
          <ac:spMkLst>
            <pc:docMk/>
            <pc:sldMk cId="3186676131" sldId="10444"/>
            <ac:spMk id="138" creationId="{279E6DEF-1C4D-4696-B825-7122AC695BE5}"/>
          </ac:spMkLst>
        </pc:spChg>
        <pc:spChg chg="mod">
          <ac:chgData name="Aude Van de WIELE" userId="7317e673-04dd-415c-a4d7-718682339b40" providerId="ADAL" clId="{80D4E734-020D-4C1F-A028-1B9E9B483F9A}" dt="2021-05-25T12:16:17.380" v="11464" actId="13926"/>
          <ac:spMkLst>
            <pc:docMk/>
            <pc:sldMk cId="3186676131" sldId="10444"/>
            <ac:spMk id="144" creationId="{8F3BDE8F-DB0C-4D11-B86C-50FF55DED7FE}"/>
          </ac:spMkLst>
        </pc:spChg>
        <pc:spChg chg="mod">
          <ac:chgData name="Aude Van de WIELE" userId="7317e673-04dd-415c-a4d7-718682339b40" providerId="ADAL" clId="{80D4E734-020D-4C1F-A028-1B9E9B483F9A}" dt="2021-05-25T08:49:48.839" v="7662" actId="790"/>
          <ac:spMkLst>
            <pc:docMk/>
            <pc:sldMk cId="3186676131" sldId="10444"/>
            <ac:spMk id="154" creationId="{A7269958-7FC5-479F-B17B-49D115F118B6}"/>
          </ac:spMkLst>
        </pc:spChg>
        <pc:spChg chg="mod">
          <ac:chgData name="Aude Van de WIELE" userId="7317e673-04dd-415c-a4d7-718682339b40" providerId="ADAL" clId="{80D4E734-020D-4C1F-A028-1B9E9B483F9A}" dt="2021-05-25T08:49:48.842" v="7665" actId="790"/>
          <ac:spMkLst>
            <pc:docMk/>
            <pc:sldMk cId="3186676131" sldId="10444"/>
            <ac:spMk id="159" creationId="{B1BCC205-D7BB-4643-BF09-2992F3238E10}"/>
          </ac:spMkLst>
        </pc:spChg>
        <pc:spChg chg="mod">
          <ac:chgData name="Aude Van de WIELE" userId="7317e673-04dd-415c-a4d7-718682339b40" providerId="ADAL" clId="{80D4E734-020D-4C1F-A028-1B9E9B483F9A}" dt="2021-05-25T08:49:48.836" v="7658" actId="790"/>
          <ac:spMkLst>
            <pc:docMk/>
            <pc:sldMk cId="3186676131" sldId="10444"/>
            <ac:spMk id="165" creationId="{C389F3EC-7313-454E-9942-F14FD0BD4C77}"/>
          </ac:spMkLst>
        </pc:spChg>
        <pc:spChg chg="mod">
          <ac:chgData name="Aude Van de WIELE" userId="7317e673-04dd-415c-a4d7-718682339b40" providerId="ADAL" clId="{80D4E734-020D-4C1F-A028-1B9E9B483F9A}" dt="2021-05-25T08:49:48.843" v="7666" actId="790"/>
          <ac:spMkLst>
            <pc:docMk/>
            <pc:sldMk cId="3186676131" sldId="10444"/>
            <ac:spMk id="166" creationId="{A3938D6F-1923-42FF-B2ED-6C2BEA79BA03}"/>
          </ac:spMkLst>
        </pc:spChg>
        <pc:spChg chg="mod">
          <ac:chgData name="Aude Van de WIELE" userId="7317e673-04dd-415c-a4d7-718682339b40" providerId="ADAL" clId="{80D4E734-020D-4C1F-A028-1B9E9B483F9A}" dt="2021-05-25T08:49:48.851" v="7676" actId="790"/>
          <ac:spMkLst>
            <pc:docMk/>
            <pc:sldMk cId="3186676131" sldId="10444"/>
            <ac:spMk id="168" creationId="{C423BD9F-9E4A-46B8-89D7-67C1FE84B168}"/>
          </ac:spMkLst>
        </pc:spChg>
        <pc:spChg chg="mod">
          <ac:chgData name="Aude Van de WIELE" userId="7317e673-04dd-415c-a4d7-718682339b40" providerId="ADAL" clId="{80D4E734-020D-4C1F-A028-1B9E9B483F9A}" dt="2021-05-25T08:49:48.837" v="7659" actId="790"/>
          <ac:spMkLst>
            <pc:docMk/>
            <pc:sldMk cId="3186676131" sldId="10444"/>
            <ac:spMk id="169" creationId="{7881ABC3-A97B-4E90-939F-E48D9595FFFF}"/>
          </ac:spMkLst>
        </pc:spChg>
        <pc:spChg chg="mod">
          <ac:chgData name="Aude Van de WIELE" userId="7317e673-04dd-415c-a4d7-718682339b40" providerId="ADAL" clId="{80D4E734-020D-4C1F-A028-1B9E9B483F9A}" dt="2021-05-25T08:49:48.837" v="7660" actId="790"/>
          <ac:spMkLst>
            <pc:docMk/>
            <pc:sldMk cId="3186676131" sldId="10444"/>
            <ac:spMk id="170" creationId="{A886CA56-9620-415B-9489-A004AB6EB706}"/>
          </ac:spMkLst>
        </pc:spChg>
        <pc:spChg chg="mod">
          <ac:chgData name="Aude Van de WIELE" userId="7317e673-04dd-415c-a4d7-718682339b40" providerId="ADAL" clId="{80D4E734-020D-4C1F-A028-1B9E9B483F9A}" dt="2021-05-25T08:49:48.838" v="7661" actId="790"/>
          <ac:spMkLst>
            <pc:docMk/>
            <pc:sldMk cId="3186676131" sldId="10444"/>
            <ac:spMk id="171" creationId="{BCC6DEFD-6FEB-4777-9432-E3B2F5C51000}"/>
          </ac:spMkLst>
        </pc:spChg>
        <pc:spChg chg="mod">
          <ac:chgData name="Aude Van de WIELE" userId="7317e673-04dd-415c-a4d7-718682339b40" providerId="ADAL" clId="{80D4E734-020D-4C1F-A028-1B9E9B483F9A}" dt="2021-05-25T08:49:48.844" v="7667" actId="790"/>
          <ac:spMkLst>
            <pc:docMk/>
            <pc:sldMk cId="3186676131" sldId="10444"/>
            <ac:spMk id="172" creationId="{04568322-5012-422B-991D-C9A4712E25C9}"/>
          </ac:spMkLst>
        </pc:spChg>
        <pc:spChg chg="mod">
          <ac:chgData name="Aude Van de WIELE" userId="7317e673-04dd-415c-a4d7-718682339b40" providerId="ADAL" clId="{80D4E734-020D-4C1F-A028-1B9E9B483F9A}" dt="2021-05-25T08:49:48.868" v="7682" actId="790"/>
          <ac:spMkLst>
            <pc:docMk/>
            <pc:sldMk cId="3186676131" sldId="10444"/>
            <ac:spMk id="174" creationId="{DC0F08AF-8ADE-4433-8307-ED43F84D0DCC}"/>
          </ac:spMkLst>
        </pc:spChg>
        <pc:spChg chg="add mod">
          <ac:chgData name="Aude Van de WIELE" userId="7317e673-04dd-415c-a4d7-718682339b40" providerId="ADAL" clId="{80D4E734-020D-4C1F-A028-1B9E9B483F9A}" dt="2021-05-25T08:49:48.875" v="7690" actId="790"/>
          <ac:spMkLst>
            <pc:docMk/>
            <pc:sldMk cId="3186676131" sldId="10444"/>
            <ac:spMk id="181" creationId="{7B1EA177-A78F-476E-9C85-82B6D6EE8C9B}"/>
          </ac:spMkLst>
        </pc:spChg>
        <pc:spChg chg="add mod">
          <ac:chgData name="Aude Van de WIELE" userId="7317e673-04dd-415c-a4d7-718682339b40" providerId="ADAL" clId="{80D4E734-020D-4C1F-A028-1B9E9B483F9A}" dt="2021-05-25T11:35:30.274" v="11274" actId="2085"/>
          <ac:spMkLst>
            <pc:docMk/>
            <pc:sldMk cId="3186676131" sldId="10444"/>
            <ac:spMk id="186" creationId="{D4769F11-2D8E-44A6-9652-977BE5E5275C}"/>
          </ac:spMkLst>
        </pc:spChg>
        <pc:spChg chg="mod">
          <ac:chgData name="Aude Van de WIELE" userId="7317e673-04dd-415c-a4d7-718682339b40" providerId="ADAL" clId="{80D4E734-020D-4C1F-A028-1B9E9B483F9A}" dt="2021-05-24T10:27:57.516" v="1923" actId="1035"/>
          <ac:spMkLst>
            <pc:docMk/>
            <pc:sldMk cId="3186676131" sldId="10444"/>
            <ac:spMk id="190" creationId="{F7D7AD75-8C50-41A1-97D2-7048446D7ED5}"/>
          </ac:spMkLst>
        </pc:spChg>
        <pc:spChg chg="mod">
          <ac:chgData name="Aude Van de WIELE" userId="7317e673-04dd-415c-a4d7-718682339b40" providerId="ADAL" clId="{80D4E734-020D-4C1F-A028-1B9E9B483F9A}" dt="2021-05-25T08:49:48.869" v="7683" actId="790"/>
          <ac:spMkLst>
            <pc:docMk/>
            <pc:sldMk cId="3186676131" sldId="10444"/>
            <ac:spMk id="191" creationId="{BCCB0F70-F9E3-49F7-B9CC-4810707D22BC}"/>
          </ac:spMkLst>
        </pc:spChg>
        <pc:spChg chg="mod">
          <ac:chgData name="Aude Van de WIELE" userId="7317e673-04dd-415c-a4d7-718682339b40" providerId="ADAL" clId="{80D4E734-020D-4C1F-A028-1B9E9B483F9A}" dt="2021-05-25T08:49:48.870" v="7684" actId="790"/>
          <ac:spMkLst>
            <pc:docMk/>
            <pc:sldMk cId="3186676131" sldId="10444"/>
            <ac:spMk id="192" creationId="{94A34A46-8E0E-47FF-881E-66715653B41E}"/>
          </ac:spMkLst>
        </pc:spChg>
        <pc:spChg chg="mod">
          <ac:chgData name="Aude Van de WIELE" userId="7317e673-04dd-415c-a4d7-718682339b40" providerId="ADAL" clId="{80D4E734-020D-4C1F-A028-1B9E9B483F9A}" dt="2021-05-25T08:49:48.871" v="7685" actId="790"/>
          <ac:spMkLst>
            <pc:docMk/>
            <pc:sldMk cId="3186676131" sldId="10444"/>
            <ac:spMk id="193" creationId="{D7E2235E-5186-4226-B6BB-3EC83201E1E8}"/>
          </ac:spMkLst>
        </pc:spChg>
        <pc:spChg chg="mod">
          <ac:chgData name="Aude Van de WIELE" userId="7317e673-04dd-415c-a4d7-718682339b40" providerId="ADAL" clId="{80D4E734-020D-4C1F-A028-1B9E9B483F9A}" dt="2021-05-25T08:49:48.872" v="7686" actId="790"/>
          <ac:spMkLst>
            <pc:docMk/>
            <pc:sldMk cId="3186676131" sldId="10444"/>
            <ac:spMk id="194" creationId="{5733A862-B877-44F6-A87C-4D2A2B1AA3D5}"/>
          </ac:spMkLst>
        </pc:spChg>
        <pc:spChg chg="mod">
          <ac:chgData name="Aude Van de WIELE" userId="7317e673-04dd-415c-a4d7-718682339b40" providerId="ADAL" clId="{80D4E734-020D-4C1F-A028-1B9E9B483F9A}" dt="2021-05-25T08:49:48.872" v="7687" actId="790"/>
          <ac:spMkLst>
            <pc:docMk/>
            <pc:sldMk cId="3186676131" sldId="10444"/>
            <ac:spMk id="195" creationId="{9134F630-89B7-4C04-85D0-A0215E053331}"/>
          </ac:spMkLst>
        </pc:spChg>
        <pc:spChg chg="mod">
          <ac:chgData name="Aude Van de WIELE" userId="7317e673-04dd-415c-a4d7-718682339b40" providerId="ADAL" clId="{80D4E734-020D-4C1F-A028-1B9E9B483F9A}" dt="2021-05-25T08:49:48.873" v="7688" actId="790"/>
          <ac:spMkLst>
            <pc:docMk/>
            <pc:sldMk cId="3186676131" sldId="10444"/>
            <ac:spMk id="196" creationId="{E4224438-3C05-4BDB-9AF9-00E317DDDEB1}"/>
          </ac:spMkLst>
        </pc:spChg>
        <pc:spChg chg="mod">
          <ac:chgData name="Aude Van de WIELE" userId="7317e673-04dd-415c-a4d7-718682339b40" providerId="ADAL" clId="{80D4E734-020D-4C1F-A028-1B9E9B483F9A}" dt="2021-05-25T08:49:48.839" v="7663" actId="790"/>
          <ac:spMkLst>
            <pc:docMk/>
            <pc:sldMk cId="3186676131" sldId="10444"/>
            <ac:spMk id="197" creationId="{EB1ED8EE-1371-4F31-B475-A7FD22F01C88}"/>
          </ac:spMkLst>
        </pc:spChg>
        <pc:spChg chg="mod">
          <ac:chgData name="Aude Van de WIELE" userId="7317e673-04dd-415c-a4d7-718682339b40" providerId="ADAL" clId="{80D4E734-020D-4C1F-A028-1B9E9B483F9A}" dt="2021-05-25T08:49:48.874" v="7689" actId="790"/>
          <ac:spMkLst>
            <pc:docMk/>
            <pc:sldMk cId="3186676131" sldId="10444"/>
            <ac:spMk id="198" creationId="{AD17A495-0B0F-4F46-9F7D-200C03BF0AF5}"/>
          </ac:spMkLst>
        </pc:spChg>
        <pc:spChg chg="mod">
          <ac:chgData name="Aude Van de WIELE" userId="7317e673-04dd-415c-a4d7-718682339b40" providerId="ADAL" clId="{80D4E734-020D-4C1F-A028-1B9E9B483F9A}" dt="2021-05-25T08:49:48.840" v="7664" actId="790"/>
          <ac:spMkLst>
            <pc:docMk/>
            <pc:sldMk cId="3186676131" sldId="10444"/>
            <ac:spMk id="212" creationId="{F492C173-DFD6-47CF-9BB4-C8925127E1EE}"/>
          </ac:spMkLst>
        </pc:spChg>
        <pc:spChg chg="del">
          <ac:chgData name="Aude Van de WIELE" userId="7317e673-04dd-415c-a4d7-718682339b40" providerId="ADAL" clId="{80D4E734-020D-4C1F-A028-1B9E9B483F9A}" dt="2021-05-24T16:12:31.589" v="6212" actId="478"/>
          <ac:spMkLst>
            <pc:docMk/>
            <pc:sldMk cId="3186676131" sldId="10444"/>
            <ac:spMk id="1031" creationId="{A3845A5C-C65F-4C44-AE3B-D3285DF51268}"/>
          </ac:spMkLst>
        </pc:spChg>
        <pc:spChg chg="mod">
          <ac:chgData name="Aude Van de WIELE" userId="7317e673-04dd-415c-a4d7-718682339b40" providerId="ADAL" clId="{80D4E734-020D-4C1F-A028-1B9E9B483F9A}" dt="2021-05-25T08:49:48.828" v="7650" actId="790"/>
          <ac:spMkLst>
            <pc:docMk/>
            <pc:sldMk cId="3186676131" sldId="10444"/>
            <ac:spMk id="1035" creationId="{9164A53F-4711-41A4-BE3D-8D2F4243A495}"/>
          </ac:spMkLst>
        </pc:spChg>
        <pc:spChg chg="mod">
          <ac:chgData name="Aude Van de WIELE" userId="7317e673-04dd-415c-a4d7-718682339b40" providerId="ADAL" clId="{80D4E734-020D-4C1F-A028-1B9E9B483F9A}" dt="2021-05-25T08:49:48.809" v="7636" actId="790"/>
          <ac:spMkLst>
            <pc:docMk/>
            <pc:sldMk cId="3186676131" sldId="10444"/>
            <ac:spMk id="4107" creationId="{EBC573C8-C4E3-432A-81F7-B99236DF594A}"/>
          </ac:spMkLst>
        </pc:spChg>
      </pc:sldChg>
      <pc:sldChg chg="del">
        <pc:chgData name="Aude Van de WIELE" userId="7317e673-04dd-415c-a4d7-718682339b40" providerId="ADAL" clId="{80D4E734-020D-4C1F-A028-1B9E9B483F9A}" dt="2021-05-24T11:23:27.387" v="2187" actId="47"/>
        <pc:sldMkLst>
          <pc:docMk/>
          <pc:sldMk cId="443306482" sldId="10445"/>
        </pc:sldMkLst>
      </pc:sldChg>
      <pc:sldChg chg="addSp delSp modSp mod">
        <pc:chgData name="Aude Van de WIELE" userId="7317e673-04dd-415c-a4d7-718682339b40" providerId="ADAL" clId="{80D4E734-020D-4C1F-A028-1B9E9B483F9A}" dt="2021-05-25T08:49:50.128" v="8780" actId="790"/>
        <pc:sldMkLst>
          <pc:docMk/>
          <pc:sldMk cId="3037564285" sldId="10446"/>
        </pc:sldMkLst>
        <pc:spChg chg="mod">
          <ac:chgData name="Aude Van de WIELE" userId="7317e673-04dd-415c-a4d7-718682339b40" providerId="ADAL" clId="{80D4E734-020D-4C1F-A028-1B9E9B483F9A}" dt="2021-05-25T08:49:50.099" v="8755" actId="790"/>
          <ac:spMkLst>
            <pc:docMk/>
            <pc:sldMk cId="3037564285" sldId="10446"/>
            <ac:spMk id="2" creationId="{F603210B-1675-4AF7-9A14-5F2A22C81270}"/>
          </ac:spMkLst>
        </pc:spChg>
        <pc:spChg chg="mod">
          <ac:chgData name="Aude Van de WIELE" userId="7317e673-04dd-415c-a4d7-718682339b40" providerId="ADAL" clId="{80D4E734-020D-4C1F-A028-1B9E9B483F9A}" dt="2021-05-25T08:49:50.100" v="8756" actId="790"/>
          <ac:spMkLst>
            <pc:docMk/>
            <pc:sldMk cId="3037564285" sldId="10446"/>
            <ac:spMk id="4" creationId="{74ADDBE6-49E4-4049-B7BF-EE415633C5F5}"/>
          </ac:spMkLst>
        </pc:spChg>
        <pc:spChg chg="mod">
          <ac:chgData name="Aude Van de WIELE" userId="7317e673-04dd-415c-a4d7-718682339b40" providerId="ADAL" clId="{80D4E734-020D-4C1F-A028-1B9E9B483F9A}" dt="2021-05-25T08:49:50.103" v="8757" actId="790"/>
          <ac:spMkLst>
            <pc:docMk/>
            <pc:sldMk cId="3037564285" sldId="10446"/>
            <ac:spMk id="5" creationId="{B0DA252B-E0E1-4EDA-AD43-C3699C200482}"/>
          </ac:spMkLst>
        </pc:spChg>
        <pc:spChg chg="mod">
          <ac:chgData name="Aude Van de WIELE" userId="7317e673-04dd-415c-a4d7-718682339b40" providerId="ADAL" clId="{80D4E734-020D-4C1F-A028-1B9E9B483F9A}" dt="2021-05-25T08:49:50.103" v="8758" actId="790"/>
          <ac:spMkLst>
            <pc:docMk/>
            <pc:sldMk cId="3037564285" sldId="10446"/>
            <ac:spMk id="6" creationId="{459DE8FF-F3A0-454B-89BD-EA7D3F0085F4}"/>
          </ac:spMkLst>
        </pc:spChg>
        <pc:spChg chg="mod">
          <ac:chgData name="Aude Van de WIELE" userId="7317e673-04dd-415c-a4d7-718682339b40" providerId="ADAL" clId="{80D4E734-020D-4C1F-A028-1B9E9B483F9A}" dt="2021-05-25T08:49:50.104" v="8759" actId="790"/>
          <ac:spMkLst>
            <pc:docMk/>
            <pc:sldMk cId="3037564285" sldId="10446"/>
            <ac:spMk id="8" creationId="{A6584CFE-199B-42FA-9B02-35D30052E24D}"/>
          </ac:spMkLst>
        </pc:spChg>
        <pc:spChg chg="mod">
          <ac:chgData name="Aude Van de WIELE" userId="7317e673-04dd-415c-a4d7-718682339b40" providerId="ADAL" clId="{80D4E734-020D-4C1F-A028-1B9E9B483F9A}" dt="2021-05-25T08:49:50.105" v="8760" actId="790"/>
          <ac:spMkLst>
            <pc:docMk/>
            <pc:sldMk cId="3037564285" sldId="10446"/>
            <ac:spMk id="9" creationId="{5513411E-B0D4-4A2B-B16E-9DD5102ED097}"/>
          </ac:spMkLst>
        </pc:spChg>
        <pc:spChg chg="mod">
          <ac:chgData name="Aude Van de WIELE" userId="7317e673-04dd-415c-a4d7-718682339b40" providerId="ADAL" clId="{80D4E734-020D-4C1F-A028-1B9E9B483F9A}" dt="2021-05-25T08:49:50.125" v="8776" actId="790"/>
          <ac:spMkLst>
            <pc:docMk/>
            <pc:sldMk cId="3037564285" sldId="10446"/>
            <ac:spMk id="11" creationId="{E7BC247D-1E44-429A-AF83-8E39E9FFE026}"/>
          </ac:spMkLst>
        </pc:spChg>
        <pc:spChg chg="mod">
          <ac:chgData name="Aude Van de WIELE" userId="7317e673-04dd-415c-a4d7-718682339b40" providerId="ADAL" clId="{80D4E734-020D-4C1F-A028-1B9E9B483F9A}" dt="2021-05-25T08:49:50.124" v="8775" actId="790"/>
          <ac:spMkLst>
            <pc:docMk/>
            <pc:sldMk cId="3037564285" sldId="10446"/>
            <ac:spMk id="12" creationId="{C7013414-76D7-4268-AAD2-A87055DAACA5}"/>
          </ac:spMkLst>
        </pc:spChg>
        <pc:spChg chg="mod">
          <ac:chgData name="Aude Van de WIELE" userId="7317e673-04dd-415c-a4d7-718682339b40" providerId="ADAL" clId="{80D4E734-020D-4C1F-A028-1B9E9B483F9A}" dt="2021-05-25T08:49:50.125" v="8777" actId="790"/>
          <ac:spMkLst>
            <pc:docMk/>
            <pc:sldMk cId="3037564285" sldId="10446"/>
            <ac:spMk id="31" creationId="{97E5D4A5-0DD4-47F0-90BC-7FD43285E269}"/>
          </ac:spMkLst>
        </pc:spChg>
        <pc:spChg chg="mod">
          <ac:chgData name="Aude Van de WIELE" userId="7317e673-04dd-415c-a4d7-718682339b40" providerId="ADAL" clId="{80D4E734-020D-4C1F-A028-1B9E9B483F9A}" dt="2021-05-25T08:49:50.106" v="8761" actId="790"/>
          <ac:spMkLst>
            <pc:docMk/>
            <pc:sldMk cId="3037564285" sldId="10446"/>
            <ac:spMk id="32" creationId="{72E4FA22-5F72-4B8A-966C-5EAB2962F5DE}"/>
          </ac:spMkLst>
        </pc:spChg>
        <pc:spChg chg="mod">
          <ac:chgData name="Aude Van de WIELE" userId="7317e673-04dd-415c-a4d7-718682339b40" providerId="ADAL" clId="{80D4E734-020D-4C1F-A028-1B9E9B483F9A}" dt="2021-05-25T08:49:50.110" v="8762" actId="790"/>
          <ac:spMkLst>
            <pc:docMk/>
            <pc:sldMk cId="3037564285" sldId="10446"/>
            <ac:spMk id="33" creationId="{BC847A98-E385-4268-A8B8-68418B0916EB}"/>
          </ac:spMkLst>
        </pc:spChg>
        <pc:spChg chg="mod">
          <ac:chgData name="Aude Van de WIELE" userId="7317e673-04dd-415c-a4d7-718682339b40" providerId="ADAL" clId="{80D4E734-020D-4C1F-A028-1B9E9B483F9A}" dt="2021-05-25T08:49:50.111" v="8763" actId="790"/>
          <ac:spMkLst>
            <pc:docMk/>
            <pc:sldMk cId="3037564285" sldId="10446"/>
            <ac:spMk id="34" creationId="{98055D65-32A6-4AE6-AA0E-584E4895BE34}"/>
          </ac:spMkLst>
        </pc:spChg>
        <pc:spChg chg="mod">
          <ac:chgData name="Aude Van de WIELE" userId="7317e673-04dd-415c-a4d7-718682339b40" providerId="ADAL" clId="{80D4E734-020D-4C1F-A028-1B9E9B483F9A}" dt="2021-05-25T08:49:50.114" v="8764" actId="790"/>
          <ac:spMkLst>
            <pc:docMk/>
            <pc:sldMk cId="3037564285" sldId="10446"/>
            <ac:spMk id="35" creationId="{81BD3286-79C1-4AD5-827B-F5E96A7F940D}"/>
          </ac:spMkLst>
        </pc:spChg>
        <pc:spChg chg="mod">
          <ac:chgData name="Aude Van de WIELE" userId="7317e673-04dd-415c-a4d7-718682339b40" providerId="ADAL" clId="{80D4E734-020D-4C1F-A028-1B9E9B483F9A}" dt="2021-05-25T08:49:50.115" v="8765" actId="790"/>
          <ac:spMkLst>
            <pc:docMk/>
            <pc:sldMk cId="3037564285" sldId="10446"/>
            <ac:spMk id="36" creationId="{9D0D108D-E040-46E8-9D27-8421B7B8A6B6}"/>
          </ac:spMkLst>
        </pc:spChg>
        <pc:spChg chg="mod">
          <ac:chgData name="Aude Van de WIELE" userId="7317e673-04dd-415c-a4d7-718682339b40" providerId="ADAL" clId="{80D4E734-020D-4C1F-A028-1B9E9B483F9A}" dt="2021-05-25T08:49:50.116" v="8766" actId="790"/>
          <ac:spMkLst>
            <pc:docMk/>
            <pc:sldMk cId="3037564285" sldId="10446"/>
            <ac:spMk id="37" creationId="{685DD430-D135-4898-B681-DADA54449406}"/>
          </ac:spMkLst>
        </pc:spChg>
        <pc:spChg chg="mod">
          <ac:chgData name="Aude Van de WIELE" userId="7317e673-04dd-415c-a4d7-718682339b40" providerId="ADAL" clId="{80D4E734-020D-4C1F-A028-1B9E9B483F9A}" dt="2021-05-25T08:49:50.117" v="8767" actId="790"/>
          <ac:spMkLst>
            <pc:docMk/>
            <pc:sldMk cId="3037564285" sldId="10446"/>
            <ac:spMk id="38" creationId="{33227BCF-594C-48FC-A668-E9496B25076E}"/>
          </ac:spMkLst>
        </pc:spChg>
        <pc:spChg chg="mod">
          <ac:chgData name="Aude Van de WIELE" userId="7317e673-04dd-415c-a4d7-718682339b40" providerId="ADAL" clId="{80D4E734-020D-4C1F-A028-1B9E9B483F9A}" dt="2021-05-25T08:49:50.118" v="8768" actId="790"/>
          <ac:spMkLst>
            <pc:docMk/>
            <pc:sldMk cId="3037564285" sldId="10446"/>
            <ac:spMk id="42" creationId="{FB53C860-4349-483B-9A2E-4EA3FEEC44A4}"/>
          </ac:spMkLst>
        </pc:spChg>
        <pc:spChg chg="mod">
          <ac:chgData name="Aude Van de WIELE" userId="7317e673-04dd-415c-a4d7-718682339b40" providerId="ADAL" clId="{80D4E734-020D-4C1F-A028-1B9E9B483F9A}" dt="2021-05-25T08:49:50.119" v="8769" actId="790"/>
          <ac:spMkLst>
            <pc:docMk/>
            <pc:sldMk cId="3037564285" sldId="10446"/>
            <ac:spMk id="43" creationId="{9BAD9349-B578-4C93-89B0-5E143458F95D}"/>
          </ac:spMkLst>
        </pc:spChg>
        <pc:spChg chg="add mod">
          <ac:chgData name="Aude Van de WIELE" userId="7317e673-04dd-415c-a4d7-718682339b40" providerId="ADAL" clId="{80D4E734-020D-4C1F-A028-1B9E9B483F9A}" dt="2021-05-25T08:49:50.128" v="8780" actId="790"/>
          <ac:spMkLst>
            <pc:docMk/>
            <pc:sldMk cId="3037564285" sldId="10446"/>
            <ac:spMk id="44" creationId="{E5EF6BB7-12AD-4BED-BE01-7621431FB3E1}"/>
          </ac:spMkLst>
        </pc:spChg>
        <pc:spChg chg="del">
          <ac:chgData name="Aude Van de WIELE" userId="7317e673-04dd-415c-a4d7-718682339b40" providerId="ADAL" clId="{80D4E734-020D-4C1F-A028-1B9E9B483F9A}" dt="2021-05-25T07:56:24.228" v="6860" actId="478"/>
          <ac:spMkLst>
            <pc:docMk/>
            <pc:sldMk cId="3037564285" sldId="10446"/>
            <ac:spMk id="45" creationId="{9858D135-1CE8-4023-B383-64DDA4FA4FF5}"/>
          </ac:spMkLst>
        </pc:spChg>
        <pc:spChg chg="mod">
          <ac:chgData name="Aude Van de WIELE" userId="7317e673-04dd-415c-a4d7-718682339b40" providerId="ADAL" clId="{80D4E734-020D-4C1F-A028-1B9E9B483F9A}" dt="2021-05-25T08:49:50.120" v="8770" actId="790"/>
          <ac:spMkLst>
            <pc:docMk/>
            <pc:sldMk cId="3037564285" sldId="10446"/>
            <ac:spMk id="58" creationId="{F3BBC108-E3A8-4285-8482-6573BB5A9BFA}"/>
          </ac:spMkLst>
        </pc:spChg>
        <pc:spChg chg="mod">
          <ac:chgData name="Aude Van de WIELE" userId="7317e673-04dd-415c-a4d7-718682339b40" providerId="ADAL" clId="{80D4E734-020D-4C1F-A028-1B9E9B483F9A}" dt="2021-05-25T08:49:50.121" v="8771" actId="790"/>
          <ac:spMkLst>
            <pc:docMk/>
            <pc:sldMk cId="3037564285" sldId="10446"/>
            <ac:spMk id="60" creationId="{502A1A2A-5BE4-4CEC-87C8-F81B82FE17A0}"/>
          </ac:spMkLst>
        </pc:spChg>
        <pc:spChg chg="mod">
          <ac:chgData name="Aude Van de WIELE" userId="7317e673-04dd-415c-a4d7-718682339b40" providerId="ADAL" clId="{80D4E734-020D-4C1F-A028-1B9E9B483F9A}" dt="2021-05-25T08:49:50.122" v="8772" actId="790"/>
          <ac:spMkLst>
            <pc:docMk/>
            <pc:sldMk cId="3037564285" sldId="10446"/>
            <ac:spMk id="69" creationId="{19F48430-90DF-40FF-A00A-84E93A59C005}"/>
          </ac:spMkLst>
        </pc:spChg>
        <pc:spChg chg="mod">
          <ac:chgData name="Aude Van de WIELE" userId="7317e673-04dd-415c-a4d7-718682339b40" providerId="ADAL" clId="{80D4E734-020D-4C1F-A028-1B9E9B483F9A}" dt="2021-05-25T08:49:50.122" v="8773" actId="790"/>
          <ac:spMkLst>
            <pc:docMk/>
            <pc:sldMk cId="3037564285" sldId="10446"/>
            <ac:spMk id="70" creationId="{712AF8AD-F5B4-45E9-AA35-3836D1A918F9}"/>
          </ac:spMkLst>
        </pc:spChg>
        <pc:spChg chg="mod">
          <ac:chgData name="Aude Van de WIELE" userId="7317e673-04dd-415c-a4d7-718682339b40" providerId="ADAL" clId="{80D4E734-020D-4C1F-A028-1B9E9B483F9A}" dt="2021-05-25T08:49:50.123" v="8774" actId="790"/>
          <ac:spMkLst>
            <pc:docMk/>
            <pc:sldMk cId="3037564285" sldId="10446"/>
            <ac:spMk id="73" creationId="{37CE42CA-0196-4A12-823E-1A27C547E4D3}"/>
          </ac:spMkLst>
        </pc:spChg>
        <pc:spChg chg="mod">
          <ac:chgData name="Aude Van de WIELE" userId="7317e673-04dd-415c-a4d7-718682339b40" providerId="ADAL" clId="{80D4E734-020D-4C1F-A028-1B9E9B483F9A}" dt="2021-05-25T08:49:50.126" v="8778" actId="790"/>
          <ac:spMkLst>
            <pc:docMk/>
            <pc:sldMk cId="3037564285" sldId="10446"/>
            <ac:spMk id="78" creationId="{9A9481B5-737E-45DE-81D8-2F715985CC57}"/>
          </ac:spMkLst>
        </pc:spChg>
        <pc:spChg chg="mod">
          <ac:chgData name="Aude Van de WIELE" userId="7317e673-04dd-415c-a4d7-718682339b40" providerId="ADAL" clId="{80D4E734-020D-4C1F-A028-1B9E9B483F9A}" dt="2021-05-25T08:49:50.127" v="8779" actId="790"/>
          <ac:spMkLst>
            <pc:docMk/>
            <pc:sldMk cId="3037564285" sldId="10446"/>
            <ac:spMk id="80" creationId="{53EEF4E9-317D-4996-82F1-5D806F6EA3E2}"/>
          </ac:spMkLst>
        </pc:spChg>
        <pc:picChg chg="del">
          <ac:chgData name="Aude Van de WIELE" userId="7317e673-04dd-415c-a4d7-718682339b40" providerId="ADAL" clId="{80D4E734-020D-4C1F-A028-1B9E9B483F9A}" dt="2021-05-24T14:07:17.430" v="4576" actId="478"/>
          <ac:picMkLst>
            <pc:docMk/>
            <pc:sldMk cId="3037564285" sldId="10446"/>
            <ac:picMk id="44" creationId="{4A674FDE-1E76-4EFC-9ECC-A040370B40BE}"/>
          </ac:picMkLst>
        </pc:picChg>
        <pc:picChg chg="add mod">
          <ac:chgData name="Aude Van de WIELE" userId="7317e673-04dd-415c-a4d7-718682339b40" providerId="ADAL" clId="{80D4E734-020D-4C1F-A028-1B9E9B483F9A}" dt="2021-05-24T14:07:34.507" v="4581" actId="1076"/>
          <ac:picMkLst>
            <pc:docMk/>
            <pc:sldMk cId="3037564285" sldId="10446"/>
            <ac:picMk id="46" creationId="{F42D6C9D-C7D0-4E8B-8E73-9D110CD32A04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4T11:44:16.852" v="2480" actId="20577"/>
        <pc:sldMkLst>
          <pc:docMk/>
          <pc:sldMk cId="1695107413" sldId="10447"/>
        </pc:sldMkLst>
        <pc:spChg chg="mod">
          <ac:chgData name="Aude Van de WIELE" userId="7317e673-04dd-415c-a4d7-718682339b40" providerId="ADAL" clId="{80D4E734-020D-4C1F-A028-1B9E9B483F9A}" dt="2021-05-24T11:43:22.766" v="2465" actId="404"/>
          <ac:spMkLst>
            <pc:docMk/>
            <pc:sldMk cId="1695107413" sldId="10447"/>
            <ac:spMk id="55" creationId="{C8970634-C3AC-400A-A2CC-905E87C215E6}"/>
          </ac:spMkLst>
        </pc:spChg>
        <pc:spChg chg="mod">
          <ac:chgData name="Aude Van de WIELE" userId="7317e673-04dd-415c-a4d7-718682339b40" providerId="ADAL" clId="{80D4E734-020D-4C1F-A028-1B9E9B483F9A}" dt="2021-05-24T11:43:42.142" v="2471" actId="20577"/>
          <ac:spMkLst>
            <pc:docMk/>
            <pc:sldMk cId="1695107413" sldId="10447"/>
            <ac:spMk id="59" creationId="{99AA11D7-6C4F-4A46-9EFB-7B0A266E1DA4}"/>
          </ac:spMkLst>
        </pc:spChg>
        <pc:spChg chg="mod">
          <ac:chgData name="Aude Van de WIELE" userId="7317e673-04dd-415c-a4d7-718682339b40" providerId="ADAL" clId="{80D4E734-020D-4C1F-A028-1B9E9B483F9A}" dt="2021-05-24T11:43:44.374" v="2472" actId="20577"/>
          <ac:spMkLst>
            <pc:docMk/>
            <pc:sldMk cId="1695107413" sldId="10447"/>
            <ac:spMk id="63" creationId="{6C117D45-7800-41B9-BC70-85BA5C3B59F6}"/>
          </ac:spMkLst>
        </pc:spChg>
        <pc:spChg chg="mod">
          <ac:chgData name="Aude Van de WIELE" userId="7317e673-04dd-415c-a4d7-718682339b40" providerId="ADAL" clId="{80D4E734-020D-4C1F-A028-1B9E9B483F9A}" dt="2021-05-24T11:43:51.085" v="2474" actId="20577"/>
          <ac:spMkLst>
            <pc:docMk/>
            <pc:sldMk cId="1695107413" sldId="10447"/>
            <ac:spMk id="66" creationId="{2AE75268-0FAB-4C26-85E8-AA514AFC2193}"/>
          </ac:spMkLst>
        </pc:spChg>
        <pc:spChg chg="mod">
          <ac:chgData name="Aude Van de WIELE" userId="7317e673-04dd-415c-a4d7-718682339b40" providerId="ADAL" clId="{80D4E734-020D-4C1F-A028-1B9E9B483F9A}" dt="2021-05-24T11:43:53.624" v="2475" actId="20577"/>
          <ac:spMkLst>
            <pc:docMk/>
            <pc:sldMk cId="1695107413" sldId="10447"/>
            <ac:spMk id="69" creationId="{03BDECC9-1B8E-4130-8FD9-A92CD5593F44}"/>
          </ac:spMkLst>
        </pc:spChg>
        <pc:spChg chg="mod">
          <ac:chgData name="Aude Van de WIELE" userId="7317e673-04dd-415c-a4d7-718682339b40" providerId="ADAL" clId="{80D4E734-020D-4C1F-A028-1B9E9B483F9A}" dt="2021-05-24T11:44:16.852" v="2480" actId="20577"/>
          <ac:spMkLst>
            <pc:docMk/>
            <pc:sldMk cId="1695107413" sldId="10447"/>
            <ac:spMk id="72" creationId="{2AF35202-100A-4416-AB1A-925DD26FB376}"/>
          </ac:spMkLst>
        </pc:spChg>
        <pc:spChg chg="del">
          <ac:chgData name="Aude Van de WIELE" userId="7317e673-04dd-415c-a4d7-718682339b40" providerId="ADAL" clId="{80D4E734-020D-4C1F-A028-1B9E9B483F9A}" dt="2021-05-24T11:43:10.862" v="2459" actId="478"/>
          <ac:spMkLst>
            <pc:docMk/>
            <pc:sldMk cId="1695107413" sldId="10447"/>
            <ac:spMk id="120" creationId="{C57198B3-D8BE-4D70-B9B4-2277FF73857B}"/>
          </ac:spMkLst>
        </pc:spChg>
        <pc:grpChg chg="del">
          <ac:chgData name="Aude Van de WIELE" userId="7317e673-04dd-415c-a4d7-718682339b40" providerId="ADAL" clId="{80D4E734-020D-4C1F-A028-1B9E9B483F9A}" dt="2021-05-24T11:43:10.862" v="2459" actId="478"/>
          <ac:grpSpMkLst>
            <pc:docMk/>
            <pc:sldMk cId="1695107413" sldId="10447"/>
            <ac:grpSpMk id="16" creationId="{2B629D0B-225A-4659-A4FB-E81B6B3C437E}"/>
          </ac:grpSpMkLst>
        </pc:grpChg>
        <pc:grpChg chg="add mod">
          <ac:chgData name="Aude Van de WIELE" userId="7317e673-04dd-415c-a4d7-718682339b40" providerId="ADAL" clId="{80D4E734-020D-4C1F-A028-1B9E9B483F9A}" dt="2021-05-24T11:43:37.028" v="2468" actId="1076"/>
          <ac:grpSpMkLst>
            <pc:docMk/>
            <pc:sldMk cId="1695107413" sldId="10447"/>
            <ac:grpSpMk id="53" creationId="{E49D44A7-BFB4-4D7C-BC32-0B84E702AD4E}"/>
          </ac:grpSpMkLst>
        </pc:grpChg>
        <pc:grpChg chg="add mod">
          <ac:chgData name="Aude Van de WIELE" userId="7317e673-04dd-415c-a4d7-718682339b40" providerId="ADAL" clId="{80D4E734-020D-4C1F-A028-1B9E9B483F9A}" dt="2021-05-24T11:43:38.330" v="2469" actId="571"/>
          <ac:grpSpMkLst>
            <pc:docMk/>
            <pc:sldMk cId="1695107413" sldId="10447"/>
            <ac:grpSpMk id="56" creationId="{8DC52D08-1D65-45C5-BCB0-D4E0F6A45286}"/>
          </ac:grpSpMkLst>
        </pc:grpChg>
        <pc:grpChg chg="add mod">
          <ac:chgData name="Aude Van de WIELE" userId="7317e673-04dd-415c-a4d7-718682339b40" providerId="ADAL" clId="{80D4E734-020D-4C1F-A028-1B9E9B483F9A}" dt="2021-05-24T11:43:39.782" v="2470" actId="571"/>
          <ac:grpSpMkLst>
            <pc:docMk/>
            <pc:sldMk cId="1695107413" sldId="10447"/>
            <ac:grpSpMk id="60" creationId="{B3B5D3BA-2F06-42E6-B8CA-D83555E80A4B}"/>
          </ac:grpSpMkLst>
        </pc:grpChg>
        <pc:grpChg chg="add mod">
          <ac:chgData name="Aude Van de WIELE" userId="7317e673-04dd-415c-a4d7-718682339b40" providerId="ADAL" clId="{80D4E734-020D-4C1F-A028-1B9E9B483F9A}" dt="2021-05-24T11:44:15.133" v="2479" actId="1076"/>
          <ac:grpSpMkLst>
            <pc:docMk/>
            <pc:sldMk cId="1695107413" sldId="10447"/>
            <ac:grpSpMk id="64" creationId="{57BFF38C-D709-4BBE-9E67-72F7787CBBAF}"/>
          </ac:grpSpMkLst>
        </pc:grpChg>
        <pc:grpChg chg="add del mod">
          <ac:chgData name="Aude Van de WIELE" userId="7317e673-04dd-415c-a4d7-718682339b40" providerId="ADAL" clId="{80D4E734-020D-4C1F-A028-1B9E9B483F9A}" dt="2021-05-24T11:44:11.851" v="2478" actId="478"/>
          <ac:grpSpMkLst>
            <pc:docMk/>
            <pc:sldMk cId="1695107413" sldId="10447"/>
            <ac:grpSpMk id="67" creationId="{41EB8FE8-6CB1-4757-A7F2-0D91E6D4EFB8}"/>
          </ac:grpSpMkLst>
        </pc:grpChg>
        <pc:grpChg chg="add mod">
          <ac:chgData name="Aude Van de WIELE" userId="7317e673-04dd-415c-a4d7-718682339b40" providerId="ADAL" clId="{80D4E734-020D-4C1F-A028-1B9E9B483F9A}" dt="2021-05-24T11:43:56.368" v="2476" actId="571"/>
          <ac:grpSpMkLst>
            <pc:docMk/>
            <pc:sldMk cId="1695107413" sldId="10447"/>
            <ac:grpSpMk id="70" creationId="{3AFDAFA5-FFFD-4D68-8EEC-8D11DEA80D5D}"/>
          </ac:grpSpMkLst>
        </pc:grpChg>
        <pc:picChg chg="mod">
          <ac:chgData name="Aude Van de WIELE" userId="7317e673-04dd-415c-a4d7-718682339b40" providerId="ADAL" clId="{80D4E734-020D-4C1F-A028-1B9E9B483F9A}" dt="2021-05-24T11:43:14.295" v="2460"/>
          <ac:picMkLst>
            <pc:docMk/>
            <pc:sldMk cId="1695107413" sldId="10447"/>
            <ac:picMk id="54" creationId="{57BDC56F-B8C0-4C3E-BE31-BE7C547B4574}"/>
          </ac:picMkLst>
        </pc:picChg>
        <pc:picChg chg="mod">
          <ac:chgData name="Aude Van de WIELE" userId="7317e673-04dd-415c-a4d7-718682339b40" providerId="ADAL" clId="{80D4E734-020D-4C1F-A028-1B9E9B483F9A}" dt="2021-05-24T11:43:38.330" v="2469" actId="571"/>
          <ac:picMkLst>
            <pc:docMk/>
            <pc:sldMk cId="1695107413" sldId="10447"/>
            <ac:picMk id="58" creationId="{A4E851AF-CCBE-4F6F-8AF4-1AFED5865F35}"/>
          </ac:picMkLst>
        </pc:picChg>
        <pc:picChg chg="mod">
          <ac:chgData name="Aude Van de WIELE" userId="7317e673-04dd-415c-a4d7-718682339b40" providerId="ADAL" clId="{80D4E734-020D-4C1F-A028-1B9E9B483F9A}" dt="2021-05-24T11:43:39.782" v="2470" actId="571"/>
          <ac:picMkLst>
            <pc:docMk/>
            <pc:sldMk cId="1695107413" sldId="10447"/>
            <ac:picMk id="62" creationId="{9401AB07-13D2-490E-B08E-545949CC3241}"/>
          </ac:picMkLst>
        </pc:picChg>
        <pc:picChg chg="mod">
          <ac:chgData name="Aude Van de WIELE" userId="7317e673-04dd-415c-a4d7-718682339b40" providerId="ADAL" clId="{80D4E734-020D-4C1F-A028-1B9E9B483F9A}" dt="2021-05-24T11:43:49.160" v="2473" actId="571"/>
          <ac:picMkLst>
            <pc:docMk/>
            <pc:sldMk cId="1695107413" sldId="10447"/>
            <ac:picMk id="65" creationId="{E4086A5D-32D4-42B1-9373-F146DBFFE0CF}"/>
          </ac:picMkLst>
        </pc:picChg>
        <pc:picChg chg="mod">
          <ac:chgData name="Aude Van de WIELE" userId="7317e673-04dd-415c-a4d7-718682339b40" providerId="ADAL" clId="{80D4E734-020D-4C1F-A028-1B9E9B483F9A}" dt="2021-05-24T11:43:49.160" v="2473" actId="571"/>
          <ac:picMkLst>
            <pc:docMk/>
            <pc:sldMk cId="1695107413" sldId="10447"/>
            <ac:picMk id="68" creationId="{900ED95C-5C22-41BE-AE95-A8B51CA33D28}"/>
          </ac:picMkLst>
        </pc:picChg>
        <pc:picChg chg="mod">
          <ac:chgData name="Aude Van de WIELE" userId="7317e673-04dd-415c-a4d7-718682339b40" providerId="ADAL" clId="{80D4E734-020D-4C1F-A028-1B9E9B483F9A}" dt="2021-05-24T11:43:56.368" v="2476" actId="571"/>
          <ac:picMkLst>
            <pc:docMk/>
            <pc:sldMk cId="1695107413" sldId="10447"/>
            <ac:picMk id="71" creationId="{2BE97081-6AB6-4657-99F3-4A648F47DABD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08:49:48.568" v="7439" actId="790"/>
        <pc:sldMkLst>
          <pc:docMk/>
          <pc:sldMk cId="3968368318" sldId="10448"/>
        </pc:sldMkLst>
        <pc:spChg chg="mod">
          <ac:chgData name="Aude Van de WIELE" userId="7317e673-04dd-415c-a4d7-718682339b40" providerId="ADAL" clId="{80D4E734-020D-4C1F-A028-1B9E9B483F9A}" dt="2021-05-25T08:49:48.531" v="7405" actId="790"/>
          <ac:spMkLst>
            <pc:docMk/>
            <pc:sldMk cId="3968368318" sldId="10448"/>
            <ac:spMk id="2" creationId="{22CE637A-08CD-4B57-9E43-4D794A97D425}"/>
          </ac:spMkLst>
        </pc:spChg>
        <pc:spChg chg="add del mod topLvl">
          <ac:chgData name="Aude Van de WIELE" userId="7317e673-04dd-415c-a4d7-718682339b40" providerId="ADAL" clId="{80D4E734-020D-4C1F-A028-1B9E9B483F9A}" dt="2021-05-24T11:29:06.871" v="2268" actId="478"/>
          <ac:spMkLst>
            <pc:docMk/>
            <pc:sldMk cId="3968368318" sldId="10448"/>
            <ac:spMk id="17" creationId="{EAAF5B4D-73E3-453B-97EC-E705A8C01554}"/>
          </ac:spMkLst>
        </pc:spChg>
        <pc:spChg chg="mod">
          <ac:chgData name="Aude Van de WIELE" userId="7317e673-04dd-415c-a4d7-718682339b40" providerId="ADAL" clId="{80D4E734-020D-4C1F-A028-1B9E9B483F9A}" dt="2021-05-25T08:49:48.533" v="7407" actId="790"/>
          <ac:spMkLst>
            <pc:docMk/>
            <pc:sldMk cId="3968368318" sldId="10448"/>
            <ac:spMk id="18" creationId="{B77F2001-EECC-4091-A46F-B13C297AFD91}"/>
          </ac:spMkLst>
        </pc:spChg>
        <pc:spChg chg="mod">
          <ac:chgData name="Aude Van de WIELE" userId="7317e673-04dd-415c-a4d7-718682339b40" providerId="ADAL" clId="{80D4E734-020D-4C1F-A028-1B9E9B483F9A}" dt="2021-05-25T08:49:48.532" v="7406" actId="790"/>
          <ac:spMkLst>
            <pc:docMk/>
            <pc:sldMk cId="3968368318" sldId="10448"/>
            <ac:spMk id="23" creationId="{0C95EF0E-C411-407B-BF74-3CD0A42FA4B6}"/>
          </ac:spMkLst>
        </pc:spChg>
        <pc:spChg chg="mod">
          <ac:chgData name="Aude Van de WIELE" userId="7317e673-04dd-415c-a4d7-718682339b40" providerId="ADAL" clId="{80D4E734-020D-4C1F-A028-1B9E9B483F9A}" dt="2021-05-25T08:49:48.534" v="7408" actId="790"/>
          <ac:spMkLst>
            <pc:docMk/>
            <pc:sldMk cId="3968368318" sldId="10448"/>
            <ac:spMk id="26" creationId="{1467DC4C-D91B-4890-86E8-8B6B324D9380}"/>
          </ac:spMkLst>
        </pc:spChg>
        <pc:spChg chg="mod">
          <ac:chgData name="Aude Van de WIELE" userId="7317e673-04dd-415c-a4d7-718682339b40" providerId="ADAL" clId="{80D4E734-020D-4C1F-A028-1B9E9B483F9A}" dt="2021-05-25T08:49:48.534" v="7409" actId="790"/>
          <ac:spMkLst>
            <pc:docMk/>
            <pc:sldMk cId="3968368318" sldId="10448"/>
            <ac:spMk id="29" creationId="{D49177BB-F71C-42AC-9A8C-812D68405634}"/>
          </ac:spMkLst>
        </pc:spChg>
        <pc:spChg chg="mod">
          <ac:chgData name="Aude Van de WIELE" userId="7317e673-04dd-415c-a4d7-718682339b40" providerId="ADAL" clId="{80D4E734-020D-4C1F-A028-1B9E9B483F9A}" dt="2021-05-25T08:49:48.535" v="7410" actId="790"/>
          <ac:spMkLst>
            <pc:docMk/>
            <pc:sldMk cId="3968368318" sldId="10448"/>
            <ac:spMk id="30" creationId="{990B3219-5A14-48A6-A29D-258D28CA817A}"/>
          </ac:spMkLst>
        </pc:spChg>
        <pc:spChg chg="mod">
          <ac:chgData name="Aude Van de WIELE" userId="7317e673-04dd-415c-a4d7-718682339b40" providerId="ADAL" clId="{80D4E734-020D-4C1F-A028-1B9E9B483F9A}" dt="2021-05-25T08:49:48.535" v="7411" actId="790"/>
          <ac:spMkLst>
            <pc:docMk/>
            <pc:sldMk cId="3968368318" sldId="10448"/>
            <ac:spMk id="31" creationId="{98270023-57CC-4644-A288-9156D3D5FBCE}"/>
          </ac:spMkLst>
        </pc:spChg>
        <pc:spChg chg="mod">
          <ac:chgData name="Aude Van de WIELE" userId="7317e673-04dd-415c-a4d7-718682339b40" providerId="ADAL" clId="{80D4E734-020D-4C1F-A028-1B9E9B483F9A}" dt="2021-05-25T08:49:48.536" v="7412" actId="790"/>
          <ac:spMkLst>
            <pc:docMk/>
            <pc:sldMk cId="3968368318" sldId="10448"/>
            <ac:spMk id="32" creationId="{9E722F19-F936-4688-BE29-34529CE98CFB}"/>
          </ac:spMkLst>
        </pc:spChg>
        <pc:spChg chg="mod">
          <ac:chgData name="Aude Van de WIELE" userId="7317e673-04dd-415c-a4d7-718682339b40" providerId="ADAL" clId="{80D4E734-020D-4C1F-A028-1B9E9B483F9A}" dt="2021-05-25T08:49:48.537" v="7413" actId="790"/>
          <ac:spMkLst>
            <pc:docMk/>
            <pc:sldMk cId="3968368318" sldId="10448"/>
            <ac:spMk id="41" creationId="{013DFE0D-012C-4AE2-A406-883249D468BC}"/>
          </ac:spMkLst>
        </pc:spChg>
        <pc:spChg chg="del">
          <ac:chgData name="Aude Van de WIELE" userId="7317e673-04dd-415c-a4d7-718682339b40" providerId="ADAL" clId="{80D4E734-020D-4C1F-A028-1B9E9B483F9A}" dt="2021-05-25T07:52:11.869" v="6775" actId="478"/>
          <ac:spMkLst>
            <pc:docMk/>
            <pc:sldMk cId="3968368318" sldId="10448"/>
            <ac:spMk id="44" creationId="{0B53E553-6743-45FB-AE8E-BF6F0D532CEA}"/>
          </ac:spMkLst>
        </pc:spChg>
        <pc:spChg chg="mod">
          <ac:chgData name="Aude Van de WIELE" userId="7317e673-04dd-415c-a4d7-718682339b40" providerId="ADAL" clId="{80D4E734-020D-4C1F-A028-1B9E9B483F9A}" dt="2021-05-25T08:49:48.538" v="7414" actId="790"/>
          <ac:spMkLst>
            <pc:docMk/>
            <pc:sldMk cId="3968368318" sldId="10448"/>
            <ac:spMk id="45" creationId="{81D23D10-6232-4D82-8BCF-13B9525E1855}"/>
          </ac:spMkLst>
        </pc:spChg>
        <pc:spChg chg="mod">
          <ac:chgData name="Aude Van de WIELE" userId="7317e673-04dd-415c-a4d7-718682339b40" providerId="ADAL" clId="{80D4E734-020D-4C1F-A028-1B9E9B483F9A}" dt="2021-05-25T08:49:48.540" v="7415" actId="790"/>
          <ac:spMkLst>
            <pc:docMk/>
            <pc:sldMk cId="3968368318" sldId="10448"/>
            <ac:spMk id="46" creationId="{041E4A41-5EFF-4E8D-82D0-B598CD53AEB6}"/>
          </ac:spMkLst>
        </pc:spChg>
        <pc:spChg chg="mod">
          <ac:chgData name="Aude Van de WIELE" userId="7317e673-04dd-415c-a4d7-718682339b40" providerId="ADAL" clId="{80D4E734-020D-4C1F-A028-1B9E9B483F9A}" dt="2021-05-25T08:49:48.541" v="7416" actId="790"/>
          <ac:spMkLst>
            <pc:docMk/>
            <pc:sldMk cId="3968368318" sldId="10448"/>
            <ac:spMk id="49" creationId="{9FC58EF0-5CD6-4A71-8940-F6C8C883FBD1}"/>
          </ac:spMkLst>
        </pc:spChg>
        <pc:spChg chg="mod">
          <ac:chgData name="Aude Van de WIELE" userId="7317e673-04dd-415c-a4d7-718682339b40" providerId="ADAL" clId="{80D4E734-020D-4C1F-A028-1B9E9B483F9A}" dt="2021-05-25T08:49:48.542" v="7417" actId="790"/>
          <ac:spMkLst>
            <pc:docMk/>
            <pc:sldMk cId="3968368318" sldId="10448"/>
            <ac:spMk id="50" creationId="{0B6C5844-4A3E-4824-8EAE-60D3B3E1BFF5}"/>
          </ac:spMkLst>
        </pc:spChg>
        <pc:spChg chg="mod">
          <ac:chgData name="Aude Van de WIELE" userId="7317e673-04dd-415c-a4d7-718682339b40" providerId="ADAL" clId="{80D4E734-020D-4C1F-A028-1B9E9B483F9A}" dt="2021-05-25T08:49:48.543" v="7418" actId="790"/>
          <ac:spMkLst>
            <pc:docMk/>
            <pc:sldMk cId="3968368318" sldId="10448"/>
            <ac:spMk id="51" creationId="{8F8A1894-627E-4A77-8FEF-2E5519D9FC48}"/>
          </ac:spMkLst>
        </pc:spChg>
        <pc:spChg chg="mod">
          <ac:chgData name="Aude Van de WIELE" userId="7317e673-04dd-415c-a4d7-718682339b40" providerId="ADAL" clId="{80D4E734-020D-4C1F-A028-1B9E9B483F9A}" dt="2021-05-25T08:49:48.547" v="7419" actId="790"/>
          <ac:spMkLst>
            <pc:docMk/>
            <pc:sldMk cId="3968368318" sldId="10448"/>
            <ac:spMk id="52" creationId="{76A2D6C4-57ED-451A-A7F1-033FE34AB68E}"/>
          </ac:spMkLst>
        </pc:spChg>
        <pc:spChg chg="mod">
          <ac:chgData name="Aude Van de WIELE" userId="7317e673-04dd-415c-a4d7-718682339b40" providerId="ADAL" clId="{80D4E734-020D-4C1F-A028-1B9E9B483F9A}" dt="2021-05-25T08:49:48.547" v="7420" actId="790"/>
          <ac:spMkLst>
            <pc:docMk/>
            <pc:sldMk cId="3968368318" sldId="10448"/>
            <ac:spMk id="53" creationId="{1D696651-4ADA-4682-8B2D-872B8258B7F2}"/>
          </ac:spMkLst>
        </pc:spChg>
        <pc:spChg chg="add mod">
          <ac:chgData name="Aude Van de WIELE" userId="7317e673-04dd-415c-a4d7-718682339b40" providerId="ADAL" clId="{80D4E734-020D-4C1F-A028-1B9E9B483F9A}" dt="2021-05-25T08:49:48.568" v="7439" actId="790"/>
          <ac:spMkLst>
            <pc:docMk/>
            <pc:sldMk cId="3968368318" sldId="10448"/>
            <ac:spMk id="57" creationId="{3CD06849-19BD-4D03-B457-9CAEE36515EE}"/>
          </ac:spMkLst>
        </pc:spChg>
        <pc:spChg chg="mod">
          <ac:chgData name="Aude Van de WIELE" userId="7317e673-04dd-415c-a4d7-718682339b40" providerId="ADAL" clId="{80D4E734-020D-4C1F-A028-1B9E9B483F9A}" dt="2021-05-25T08:49:48.549" v="7421" actId="790"/>
          <ac:spMkLst>
            <pc:docMk/>
            <pc:sldMk cId="3968368318" sldId="10448"/>
            <ac:spMk id="59" creationId="{3DAFC222-EE91-423E-A279-AC68BF7E5200}"/>
          </ac:spMkLst>
        </pc:spChg>
        <pc:spChg chg="del mod">
          <ac:chgData name="Aude Van de WIELE" userId="7317e673-04dd-415c-a4d7-718682339b40" providerId="ADAL" clId="{80D4E734-020D-4C1F-A028-1B9E9B483F9A}" dt="2021-05-24T10:20:22.435" v="1706" actId="478"/>
          <ac:spMkLst>
            <pc:docMk/>
            <pc:sldMk cId="3968368318" sldId="10448"/>
            <ac:spMk id="63" creationId="{E332C26C-6982-4266-9F93-4F2FAEAC1F59}"/>
          </ac:spMkLst>
        </pc:spChg>
        <pc:spChg chg="mod">
          <ac:chgData name="Aude Van de WIELE" userId="7317e673-04dd-415c-a4d7-718682339b40" providerId="ADAL" clId="{80D4E734-020D-4C1F-A028-1B9E9B483F9A}" dt="2021-05-24T10:10:34.922" v="1518" actId="1076"/>
          <ac:spMkLst>
            <pc:docMk/>
            <pc:sldMk cId="3968368318" sldId="10448"/>
            <ac:spMk id="65" creationId="{14DBDE30-5E3A-4F1E-9FBC-F7821E12A88B}"/>
          </ac:spMkLst>
        </pc:spChg>
        <pc:spChg chg="del mod">
          <ac:chgData name="Aude Van de WIELE" userId="7317e673-04dd-415c-a4d7-718682339b40" providerId="ADAL" clId="{80D4E734-020D-4C1F-A028-1B9E9B483F9A}" dt="2021-05-24T10:20:25.797" v="1707" actId="478"/>
          <ac:spMkLst>
            <pc:docMk/>
            <pc:sldMk cId="3968368318" sldId="10448"/>
            <ac:spMk id="67" creationId="{2166AFB3-822C-4F0C-86C2-2CF099B5D8CB}"/>
          </ac:spMkLst>
        </pc:spChg>
        <pc:spChg chg="del mod">
          <ac:chgData name="Aude Van de WIELE" userId="7317e673-04dd-415c-a4d7-718682339b40" providerId="ADAL" clId="{80D4E734-020D-4C1F-A028-1B9E9B483F9A}" dt="2021-05-24T10:14:43.766" v="1609" actId="478"/>
          <ac:spMkLst>
            <pc:docMk/>
            <pc:sldMk cId="3968368318" sldId="10448"/>
            <ac:spMk id="68" creationId="{B86316C1-E02D-43CA-AC7B-2A954859A66C}"/>
          </ac:spMkLst>
        </pc:spChg>
        <pc:spChg chg="del mod">
          <ac:chgData name="Aude Van de WIELE" userId="7317e673-04dd-415c-a4d7-718682339b40" providerId="ADAL" clId="{80D4E734-020D-4C1F-A028-1B9E9B483F9A}" dt="2021-05-24T10:20:25.797" v="1707" actId="478"/>
          <ac:spMkLst>
            <pc:docMk/>
            <pc:sldMk cId="3968368318" sldId="10448"/>
            <ac:spMk id="71" creationId="{DB0DEF92-6473-4E49-922E-2E9179832804}"/>
          </ac:spMkLst>
        </pc:spChg>
        <pc:spChg chg="del">
          <ac:chgData name="Aude Van de WIELE" userId="7317e673-04dd-415c-a4d7-718682339b40" providerId="ADAL" clId="{80D4E734-020D-4C1F-A028-1B9E9B483F9A}" dt="2021-05-24T10:27:18.885" v="1896" actId="478"/>
          <ac:spMkLst>
            <pc:docMk/>
            <pc:sldMk cId="3968368318" sldId="10448"/>
            <ac:spMk id="73" creationId="{31A358C9-E62F-4623-B89B-3A51CD1BAD3E}"/>
          </ac:spMkLst>
        </pc:spChg>
        <pc:spChg chg="del mod">
          <ac:chgData name="Aude Van de WIELE" userId="7317e673-04dd-415c-a4d7-718682339b40" providerId="ADAL" clId="{80D4E734-020D-4C1F-A028-1B9E9B483F9A}" dt="2021-05-24T10:23:27.524" v="1755" actId="478"/>
          <ac:spMkLst>
            <pc:docMk/>
            <pc:sldMk cId="3968368318" sldId="10448"/>
            <ac:spMk id="74" creationId="{79AF8252-2A93-4F69-955B-9B76FDCC3FB8}"/>
          </ac:spMkLst>
        </pc:spChg>
        <pc:spChg chg="add mod">
          <ac:chgData name="Aude Van de WIELE" userId="7317e673-04dd-415c-a4d7-718682339b40" providerId="ADAL" clId="{80D4E734-020D-4C1F-A028-1B9E9B483F9A}" dt="2021-05-25T08:49:48.556" v="7425" actId="790"/>
          <ac:spMkLst>
            <pc:docMk/>
            <pc:sldMk cId="3968368318" sldId="10448"/>
            <ac:spMk id="75" creationId="{3B90C99E-5118-46A1-8F4B-BC0DCBD5F532}"/>
          </ac:spMkLst>
        </pc:spChg>
        <pc:spChg chg="del mod">
          <ac:chgData name="Aude Van de WIELE" userId="7317e673-04dd-415c-a4d7-718682339b40" providerId="ADAL" clId="{80D4E734-020D-4C1F-A028-1B9E9B483F9A}" dt="2021-05-24T10:13:59.730" v="1578" actId="478"/>
          <ac:spMkLst>
            <pc:docMk/>
            <pc:sldMk cId="3968368318" sldId="10448"/>
            <ac:spMk id="77" creationId="{10F7DCE8-AA8B-4757-B7AF-E90D9003445A}"/>
          </ac:spMkLst>
        </pc:spChg>
        <pc:spChg chg="mod">
          <ac:chgData name="Aude Van de WIELE" userId="7317e673-04dd-415c-a4d7-718682339b40" providerId="ADAL" clId="{80D4E734-020D-4C1F-A028-1B9E9B483F9A}" dt="2021-05-25T08:49:48.562" v="7432" actId="790"/>
          <ac:spMkLst>
            <pc:docMk/>
            <pc:sldMk cId="3968368318" sldId="10448"/>
            <ac:spMk id="77" creationId="{BC4455CD-3F6E-4577-AC5C-0ACD067A5D2E}"/>
          </ac:spMkLst>
        </pc:spChg>
        <pc:spChg chg="add mod">
          <ac:chgData name="Aude Van de WIELE" userId="7317e673-04dd-415c-a4d7-718682339b40" providerId="ADAL" clId="{80D4E734-020D-4C1F-A028-1B9E9B483F9A}" dt="2021-05-25T08:49:48.557" v="7426" actId="790"/>
          <ac:spMkLst>
            <pc:docMk/>
            <pc:sldMk cId="3968368318" sldId="10448"/>
            <ac:spMk id="78" creationId="{29A37347-61AA-4078-80BD-C960E43A81AF}"/>
          </ac:spMkLst>
        </pc:spChg>
        <pc:spChg chg="add mod">
          <ac:chgData name="Aude Van de WIELE" userId="7317e673-04dd-415c-a4d7-718682339b40" providerId="ADAL" clId="{80D4E734-020D-4C1F-A028-1B9E9B483F9A}" dt="2021-05-25T08:49:48.559" v="7429" actId="790"/>
          <ac:spMkLst>
            <pc:docMk/>
            <pc:sldMk cId="3968368318" sldId="10448"/>
            <ac:spMk id="81" creationId="{21CC608C-B99A-4A42-9697-626D17010014}"/>
          </ac:spMkLst>
        </pc:spChg>
        <pc:spChg chg="mod">
          <ac:chgData name="Aude Van de WIELE" userId="7317e673-04dd-415c-a4d7-718682339b40" providerId="ADAL" clId="{80D4E734-020D-4C1F-A028-1B9E9B483F9A}" dt="2021-05-25T08:49:48.563" v="7433" actId="790"/>
          <ac:spMkLst>
            <pc:docMk/>
            <pc:sldMk cId="3968368318" sldId="10448"/>
            <ac:spMk id="82" creationId="{BD62E9E8-E0BF-4E73-B1AF-3ADA82858B78}"/>
          </ac:spMkLst>
        </pc:spChg>
        <pc:spChg chg="mod">
          <ac:chgData name="Aude Van de WIELE" userId="7317e673-04dd-415c-a4d7-718682339b40" providerId="ADAL" clId="{80D4E734-020D-4C1F-A028-1B9E9B483F9A}" dt="2021-05-25T08:49:48.564" v="7434" actId="790"/>
          <ac:spMkLst>
            <pc:docMk/>
            <pc:sldMk cId="3968368318" sldId="10448"/>
            <ac:spMk id="83" creationId="{42E8BC0F-9E16-44E3-A5C1-56DDFB8C41D3}"/>
          </ac:spMkLst>
        </pc:spChg>
        <pc:spChg chg="mod">
          <ac:chgData name="Aude Van de WIELE" userId="7317e673-04dd-415c-a4d7-718682339b40" providerId="ADAL" clId="{80D4E734-020D-4C1F-A028-1B9E9B483F9A}" dt="2021-05-25T08:49:48.565" v="7435" actId="790"/>
          <ac:spMkLst>
            <pc:docMk/>
            <pc:sldMk cId="3968368318" sldId="10448"/>
            <ac:spMk id="84" creationId="{64B7059C-3B40-4861-9A53-5FCA0408ECF1}"/>
          </ac:spMkLst>
        </pc:spChg>
        <pc:spChg chg="mod">
          <ac:chgData name="Aude Van de WIELE" userId="7317e673-04dd-415c-a4d7-718682339b40" providerId="ADAL" clId="{80D4E734-020D-4C1F-A028-1B9E9B483F9A}" dt="2021-05-25T08:49:48.566" v="7436" actId="790"/>
          <ac:spMkLst>
            <pc:docMk/>
            <pc:sldMk cId="3968368318" sldId="10448"/>
            <ac:spMk id="85" creationId="{B3E08325-F9BB-4C29-B377-B00F7C54BC7E}"/>
          </ac:spMkLst>
        </pc:spChg>
        <pc:spChg chg="mod">
          <ac:chgData name="Aude Van de WIELE" userId="7317e673-04dd-415c-a4d7-718682339b40" providerId="ADAL" clId="{80D4E734-020D-4C1F-A028-1B9E9B483F9A}" dt="2021-05-25T08:49:48.566" v="7437" actId="790"/>
          <ac:spMkLst>
            <pc:docMk/>
            <pc:sldMk cId="3968368318" sldId="10448"/>
            <ac:spMk id="86" creationId="{B2F4B5C2-B876-4D81-9B74-C2FFF92AD648}"/>
          </ac:spMkLst>
        </pc:spChg>
        <pc:spChg chg="add mod">
          <ac:chgData name="Aude Van de WIELE" userId="7317e673-04dd-415c-a4d7-718682339b40" providerId="ADAL" clId="{80D4E734-020D-4C1F-A028-1B9E9B483F9A}" dt="2021-05-25T08:49:48.558" v="7427" actId="790"/>
          <ac:spMkLst>
            <pc:docMk/>
            <pc:sldMk cId="3968368318" sldId="10448"/>
            <ac:spMk id="87" creationId="{011A9D4A-70AD-43A5-9A8B-1BA37B50CD90}"/>
          </ac:spMkLst>
        </pc:spChg>
        <pc:spChg chg="mod">
          <ac:chgData name="Aude Van de WIELE" userId="7317e673-04dd-415c-a4d7-718682339b40" providerId="ADAL" clId="{80D4E734-020D-4C1F-A028-1B9E9B483F9A}" dt="2021-05-25T08:49:48.567" v="7438" actId="790"/>
          <ac:spMkLst>
            <pc:docMk/>
            <pc:sldMk cId="3968368318" sldId="10448"/>
            <ac:spMk id="89" creationId="{6C12B321-3DB8-4176-AF24-B9FBD9E1B678}"/>
          </ac:spMkLst>
        </pc:spChg>
        <pc:spChg chg="add mod">
          <ac:chgData name="Aude Van de WIELE" userId="7317e673-04dd-415c-a4d7-718682339b40" providerId="ADAL" clId="{80D4E734-020D-4C1F-A028-1B9E9B483F9A}" dt="2021-05-25T08:49:48.559" v="7428" actId="790"/>
          <ac:spMkLst>
            <pc:docMk/>
            <pc:sldMk cId="3968368318" sldId="10448"/>
            <ac:spMk id="92" creationId="{8AB39739-AED6-4791-9E02-58EE9F6AB505}"/>
          </ac:spMkLst>
        </pc:spChg>
        <pc:spChg chg="mod">
          <ac:chgData name="Aude Van de WIELE" userId="7317e673-04dd-415c-a4d7-718682339b40" providerId="ADAL" clId="{80D4E734-020D-4C1F-A028-1B9E9B483F9A}" dt="2021-05-25T08:49:48.550" v="7422" actId="790"/>
          <ac:spMkLst>
            <pc:docMk/>
            <pc:sldMk cId="3968368318" sldId="10448"/>
            <ac:spMk id="94" creationId="{BF59A564-3768-4FD0-BB89-C2C9D89D7D6F}"/>
          </ac:spMkLst>
        </pc:spChg>
        <pc:spChg chg="add del mod">
          <ac:chgData name="Aude Van de WIELE" userId="7317e673-04dd-415c-a4d7-718682339b40" providerId="ADAL" clId="{80D4E734-020D-4C1F-A028-1B9E9B483F9A}" dt="2021-05-24T10:22:53.514" v="1748" actId="478"/>
          <ac:spMkLst>
            <pc:docMk/>
            <pc:sldMk cId="3968368318" sldId="10448"/>
            <ac:spMk id="95" creationId="{494616F3-F0FE-4908-9CBF-63BAAAF8FAEF}"/>
          </ac:spMkLst>
        </pc:spChg>
        <pc:spChg chg="add mod">
          <ac:chgData name="Aude Van de WIELE" userId="7317e673-04dd-415c-a4d7-718682339b40" providerId="ADAL" clId="{80D4E734-020D-4C1F-A028-1B9E9B483F9A}" dt="2021-05-25T08:49:48.560" v="7430" actId="790"/>
          <ac:spMkLst>
            <pc:docMk/>
            <pc:sldMk cId="3968368318" sldId="10448"/>
            <ac:spMk id="96" creationId="{CE4E2441-955C-4882-BD20-B9505DC3A971}"/>
          </ac:spMkLst>
        </pc:spChg>
        <pc:spChg chg="mod">
          <ac:chgData name="Aude Van de WIELE" userId="7317e673-04dd-415c-a4d7-718682339b40" providerId="ADAL" clId="{80D4E734-020D-4C1F-A028-1B9E9B483F9A}" dt="2021-05-25T08:49:48.553" v="7423" actId="790"/>
          <ac:spMkLst>
            <pc:docMk/>
            <pc:sldMk cId="3968368318" sldId="10448"/>
            <ac:spMk id="97" creationId="{8FC70572-4538-4FAA-BEC9-F74E3EC477C1}"/>
          </ac:spMkLst>
        </pc:spChg>
        <pc:spChg chg="mod">
          <ac:chgData name="Aude Van de WIELE" userId="7317e673-04dd-415c-a4d7-718682339b40" providerId="ADAL" clId="{80D4E734-020D-4C1F-A028-1B9E9B483F9A}" dt="2021-05-25T08:49:48.555" v="7424" actId="790"/>
          <ac:spMkLst>
            <pc:docMk/>
            <pc:sldMk cId="3968368318" sldId="10448"/>
            <ac:spMk id="98" creationId="{FC1F4A9D-DB6A-4376-88B8-66395C2A5202}"/>
          </ac:spMkLst>
        </pc:spChg>
        <pc:spChg chg="add mod">
          <ac:chgData name="Aude Van de WIELE" userId="7317e673-04dd-415c-a4d7-718682339b40" providerId="ADAL" clId="{80D4E734-020D-4C1F-A028-1B9E9B483F9A}" dt="2021-05-25T08:49:48.561" v="7431" actId="790"/>
          <ac:spMkLst>
            <pc:docMk/>
            <pc:sldMk cId="3968368318" sldId="10448"/>
            <ac:spMk id="99" creationId="{A3D680AA-841F-4FE7-9115-FEE6A855B5C5}"/>
          </ac:spMkLst>
        </pc:spChg>
        <pc:spChg chg="add mod">
          <ac:chgData name="Aude Van de WIELE" userId="7317e673-04dd-415c-a4d7-718682339b40" providerId="ADAL" clId="{80D4E734-020D-4C1F-A028-1B9E9B483F9A}" dt="2021-05-24T10:27:19.099" v="1897"/>
          <ac:spMkLst>
            <pc:docMk/>
            <pc:sldMk cId="3968368318" sldId="10448"/>
            <ac:spMk id="100" creationId="{C3A9358C-94EE-4710-B0E3-5B8CA00D88D5}"/>
          </ac:spMkLst>
        </pc:spChg>
        <pc:grpChg chg="add del">
          <ac:chgData name="Aude Van de WIELE" userId="7317e673-04dd-415c-a4d7-718682339b40" providerId="ADAL" clId="{80D4E734-020D-4C1F-A028-1B9E9B483F9A}" dt="2021-05-24T11:29:06.871" v="2268" actId="478"/>
          <ac:grpSpMkLst>
            <pc:docMk/>
            <pc:sldMk cId="3968368318" sldId="10448"/>
            <ac:grpSpMk id="14" creationId="{38F6F087-9913-44CA-8929-CCCB784498AE}"/>
          </ac:grpSpMkLst>
        </pc:grpChg>
        <pc:picChg chg="mod topLvl">
          <ac:chgData name="Aude Van de WIELE" userId="7317e673-04dd-415c-a4d7-718682339b40" providerId="ADAL" clId="{80D4E734-020D-4C1F-A028-1B9E9B483F9A}" dt="2021-05-24T11:29:06.871" v="2268" actId="478"/>
          <ac:picMkLst>
            <pc:docMk/>
            <pc:sldMk cId="3968368318" sldId="10448"/>
            <ac:picMk id="16" creationId="{2DC48CB1-B484-4678-9BCB-CFAE41D95B86}"/>
          </ac:picMkLst>
        </pc:picChg>
        <pc:picChg chg="mod">
          <ac:chgData name="Aude Van de WIELE" userId="7317e673-04dd-415c-a4d7-718682339b40" providerId="ADAL" clId="{80D4E734-020D-4C1F-A028-1B9E9B483F9A}" dt="2021-05-24T10:23:20.797" v="1754" actId="552"/>
          <ac:picMkLst>
            <pc:docMk/>
            <pc:sldMk cId="3968368318" sldId="10448"/>
            <ac:picMk id="43" creationId="{0581F7B7-2060-46C8-8A4E-3CA430EA55BF}"/>
          </ac:picMkLst>
        </pc:picChg>
        <pc:picChg chg="del mod">
          <ac:chgData name="Aude Van de WIELE" userId="7317e673-04dd-415c-a4d7-718682339b40" providerId="ADAL" clId="{80D4E734-020D-4C1F-A028-1B9E9B483F9A}" dt="2021-05-24T10:14:43.766" v="1609" actId="478"/>
          <ac:picMkLst>
            <pc:docMk/>
            <pc:sldMk cId="3968368318" sldId="10448"/>
            <ac:picMk id="60" creationId="{89570A62-3876-4F5C-8001-59F7F68A8582}"/>
          </ac:picMkLst>
        </pc:picChg>
        <pc:picChg chg="mod">
          <ac:chgData name="Aude Van de WIELE" userId="7317e673-04dd-415c-a4d7-718682339b40" providerId="ADAL" clId="{80D4E734-020D-4C1F-A028-1B9E9B483F9A}" dt="2021-05-24T10:23:20.797" v="1754" actId="552"/>
          <ac:picMkLst>
            <pc:docMk/>
            <pc:sldMk cId="3968368318" sldId="10448"/>
            <ac:picMk id="1024" creationId="{3DBDD6D3-592B-41B4-BB2A-CD25085483A2}"/>
          </ac:picMkLst>
        </pc:picChg>
        <pc:picChg chg="mod">
          <ac:chgData name="Aude Van de WIELE" userId="7317e673-04dd-415c-a4d7-718682339b40" providerId="ADAL" clId="{80D4E734-020D-4C1F-A028-1B9E9B483F9A}" dt="2021-05-24T10:23:20.797" v="1754" actId="552"/>
          <ac:picMkLst>
            <pc:docMk/>
            <pc:sldMk cId="3968368318" sldId="10448"/>
            <ac:picMk id="1026" creationId="{D7CFE2EB-ABED-4516-9E4E-851665E3F28B}"/>
          </ac:picMkLst>
        </pc:picChg>
        <pc:picChg chg="mod">
          <ac:chgData name="Aude Van de WIELE" userId="7317e673-04dd-415c-a4d7-718682339b40" providerId="ADAL" clId="{80D4E734-020D-4C1F-A028-1B9E9B483F9A}" dt="2021-05-24T10:23:20.797" v="1754" actId="552"/>
          <ac:picMkLst>
            <pc:docMk/>
            <pc:sldMk cId="3968368318" sldId="10448"/>
            <ac:picMk id="1029" creationId="{CDC34624-35B4-4A8F-A88D-63CBB70EC502}"/>
          </ac:picMkLst>
        </pc:picChg>
        <pc:picChg chg="mod">
          <ac:chgData name="Aude Van de WIELE" userId="7317e673-04dd-415c-a4d7-718682339b40" providerId="ADAL" clId="{80D4E734-020D-4C1F-A028-1B9E9B483F9A}" dt="2021-05-24T10:23:20.797" v="1754" actId="552"/>
          <ac:picMkLst>
            <pc:docMk/>
            <pc:sldMk cId="3968368318" sldId="10448"/>
            <ac:picMk id="1031" creationId="{AFCC9A41-2772-4AF8-A6B2-899ABAB27131}"/>
          </ac:picMkLst>
        </pc:picChg>
        <pc:picChg chg="mod">
          <ac:chgData name="Aude Van de WIELE" userId="7317e673-04dd-415c-a4d7-718682339b40" providerId="ADAL" clId="{80D4E734-020D-4C1F-A028-1B9E9B483F9A}" dt="2021-05-24T10:23:20.797" v="1754" actId="552"/>
          <ac:picMkLst>
            <pc:docMk/>
            <pc:sldMk cId="3968368318" sldId="10448"/>
            <ac:picMk id="1047" creationId="{7C57E807-8480-4449-95A6-F9293D6E3669}"/>
          </ac:picMkLst>
        </pc:picChg>
        <pc:picChg chg="mod">
          <ac:chgData name="Aude Van de WIELE" userId="7317e673-04dd-415c-a4d7-718682339b40" providerId="ADAL" clId="{80D4E734-020D-4C1F-A028-1B9E9B483F9A}" dt="2021-05-24T10:23:20.797" v="1754" actId="552"/>
          <ac:picMkLst>
            <pc:docMk/>
            <pc:sldMk cId="3968368318" sldId="10448"/>
            <ac:picMk id="1049" creationId="{B62FF67A-0317-4C03-8BAE-DCF23D0F186B}"/>
          </ac:picMkLst>
        </pc:picChg>
        <pc:cxnChg chg="add del mod">
          <ac:chgData name="Aude Van de WIELE" userId="7317e673-04dd-415c-a4d7-718682339b40" providerId="ADAL" clId="{80D4E734-020D-4C1F-A028-1B9E9B483F9A}" dt="2021-05-24T10:12:32.182" v="1525" actId="478"/>
          <ac:cxnSpMkLst>
            <pc:docMk/>
            <pc:sldMk cId="3968368318" sldId="10448"/>
            <ac:cxnSpMk id="6" creationId="{FDAD3B81-86B5-4412-970D-11DE4CAD2D1E}"/>
          </ac:cxnSpMkLst>
        </pc:cxnChg>
        <pc:cxnChg chg="add del mod">
          <ac:chgData name="Aude Van de WIELE" userId="7317e673-04dd-415c-a4d7-718682339b40" providerId="ADAL" clId="{80D4E734-020D-4C1F-A028-1B9E9B483F9A}" dt="2021-05-24T10:19:35.659" v="1689" actId="478"/>
          <ac:cxnSpMkLst>
            <pc:docMk/>
            <pc:sldMk cId="3968368318" sldId="10448"/>
            <ac:cxnSpMk id="8" creationId="{8AB5634E-8754-48B9-B1AB-99C594A02DE1}"/>
          </ac:cxnSpMkLst>
        </pc:cxnChg>
        <pc:cxnChg chg="add del mod">
          <ac:chgData name="Aude Van de WIELE" userId="7317e673-04dd-415c-a4d7-718682339b40" providerId="ADAL" clId="{80D4E734-020D-4C1F-A028-1B9E9B483F9A}" dt="2021-05-24T10:14:58.431" v="1611" actId="478"/>
          <ac:cxnSpMkLst>
            <pc:docMk/>
            <pc:sldMk cId="3968368318" sldId="10448"/>
            <ac:cxnSpMk id="76" creationId="{C0D766DE-4B50-4FAB-9127-50B750554DC7}"/>
          </ac:cxnSpMkLst>
        </pc:cxnChg>
        <pc:cxnChg chg="add del mod">
          <ac:chgData name="Aude Van de WIELE" userId="7317e673-04dd-415c-a4d7-718682339b40" providerId="ADAL" clId="{80D4E734-020D-4C1F-A028-1B9E9B483F9A}" dt="2021-05-24T10:19:35.659" v="1689" actId="478"/>
          <ac:cxnSpMkLst>
            <pc:docMk/>
            <pc:sldMk cId="3968368318" sldId="10448"/>
            <ac:cxnSpMk id="80" creationId="{A6F7EED2-D4B1-4B92-9EFE-5EAA072DC9D5}"/>
          </ac:cxnSpMkLst>
        </pc:cxnChg>
        <pc:cxnChg chg="add del mod">
          <ac:chgData name="Aude Van de WIELE" userId="7317e673-04dd-415c-a4d7-718682339b40" providerId="ADAL" clId="{80D4E734-020D-4C1F-A028-1B9E9B483F9A}" dt="2021-05-24T10:19:35.659" v="1689" actId="478"/>
          <ac:cxnSpMkLst>
            <pc:docMk/>
            <pc:sldMk cId="3968368318" sldId="10448"/>
            <ac:cxnSpMk id="88" creationId="{34C9F042-9889-46A7-A223-3C15E1F61E7E}"/>
          </ac:cxnSpMkLst>
        </pc:cxnChg>
      </pc:sldChg>
      <pc:sldChg chg="addSp delSp modSp mod">
        <pc:chgData name="Aude Van de WIELE" userId="7317e673-04dd-415c-a4d7-718682339b40" providerId="ADAL" clId="{80D4E734-020D-4C1F-A028-1B9E9B483F9A}" dt="2021-05-25T08:49:49.526" v="8249" actId="790"/>
        <pc:sldMkLst>
          <pc:docMk/>
          <pc:sldMk cId="3405907677" sldId="10449"/>
        </pc:sldMkLst>
        <pc:spChg chg="mod">
          <ac:chgData name="Aude Van de WIELE" userId="7317e673-04dd-415c-a4d7-718682339b40" providerId="ADAL" clId="{80D4E734-020D-4C1F-A028-1B9E9B483F9A}" dt="2021-05-25T08:49:49.440" v="8155" actId="790"/>
          <ac:spMkLst>
            <pc:docMk/>
            <pc:sldMk cId="3405907677" sldId="10449"/>
            <ac:spMk id="2" creationId="{531041C5-E8A2-412F-8DD7-D013B496B687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3" creationId="{D941C407-20D6-482D-8915-AB38B57418D3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4" creationId="{32F85835-036E-4F3E-8BFF-2ABE5E844311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5" creationId="{B82F449A-DABE-4C5F-AC72-1CD88F08F3F8}"/>
          </ac:spMkLst>
        </pc:spChg>
        <pc:spChg chg="mod">
          <ac:chgData name="Aude Van de WIELE" userId="7317e673-04dd-415c-a4d7-718682339b40" providerId="ADAL" clId="{80D4E734-020D-4C1F-A028-1B9E9B483F9A}" dt="2021-05-25T08:49:49.460" v="8179" actId="790"/>
          <ac:spMkLst>
            <pc:docMk/>
            <pc:sldMk cId="3405907677" sldId="10449"/>
            <ac:spMk id="13" creationId="{3B30A3CA-590A-4A51-AA32-7AFB85C131DA}"/>
          </ac:spMkLst>
        </pc:spChg>
        <pc:spChg chg="mod">
          <ac:chgData name="Aude Van de WIELE" userId="7317e673-04dd-415c-a4d7-718682339b40" providerId="ADAL" clId="{80D4E734-020D-4C1F-A028-1B9E9B483F9A}" dt="2021-05-25T08:49:49.461" v="8180" actId="790"/>
          <ac:spMkLst>
            <pc:docMk/>
            <pc:sldMk cId="3405907677" sldId="10449"/>
            <ac:spMk id="14" creationId="{3B30A3CA-590A-4A51-AA32-7AFB85C131DA}"/>
          </ac:spMkLst>
        </pc:spChg>
        <pc:spChg chg="mod">
          <ac:chgData name="Aude Van de WIELE" userId="7317e673-04dd-415c-a4d7-718682339b40" providerId="ADAL" clId="{80D4E734-020D-4C1F-A028-1B9E9B483F9A}" dt="2021-05-25T08:49:49.461" v="8181" actId="790"/>
          <ac:spMkLst>
            <pc:docMk/>
            <pc:sldMk cId="3405907677" sldId="10449"/>
            <ac:spMk id="16" creationId="{A3DDF398-9E20-4E28-92A0-F1C2DBE27BF0}"/>
          </ac:spMkLst>
        </pc:spChg>
        <pc:spChg chg="mod">
          <ac:chgData name="Aude Van de WIELE" userId="7317e673-04dd-415c-a4d7-718682339b40" providerId="ADAL" clId="{80D4E734-020D-4C1F-A028-1B9E9B483F9A}" dt="2021-05-25T08:49:49.462" v="8182" actId="790"/>
          <ac:spMkLst>
            <pc:docMk/>
            <pc:sldMk cId="3405907677" sldId="10449"/>
            <ac:spMk id="17" creationId="{31CD3EEA-CBD9-4B6E-8261-B1EE77EE3676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5" creationId="{EC1EF9D0-C614-4BB0-BC35-3EDAADC576F4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69" creationId="{F3DA172A-54AD-441E-9D06-5E433C2498C6}"/>
          </ac:spMkLst>
        </pc:spChg>
        <pc:spChg chg="add del mod">
          <ac:chgData name="Aude Van de WIELE" userId="7317e673-04dd-415c-a4d7-718682339b40" providerId="ADAL" clId="{80D4E734-020D-4C1F-A028-1B9E9B483F9A}" dt="2021-05-24T14:04:11.174" v="4479" actId="478"/>
          <ac:spMkLst>
            <pc:docMk/>
            <pc:sldMk cId="3405907677" sldId="10449"/>
            <ac:spMk id="121" creationId="{1BDF9902-26D5-476E-8A88-A45A632F2F6E}"/>
          </ac:spMkLst>
        </pc:spChg>
        <pc:spChg chg="add mod">
          <ac:chgData name="Aude Van de WIELE" userId="7317e673-04dd-415c-a4d7-718682339b40" providerId="ADAL" clId="{80D4E734-020D-4C1F-A028-1B9E9B483F9A}" dt="2021-05-24T14:01:25.443" v="4440" actId="571"/>
          <ac:spMkLst>
            <pc:docMk/>
            <pc:sldMk cId="3405907677" sldId="10449"/>
            <ac:spMk id="122" creationId="{105AB1D3-2F88-4590-BE37-86B79E698FEE}"/>
          </ac:spMkLst>
        </pc:spChg>
        <pc:spChg chg="add mod">
          <ac:chgData name="Aude Van de WIELE" userId="7317e673-04dd-415c-a4d7-718682339b40" providerId="ADAL" clId="{80D4E734-020D-4C1F-A028-1B9E9B483F9A}" dt="2021-05-24T14:05:06.396" v="4514" actId="408"/>
          <ac:spMkLst>
            <pc:docMk/>
            <pc:sldMk cId="3405907677" sldId="10449"/>
            <ac:spMk id="125" creationId="{4E6AECE0-82F5-4742-8B27-C41B464D5F46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26" creationId="{9AA2375E-FEB4-43D7-9BAD-C38F873D462F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27" creationId="{9DBE474A-A6D3-493B-BB35-120108A4E18E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28" creationId="{F15FC71B-6C28-4CC3-8598-0A139E55A05D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29" creationId="{32627CF8-B622-4AAA-AE03-6048E0B8303C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0" creationId="{57C671EC-20E0-4224-973B-A6EC7E8CD2E4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1" creationId="{09216104-547C-4253-9332-4EC751C57662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2" creationId="{21A43C4B-373D-4504-AAEB-CE99519FC3BE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3" creationId="{F02014BC-3C7F-47E0-9AD6-C980351A1840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4" creationId="{87AEF91D-1D65-408A-B2FE-53547F50EEF2}"/>
          </ac:spMkLst>
        </pc:spChg>
        <pc:spChg chg="add mod">
          <ac:chgData name="Aude Van de WIELE" userId="7317e673-04dd-415c-a4d7-718682339b40" providerId="ADAL" clId="{80D4E734-020D-4C1F-A028-1B9E9B483F9A}" dt="2021-05-25T08:49:49.526" v="8249" actId="790"/>
          <ac:spMkLst>
            <pc:docMk/>
            <pc:sldMk cId="3405907677" sldId="10449"/>
            <ac:spMk id="135" creationId="{2894B66D-44B3-47ED-9D52-1BA71DDE00DB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5" creationId="{874C529B-B960-44C2-98E8-FF344BA3C973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6" creationId="{8375EDE3-C5E8-4926-958C-DC5F5A58590C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7" creationId="{2135EE18-563F-41F0-85E3-902F74E035D6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8" creationId="{2F3DE0D8-2B22-4DFF-943D-1203ACA68CE4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39" creationId="{BB4854E4-F457-45CB-89CE-F2BC622AB709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0" creationId="{753CD52C-9A91-4BE0-BD60-9B3BAD74CC08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1" creationId="{B66D9A34-EEB8-4B93-ACD4-23915D7B3F43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2" creationId="{71AA9DDD-4F96-41E7-89EC-9E84C59FA061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3" creationId="{F47724AF-7491-4243-A8B0-4F80B8634E68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4" creationId="{4F052271-CB15-4B2B-868C-D22AA2E4C0CF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5" creationId="{CE2098C8-3D61-42BC-8C7F-632DE4C71333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6" creationId="{40A805A3-1A0D-4F3D-A4AE-34B15924E262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7" creationId="{384CEBA9-FC1F-4C0A-B24E-2EDC10A4E6EA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8" creationId="{5A60E55B-319F-48C8-A7AA-4CC999171E9B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49" creationId="{7A9B5CBB-648F-4D4B-A28E-09F3CB6469B7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0" creationId="{918424DF-977E-4BCA-AFB2-14F3C54F29ED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1" creationId="{7E432B09-3563-44F4-9574-AE65F3B6E72D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2" creationId="{E99726C0-FA11-47A7-AFD1-6361087FCD2B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3" creationId="{C1EABC36-4692-4B8C-A31D-178F92DEF37C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4" creationId="{58991407-37FB-4FD0-86F2-E32114DA95B9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5" creationId="{D0AE7733-EC96-470A-A7FC-0BC6C5C639B9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6" creationId="{94E3A02C-BF60-44AC-A348-8C5DAB4BD323}"/>
          </ac:spMkLst>
        </pc:spChg>
        <pc:spChg chg="add mod">
          <ac:chgData name="Aude Van de WIELE" userId="7317e673-04dd-415c-a4d7-718682339b40" providerId="ADAL" clId="{80D4E734-020D-4C1F-A028-1B9E9B483F9A}" dt="2021-05-24T14:02:51.106" v="4467"/>
          <ac:spMkLst>
            <pc:docMk/>
            <pc:sldMk cId="3405907677" sldId="10449"/>
            <ac:spMk id="157" creationId="{D0F81906-7C7C-4DCF-BAB0-4E432E711BF2}"/>
          </ac:spMkLst>
        </pc:spChg>
        <pc:spChg chg="add mod">
          <ac:chgData name="Aude Van de WIELE" userId="7317e673-04dd-415c-a4d7-718682339b40" providerId="ADAL" clId="{80D4E734-020D-4C1F-A028-1B9E9B483F9A}" dt="2021-05-25T08:49:49.494" v="8215" actId="790"/>
          <ac:spMkLst>
            <pc:docMk/>
            <pc:sldMk cId="3405907677" sldId="10449"/>
            <ac:spMk id="159" creationId="{FB3F06D8-EE42-4C35-8957-C056125A063F}"/>
          </ac:spMkLst>
        </pc:spChg>
        <pc:spChg chg="del mod">
          <ac:chgData name="Aude Van de WIELE" userId="7317e673-04dd-415c-a4d7-718682339b40" providerId="ADAL" clId="{80D4E734-020D-4C1F-A028-1B9E9B483F9A}" dt="2021-05-25T07:55:29.313" v="6844" actId="478"/>
          <ac:spMkLst>
            <pc:docMk/>
            <pc:sldMk cId="3405907677" sldId="10449"/>
            <ac:spMk id="210" creationId="{FAD83A7F-F110-47F4-9764-8294FCD34C3B}"/>
          </ac:spMkLst>
        </pc:spChg>
        <pc:spChg chg="mod topLvl">
          <ac:chgData name="Aude Van de WIELE" userId="7317e673-04dd-415c-a4d7-718682339b40" providerId="ADAL" clId="{80D4E734-020D-4C1F-A028-1B9E9B483F9A}" dt="2021-05-25T08:49:49.485" v="8202" actId="790"/>
          <ac:spMkLst>
            <pc:docMk/>
            <pc:sldMk cId="3405907677" sldId="10449"/>
            <ac:spMk id="225" creationId="{7679DE8E-39F8-485C-A0DC-BE05C3B4972F}"/>
          </ac:spMkLst>
        </pc:spChg>
        <pc:spChg chg="mod">
          <ac:chgData name="Aude Van de WIELE" userId="7317e673-04dd-415c-a4d7-718682339b40" providerId="ADAL" clId="{80D4E734-020D-4C1F-A028-1B9E9B483F9A}" dt="2021-05-25T08:49:49.440" v="8156" actId="790"/>
          <ac:spMkLst>
            <pc:docMk/>
            <pc:sldMk cId="3405907677" sldId="10449"/>
            <ac:spMk id="230" creationId="{9EA79B0A-01B5-4610-951C-41B3946C28C3}"/>
          </ac:spMkLst>
        </pc:spChg>
        <pc:spChg chg="mod">
          <ac:chgData name="Aude Van de WIELE" userId="7317e673-04dd-415c-a4d7-718682339b40" providerId="ADAL" clId="{80D4E734-020D-4C1F-A028-1B9E9B483F9A}" dt="2021-05-25T08:49:49.495" v="8216" actId="790"/>
          <ac:spMkLst>
            <pc:docMk/>
            <pc:sldMk cId="3405907677" sldId="10449"/>
            <ac:spMk id="239" creationId="{4F02B17A-8312-4B62-988C-BEB3EB7580B4}"/>
          </ac:spMkLst>
        </pc:spChg>
        <pc:spChg chg="mod">
          <ac:chgData name="Aude Van de WIELE" userId="7317e673-04dd-415c-a4d7-718682339b40" providerId="ADAL" clId="{80D4E734-020D-4C1F-A028-1B9E9B483F9A}" dt="2021-05-25T08:49:49.496" v="8217" actId="790"/>
          <ac:spMkLst>
            <pc:docMk/>
            <pc:sldMk cId="3405907677" sldId="10449"/>
            <ac:spMk id="240" creationId="{140A5ECC-59E7-4A8F-8AAA-188375FB7A58}"/>
          </ac:spMkLst>
        </pc:spChg>
        <pc:spChg chg="mod">
          <ac:chgData name="Aude Van de WIELE" userId="7317e673-04dd-415c-a4d7-718682339b40" providerId="ADAL" clId="{80D4E734-020D-4C1F-A028-1B9E9B483F9A}" dt="2021-05-25T08:49:49.497" v="8218" actId="790"/>
          <ac:spMkLst>
            <pc:docMk/>
            <pc:sldMk cId="3405907677" sldId="10449"/>
            <ac:spMk id="241" creationId="{8A0D1443-E572-4F8C-992F-B94B18BD1E4F}"/>
          </ac:spMkLst>
        </pc:spChg>
        <pc:spChg chg="mod">
          <ac:chgData name="Aude Van de WIELE" userId="7317e673-04dd-415c-a4d7-718682339b40" providerId="ADAL" clId="{80D4E734-020D-4C1F-A028-1B9E9B483F9A}" dt="2021-05-25T08:49:49.499" v="8219" actId="790"/>
          <ac:spMkLst>
            <pc:docMk/>
            <pc:sldMk cId="3405907677" sldId="10449"/>
            <ac:spMk id="242" creationId="{78D5196F-1640-4EF1-B9AF-8BDEDC5A0403}"/>
          </ac:spMkLst>
        </pc:spChg>
        <pc:spChg chg="mod">
          <ac:chgData name="Aude Van de WIELE" userId="7317e673-04dd-415c-a4d7-718682339b40" providerId="ADAL" clId="{80D4E734-020D-4C1F-A028-1B9E9B483F9A}" dt="2021-05-25T08:49:49.500" v="8220" actId="790"/>
          <ac:spMkLst>
            <pc:docMk/>
            <pc:sldMk cId="3405907677" sldId="10449"/>
            <ac:spMk id="243" creationId="{10A460B4-BD08-47E3-9A8C-D65D510D36D0}"/>
          </ac:spMkLst>
        </pc:spChg>
        <pc:spChg chg="mod">
          <ac:chgData name="Aude Van de WIELE" userId="7317e673-04dd-415c-a4d7-718682339b40" providerId="ADAL" clId="{80D4E734-020D-4C1F-A028-1B9E9B483F9A}" dt="2021-05-25T08:49:49.501" v="8221" actId="790"/>
          <ac:spMkLst>
            <pc:docMk/>
            <pc:sldMk cId="3405907677" sldId="10449"/>
            <ac:spMk id="244" creationId="{813205A3-2F26-4707-BDD6-F05C30CC0265}"/>
          </ac:spMkLst>
        </pc:spChg>
        <pc:spChg chg="mod">
          <ac:chgData name="Aude Van de WIELE" userId="7317e673-04dd-415c-a4d7-718682339b40" providerId="ADAL" clId="{80D4E734-020D-4C1F-A028-1B9E9B483F9A}" dt="2021-05-25T08:49:49.502" v="8222" actId="790"/>
          <ac:spMkLst>
            <pc:docMk/>
            <pc:sldMk cId="3405907677" sldId="10449"/>
            <ac:spMk id="245" creationId="{B7F07B0D-CDB2-4A1E-8ECB-48CB7A464556}"/>
          </ac:spMkLst>
        </pc:spChg>
        <pc:spChg chg="mod">
          <ac:chgData name="Aude Van de WIELE" userId="7317e673-04dd-415c-a4d7-718682339b40" providerId="ADAL" clId="{80D4E734-020D-4C1F-A028-1B9E9B483F9A}" dt="2021-05-25T08:49:49.458" v="8178" actId="790"/>
          <ac:spMkLst>
            <pc:docMk/>
            <pc:sldMk cId="3405907677" sldId="10449"/>
            <ac:spMk id="246" creationId="{7F1F97ED-F6F2-481A-8BE1-2903CCD48A4D}"/>
          </ac:spMkLst>
        </pc:spChg>
        <pc:spChg chg="mod">
          <ac:chgData name="Aude Van de WIELE" userId="7317e673-04dd-415c-a4d7-718682339b40" providerId="ADAL" clId="{80D4E734-020D-4C1F-A028-1B9E9B483F9A}" dt="2021-05-25T08:49:49.503" v="8223" actId="790"/>
          <ac:spMkLst>
            <pc:docMk/>
            <pc:sldMk cId="3405907677" sldId="10449"/>
            <ac:spMk id="248" creationId="{877630E0-6749-4105-9DEF-3F53A7D7C123}"/>
          </ac:spMkLst>
        </pc:spChg>
        <pc:spChg chg="mod">
          <ac:chgData name="Aude Van de WIELE" userId="7317e673-04dd-415c-a4d7-718682339b40" providerId="ADAL" clId="{80D4E734-020D-4C1F-A028-1B9E9B483F9A}" dt="2021-05-25T08:49:49.504" v="8224" actId="790"/>
          <ac:spMkLst>
            <pc:docMk/>
            <pc:sldMk cId="3405907677" sldId="10449"/>
            <ac:spMk id="249" creationId="{46F4DB19-4F2B-4B61-BD17-FC2DFAA2FA1C}"/>
          </ac:spMkLst>
        </pc:spChg>
        <pc:spChg chg="mod">
          <ac:chgData name="Aude Van de WIELE" userId="7317e673-04dd-415c-a4d7-718682339b40" providerId="ADAL" clId="{80D4E734-020D-4C1F-A028-1B9E9B483F9A}" dt="2021-05-25T08:49:49.505" v="8225" actId="790"/>
          <ac:spMkLst>
            <pc:docMk/>
            <pc:sldMk cId="3405907677" sldId="10449"/>
            <ac:spMk id="250" creationId="{5A9A6392-FC3C-4337-9B83-45362AEC62DA}"/>
          </ac:spMkLst>
        </pc:spChg>
        <pc:spChg chg="mod">
          <ac:chgData name="Aude Van de WIELE" userId="7317e673-04dd-415c-a4d7-718682339b40" providerId="ADAL" clId="{80D4E734-020D-4C1F-A028-1B9E9B483F9A}" dt="2021-05-25T08:49:49.505" v="8226" actId="790"/>
          <ac:spMkLst>
            <pc:docMk/>
            <pc:sldMk cId="3405907677" sldId="10449"/>
            <ac:spMk id="251" creationId="{384D57D2-2E4A-4619-9DCA-32276997CBE7}"/>
          </ac:spMkLst>
        </pc:spChg>
        <pc:spChg chg="mod">
          <ac:chgData name="Aude Van de WIELE" userId="7317e673-04dd-415c-a4d7-718682339b40" providerId="ADAL" clId="{80D4E734-020D-4C1F-A028-1B9E9B483F9A}" dt="2021-05-25T08:49:49.463" v="8183" actId="790"/>
          <ac:spMkLst>
            <pc:docMk/>
            <pc:sldMk cId="3405907677" sldId="10449"/>
            <ac:spMk id="252" creationId="{77C078FA-ECDF-445F-AB6F-0A015B53334F}"/>
          </ac:spMkLst>
        </pc:spChg>
        <pc:spChg chg="mod">
          <ac:chgData name="Aude Van de WIELE" userId="7317e673-04dd-415c-a4d7-718682339b40" providerId="ADAL" clId="{80D4E734-020D-4C1F-A028-1B9E9B483F9A}" dt="2021-05-25T08:49:49.464" v="8184" actId="790"/>
          <ac:spMkLst>
            <pc:docMk/>
            <pc:sldMk cId="3405907677" sldId="10449"/>
            <ac:spMk id="253" creationId="{C5F8EE71-A1ED-49D0-8285-A1A08F8BD77E}"/>
          </ac:spMkLst>
        </pc:spChg>
        <pc:spChg chg="mod">
          <ac:chgData name="Aude Van de WIELE" userId="7317e673-04dd-415c-a4d7-718682339b40" providerId="ADAL" clId="{80D4E734-020D-4C1F-A028-1B9E9B483F9A}" dt="2021-05-25T08:49:49.464" v="8185" actId="790"/>
          <ac:spMkLst>
            <pc:docMk/>
            <pc:sldMk cId="3405907677" sldId="10449"/>
            <ac:spMk id="254" creationId="{4E933E1C-26AB-49C1-AEE7-14922BFE7D2E}"/>
          </ac:spMkLst>
        </pc:spChg>
        <pc:spChg chg="mod">
          <ac:chgData name="Aude Van de WIELE" userId="7317e673-04dd-415c-a4d7-718682339b40" providerId="ADAL" clId="{80D4E734-020D-4C1F-A028-1B9E9B483F9A}" dt="2021-05-25T08:49:49.485" v="8203" actId="790"/>
          <ac:spMkLst>
            <pc:docMk/>
            <pc:sldMk cId="3405907677" sldId="10449"/>
            <ac:spMk id="258" creationId="{1B6A9CD0-BD14-4B49-B9C9-1ABF2E3962FC}"/>
          </ac:spMkLst>
        </pc:spChg>
        <pc:spChg chg="mod">
          <ac:chgData name="Aude Van de WIELE" userId="7317e673-04dd-415c-a4d7-718682339b40" providerId="ADAL" clId="{80D4E734-020D-4C1F-A028-1B9E9B483F9A}" dt="2021-05-25T08:49:49.486" v="8204" actId="790"/>
          <ac:spMkLst>
            <pc:docMk/>
            <pc:sldMk cId="3405907677" sldId="10449"/>
            <ac:spMk id="259" creationId="{7A14C56E-AF07-47D5-8815-E79B103F6FD5}"/>
          </ac:spMkLst>
        </pc:spChg>
        <pc:spChg chg="mod">
          <ac:chgData name="Aude Van de WIELE" userId="7317e673-04dd-415c-a4d7-718682339b40" providerId="ADAL" clId="{80D4E734-020D-4C1F-A028-1B9E9B483F9A}" dt="2021-05-25T08:49:49.487" v="8205" actId="790"/>
          <ac:spMkLst>
            <pc:docMk/>
            <pc:sldMk cId="3405907677" sldId="10449"/>
            <ac:spMk id="260" creationId="{64AB9227-8BE1-4C2E-9A38-EF0B676ACF54}"/>
          </ac:spMkLst>
        </pc:spChg>
        <pc:spChg chg="mod">
          <ac:chgData name="Aude Van de WIELE" userId="7317e673-04dd-415c-a4d7-718682339b40" providerId="ADAL" clId="{80D4E734-020D-4C1F-A028-1B9E9B483F9A}" dt="2021-05-25T08:49:49.487" v="8206" actId="790"/>
          <ac:spMkLst>
            <pc:docMk/>
            <pc:sldMk cId="3405907677" sldId="10449"/>
            <ac:spMk id="261" creationId="{94FBBCA6-AF5C-44AA-BF8A-57315C46BA18}"/>
          </ac:spMkLst>
        </pc:spChg>
        <pc:spChg chg="mod">
          <ac:chgData name="Aude Van de WIELE" userId="7317e673-04dd-415c-a4d7-718682339b40" providerId="ADAL" clId="{80D4E734-020D-4C1F-A028-1B9E9B483F9A}" dt="2021-05-25T08:49:49.465" v="8186" actId="790"/>
          <ac:spMkLst>
            <pc:docMk/>
            <pc:sldMk cId="3405907677" sldId="10449"/>
            <ac:spMk id="263" creationId="{3A6AD19D-020C-4F8C-8E3B-886049E25C88}"/>
          </ac:spMkLst>
        </pc:spChg>
        <pc:spChg chg="mod">
          <ac:chgData name="Aude Van de WIELE" userId="7317e673-04dd-415c-a4d7-718682339b40" providerId="ADAL" clId="{80D4E734-020D-4C1F-A028-1B9E9B483F9A}" dt="2021-05-25T08:49:49.466" v="8187" actId="790"/>
          <ac:spMkLst>
            <pc:docMk/>
            <pc:sldMk cId="3405907677" sldId="10449"/>
            <ac:spMk id="264" creationId="{8F73D28A-8F96-44B4-A55A-2FF4A5EAACBE}"/>
          </ac:spMkLst>
        </pc:spChg>
        <pc:spChg chg="mod">
          <ac:chgData name="Aude Van de WIELE" userId="7317e673-04dd-415c-a4d7-718682339b40" providerId="ADAL" clId="{80D4E734-020D-4C1F-A028-1B9E9B483F9A}" dt="2021-05-25T08:49:49.506" v="8227" actId="790"/>
          <ac:spMkLst>
            <pc:docMk/>
            <pc:sldMk cId="3405907677" sldId="10449"/>
            <ac:spMk id="265" creationId="{B01E651D-29D8-458D-9846-BBB17EBDBB5A}"/>
          </ac:spMkLst>
        </pc:spChg>
        <pc:spChg chg="mod">
          <ac:chgData name="Aude Van de WIELE" userId="7317e673-04dd-415c-a4d7-718682339b40" providerId="ADAL" clId="{80D4E734-020D-4C1F-A028-1B9E9B483F9A}" dt="2021-05-25T08:49:49.507" v="8228" actId="790"/>
          <ac:spMkLst>
            <pc:docMk/>
            <pc:sldMk cId="3405907677" sldId="10449"/>
            <ac:spMk id="267" creationId="{A530B267-B046-4BBA-8EF5-FD0E0828C497}"/>
          </ac:spMkLst>
        </pc:spChg>
        <pc:spChg chg="mod">
          <ac:chgData name="Aude Van de WIELE" userId="7317e673-04dd-415c-a4d7-718682339b40" providerId="ADAL" clId="{80D4E734-020D-4C1F-A028-1B9E9B483F9A}" dt="2021-05-25T08:49:49.508" v="8229" actId="790"/>
          <ac:spMkLst>
            <pc:docMk/>
            <pc:sldMk cId="3405907677" sldId="10449"/>
            <ac:spMk id="268" creationId="{8685786A-CA22-4DB0-8D7F-6481F4425A62}"/>
          </ac:spMkLst>
        </pc:spChg>
        <pc:spChg chg="mod">
          <ac:chgData name="Aude Van de WIELE" userId="7317e673-04dd-415c-a4d7-718682339b40" providerId="ADAL" clId="{80D4E734-020D-4C1F-A028-1B9E9B483F9A}" dt="2021-05-25T08:49:49.509" v="8230" actId="790"/>
          <ac:spMkLst>
            <pc:docMk/>
            <pc:sldMk cId="3405907677" sldId="10449"/>
            <ac:spMk id="269" creationId="{31A9CA3A-DDFC-46C6-A7FC-D9BBE435E2EB}"/>
          </ac:spMkLst>
        </pc:spChg>
        <pc:spChg chg="mod">
          <ac:chgData name="Aude Van de WIELE" userId="7317e673-04dd-415c-a4d7-718682339b40" providerId="ADAL" clId="{80D4E734-020D-4C1F-A028-1B9E9B483F9A}" dt="2021-05-25T08:49:49.510" v="8231" actId="790"/>
          <ac:spMkLst>
            <pc:docMk/>
            <pc:sldMk cId="3405907677" sldId="10449"/>
            <ac:spMk id="270" creationId="{DC8B482B-4D88-4447-B4DE-DDB4D4F1A338}"/>
          </ac:spMkLst>
        </pc:spChg>
        <pc:spChg chg="mod">
          <ac:chgData name="Aude Van de WIELE" userId="7317e673-04dd-415c-a4d7-718682339b40" providerId="ADAL" clId="{80D4E734-020D-4C1F-A028-1B9E9B483F9A}" dt="2021-05-25T08:49:49.511" v="8232" actId="790"/>
          <ac:spMkLst>
            <pc:docMk/>
            <pc:sldMk cId="3405907677" sldId="10449"/>
            <ac:spMk id="271" creationId="{62831129-55F7-40C5-AC04-164F509DA8A7}"/>
          </ac:spMkLst>
        </pc:spChg>
        <pc:spChg chg="mod">
          <ac:chgData name="Aude Van de WIELE" userId="7317e673-04dd-415c-a4d7-718682339b40" providerId="ADAL" clId="{80D4E734-020D-4C1F-A028-1B9E9B483F9A}" dt="2021-05-25T08:49:49.512" v="8233" actId="790"/>
          <ac:spMkLst>
            <pc:docMk/>
            <pc:sldMk cId="3405907677" sldId="10449"/>
            <ac:spMk id="273" creationId="{041A4FA2-3636-434E-86F3-C87D3FB17B7D}"/>
          </ac:spMkLst>
        </pc:spChg>
        <pc:spChg chg="mod">
          <ac:chgData name="Aude Van de WIELE" userId="7317e673-04dd-415c-a4d7-718682339b40" providerId="ADAL" clId="{80D4E734-020D-4C1F-A028-1B9E9B483F9A}" dt="2021-05-25T08:49:49.513" v="8234" actId="790"/>
          <ac:spMkLst>
            <pc:docMk/>
            <pc:sldMk cId="3405907677" sldId="10449"/>
            <ac:spMk id="274" creationId="{B785EA7D-9D34-460C-BD94-A86CCAB15E11}"/>
          </ac:spMkLst>
        </pc:spChg>
        <pc:spChg chg="mod">
          <ac:chgData name="Aude Van de WIELE" userId="7317e673-04dd-415c-a4d7-718682339b40" providerId="ADAL" clId="{80D4E734-020D-4C1F-A028-1B9E9B483F9A}" dt="2021-05-25T08:49:49.514" v="8235" actId="790"/>
          <ac:spMkLst>
            <pc:docMk/>
            <pc:sldMk cId="3405907677" sldId="10449"/>
            <ac:spMk id="275" creationId="{B85657CA-238C-4622-9010-E096EEB09D05}"/>
          </ac:spMkLst>
        </pc:spChg>
        <pc:spChg chg="mod">
          <ac:chgData name="Aude Van de WIELE" userId="7317e673-04dd-415c-a4d7-718682339b40" providerId="ADAL" clId="{80D4E734-020D-4C1F-A028-1B9E9B483F9A}" dt="2021-05-25T08:49:49.515" v="8236" actId="790"/>
          <ac:spMkLst>
            <pc:docMk/>
            <pc:sldMk cId="3405907677" sldId="10449"/>
            <ac:spMk id="276" creationId="{945690DA-9C53-4F37-A9CC-38C533297AE9}"/>
          </ac:spMkLst>
        </pc:spChg>
        <pc:spChg chg="mod">
          <ac:chgData name="Aude Van de WIELE" userId="7317e673-04dd-415c-a4d7-718682339b40" providerId="ADAL" clId="{80D4E734-020D-4C1F-A028-1B9E9B483F9A}" dt="2021-05-25T08:49:49.516" v="8237" actId="790"/>
          <ac:spMkLst>
            <pc:docMk/>
            <pc:sldMk cId="3405907677" sldId="10449"/>
            <ac:spMk id="277" creationId="{29A82E92-D2F5-428D-9182-460A2B8E27C3}"/>
          </ac:spMkLst>
        </pc:spChg>
        <pc:spChg chg="mod">
          <ac:chgData name="Aude Van de WIELE" userId="7317e673-04dd-415c-a4d7-718682339b40" providerId="ADAL" clId="{80D4E734-020D-4C1F-A028-1B9E9B483F9A}" dt="2021-05-25T08:49:49.516" v="8238" actId="790"/>
          <ac:spMkLst>
            <pc:docMk/>
            <pc:sldMk cId="3405907677" sldId="10449"/>
            <ac:spMk id="279" creationId="{E729ADE8-6313-435A-9351-E6D78D52080F}"/>
          </ac:spMkLst>
        </pc:spChg>
        <pc:spChg chg="mod">
          <ac:chgData name="Aude Van de WIELE" userId="7317e673-04dd-415c-a4d7-718682339b40" providerId="ADAL" clId="{80D4E734-020D-4C1F-A028-1B9E9B483F9A}" dt="2021-05-25T08:49:49.517" v="8239" actId="790"/>
          <ac:spMkLst>
            <pc:docMk/>
            <pc:sldMk cId="3405907677" sldId="10449"/>
            <ac:spMk id="280" creationId="{20D67F30-7BDF-43CB-B234-B922EFE2BC4C}"/>
          </ac:spMkLst>
        </pc:spChg>
        <pc:spChg chg="mod">
          <ac:chgData name="Aude Van de WIELE" userId="7317e673-04dd-415c-a4d7-718682339b40" providerId="ADAL" clId="{80D4E734-020D-4C1F-A028-1B9E9B483F9A}" dt="2021-05-25T08:49:49.441" v="8157" actId="790"/>
          <ac:spMkLst>
            <pc:docMk/>
            <pc:sldMk cId="3405907677" sldId="10449"/>
            <ac:spMk id="282" creationId="{9A3BB686-B99E-4F71-B428-DE8D1AE104AB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83" creationId="{D5958965-F487-477F-AC5D-E301F9C98F5C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84" creationId="{79B8AED8-86E0-47EF-A5DF-21380B992BB9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86" creationId="{BEFD37FC-1101-4DBE-8A18-40476D5D20B0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87" creationId="{2BBBBAAC-2283-4552-A7AE-9E69EDE10E06}"/>
          </ac:spMkLst>
        </pc:spChg>
        <pc:spChg chg="mod">
          <ac:chgData name="Aude Van de WIELE" userId="7317e673-04dd-415c-a4d7-718682339b40" providerId="ADAL" clId="{80D4E734-020D-4C1F-A028-1B9E9B483F9A}" dt="2021-05-25T08:49:49.518" v="8240" actId="790"/>
          <ac:spMkLst>
            <pc:docMk/>
            <pc:sldMk cId="3405907677" sldId="10449"/>
            <ac:spMk id="288" creationId="{C876106F-6AA9-41BF-B417-328016532DFA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89" creationId="{08FFC2AC-F2C1-4E9F-8966-4F86C52D4348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93" creationId="{617A7A8A-DF61-4D21-A457-8B0899095289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94" creationId="{C2F5995A-D732-4968-B25E-B7B65E43D48B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95" creationId="{ED22F590-D8D1-428D-826E-EE3A067F96A3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96" creationId="{00361E1D-A8D2-4D0A-AA96-0271BCF5E084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97" creationId="{77DC1682-4763-4F4E-8898-D304D40CEE88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98" creationId="{7F85B45B-4746-467D-A51B-2B59987A647B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299" creationId="{8EA1E97D-8D4C-45B3-B0ED-0309A53B6DBC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300" creationId="{B638FE26-EA5A-4C48-B32A-22345AB071AE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301" creationId="{89E4857A-7344-4991-94C0-6D8D83A8C52F}"/>
          </ac:spMkLst>
        </pc:spChg>
        <pc:spChg chg="del">
          <ac:chgData name="Aude Van de WIELE" userId="7317e673-04dd-415c-a4d7-718682339b40" providerId="ADAL" clId="{80D4E734-020D-4C1F-A028-1B9E9B483F9A}" dt="2021-05-24T14:02:46.632" v="4466" actId="478"/>
          <ac:spMkLst>
            <pc:docMk/>
            <pc:sldMk cId="3405907677" sldId="10449"/>
            <ac:spMk id="302" creationId="{34B0C0D9-C504-43C9-BA61-0E82CE469A32}"/>
          </ac:spMkLst>
        </pc:spChg>
        <pc:spChg chg="mod">
          <ac:chgData name="Aude Van de WIELE" userId="7317e673-04dd-415c-a4d7-718682339b40" providerId="ADAL" clId="{80D4E734-020D-4C1F-A028-1B9E9B483F9A}" dt="2021-05-25T08:49:49.519" v="8241" actId="790"/>
          <ac:spMkLst>
            <pc:docMk/>
            <pc:sldMk cId="3405907677" sldId="10449"/>
            <ac:spMk id="303" creationId="{39F148EA-4A80-4229-A365-10C0B966451A}"/>
          </ac:spMkLst>
        </pc:spChg>
        <pc:spChg chg="mod">
          <ac:chgData name="Aude Van de WIELE" userId="7317e673-04dd-415c-a4d7-718682339b40" providerId="ADAL" clId="{80D4E734-020D-4C1F-A028-1B9E9B483F9A}" dt="2021-05-25T08:49:49.520" v="8242" actId="790"/>
          <ac:spMkLst>
            <pc:docMk/>
            <pc:sldMk cId="3405907677" sldId="10449"/>
            <ac:spMk id="305" creationId="{20DE95CC-BDA4-494A-ADFD-6C41CA6D835C}"/>
          </ac:spMkLst>
        </pc:spChg>
        <pc:spChg chg="mod">
          <ac:chgData name="Aude Van de WIELE" userId="7317e673-04dd-415c-a4d7-718682339b40" providerId="ADAL" clId="{80D4E734-020D-4C1F-A028-1B9E9B483F9A}" dt="2021-05-25T08:49:49.521" v="8243" actId="790"/>
          <ac:spMkLst>
            <pc:docMk/>
            <pc:sldMk cId="3405907677" sldId="10449"/>
            <ac:spMk id="306" creationId="{829EC29E-FDD9-4623-BAD2-53716B007704}"/>
          </ac:spMkLst>
        </pc:spChg>
        <pc:spChg chg="mod">
          <ac:chgData name="Aude Van de WIELE" userId="7317e673-04dd-415c-a4d7-718682339b40" providerId="ADAL" clId="{80D4E734-020D-4C1F-A028-1B9E9B483F9A}" dt="2021-05-25T08:49:49.521" v="8244" actId="790"/>
          <ac:spMkLst>
            <pc:docMk/>
            <pc:sldMk cId="3405907677" sldId="10449"/>
            <ac:spMk id="308" creationId="{82FFD2AB-FAA1-4FF3-AE15-5D83432F3F47}"/>
          </ac:spMkLst>
        </pc:spChg>
        <pc:spChg chg="mod">
          <ac:chgData name="Aude Van de WIELE" userId="7317e673-04dd-415c-a4d7-718682339b40" providerId="ADAL" clId="{80D4E734-020D-4C1F-A028-1B9E9B483F9A}" dt="2021-05-25T08:49:49.454" v="8173" actId="790"/>
          <ac:spMkLst>
            <pc:docMk/>
            <pc:sldMk cId="3405907677" sldId="10449"/>
            <ac:spMk id="309" creationId="{6326AC09-FB2D-49D6-9A41-1BD99472263C}"/>
          </ac:spMkLst>
        </pc:spChg>
        <pc:spChg chg="mod">
          <ac:chgData name="Aude Van de WIELE" userId="7317e673-04dd-415c-a4d7-718682339b40" providerId="ADAL" clId="{80D4E734-020D-4C1F-A028-1B9E9B483F9A}" dt="2021-05-25T08:49:49.455" v="8174" actId="790"/>
          <ac:spMkLst>
            <pc:docMk/>
            <pc:sldMk cId="3405907677" sldId="10449"/>
            <ac:spMk id="310" creationId="{3FC58E51-6775-4127-B48F-5ABF3ED0F0B6}"/>
          </ac:spMkLst>
        </pc:spChg>
        <pc:spChg chg="mod">
          <ac:chgData name="Aude Van de WIELE" userId="7317e673-04dd-415c-a4d7-718682339b40" providerId="ADAL" clId="{80D4E734-020D-4C1F-A028-1B9E9B483F9A}" dt="2021-05-25T08:49:49.456" v="8175" actId="790"/>
          <ac:spMkLst>
            <pc:docMk/>
            <pc:sldMk cId="3405907677" sldId="10449"/>
            <ac:spMk id="311" creationId="{1BB45DCF-F95E-4B08-AB01-307F72D17446}"/>
          </ac:spMkLst>
        </pc:spChg>
        <pc:spChg chg="mod">
          <ac:chgData name="Aude Van de WIELE" userId="7317e673-04dd-415c-a4d7-718682339b40" providerId="ADAL" clId="{80D4E734-020D-4C1F-A028-1B9E9B483F9A}" dt="2021-05-25T08:49:49.456" v="8176" actId="790"/>
          <ac:spMkLst>
            <pc:docMk/>
            <pc:sldMk cId="3405907677" sldId="10449"/>
            <ac:spMk id="312" creationId="{DBCFB3BC-7F78-47EC-93C4-C909CB2A6241}"/>
          </ac:spMkLst>
        </pc:spChg>
        <pc:spChg chg="mod">
          <ac:chgData name="Aude Van de WIELE" userId="7317e673-04dd-415c-a4d7-718682339b40" providerId="ADAL" clId="{80D4E734-020D-4C1F-A028-1B9E9B483F9A}" dt="2021-05-25T08:49:49.522" v="8245" actId="790"/>
          <ac:spMkLst>
            <pc:docMk/>
            <pc:sldMk cId="3405907677" sldId="10449"/>
            <ac:spMk id="313" creationId="{5AFED507-3962-4E30-9626-587754FD972D}"/>
          </ac:spMkLst>
        </pc:spChg>
        <pc:spChg chg="mod">
          <ac:chgData name="Aude Van de WIELE" userId="7317e673-04dd-415c-a4d7-718682339b40" providerId="ADAL" clId="{80D4E734-020D-4C1F-A028-1B9E9B483F9A}" dt="2021-05-25T08:49:49.523" v="8246" actId="790"/>
          <ac:spMkLst>
            <pc:docMk/>
            <pc:sldMk cId="3405907677" sldId="10449"/>
            <ac:spMk id="314" creationId="{95056B63-DFF5-4F9C-9A19-4524DB0B663F}"/>
          </ac:spMkLst>
        </pc:spChg>
        <pc:spChg chg="mod">
          <ac:chgData name="Aude Van de WIELE" userId="7317e673-04dd-415c-a4d7-718682339b40" providerId="ADAL" clId="{80D4E734-020D-4C1F-A028-1B9E9B483F9A}" dt="2021-05-25T08:49:49.467" v="8188" actId="790"/>
          <ac:spMkLst>
            <pc:docMk/>
            <pc:sldMk cId="3405907677" sldId="10449"/>
            <ac:spMk id="315" creationId="{B86ACEAE-279E-4464-B0F1-1E4FB796DFDE}"/>
          </ac:spMkLst>
        </pc:spChg>
        <pc:spChg chg="mod">
          <ac:chgData name="Aude Van de WIELE" userId="7317e673-04dd-415c-a4d7-718682339b40" providerId="ADAL" clId="{80D4E734-020D-4C1F-A028-1B9E9B483F9A}" dt="2021-05-25T08:49:49.468" v="8189" actId="790"/>
          <ac:spMkLst>
            <pc:docMk/>
            <pc:sldMk cId="3405907677" sldId="10449"/>
            <ac:spMk id="316" creationId="{5094EB3A-CC95-48C9-973F-C760B1D22377}"/>
          </ac:spMkLst>
        </pc:spChg>
        <pc:spChg chg="mod">
          <ac:chgData name="Aude Van de WIELE" userId="7317e673-04dd-415c-a4d7-718682339b40" providerId="ADAL" clId="{80D4E734-020D-4C1F-A028-1B9E9B483F9A}" dt="2021-05-25T08:49:49.468" v="8190" actId="790"/>
          <ac:spMkLst>
            <pc:docMk/>
            <pc:sldMk cId="3405907677" sldId="10449"/>
            <ac:spMk id="317" creationId="{28F06F48-8434-46C1-8D21-2FC449B9E820}"/>
          </ac:spMkLst>
        </pc:spChg>
        <pc:spChg chg="mod">
          <ac:chgData name="Aude Van de WIELE" userId="7317e673-04dd-415c-a4d7-718682339b40" providerId="ADAL" clId="{80D4E734-020D-4C1F-A028-1B9E9B483F9A}" dt="2021-05-25T08:49:49.469" v="8191" actId="790"/>
          <ac:spMkLst>
            <pc:docMk/>
            <pc:sldMk cId="3405907677" sldId="10449"/>
            <ac:spMk id="318" creationId="{787C0A04-9899-45CE-9A1A-3EFD61E0AC8A}"/>
          </ac:spMkLst>
        </pc:spChg>
        <pc:spChg chg="mod">
          <ac:chgData name="Aude Van de WIELE" userId="7317e673-04dd-415c-a4d7-718682339b40" providerId="ADAL" clId="{80D4E734-020D-4C1F-A028-1B9E9B483F9A}" dt="2021-05-25T08:49:49.470" v="8192" actId="790"/>
          <ac:spMkLst>
            <pc:docMk/>
            <pc:sldMk cId="3405907677" sldId="10449"/>
            <ac:spMk id="319" creationId="{DF1B2BCA-D17E-4D59-BDC5-0C42B763FA55}"/>
          </ac:spMkLst>
        </pc:spChg>
        <pc:spChg chg="mod">
          <ac:chgData name="Aude Van de WIELE" userId="7317e673-04dd-415c-a4d7-718682339b40" providerId="ADAL" clId="{80D4E734-020D-4C1F-A028-1B9E9B483F9A}" dt="2021-05-25T08:49:49.470" v="8193" actId="790"/>
          <ac:spMkLst>
            <pc:docMk/>
            <pc:sldMk cId="3405907677" sldId="10449"/>
            <ac:spMk id="320" creationId="{71E3C298-CA74-4D82-A078-25A5451AEC25}"/>
          </ac:spMkLst>
        </pc:spChg>
        <pc:spChg chg="mod topLvl">
          <ac:chgData name="Aude Van de WIELE" userId="7317e673-04dd-415c-a4d7-718682339b40" providerId="ADAL" clId="{80D4E734-020D-4C1F-A028-1B9E9B483F9A}" dt="2021-05-25T08:49:49.488" v="8207" actId="790"/>
          <ac:spMkLst>
            <pc:docMk/>
            <pc:sldMk cId="3405907677" sldId="10449"/>
            <ac:spMk id="321" creationId="{61F25FAD-8ADD-40CA-906E-E3BBF7CB8A72}"/>
          </ac:spMkLst>
        </pc:spChg>
        <pc:spChg chg="mod topLvl">
          <ac:chgData name="Aude Van de WIELE" userId="7317e673-04dd-415c-a4d7-718682339b40" providerId="ADAL" clId="{80D4E734-020D-4C1F-A028-1B9E9B483F9A}" dt="2021-05-25T08:49:49.489" v="8208" actId="790"/>
          <ac:spMkLst>
            <pc:docMk/>
            <pc:sldMk cId="3405907677" sldId="10449"/>
            <ac:spMk id="322" creationId="{AC26A4A3-DEBA-4717-A686-5C1FA8FBDA57}"/>
          </ac:spMkLst>
        </pc:spChg>
        <pc:spChg chg="mod topLvl">
          <ac:chgData name="Aude Van de WIELE" userId="7317e673-04dd-415c-a4d7-718682339b40" providerId="ADAL" clId="{80D4E734-020D-4C1F-A028-1B9E9B483F9A}" dt="2021-05-25T08:49:49.490" v="8209" actId="790"/>
          <ac:spMkLst>
            <pc:docMk/>
            <pc:sldMk cId="3405907677" sldId="10449"/>
            <ac:spMk id="323" creationId="{9B6F7FFE-7063-4A6A-A04E-C4AE43A36CB9}"/>
          </ac:spMkLst>
        </pc:spChg>
        <pc:spChg chg="mod topLvl">
          <ac:chgData name="Aude Van de WIELE" userId="7317e673-04dd-415c-a4d7-718682339b40" providerId="ADAL" clId="{80D4E734-020D-4C1F-A028-1B9E9B483F9A}" dt="2021-05-25T08:49:49.491" v="8210" actId="790"/>
          <ac:spMkLst>
            <pc:docMk/>
            <pc:sldMk cId="3405907677" sldId="10449"/>
            <ac:spMk id="324" creationId="{94F0003E-7749-460A-A9F7-A3FF0DAB91E5}"/>
          </ac:spMkLst>
        </pc:spChg>
        <pc:spChg chg="mod">
          <ac:chgData name="Aude Van de WIELE" userId="7317e673-04dd-415c-a4d7-718682339b40" providerId="ADAL" clId="{80D4E734-020D-4C1F-A028-1B9E9B483F9A}" dt="2021-05-25T08:49:49.524" v="8247" actId="790"/>
          <ac:spMkLst>
            <pc:docMk/>
            <pc:sldMk cId="3405907677" sldId="10449"/>
            <ac:spMk id="325" creationId="{BF126D74-5C8D-42DD-86B4-10C27C741F1E}"/>
          </ac:spMkLst>
        </pc:spChg>
        <pc:spChg chg="mod">
          <ac:chgData name="Aude Van de WIELE" userId="7317e673-04dd-415c-a4d7-718682339b40" providerId="ADAL" clId="{80D4E734-020D-4C1F-A028-1B9E9B483F9A}" dt="2021-05-25T08:49:49.525" v="8248" actId="790"/>
          <ac:spMkLst>
            <pc:docMk/>
            <pc:sldMk cId="3405907677" sldId="10449"/>
            <ac:spMk id="326" creationId="{919EEE06-0C44-4F8F-8E35-AA4842899679}"/>
          </ac:spMkLst>
        </pc:spChg>
        <pc:spChg chg="mod">
          <ac:chgData name="Aude Van de WIELE" userId="7317e673-04dd-415c-a4d7-718682339b40" providerId="ADAL" clId="{80D4E734-020D-4C1F-A028-1B9E9B483F9A}" dt="2021-05-25T08:49:49.473" v="8194" actId="790"/>
          <ac:spMkLst>
            <pc:docMk/>
            <pc:sldMk cId="3405907677" sldId="10449"/>
            <ac:spMk id="365" creationId="{022F56B6-6CA0-428C-A1FD-15AD176ACAB3}"/>
          </ac:spMkLst>
        </pc:spChg>
        <pc:spChg chg="del mod">
          <ac:chgData name="Aude Van de WIELE" userId="7317e673-04dd-415c-a4d7-718682339b40" providerId="ADAL" clId="{80D4E734-020D-4C1F-A028-1B9E9B483F9A}" dt="2021-05-24T14:04:52.792" v="4510" actId="478"/>
          <ac:spMkLst>
            <pc:docMk/>
            <pc:sldMk cId="3405907677" sldId="10449"/>
            <ac:spMk id="367" creationId="{18B703CC-5712-4015-BEEE-38C6EB1064FF}"/>
          </ac:spMkLst>
        </pc:spChg>
        <pc:spChg chg="mod">
          <ac:chgData name="Aude Van de WIELE" userId="7317e673-04dd-415c-a4d7-718682339b40" providerId="ADAL" clId="{80D4E734-020D-4C1F-A028-1B9E9B483F9A}" dt="2021-05-25T08:49:49.476" v="8195" actId="790"/>
          <ac:spMkLst>
            <pc:docMk/>
            <pc:sldMk cId="3405907677" sldId="10449"/>
            <ac:spMk id="368" creationId="{9C6C47F8-E4C9-45FE-82BC-DEC6B210DFA0}"/>
          </ac:spMkLst>
        </pc:spChg>
        <pc:spChg chg="mod">
          <ac:chgData name="Aude Van de WIELE" userId="7317e673-04dd-415c-a4d7-718682339b40" providerId="ADAL" clId="{80D4E734-020D-4C1F-A028-1B9E9B483F9A}" dt="2021-05-25T08:49:49.478" v="8196" actId="790"/>
          <ac:spMkLst>
            <pc:docMk/>
            <pc:sldMk cId="3405907677" sldId="10449"/>
            <ac:spMk id="391" creationId="{1999737A-7803-4DC2-98FF-CAFCE5F2598A}"/>
          </ac:spMkLst>
        </pc:spChg>
        <pc:spChg chg="mod">
          <ac:chgData name="Aude Van de WIELE" userId="7317e673-04dd-415c-a4d7-718682339b40" providerId="ADAL" clId="{80D4E734-020D-4C1F-A028-1B9E9B483F9A}" dt="2021-05-25T08:49:49.479" v="8197" actId="790"/>
          <ac:spMkLst>
            <pc:docMk/>
            <pc:sldMk cId="3405907677" sldId="10449"/>
            <ac:spMk id="392" creationId="{598A130F-C4B7-434F-8605-446749819923}"/>
          </ac:spMkLst>
        </pc:spChg>
        <pc:spChg chg="mod">
          <ac:chgData name="Aude Van de WIELE" userId="7317e673-04dd-415c-a4d7-718682339b40" providerId="ADAL" clId="{80D4E734-020D-4C1F-A028-1B9E9B483F9A}" dt="2021-05-25T08:49:49.480" v="8198" actId="790"/>
          <ac:spMkLst>
            <pc:docMk/>
            <pc:sldMk cId="3405907677" sldId="10449"/>
            <ac:spMk id="398" creationId="{DB737A02-47A9-4110-AD8F-5EBC15C8C563}"/>
          </ac:spMkLst>
        </pc:spChg>
        <pc:spChg chg="mod">
          <ac:chgData name="Aude Van de WIELE" userId="7317e673-04dd-415c-a4d7-718682339b40" providerId="ADAL" clId="{80D4E734-020D-4C1F-A028-1B9E9B483F9A}" dt="2021-05-25T08:49:49.480" v="8199" actId="790"/>
          <ac:spMkLst>
            <pc:docMk/>
            <pc:sldMk cId="3405907677" sldId="10449"/>
            <ac:spMk id="420" creationId="{E758489A-B83E-492E-B5E7-1CC796CC11FC}"/>
          </ac:spMkLst>
        </pc:spChg>
        <pc:spChg chg="mod">
          <ac:chgData name="Aude Van de WIELE" userId="7317e673-04dd-415c-a4d7-718682339b40" providerId="ADAL" clId="{80D4E734-020D-4C1F-A028-1B9E9B483F9A}" dt="2021-05-25T08:49:49.482" v="8200" actId="790"/>
          <ac:spMkLst>
            <pc:docMk/>
            <pc:sldMk cId="3405907677" sldId="10449"/>
            <ac:spMk id="421" creationId="{B5C1707A-482D-47FA-B168-1782C921FE2A}"/>
          </ac:spMkLst>
        </pc:spChg>
        <pc:spChg chg="mod topLvl">
          <ac:chgData name="Aude Van de WIELE" userId="7317e673-04dd-415c-a4d7-718682339b40" providerId="ADAL" clId="{80D4E734-020D-4C1F-A028-1B9E9B483F9A}" dt="2021-05-25T08:49:49.491" v="8211" actId="790"/>
          <ac:spMkLst>
            <pc:docMk/>
            <pc:sldMk cId="3405907677" sldId="10449"/>
            <ac:spMk id="429" creationId="{A6A4A3DA-94B6-42FD-9F6F-035B520E187C}"/>
          </ac:spMkLst>
        </pc:spChg>
        <pc:spChg chg="mod">
          <ac:chgData name="Aude Van de WIELE" userId="7317e673-04dd-415c-a4d7-718682339b40" providerId="ADAL" clId="{80D4E734-020D-4C1F-A028-1B9E9B483F9A}" dt="2021-05-25T08:49:49.457" v="8177" actId="790"/>
          <ac:spMkLst>
            <pc:docMk/>
            <pc:sldMk cId="3405907677" sldId="10449"/>
            <ac:spMk id="430" creationId="{191E158E-C1A2-48A8-BC15-B7A4CBB9C67F}"/>
          </ac:spMkLst>
        </pc:spChg>
        <pc:spChg chg="mod topLvl">
          <ac:chgData name="Aude Van de WIELE" userId="7317e673-04dd-415c-a4d7-718682339b40" providerId="ADAL" clId="{80D4E734-020D-4C1F-A028-1B9E9B483F9A}" dt="2021-05-25T08:49:49.492" v="8212" actId="790"/>
          <ac:spMkLst>
            <pc:docMk/>
            <pc:sldMk cId="3405907677" sldId="10449"/>
            <ac:spMk id="431" creationId="{9F2EE954-13E2-43A5-BEF9-E8AFAC5ACDFE}"/>
          </ac:spMkLst>
        </pc:spChg>
        <pc:spChg chg="mod">
          <ac:chgData name="Aude Van de WIELE" userId="7317e673-04dd-415c-a4d7-718682339b40" providerId="ADAL" clId="{80D4E734-020D-4C1F-A028-1B9E9B483F9A}" dt="2021-05-25T08:49:49.493" v="8213" actId="790"/>
          <ac:spMkLst>
            <pc:docMk/>
            <pc:sldMk cId="3405907677" sldId="10449"/>
            <ac:spMk id="433" creationId="{D3C91C66-3ADF-4EB9-8900-EF3E74E554CF}"/>
          </ac:spMkLst>
        </pc:spChg>
        <pc:spChg chg="mod">
          <ac:chgData name="Aude Van de WIELE" userId="7317e673-04dd-415c-a4d7-718682339b40" providerId="ADAL" clId="{80D4E734-020D-4C1F-A028-1B9E9B483F9A}" dt="2021-05-25T08:49:49.494" v="8214" actId="790"/>
          <ac:spMkLst>
            <pc:docMk/>
            <pc:sldMk cId="3405907677" sldId="10449"/>
            <ac:spMk id="434" creationId="{7F9A7766-BCA7-4A19-AC45-1019C0EB77E6}"/>
          </ac:spMkLst>
        </pc:spChg>
        <pc:spChg chg="mod topLvl">
          <ac:chgData name="Aude Van de WIELE" userId="7317e673-04dd-415c-a4d7-718682339b40" providerId="ADAL" clId="{80D4E734-020D-4C1F-A028-1B9E9B483F9A}" dt="2021-05-25T08:49:49.483" v="8201" actId="790"/>
          <ac:spMkLst>
            <pc:docMk/>
            <pc:sldMk cId="3405907677" sldId="10449"/>
            <ac:spMk id="460" creationId="{31CDE07A-A1FC-4955-B7A7-BD78D1E3566B}"/>
          </ac:spMkLst>
        </pc:spChg>
        <pc:spChg chg="mod">
          <ac:chgData name="Aude Van de WIELE" userId="7317e673-04dd-415c-a4d7-718682339b40" providerId="ADAL" clId="{80D4E734-020D-4C1F-A028-1B9E9B483F9A}" dt="2021-05-25T08:49:49.443" v="8160" actId="790"/>
          <ac:spMkLst>
            <pc:docMk/>
            <pc:sldMk cId="3405907677" sldId="10449"/>
            <ac:spMk id="468" creationId="{3DBC210C-F1CF-4B2A-9D46-4F8687949454}"/>
          </ac:spMkLst>
        </pc:spChg>
        <pc:spChg chg="mod">
          <ac:chgData name="Aude Van de WIELE" userId="7317e673-04dd-415c-a4d7-718682339b40" providerId="ADAL" clId="{80D4E734-020D-4C1F-A028-1B9E9B483F9A}" dt="2021-05-25T08:49:49.445" v="8161" actId="790"/>
          <ac:spMkLst>
            <pc:docMk/>
            <pc:sldMk cId="3405907677" sldId="10449"/>
            <ac:spMk id="471" creationId="{4D823A75-B35B-4C54-B6BB-830191E50981}"/>
          </ac:spMkLst>
        </pc:spChg>
        <pc:spChg chg="mod">
          <ac:chgData name="Aude Van de WIELE" userId="7317e673-04dd-415c-a4d7-718682339b40" providerId="ADAL" clId="{80D4E734-020D-4C1F-A028-1B9E9B483F9A}" dt="2021-05-25T08:49:49.446" v="8162" actId="790"/>
          <ac:spMkLst>
            <pc:docMk/>
            <pc:sldMk cId="3405907677" sldId="10449"/>
            <ac:spMk id="507" creationId="{895380CE-A7E7-45AB-8442-D668F5697CC3}"/>
          </ac:spMkLst>
        </pc:spChg>
        <pc:spChg chg="mod">
          <ac:chgData name="Aude Van de WIELE" userId="7317e673-04dd-415c-a4d7-718682339b40" providerId="ADAL" clId="{80D4E734-020D-4C1F-A028-1B9E9B483F9A}" dt="2021-05-25T08:49:49.446" v="8163" actId="790"/>
          <ac:spMkLst>
            <pc:docMk/>
            <pc:sldMk cId="3405907677" sldId="10449"/>
            <ac:spMk id="520" creationId="{D1C985CF-D0AA-4ACF-A173-830EFD756774}"/>
          </ac:spMkLst>
        </pc:spChg>
        <pc:spChg chg="mod">
          <ac:chgData name="Aude Van de WIELE" userId="7317e673-04dd-415c-a4d7-718682339b40" providerId="ADAL" clId="{80D4E734-020D-4C1F-A028-1B9E9B483F9A}" dt="2021-05-25T08:49:49.442" v="8158" actId="790"/>
          <ac:spMkLst>
            <pc:docMk/>
            <pc:sldMk cId="3405907677" sldId="10449"/>
            <ac:spMk id="524" creationId="{9DA0C13D-FDE2-432F-842A-8FDF5BC8E38A}"/>
          </ac:spMkLst>
        </pc:spChg>
        <pc:spChg chg="mod">
          <ac:chgData name="Aude Van de WIELE" userId="7317e673-04dd-415c-a4d7-718682339b40" providerId="ADAL" clId="{80D4E734-020D-4C1F-A028-1B9E9B483F9A}" dt="2021-05-25T08:49:49.443" v="8159" actId="790"/>
          <ac:spMkLst>
            <pc:docMk/>
            <pc:sldMk cId="3405907677" sldId="10449"/>
            <ac:spMk id="526" creationId="{1E61C816-480E-4818-B936-DD577AC6BF1D}"/>
          </ac:spMkLst>
        </pc:spChg>
        <pc:spChg chg="mod">
          <ac:chgData name="Aude Van de WIELE" userId="7317e673-04dd-415c-a4d7-718682339b40" providerId="ADAL" clId="{80D4E734-020D-4C1F-A028-1B9E9B483F9A}" dt="2021-05-25T08:49:49.447" v="8164" actId="790"/>
          <ac:spMkLst>
            <pc:docMk/>
            <pc:sldMk cId="3405907677" sldId="10449"/>
            <ac:spMk id="561" creationId="{01A2DBAA-4474-458E-BDEF-E340E8995855}"/>
          </ac:spMkLst>
        </pc:spChg>
        <pc:spChg chg="mod">
          <ac:chgData name="Aude Van de WIELE" userId="7317e673-04dd-415c-a4d7-718682339b40" providerId="ADAL" clId="{80D4E734-020D-4C1F-A028-1B9E9B483F9A}" dt="2021-05-25T08:49:49.448" v="8165" actId="790"/>
          <ac:spMkLst>
            <pc:docMk/>
            <pc:sldMk cId="3405907677" sldId="10449"/>
            <ac:spMk id="562" creationId="{A2D6A696-51A5-4993-9FD5-8FFC3593925F}"/>
          </ac:spMkLst>
        </pc:spChg>
        <pc:spChg chg="mod">
          <ac:chgData name="Aude Van de WIELE" userId="7317e673-04dd-415c-a4d7-718682339b40" providerId="ADAL" clId="{80D4E734-020D-4C1F-A028-1B9E9B483F9A}" dt="2021-05-25T08:49:49.448" v="8166" actId="790"/>
          <ac:spMkLst>
            <pc:docMk/>
            <pc:sldMk cId="3405907677" sldId="10449"/>
            <ac:spMk id="563" creationId="{194B8928-FB65-4150-B5CC-395DC7F4EF82}"/>
          </ac:spMkLst>
        </pc:spChg>
        <pc:spChg chg="mod">
          <ac:chgData name="Aude Van de WIELE" userId="7317e673-04dd-415c-a4d7-718682339b40" providerId="ADAL" clId="{80D4E734-020D-4C1F-A028-1B9E9B483F9A}" dt="2021-05-25T08:49:49.449" v="8167" actId="790"/>
          <ac:spMkLst>
            <pc:docMk/>
            <pc:sldMk cId="3405907677" sldId="10449"/>
            <ac:spMk id="564" creationId="{A6547FC9-EA78-4953-999B-6D8A1C03D5D9}"/>
          </ac:spMkLst>
        </pc:spChg>
        <pc:spChg chg="mod">
          <ac:chgData name="Aude Van de WIELE" userId="7317e673-04dd-415c-a4d7-718682339b40" providerId="ADAL" clId="{80D4E734-020D-4C1F-A028-1B9E9B483F9A}" dt="2021-05-25T08:49:49.451" v="8168" actId="790"/>
          <ac:spMkLst>
            <pc:docMk/>
            <pc:sldMk cId="3405907677" sldId="10449"/>
            <ac:spMk id="566" creationId="{5034B735-5470-44C8-9214-2F36EE84557A}"/>
          </ac:spMkLst>
        </pc:spChg>
        <pc:spChg chg="mod">
          <ac:chgData name="Aude Van de WIELE" userId="7317e673-04dd-415c-a4d7-718682339b40" providerId="ADAL" clId="{80D4E734-020D-4C1F-A028-1B9E9B483F9A}" dt="2021-05-25T08:49:49.452" v="8169" actId="790"/>
          <ac:spMkLst>
            <pc:docMk/>
            <pc:sldMk cId="3405907677" sldId="10449"/>
            <ac:spMk id="567" creationId="{7A7AC5FD-4972-4698-9C29-EBE0BC229D2C}"/>
          </ac:spMkLst>
        </pc:spChg>
        <pc:spChg chg="mod">
          <ac:chgData name="Aude Van de WIELE" userId="7317e673-04dd-415c-a4d7-718682339b40" providerId="ADAL" clId="{80D4E734-020D-4C1F-A028-1B9E9B483F9A}" dt="2021-05-25T08:49:49.452" v="8170" actId="790"/>
          <ac:spMkLst>
            <pc:docMk/>
            <pc:sldMk cId="3405907677" sldId="10449"/>
            <ac:spMk id="568" creationId="{1BB99FC1-A755-41C4-A5B0-42BF784157D7}"/>
          </ac:spMkLst>
        </pc:spChg>
        <pc:spChg chg="mod">
          <ac:chgData name="Aude Van de WIELE" userId="7317e673-04dd-415c-a4d7-718682339b40" providerId="ADAL" clId="{80D4E734-020D-4C1F-A028-1B9E9B483F9A}" dt="2021-05-25T08:49:49.453" v="8171" actId="790"/>
          <ac:spMkLst>
            <pc:docMk/>
            <pc:sldMk cId="3405907677" sldId="10449"/>
            <ac:spMk id="569" creationId="{03B48CD2-8D5F-467F-95E5-9374434808F1}"/>
          </ac:spMkLst>
        </pc:spChg>
        <pc:spChg chg="mod">
          <ac:chgData name="Aude Van de WIELE" userId="7317e673-04dd-415c-a4d7-718682339b40" providerId="ADAL" clId="{80D4E734-020D-4C1F-A028-1B9E9B483F9A}" dt="2021-05-25T08:49:49.454" v="8172" actId="790"/>
          <ac:spMkLst>
            <pc:docMk/>
            <pc:sldMk cId="3405907677" sldId="10449"/>
            <ac:spMk id="570" creationId="{A6FC9F8E-9407-4068-9614-2C9B33825B85}"/>
          </ac:spMkLst>
        </pc:spChg>
        <pc:grpChg chg="add mod">
          <ac:chgData name="Aude Van de WIELE" userId="7317e673-04dd-415c-a4d7-718682339b40" providerId="ADAL" clId="{80D4E734-020D-4C1F-A028-1B9E9B483F9A}" dt="2021-05-24T14:02:35.972" v="4462" actId="1076"/>
          <ac:grpSpMkLst>
            <pc:docMk/>
            <pc:sldMk cId="3405907677" sldId="10449"/>
            <ac:grpSpMk id="6" creationId="{60BF8914-758B-4B40-A066-E35EE4061B3A}"/>
          </ac:grpSpMkLst>
        </pc:grpChg>
        <pc:grpChg chg="add del mod">
          <ac:chgData name="Aude Van de WIELE" userId="7317e673-04dd-415c-a4d7-718682339b40" providerId="ADAL" clId="{80D4E734-020D-4C1F-A028-1B9E9B483F9A}" dt="2021-05-24T14:03:58.447" v="4476" actId="165"/>
          <ac:grpSpMkLst>
            <pc:docMk/>
            <pc:sldMk cId="3405907677" sldId="10449"/>
            <ac:grpSpMk id="8" creationId="{7F2979F2-5C9A-45BB-98ED-00B677B6D329}"/>
          </ac:grpSpMkLst>
        </pc:grpChg>
        <pc:grpChg chg="add del mod">
          <ac:chgData name="Aude Van de WIELE" userId="7317e673-04dd-415c-a4d7-718682339b40" providerId="ADAL" clId="{80D4E734-020D-4C1F-A028-1B9E9B483F9A}" dt="2021-05-24T14:04:01.020" v="4478" actId="165"/>
          <ac:grpSpMkLst>
            <pc:docMk/>
            <pc:sldMk cId="3405907677" sldId="10449"/>
            <ac:grpSpMk id="9" creationId="{1659840D-35C3-4768-A602-88D68D6B68F2}"/>
          </ac:grpSpMkLst>
        </pc:grpChg>
        <pc:grpChg chg="mod">
          <ac:chgData name="Aude Van de WIELE" userId="7317e673-04dd-415c-a4d7-718682339b40" providerId="ADAL" clId="{80D4E734-020D-4C1F-A028-1B9E9B483F9A}" dt="2021-05-24T14:02:21.605" v="4459"/>
          <ac:grpSpMkLst>
            <pc:docMk/>
            <pc:sldMk cId="3405907677" sldId="10449"/>
            <ac:grpSpMk id="20" creationId="{EEDD68B7-3C55-4C5A-ACA4-CEF8C8DB40FB}"/>
          </ac:grpSpMkLst>
        </pc:grpChg>
        <pc:grpChg chg="mod">
          <ac:chgData name="Aude Van de WIELE" userId="7317e673-04dd-415c-a4d7-718682339b40" providerId="ADAL" clId="{80D4E734-020D-4C1F-A028-1B9E9B483F9A}" dt="2021-05-24T14:02:21.605" v="4459"/>
          <ac:grpSpMkLst>
            <pc:docMk/>
            <pc:sldMk cId="3405907677" sldId="10449"/>
            <ac:grpSpMk id="237" creationId="{5AFC4B85-6D44-4A21-AD0E-CE425F7FC2D8}"/>
          </ac:grpSpMkLst>
        </pc:grpChg>
        <pc:grpChg chg="mod topLvl">
          <ac:chgData name="Aude Van de WIELE" userId="7317e673-04dd-415c-a4d7-718682339b40" providerId="ADAL" clId="{80D4E734-020D-4C1F-A028-1B9E9B483F9A}" dt="2021-05-24T14:04:01.020" v="4478" actId="165"/>
          <ac:grpSpMkLst>
            <pc:docMk/>
            <pc:sldMk cId="3405907677" sldId="10449"/>
            <ac:grpSpMk id="256" creationId="{6C491605-1374-44A6-962C-757201A07AB7}"/>
          </ac:grpSpMkLst>
        </pc:grpChg>
        <pc:grpChg chg="mod">
          <ac:chgData name="Aude Van de WIELE" userId="7317e673-04dd-415c-a4d7-718682339b40" providerId="ADAL" clId="{80D4E734-020D-4C1F-A028-1B9E9B483F9A}" dt="2021-05-24T14:03:30.534" v="4471" actId="1076"/>
          <ac:grpSpMkLst>
            <pc:docMk/>
            <pc:sldMk cId="3405907677" sldId="10449"/>
            <ac:grpSpMk id="281" creationId="{F0CBD068-26BA-4C67-A967-372AD8C5EA9A}"/>
          </ac:grpSpMkLst>
        </pc:grpChg>
        <pc:grpChg chg="mod topLvl">
          <ac:chgData name="Aude Van de WIELE" userId="7317e673-04dd-415c-a4d7-718682339b40" providerId="ADAL" clId="{80D4E734-020D-4C1F-A028-1B9E9B483F9A}" dt="2021-05-24T14:04:01.020" v="4478" actId="165"/>
          <ac:grpSpMkLst>
            <pc:docMk/>
            <pc:sldMk cId="3405907677" sldId="10449"/>
            <ac:grpSpMk id="290" creationId="{2A338FC5-71AD-4980-AC49-EA087AAC0759}"/>
          </ac:grpSpMkLst>
        </pc:grpChg>
        <pc:grpChg chg="mod">
          <ac:chgData name="Aude Van de WIELE" userId="7317e673-04dd-415c-a4d7-718682339b40" providerId="ADAL" clId="{80D4E734-020D-4C1F-A028-1B9E9B483F9A}" dt="2021-05-24T14:03:30.534" v="4471" actId="1076"/>
          <ac:grpSpMkLst>
            <pc:docMk/>
            <pc:sldMk cId="3405907677" sldId="10449"/>
            <ac:grpSpMk id="304" creationId="{BB96BA8B-050A-4A59-A44D-1872DB99CBE6}"/>
          </ac:grpSpMkLst>
        </pc:grpChg>
        <pc:grpChg chg="mod">
          <ac:chgData name="Aude Van de WIELE" userId="7317e673-04dd-415c-a4d7-718682339b40" providerId="ADAL" clId="{80D4E734-020D-4C1F-A028-1B9E9B483F9A}" dt="2021-05-24T14:03:30.534" v="4471" actId="1076"/>
          <ac:grpSpMkLst>
            <pc:docMk/>
            <pc:sldMk cId="3405907677" sldId="10449"/>
            <ac:grpSpMk id="467" creationId="{B8F621C5-F11F-4C0D-B1ED-DA06D9FDEFC6}"/>
          </ac:grpSpMkLst>
        </pc:grpChg>
        <pc:grpChg chg="mod">
          <ac:chgData name="Aude Van de WIELE" userId="7317e673-04dd-415c-a4d7-718682339b40" providerId="ADAL" clId="{80D4E734-020D-4C1F-A028-1B9E9B483F9A}" dt="2021-05-24T14:02:42.363" v="4465" actId="1076"/>
          <ac:grpSpMkLst>
            <pc:docMk/>
            <pc:sldMk cId="3405907677" sldId="10449"/>
            <ac:grpSpMk id="560" creationId="{F1E1B40D-9CBA-42F6-8F4B-B9256895D836}"/>
          </ac:grpSpMkLst>
        </pc:grp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232" creationId="{43D7B248-14C6-443B-AD22-D0A32197F058}"/>
          </ac:picMkLst>
        </pc:pic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247" creationId="{B6F5F21A-BD76-4872-9862-BE87A2783523}"/>
          </ac:picMkLst>
        </pc:picChg>
        <pc:picChg chg="mod topLvl">
          <ac:chgData name="Aude Van de WIELE" userId="7317e673-04dd-415c-a4d7-718682339b40" providerId="ADAL" clId="{80D4E734-020D-4C1F-A028-1B9E9B483F9A}" dt="2021-05-24T14:04:01.020" v="4478" actId="165"/>
          <ac:picMkLst>
            <pc:docMk/>
            <pc:sldMk cId="3405907677" sldId="10449"/>
            <ac:picMk id="255" creationId="{FE7B7C26-486B-43B9-A92D-093268A0BEBE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257" creationId="{1EA224CB-B838-464A-A528-9B1077A260E5}"/>
          </ac:picMkLst>
        </pc:picChg>
        <pc:picChg chg="mod topLvl">
          <ac:chgData name="Aude Van de WIELE" userId="7317e673-04dd-415c-a4d7-718682339b40" providerId="ADAL" clId="{80D4E734-020D-4C1F-A028-1B9E9B483F9A}" dt="2021-05-24T14:04:01.020" v="4478" actId="165"/>
          <ac:picMkLst>
            <pc:docMk/>
            <pc:sldMk cId="3405907677" sldId="10449"/>
            <ac:picMk id="262" creationId="{F0F8F64A-6626-4B96-9255-0AE6160880CC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266" creationId="{6D48033F-77F2-4DBA-9585-42C5773AB7D3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272" creationId="{4F938169-9799-444A-9960-0A3DB6137473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278" creationId="{C8BBAEFC-65BB-431B-BCDD-A53CCEE0434D}"/>
          </ac:picMkLst>
        </pc:picChg>
        <pc:picChg chg="mod">
          <ac:chgData name="Aude Van de WIELE" userId="7317e673-04dd-415c-a4d7-718682339b40" providerId="ADAL" clId="{80D4E734-020D-4C1F-A028-1B9E9B483F9A}" dt="2021-05-24T14:04:01.020" v="4478" actId="165"/>
          <ac:picMkLst>
            <pc:docMk/>
            <pc:sldMk cId="3405907677" sldId="10449"/>
            <ac:picMk id="291" creationId="{AA67C9BA-7749-49ED-BC76-A38160A8B2D7}"/>
          </ac:picMkLst>
        </pc:picChg>
        <pc:picChg chg="mod">
          <ac:chgData name="Aude Van de WIELE" userId="7317e673-04dd-415c-a4d7-718682339b40" providerId="ADAL" clId="{80D4E734-020D-4C1F-A028-1B9E9B483F9A}" dt="2021-05-24T14:04:01.020" v="4478" actId="165"/>
          <ac:picMkLst>
            <pc:docMk/>
            <pc:sldMk cId="3405907677" sldId="10449"/>
            <ac:picMk id="292" creationId="{F8CDBE64-0310-48A5-B3E4-6861ADB1AE4C}"/>
          </ac:picMkLst>
        </pc:picChg>
        <pc:picChg chg="mod">
          <ac:chgData name="Aude Van de WIELE" userId="7317e673-04dd-415c-a4d7-718682339b40" providerId="ADAL" clId="{80D4E734-020D-4C1F-A028-1B9E9B483F9A}" dt="2021-05-24T14:02:32.451" v="4461" actId="1076"/>
          <ac:picMkLst>
            <pc:docMk/>
            <pc:sldMk cId="3405907677" sldId="10449"/>
            <ac:picMk id="307" creationId="{14786053-E0E7-4D97-829D-91E145D163CB}"/>
          </ac:picMkLst>
        </pc:pic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369" creationId="{7A5B3111-CD55-4A6D-9769-F902508F5E75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396" creationId="{1C31D4BB-0B0E-4533-8B04-43EF48F0C3D9}"/>
          </ac:picMkLst>
        </pc:pic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397" creationId="{3C320186-28FE-4205-8290-7A9610B5C649}"/>
          </ac:picMkLst>
        </pc:picChg>
        <pc:picChg chg="mod topLvl">
          <ac:chgData name="Aude Van de WIELE" userId="7317e673-04dd-415c-a4d7-718682339b40" providerId="ADAL" clId="{80D4E734-020D-4C1F-A028-1B9E9B483F9A}" dt="2021-05-24T14:04:01.020" v="4478" actId="165"/>
          <ac:picMkLst>
            <pc:docMk/>
            <pc:sldMk cId="3405907677" sldId="10449"/>
            <ac:picMk id="444" creationId="{AD93FBCA-0623-458A-9108-DF6E9359FA3E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464" creationId="{4C2CEB28-9E24-4F9A-BCA6-934547F15FEF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472" creationId="{5FAD0AB6-06B7-4EB6-A9F2-373FDF157E2C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527" creationId="{380ED066-C226-48D4-92FC-8A73019527ED}"/>
          </ac:picMkLst>
        </pc:picChg>
        <pc:picChg chg="mod">
          <ac:chgData name="Aude Van de WIELE" userId="7317e673-04dd-415c-a4d7-718682339b40" providerId="ADAL" clId="{80D4E734-020D-4C1F-A028-1B9E9B483F9A}" dt="2021-05-24T14:03:30.534" v="4471" actId="1076"/>
          <ac:picMkLst>
            <pc:docMk/>
            <pc:sldMk cId="3405907677" sldId="10449"/>
            <ac:picMk id="530" creationId="{DCD78A5D-2D89-4D2B-843A-CE5E3E41AF0E}"/>
          </ac:picMkLst>
        </pc:pic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533" creationId="{20751330-84AE-4C1B-8791-9BDFBECE3E7D}"/>
          </ac:picMkLst>
        </pc:pic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539" creationId="{5209949F-D5CE-4181-9E39-59602A2DF5AE}"/>
          </ac:picMkLst>
        </pc:pic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546" creationId="{20FC1835-AEF8-4FBC-B15C-4618BEF175E7}"/>
          </ac:picMkLst>
        </pc:picChg>
        <pc:picChg chg="mod">
          <ac:chgData name="Aude Van de WIELE" userId="7317e673-04dd-415c-a4d7-718682339b40" providerId="ADAL" clId="{80D4E734-020D-4C1F-A028-1B9E9B483F9A}" dt="2021-05-24T14:02:21.605" v="4459"/>
          <ac:picMkLst>
            <pc:docMk/>
            <pc:sldMk cId="3405907677" sldId="10449"/>
            <ac:picMk id="547" creationId="{0FF67CC9-9740-4452-ACF4-3D26E10C305D}"/>
          </ac:picMkLst>
        </pc:picChg>
        <pc:picChg chg="mod topLvl">
          <ac:chgData name="Aude Van de WIELE" userId="7317e673-04dd-415c-a4d7-718682339b40" providerId="ADAL" clId="{80D4E734-020D-4C1F-A028-1B9E9B483F9A}" dt="2021-05-24T14:04:01.020" v="4478" actId="165"/>
          <ac:picMkLst>
            <pc:docMk/>
            <pc:sldMk cId="3405907677" sldId="10449"/>
            <ac:picMk id="5122" creationId="{8113720B-E791-498A-AC9F-A8EFA0A9C633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09:35:04.526" v="9925" actId="20577"/>
        <pc:sldMkLst>
          <pc:docMk/>
          <pc:sldMk cId="1257605897" sldId="10450"/>
        </pc:sldMkLst>
        <pc:spChg chg="mod">
          <ac:chgData name="Aude Van de WIELE" userId="7317e673-04dd-415c-a4d7-718682339b40" providerId="ADAL" clId="{80D4E734-020D-4C1F-A028-1B9E9B483F9A}" dt="2021-05-25T08:49:49.528" v="8250" actId="790"/>
          <ac:spMkLst>
            <pc:docMk/>
            <pc:sldMk cId="1257605897" sldId="10450"/>
            <ac:spMk id="6" creationId="{FF59DF4D-1286-4935-9878-F5678D3BE873}"/>
          </ac:spMkLst>
        </pc:spChg>
        <pc:spChg chg="mod">
          <ac:chgData name="Aude Van de WIELE" userId="7317e673-04dd-415c-a4d7-718682339b40" providerId="ADAL" clId="{80D4E734-020D-4C1F-A028-1B9E9B483F9A}" dt="2021-05-25T08:49:49.529" v="8251" actId="790"/>
          <ac:spMkLst>
            <pc:docMk/>
            <pc:sldMk cId="1257605897" sldId="10450"/>
            <ac:spMk id="8" creationId="{9AFE9B11-1BCA-43BA-B650-E93B58945BD5}"/>
          </ac:spMkLst>
        </pc:spChg>
        <pc:spChg chg="mod">
          <ac:chgData name="Aude Van de WIELE" userId="7317e673-04dd-415c-a4d7-718682339b40" providerId="ADAL" clId="{80D4E734-020D-4C1F-A028-1B9E9B483F9A}" dt="2021-05-25T08:49:49.554" v="8279" actId="790"/>
          <ac:spMkLst>
            <pc:docMk/>
            <pc:sldMk cId="1257605897" sldId="10450"/>
            <ac:spMk id="32" creationId="{9EDD2B4C-E564-475C-AE3E-772167E3D075}"/>
          </ac:spMkLst>
        </pc:spChg>
        <pc:spChg chg="del">
          <ac:chgData name="Aude Van de WIELE" userId="7317e673-04dd-415c-a4d7-718682339b40" providerId="ADAL" clId="{80D4E734-020D-4C1F-A028-1B9E9B483F9A}" dt="2021-05-24T16:11:53.527" v="6202" actId="478"/>
          <ac:spMkLst>
            <pc:docMk/>
            <pc:sldMk cId="1257605897" sldId="10450"/>
            <ac:spMk id="38" creationId="{CDB7A5D3-3E60-4B04-BB46-5E6F186462DD}"/>
          </ac:spMkLst>
        </pc:spChg>
        <pc:spChg chg="add mod">
          <ac:chgData name="Aude Van de WIELE" userId="7317e673-04dd-415c-a4d7-718682339b40" providerId="ADAL" clId="{80D4E734-020D-4C1F-A028-1B9E9B483F9A}" dt="2021-05-25T08:49:49.556" v="8281" actId="790"/>
          <ac:spMkLst>
            <pc:docMk/>
            <pc:sldMk cId="1257605897" sldId="10450"/>
            <ac:spMk id="39" creationId="{E7C13522-D86F-4F04-8B6D-A13ED9B1598C}"/>
          </ac:spMkLst>
        </pc:spChg>
        <pc:spChg chg="mod">
          <ac:chgData name="Aude Van de WIELE" userId="7317e673-04dd-415c-a4d7-718682339b40" providerId="ADAL" clId="{80D4E734-020D-4C1F-A028-1B9E9B483F9A}" dt="2021-05-25T08:49:49.530" v="8252" actId="790"/>
          <ac:spMkLst>
            <pc:docMk/>
            <pc:sldMk cId="1257605897" sldId="10450"/>
            <ac:spMk id="121" creationId="{47882E2C-6CB5-423E-8264-570847330D13}"/>
          </ac:spMkLst>
        </pc:spChg>
        <pc:spChg chg="mod">
          <ac:chgData name="Aude Van de WIELE" userId="7317e673-04dd-415c-a4d7-718682339b40" providerId="ADAL" clId="{80D4E734-020D-4C1F-A028-1B9E9B483F9A}" dt="2021-05-25T08:49:49.532" v="8253" actId="790"/>
          <ac:spMkLst>
            <pc:docMk/>
            <pc:sldMk cId="1257605897" sldId="10450"/>
            <ac:spMk id="126" creationId="{B679CA33-4BE2-4814-A3F0-D6A3530FF50C}"/>
          </ac:spMkLst>
        </pc:spChg>
        <pc:spChg chg="mod">
          <ac:chgData name="Aude Van de WIELE" userId="7317e673-04dd-415c-a4d7-718682339b40" providerId="ADAL" clId="{80D4E734-020D-4C1F-A028-1B9E9B483F9A}" dt="2021-05-25T08:49:49.533" v="8254" actId="790"/>
          <ac:spMkLst>
            <pc:docMk/>
            <pc:sldMk cId="1257605897" sldId="10450"/>
            <ac:spMk id="127" creationId="{267F6C37-45F8-4FDB-802A-F81C77D3FF76}"/>
          </ac:spMkLst>
        </pc:spChg>
        <pc:spChg chg="mod">
          <ac:chgData name="Aude Van de WIELE" userId="7317e673-04dd-415c-a4d7-718682339b40" providerId="ADAL" clId="{80D4E734-020D-4C1F-A028-1B9E9B483F9A}" dt="2021-05-25T08:49:49.534" v="8255" actId="790"/>
          <ac:spMkLst>
            <pc:docMk/>
            <pc:sldMk cId="1257605897" sldId="10450"/>
            <ac:spMk id="128" creationId="{1E677BA0-44F7-4135-94B8-943CCB0E9DEA}"/>
          </ac:spMkLst>
        </pc:spChg>
        <pc:spChg chg="mod">
          <ac:chgData name="Aude Van de WIELE" userId="7317e673-04dd-415c-a4d7-718682339b40" providerId="ADAL" clId="{80D4E734-020D-4C1F-A028-1B9E9B483F9A}" dt="2021-05-25T08:49:49.534" v="8256" actId="790"/>
          <ac:spMkLst>
            <pc:docMk/>
            <pc:sldMk cId="1257605897" sldId="10450"/>
            <ac:spMk id="161" creationId="{EF2C1507-96DB-4D06-96B8-849FD319EC76}"/>
          </ac:spMkLst>
        </pc:spChg>
        <pc:spChg chg="mod">
          <ac:chgData name="Aude Van de WIELE" userId="7317e673-04dd-415c-a4d7-718682339b40" providerId="ADAL" clId="{80D4E734-020D-4C1F-A028-1B9E9B483F9A}" dt="2021-05-25T08:49:49.535" v="8257" actId="790"/>
          <ac:spMkLst>
            <pc:docMk/>
            <pc:sldMk cId="1257605897" sldId="10450"/>
            <ac:spMk id="162" creationId="{3B00978C-7DF2-4D38-81B6-88F852D421E4}"/>
          </ac:spMkLst>
        </pc:spChg>
        <pc:spChg chg="mod">
          <ac:chgData name="Aude Van de WIELE" userId="7317e673-04dd-415c-a4d7-718682339b40" providerId="ADAL" clId="{80D4E734-020D-4C1F-A028-1B9E9B483F9A}" dt="2021-05-25T08:49:49.535" v="8258" actId="790"/>
          <ac:spMkLst>
            <pc:docMk/>
            <pc:sldMk cId="1257605897" sldId="10450"/>
            <ac:spMk id="163" creationId="{5AC39BD9-F409-4C11-BDE7-A3C52B7DC35E}"/>
          </ac:spMkLst>
        </pc:spChg>
        <pc:spChg chg="mod">
          <ac:chgData name="Aude Van de WIELE" userId="7317e673-04dd-415c-a4d7-718682339b40" providerId="ADAL" clId="{80D4E734-020D-4C1F-A028-1B9E9B483F9A}" dt="2021-05-25T08:49:49.537" v="8259" actId="790"/>
          <ac:spMkLst>
            <pc:docMk/>
            <pc:sldMk cId="1257605897" sldId="10450"/>
            <ac:spMk id="165" creationId="{11B0E31B-DF11-4F77-90D9-B3930E3A282A}"/>
          </ac:spMkLst>
        </pc:spChg>
        <pc:spChg chg="mod">
          <ac:chgData name="Aude Van de WIELE" userId="7317e673-04dd-415c-a4d7-718682339b40" providerId="ADAL" clId="{80D4E734-020D-4C1F-A028-1B9E9B483F9A}" dt="2021-05-25T08:49:49.538" v="8260" actId="790"/>
          <ac:spMkLst>
            <pc:docMk/>
            <pc:sldMk cId="1257605897" sldId="10450"/>
            <ac:spMk id="166" creationId="{93F25222-C28E-417E-AAA4-154D525DA718}"/>
          </ac:spMkLst>
        </pc:spChg>
        <pc:spChg chg="mod">
          <ac:chgData name="Aude Van de WIELE" userId="7317e673-04dd-415c-a4d7-718682339b40" providerId="ADAL" clId="{80D4E734-020D-4C1F-A028-1B9E9B483F9A}" dt="2021-05-25T08:49:49.539" v="8261" actId="790"/>
          <ac:spMkLst>
            <pc:docMk/>
            <pc:sldMk cId="1257605897" sldId="10450"/>
            <ac:spMk id="167" creationId="{E079BB12-6805-4470-9A19-4CCB55580F83}"/>
          </ac:spMkLst>
        </pc:spChg>
        <pc:spChg chg="mod">
          <ac:chgData name="Aude Van de WIELE" userId="7317e673-04dd-415c-a4d7-718682339b40" providerId="ADAL" clId="{80D4E734-020D-4C1F-A028-1B9E9B483F9A}" dt="2021-05-25T08:49:49.540" v="8262" actId="790"/>
          <ac:spMkLst>
            <pc:docMk/>
            <pc:sldMk cId="1257605897" sldId="10450"/>
            <ac:spMk id="168" creationId="{AA8C97FA-E852-46B0-88F3-315D68DCD70D}"/>
          </ac:spMkLst>
        </pc:spChg>
        <pc:spChg chg="mod">
          <ac:chgData name="Aude Van de WIELE" userId="7317e673-04dd-415c-a4d7-718682339b40" providerId="ADAL" clId="{80D4E734-020D-4C1F-A028-1B9E9B483F9A}" dt="2021-05-25T08:49:49.541" v="8263" actId="790"/>
          <ac:spMkLst>
            <pc:docMk/>
            <pc:sldMk cId="1257605897" sldId="10450"/>
            <ac:spMk id="169" creationId="{F55EF163-CC0E-48F7-9FB3-E7A813E73035}"/>
          </ac:spMkLst>
        </pc:spChg>
        <pc:spChg chg="mod">
          <ac:chgData name="Aude Van de WIELE" userId="7317e673-04dd-415c-a4d7-718682339b40" providerId="ADAL" clId="{80D4E734-020D-4C1F-A028-1B9E9B483F9A}" dt="2021-05-25T08:49:49.541" v="8264" actId="790"/>
          <ac:spMkLst>
            <pc:docMk/>
            <pc:sldMk cId="1257605897" sldId="10450"/>
            <ac:spMk id="170" creationId="{916415C4-147B-4047-8064-AB3522947855}"/>
          </ac:spMkLst>
        </pc:spChg>
        <pc:spChg chg="mod">
          <ac:chgData name="Aude Van de WIELE" userId="7317e673-04dd-415c-a4d7-718682339b40" providerId="ADAL" clId="{80D4E734-020D-4C1F-A028-1B9E9B483F9A}" dt="2021-05-25T08:49:49.542" v="8265" actId="790"/>
          <ac:spMkLst>
            <pc:docMk/>
            <pc:sldMk cId="1257605897" sldId="10450"/>
            <ac:spMk id="172" creationId="{32FCFF7F-A543-4C44-BDEB-15421FDE2A43}"/>
          </ac:spMkLst>
        </pc:spChg>
        <pc:spChg chg="mod">
          <ac:chgData name="Aude Van de WIELE" userId="7317e673-04dd-415c-a4d7-718682339b40" providerId="ADAL" clId="{80D4E734-020D-4C1F-A028-1B9E9B483F9A}" dt="2021-05-25T08:49:49.544" v="8266" actId="790"/>
          <ac:spMkLst>
            <pc:docMk/>
            <pc:sldMk cId="1257605897" sldId="10450"/>
            <ac:spMk id="173" creationId="{FE26A1FC-A2DB-4DF6-96D8-B46AE8026951}"/>
          </ac:spMkLst>
        </pc:spChg>
        <pc:spChg chg="mod">
          <ac:chgData name="Aude Van de WIELE" userId="7317e673-04dd-415c-a4d7-718682339b40" providerId="ADAL" clId="{80D4E734-020D-4C1F-A028-1B9E9B483F9A}" dt="2021-05-25T08:49:49.545" v="8267" actId="790"/>
          <ac:spMkLst>
            <pc:docMk/>
            <pc:sldMk cId="1257605897" sldId="10450"/>
            <ac:spMk id="174" creationId="{E8B3D778-664A-49A8-B0A7-2E84434ED3A8}"/>
          </ac:spMkLst>
        </pc:spChg>
        <pc:spChg chg="mod">
          <ac:chgData name="Aude Van de WIELE" userId="7317e673-04dd-415c-a4d7-718682339b40" providerId="ADAL" clId="{80D4E734-020D-4C1F-A028-1B9E9B483F9A}" dt="2021-05-25T08:49:49.546" v="8268" actId="790"/>
          <ac:spMkLst>
            <pc:docMk/>
            <pc:sldMk cId="1257605897" sldId="10450"/>
            <ac:spMk id="175" creationId="{80166264-0FBF-4476-844C-81EC2C24C292}"/>
          </ac:spMkLst>
        </pc:spChg>
        <pc:spChg chg="mod">
          <ac:chgData name="Aude Van de WIELE" userId="7317e673-04dd-415c-a4d7-718682339b40" providerId="ADAL" clId="{80D4E734-020D-4C1F-A028-1B9E9B483F9A}" dt="2021-05-25T08:49:49.546" v="8269" actId="790"/>
          <ac:spMkLst>
            <pc:docMk/>
            <pc:sldMk cId="1257605897" sldId="10450"/>
            <ac:spMk id="176" creationId="{885596B5-68CC-4CA2-85A9-8B1C03B8C65D}"/>
          </ac:spMkLst>
        </pc:spChg>
        <pc:spChg chg="mod">
          <ac:chgData name="Aude Van de WIELE" userId="7317e673-04dd-415c-a4d7-718682339b40" providerId="ADAL" clId="{80D4E734-020D-4C1F-A028-1B9E9B483F9A}" dt="2021-05-25T09:35:04.526" v="9925" actId="20577"/>
          <ac:spMkLst>
            <pc:docMk/>
            <pc:sldMk cId="1257605897" sldId="10450"/>
            <ac:spMk id="177" creationId="{6826BB62-8A5C-46BF-8049-23D419052F89}"/>
          </ac:spMkLst>
        </pc:spChg>
        <pc:spChg chg="mod">
          <ac:chgData name="Aude Van de WIELE" userId="7317e673-04dd-415c-a4d7-718682339b40" providerId="ADAL" clId="{80D4E734-020D-4C1F-A028-1B9E9B483F9A}" dt="2021-05-25T08:49:49.548" v="8271" actId="790"/>
          <ac:spMkLst>
            <pc:docMk/>
            <pc:sldMk cId="1257605897" sldId="10450"/>
            <ac:spMk id="178" creationId="{75719BA4-2F49-4E16-BD81-8A1955A4DAE4}"/>
          </ac:spMkLst>
        </pc:spChg>
        <pc:spChg chg="mod">
          <ac:chgData name="Aude Van de WIELE" userId="7317e673-04dd-415c-a4d7-718682339b40" providerId="ADAL" clId="{80D4E734-020D-4C1F-A028-1B9E9B483F9A}" dt="2021-05-25T08:49:49.549" v="8272" actId="790"/>
          <ac:spMkLst>
            <pc:docMk/>
            <pc:sldMk cId="1257605897" sldId="10450"/>
            <ac:spMk id="179" creationId="{FBF028CB-7E03-4B99-AE38-380E7F2BC7E3}"/>
          </ac:spMkLst>
        </pc:spChg>
        <pc:spChg chg="mod">
          <ac:chgData name="Aude Van de WIELE" userId="7317e673-04dd-415c-a4d7-718682339b40" providerId="ADAL" clId="{80D4E734-020D-4C1F-A028-1B9E9B483F9A}" dt="2021-05-25T08:49:49.549" v="8273" actId="790"/>
          <ac:spMkLst>
            <pc:docMk/>
            <pc:sldMk cId="1257605897" sldId="10450"/>
            <ac:spMk id="181" creationId="{18A8FF1A-5942-44D5-AD01-129C43FBD7C8}"/>
          </ac:spMkLst>
        </pc:spChg>
        <pc:spChg chg="mod">
          <ac:chgData name="Aude Van de WIELE" userId="7317e673-04dd-415c-a4d7-718682339b40" providerId="ADAL" clId="{80D4E734-020D-4C1F-A028-1B9E9B483F9A}" dt="2021-05-25T08:49:49.550" v="8274" actId="790"/>
          <ac:spMkLst>
            <pc:docMk/>
            <pc:sldMk cId="1257605897" sldId="10450"/>
            <ac:spMk id="183" creationId="{1899D119-F7CF-4BEE-8372-873E8A2C0F76}"/>
          </ac:spMkLst>
        </pc:spChg>
        <pc:spChg chg="mod">
          <ac:chgData name="Aude Van de WIELE" userId="7317e673-04dd-415c-a4d7-718682339b40" providerId="ADAL" clId="{80D4E734-020D-4C1F-A028-1B9E9B483F9A}" dt="2021-05-25T08:49:49.551" v="8275" actId="790"/>
          <ac:spMkLst>
            <pc:docMk/>
            <pc:sldMk cId="1257605897" sldId="10450"/>
            <ac:spMk id="186" creationId="{86AA7CBC-74DA-4388-9DE0-860FAF9E0B81}"/>
          </ac:spMkLst>
        </pc:spChg>
        <pc:spChg chg="mod">
          <ac:chgData name="Aude Van de WIELE" userId="7317e673-04dd-415c-a4d7-718682339b40" providerId="ADAL" clId="{80D4E734-020D-4C1F-A028-1B9E9B483F9A}" dt="2021-05-25T08:49:49.552" v="8276" actId="790"/>
          <ac:spMkLst>
            <pc:docMk/>
            <pc:sldMk cId="1257605897" sldId="10450"/>
            <ac:spMk id="187" creationId="{2B1DFCF5-5CE2-41E4-882A-AA27CCD25FFF}"/>
          </ac:spMkLst>
        </pc:spChg>
        <pc:spChg chg="mod">
          <ac:chgData name="Aude Van de WIELE" userId="7317e673-04dd-415c-a4d7-718682339b40" providerId="ADAL" clId="{80D4E734-020D-4C1F-A028-1B9E9B483F9A}" dt="2021-05-25T08:49:49.553" v="8277" actId="790"/>
          <ac:spMkLst>
            <pc:docMk/>
            <pc:sldMk cId="1257605897" sldId="10450"/>
            <ac:spMk id="189" creationId="{6B9DCBFF-5597-49E5-BFE3-33C520193F03}"/>
          </ac:spMkLst>
        </pc:spChg>
        <pc:spChg chg="mod">
          <ac:chgData name="Aude Van de WIELE" userId="7317e673-04dd-415c-a4d7-718682339b40" providerId="ADAL" clId="{80D4E734-020D-4C1F-A028-1B9E9B483F9A}" dt="2021-05-25T08:49:49.553" v="8278" actId="790"/>
          <ac:spMkLst>
            <pc:docMk/>
            <pc:sldMk cId="1257605897" sldId="10450"/>
            <ac:spMk id="190" creationId="{40A8218D-453D-4A85-A645-943A1BA3319A}"/>
          </ac:spMkLst>
        </pc:spChg>
        <pc:spChg chg="mod">
          <ac:chgData name="Aude Van de WIELE" userId="7317e673-04dd-415c-a4d7-718682339b40" providerId="ADAL" clId="{80D4E734-020D-4C1F-A028-1B9E9B483F9A}" dt="2021-05-25T08:49:49.555" v="8280" actId="790"/>
          <ac:spMkLst>
            <pc:docMk/>
            <pc:sldMk cId="1257605897" sldId="10450"/>
            <ac:spMk id="193" creationId="{71D1FCF9-82DB-43BD-8A7C-4A72C096FE36}"/>
          </ac:spMkLst>
        </pc:spChg>
      </pc:sldChg>
      <pc:sldChg chg="modSp mod">
        <pc:chgData name="Aude Van de WIELE" userId="7317e673-04dd-415c-a4d7-718682339b40" providerId="ADAL" clId="{80D4E734-020D-4C1F-A028-1B9E9B483F9A}" dt="2021-05-25T08:49:50.720" v="9219" actId="790"/>
        <pc:sldMkLst>
          <pc:docMk/>
          <pc:sldMk cId="946667118" sldId="10451"/>
        </pc:sldMkLst>
        <pc:spChg chg="mod">
          <ac:chgData name="Aude Van de WIELE" userId="7317e673-04dd-415c-a4d7-718682339b40" providerId="ADAL" clId="{80D4E734-020D-4C1F-A028-1B9E9B483F9A}" dt="2021-05-25T08:49:50.665" v="9176" actId="790"/>
          <ac:spMkLst>
            <pc:docMk/>
            <pc:sldMk cId="946667118" sldId="10451"/>
            <ac:spMk id="2" creationId="{769247EA-17E8-4C3A-8816-83F479289603}"/>
          </ac:spMkLst>
        </pc:spChg>
        <pc:spChg chg="mod">
          <ac:chgData name="Aude Van de WIELE" userId="7317e673-04dd-415c-a4d7-718682339b40" providerId="ADAL" clId="{80D4E734-020D-4C1F-A028-1B9E9B483F9A}" dt="2021-05-25T08:49:50.710" v="9208" actId="790"/>
          <ac:spMkLst>
            <pc:docMk/>
            <pc:sldMk cId="946667118" sldId="10451"/>
            <ac:spMk id="3" creationId="{E07D0B56-DB8E-4B78-AC05-7711C9472BF0}"/>
          </ac:spMkLst>
        </pc:spChg>
        <pc:spChg chg="mod">
          <ac:chgData name="Aude Van de WIELE" userId="7317e673-04dd-415c-a4d7-718682339b40" providerId="ADAL" clId="{80D4E734-020D-4C1F-A028-1B9E9B483F9A}" dt="2021-05-25T08:49:50.711" v="9209" actId="790"/>
          <ac:spMkLst>
            <pc:docMk/>
            <pc:sldMk cId="946667118" sldId="10451"/>
            <ac:spMk id="4" creationId="{9AE5609A-BCBB-4CCB-8260-AB6BF728C30D}"/>
          </ac:spMkLst>
        </pc:spChg>
        <pc:spChg chg="mod">
          <ac:chgData name="Aude Van de WIELE" userId="7317e673-04dd-415c-a4d7-718682339b40" providerId="ADAL" clId="{80D4E734-020D-4C1F-A028-1B9E9B483F9A}" dt="2021-05-25T08:49:50.666" v="9177" actId="790"/>
          <ac:spMkLst>
            <pc:docMk/>
            <pc:sldMk cId="946667118" sldId="10451"/>
            <ac:spMk id="7" creationId="{044946C5-D2A9-4225-9A4A-E922125A0AE1}"/>
          </ac:spMkLst>
        </pc:spChg>
        <pc:spChg chg="mod">
          <ac:chgData name="Aude Van de WIELE" userId="7317e673-04dd-415c-a4d7-718682339b40" providerId="ADAL" clId="{80D4E734-020D-4C1F-A028-1B9E9B483F9A}" dt="2021-05-25T08:49:50.667" v="9178" actId="790"/>
          <ac:spMkLst>
            <pc:docMk/>
            <pc:sldMk cId="946667118" sldId="10451"/>
            <ac:spMk id="17" creationId="{C9EAEAC2-A4FF-4DD8-9228-E949C4DB6A55}"/>
          </ac:spMkLst>
        </pc:spChg>
        <pc:spChg chg="mod">
          <ac:chgData name="Aude Van de WIELE" userId="7317e673-04dd-415c-a4d7-718682339b40" providerId="ADAL" clId="{80D4E734-020D-4C1F-A028-1B9E9B483F9A}" dt="2021-05-25T08:49:50.669" v="9179" actId="790"/>
          <ac:spMkLst>
            <pc:docMk/>
            <pc:sldMk cId="946667118" sldId="10451"/>
            <ac:spMk id="20" creationId="{5F5540D3-73DA-4CB5-8CE1-6C8BEAA293F6}"/>
          </ac:spMkLst>
        </pc:spChg>
        <pc:spChg chg="mod">
          <ac:chgData name="Aude Van de WIELE" userId="7317e673-04dd-415c-a4d7-718682339b40" providerId="ADAL" clId="{80D4E734-020D-4C1F-A028-1B9E9B483F9A}" dt="2021-05-25T08:49:50.669" v="9180" actId="790"/>
          <ac:spMkLst>
            <pc:docMk/>
            <pc:sldMk cId="946667118" sldId="10451"/>
            <ac:spMk id="24" creationId="{9AC553B1-4F81-4C20-B305-7DC8EB1A6187}"/>
          </ac:spMkLst>
        </pc:spChg>
        <pc:spChg chg="mod">
          <ac:chgData name="Aude Van de WIELE" userId="7317e673-04dd-415c-a4d7-718682339b40" providerId="ADAL" clId="{80D4E734-020D-4C1F-A028-1B9E9B483F9A}" dt="2021-05-25T08:49:50.671" v="9181" actId="790"/>
          <ac:spMkLst>
            <pc:docMk/>
            <pc:sldMk cId="946667118" sldId="10451"/>
            <ac:spMk id="25" creationId="{3E109305-F3C7-486E-897E-2E8221625EF8}"/>
          </ac:spMkLst>
        </pc:spChg>
        <pc:spChg chg="mod">
          <ac:chgData name="Aude Van de WIELE" userId="7317e673-04dd-415c-a4d7-718682339b40" providerId="ADAL" clId="{80D4E734-020D-4C1F-A028-1B9E9B483F9A}" dt="2021-05-25T08:49:50.679" v="9186" actId="790"/>
          <ac:spMkLst>
            <pc:docMk/>
            <pc:sldMk cId="946667118" sldId="10451"/>
            <ac:spMk id="28" creationId="{F0A42D70-8359-43E9-B3F0-C9955529B0D8}"/>
          </ac:spMkLst>
        </pc:spChg>
        <pc:spChg chg="mod">
          <ac:chgData name="Aude Van de WIELE" userId="7317e673-04dd-415c-a4d7-718682339b40" providerId="ADAL" clId="{80D4E734-020D-4C1F-A028-1B9E9B483F9A}" dt="2021-05-25T08:49:50.671" v="9182" actId="790"/>
          <ac:spMkLst>
            <pc:docMk/>
            <pc:sldMk cId="946667118" sldId="10451"/>
            <ac:spMk id="29" creationId="{6883ADF0-392A-45C2-A4E3-ABAB2274EB03}"/>
          </ac:spMkLst>
        </pc:spChg>
        <pc:spChg chg="mod">
          <ac:chgData name="Aude Van de WIELE" userId="7317e673-04dd-415c-a4d7-718682339b40" providerId="ADAL" clId="{80D4E734-020D-4C1F-A028-1B9E9B483F9A}" dt="2021-05-25T08:49:50.673" v="9183" actId="790"/>
          <ac:spMkLst>
            <pc:docMk/>
            <pc:sldMk cId="946667118" sldId="10451"/>
            <ac:spMk id="30" creationId="{DEF0A5A1-4D9F-4E2F-9E07-C79302AD07AD}"/>
          </ac:spMkLst>
        </pc:spChg>
        <pc:spChg chg="mod">
          <ac:chgData name="Aude Van de WIELE" userId="7317e673-04dd-415c-a4d7-718682339b40" providerId="ADAL" clId="{80D4E734-020D-4C1F-A028-1B9E9B483F9A}" dt="2021-05-25T08:49:50.677" v="9184" actId="790"/>
          <ac:spMkLst>
            <pc:docMk/>
            <pc:sldMk cId="946667118" sldId="10451"/>
            <ac:spMk id="32" creationId="{3FF3FDF5-52D0-49E0-A0E7-824DFE96C177}"/>
          </ac:spMkLst>
        </pc:spChg>
        <pc:spChg chg="mod">
          <ac:chgData name="Aude Van de WIELE" userId="7317e673-04dd-415c-a4d7-718682339b40" providerId="ADAL" clId="{80D4E734-020D-4C1F-A028-1B9E9B483F9A}" dt="2021-05-25T08:49:50.678" v="9185" actId="790"/>
          <ac:spMkLst>
            <pc:docMk/>
            <pc:sldMk cId="946667118" sldId="10451"/>
            <ac:spMk id="33" creationId="{199DDAA8-0D15-4205-9F4A-142676014187}"/>
          </ac:spMkLst>
        </pc:spChg>
        <pc:spChg chg="mod">
          <ac:chgData name="Aude Van de WIELE" userId="7317e673-04dd-415c-a4d7-718682339b40" providerId="ADAL" clId="{80D4E734-020D-4C1F-A028-1B9E9B483F9A}" dt="2021-05-25T08:49:50.709" v="9207" actId="790"/>
          <ac:spMkLst>
            <pc:docMk/>
            <pc:sldMk cId="946667118" sldId="10451"/>
            <ac:spMk id="44" creationId="{B0E36B4E-889F-4589-9A08-C01D267B1C72}"/>
          </ac:spMkLst>
        </pc:spChg>
        <pc:spChg chg="mod">
          <ac:chgData name="Aude Van de WIELE" userId="7317e673-04dd-415c-a4d7-718682339b40" providerId="ADAL" clId="{80D4E734-020D-4C1F-A028-1B9E9B483F9A}" dt="2021-05-25T08:49:50.712" v="9210" actId="790"/>
          <ac:spMkLst>
            <pc:docMk/>
            <pc:sldMk cId="946667118" sldId="10451"/>
            <ac:spMk id="50" creationId="{C4864A91-8070-46BD-BB89-03A09EB5B02C}"/>
          </ac:spMkLst>
        </pc:spChg>
        <pc:spChg chg="mod">
          <ac:chgData name="Aude Van de WIELE" userId="7317e673-04dd-415c-a4d7-718682339b40" providerId="ADAL" clId="{80D4E734-020D-4C1F-A028-1B9E9B483F9A}" dt="2021-05-25T08:49:50.713" v="9211" actId="790"/>
          <ac:spMkLst>
            <pc:docMk/>
            <pc:sldMk cId="946667118" sldId="10451"/>
            <ac:spMk id="58" creationId="{8B0B1F27-8215-4EAC-9E9C-BE1DEC1C7AAF}"/>
          </ac:spMkLst>
        </pc:spChg>
        <pc:spChg chg="mod">
          <ac:chgData name="Aude Van de WIELE" userId="7317e673-04dd-415c-a4d7-718682339b40" providerId="ADAL" clId="{80D4E734-020D-4C1F-A028-1B9E9B483F9A}" dt="2021-05-25T08:49:50.680" v="9187" actId="790"/>
          <ac:spMkLst>
            <pc:docMk/>
            <pc:sldMk cId="946667118" sldId="10451"/>
            <ac:spMk id="64" creationId="{D18473C9-8757-432D-9AB2-988A0819821F}"/>
          </ac:spMkLst>
        </pc:spChg>
        <pc:spChg chg="mod">
          <ac:chgData name="Aude Van de WIELE" userId="7317e673-04dd-415c-a4d7-718682339b40" providerId="ADAL" clId="{80D4E734-020D-4C1F-A028-1B9E9B483F9A}" dt="2021-05-25T08:49:50.681" v="9188" actId="790"/>
          <ac:spMkLst>
            <pc:docMk/>
            <pc:sldMk cId="946667118" sldId="10451"/>
            <ac:spMk id="72" creationId="{53F76EF6-A16A-4416-954E-5734C91DB3EA}"/>
          </ac:spMkLst>
        </pc:spChg>
        <pc:spChg chg="mod">
          <ac:chgData name="Aude Van de WIELE" userId="7317e673-04dd-415c-a4d7-718682339b40" providerId="ADAL" clId="{80D4E734-020D-4C1F-A028-1B9E9B483F9A}" dt="2021-05-25T08:49:50.683" v="9189" actId="790"/>
          <ac:spMkLst>
            <pc:docMk/>
            <pc:sldMk cId="946667118" sldId="10451"/>
            <ac:spMk id="74" creationId="{86FA14E8-7A65-4CBB-A34D-88A87FFA3ACF}"/>
          </ac:spMkLst>
        </pc:spChg>
        <pc:spChg chg="mod">
          <ac:chgData name="Aude Van de WIELE" userId="7317e673-04dd-415c-a4d7-718682339b40" providerId="ADAL" clId="{80D4E734-020D-4C1F-A028-1B9E9B483F9A}" dt="2021-05-25T08:49:50.685" v="9190" actId="790"/>
          <ac:spMkLst>
            <pc:docMk/>
            <pc:sldMk cId="946667118" sldId="10451"/>
            <ac:spMk id="75" creationId="{C116CA5A-79BC-4753-A781-D939D02B2F40}"/>
          </ac:spMkLst>
        </pc:spChg>
        <pc:spChg chg="mod">
          <ac:chgData name="Aude Van de WIELE" userId="7317e673-04dd-415c-a4d7-718682339b40" providerId="ADAL" clId="{80D4E734-020D-4C1F-A028-1B9E9B483F9A}" dt="2021-05-25T08:49:50.686" v="9191" actId="790"/>
          <ac:spMkLst>
            <pc:docMk/>
            <pc:sldMk cId="946667118" sldId="10451"/>
            <ac:spMk id="76" creationId="{610286D6-0078-41F1-9A71-66B2525DCCAB}"/>
          </ac:spMkLst>
        </pc:spChg>
        <pc:spChg chg="mod">
          <ac:chgData name="Aude Van de WIELE" userId="7317e673-04dd-415c-a4d7-718682339b40" providerId="ADAL" clId="{80D4E734-020D-4C1F-A028-1B9E9B483F9A}" dt="2021-05-25T08:49:50.687" v="9192" actId="790"/>
          <ac:spMkLst>
            <pc:docMk/>
            <pc:sldMk cId="946667118" sldId="10451"/>
            <ac:spMk id="77" creationId="{655F16CF-879C-4ED9-9E0C-45719166FD41}"/>
          </ac:spMkLst>
        </pc:spChg>
        <pc:spChg chg="mod">
          <ac:chgData name="Aude Van de WIELE" userId="7317e673-04dd-415c-a4d7-718682339b40" providerId="ADAL" clId="{80D4E734-020D-4C1F-A028-1B9E9B483F9A}" dt="2021-05-25T08:49:50.689" v="9193" actId="790"/>
          <ac:spMkLst>
            <pc:docMk/>
            <pc:sldMk cId="946667118" sldId="10451"/>
            <ac:spMk id="78" creationId="{C87B6AA9-98E8-446F-8FA4-C5C34CFB04AF}"/>
          </ac:spMkLst>
        </pc:spChg>
        <pc:spChg chg="mod">
          <ac:chgData name="Aude Van de WIELE" userId="7317e673-04dd-415c-a4d7-718682339b40" providerId="ADAL" clId="{80D4E734-020D-4C1F-A028-1B9E9B483F9A}" dt="2021-05-25T08:49:50.690" v="9194" actId="790"/>
          <ac:spMkLst>
            <pc:docMk/>
            <pc:sldMk cId="946667118" sldId="10451"/>
            <ac:spMk id="79" creationId="{8EBF367E-E2DA-415E-B281-2B9404ED3A46}"/>
          </ac:spMkLst>
        </pc:spChg>
        <pc:spChg chg="mod">
          <ac:chgData name="Aude Van de WIELE" userId="7317e673-04dd-415c-a4d7-718682339b40" providerId="ADAL" clId="{80D4E734-020D-4C1F-A028-1B9E9B483F9A}" dt="2021-05-25T08:49:50.692" v="9195" actId="790"/>
          <ac:spMkLst>
            <pc:docMk/>
            <pc:sldMk cId="946667118" sldId="10451"/>
            <ac:spMk id="80" creationId="{DF9DF7E7-5FF0-48B8-A1AC-164500254812}"/>
          </ac:spMkLst>
        </pc:spChg>
        <pc:spChg chg="mod">
          <ac:chgData name="Aude Van de WIELE" userId="7317e673-04dd-415c-a4d7-718682339b40" providerId="ADAL" clId="{80D4E734-020D-4C1F-A028-1B9E9B483F9A}" dt="2021-05-25T08:49:50.693" v="9196" actId="790"/>
          <ac:spMkLst>
            <pc:docMk/>
            <pc:sldMk cId="946667118" sldId="10451"/>
            <ac:spMk id="81" creationId="{09E3A3BE-0DD8-4980-A1CF-2EFA556C927A}"/>
          </ac:spMkLst>
        </pc:spChg>
        <pc:spChg chg="mod">
          <ac:chgData name="Aude Van de WIELE" userId="7317e673-04dd-415c-a4d7-718682339b40" providerId="ADAL" clId="{80D4E734-020D-4C1F-A028-1B9E9B483F9A}" dt="2021-05-25T08:49:50.694" v="9197" actId="790"/>
          <ac:spMkLst>
            <pc:docMk/>
            <pc:sldMk cId="946667118" sldId="10451"/>
            <ac:spMk id="82" creationId="{79B17794-B5C3-4B9C-8192-450BCE0A6895}"/>
          </ac:spMkLst>
        </pc:spChg>
        <pc:spChg chg="mod">
          <ac:chgData name="Aude Van de WIELE" userId="7317e673-04dd-415c-a4d7-718682339b40" providerId="ADAL" clId="{80D4E734-020D-4C1F-A028-1B9E9B483F9A}" dt="2021-05-25T08:49:50.695" v="9198" actId="790"/>
          <ac:spMkLst>
            <pc:docMk/>
            <pc:sldMk cId="946667118" sldId="10451"/>
            <ac:spMk id="83" creationId="{A56ACA3E-1DF3-4D17-8A29-417336C3FEA0}"/>
          </ac:spMkLst>
        </pc:spChg>
        <pc:spChg chg="mod">
          <ac:chgData name="Aude Van de WIELE" userId="7317e673-04dd-415c-a4d7-718682339b40" providerId="ADAL" clId="{80D4E734-020D-4C1F-A028-1B9E9B483F9A}" dt="2021-05-25T08:49:50.698" v="9199" actId="790"/>
          <ac:spMkLst>
            <pc:docMk/>
            <pc:sldMk cId="946667118" sldId="10451"/>
            <ac:spMk id="84" creationId="{6D983CC5-2164-4341-A344-C58A95E2C300}"/>
          </ac:spMkLst>
        </pc:spChg>
        <pc:spChg chg="mod">
          <ac:chgData name="Aude Van de WIELE" userId="7317e673-04dd-415c-a4d7-718682339b40" providerId="ADAL" clId="{80D4E734-020D-4C1F-A028-1B9E9B483F9A}" dt="2021-05-25T08:49:50.700" v="9200" actId="790"/>
          <ac:spMkLst>
            <pc:docMk/>
            <pc:sldMk cId="946667118" sldId="10451"/>
            <ac:spMk id="85" creationId="{61074D75-11F2-4326-8B1A-211012AA7EFA}"/>
          </ac:spMkLst>
        </pc:spChg>
        <pc:spChg chg="mod">
          <ac:chgData name="Aude Van de WIELE" userId="7317e673-04dd-415c-a4d7-718682339b40" providerId="ADAL" clId="{80D4E734-020D-4C1F-A028-1B9E9B483F9A}" dt="2021-05-25T08:49:50.714" v="9212" actId="790"/>
          <ac:spMkLst>
            <pc:docMk/>
            <pc:sldMk cId="946667118" sldId="10451"/>
            <ac:spMk id="86" creationId="{8A14FC79-C56E-4484-8887-E9A78030B4D6}"/>
          </ac:spMkLst>
        </pc:spChg>
        <pc:spChg chg="mod">
          <ac:chgData name="Aude Van de WIELE" userId="7317e673-04dd-415c-a4d7-718682339b40" providerId="ADAL" clId="{80D4E734-020D-4C1F-A028-1B9E9B483F9A}" dt="2021-05-25T08:49:50.702" v="9201" actId="790"/>
          <ac:spMkLst>
            <pc:docMk/>
            <pc:sldMk cId="946667118" sldId="10451"/>
            <ac:spMk id="87" creationId="{F033E597-A1B3-4016-A335-0C6A3111FED6}"/>
          </ac:spMkLst>
        </pc:spChg>
        <pc:spChg chg="mod">
          <ac:chgData name="Aude Van de WIELE" userId="7317e673-04dd-415c-a4d7-718682339b40" providerId="ADAL" clId="{80D4E734-020D-4C1F-A028-1B9E9B483F9A}" dt="2021-05-25T08:49:50.704" v="9202" actId="790"/>
          <ac:spMkLst>
            <pc:docMk/>
            <pc:sldMk cId="946667118" sldId="10451"/>
            <ac:spMk id="88" creationId="{840038ED-3862-4130-85EF-095858B0A462}"/>
          </ac:spMkLst>
        </pc:spChg>
        <pc:spChg chg="mod">
          <ac:chgData name="Aude Van de WIELE" userId="7317e673-04dd-415c-a4d7-718682339b40" providerId="ADAL" clId="{80D4E734-020D-4C1F-A028-1B9E9B483F9A}" dt="2021-05-25T08:49:50.706" v="9203" actId="790"/>
          <ac:spMkLst>
            <pc:docMk/>
            <pc:sldMk cId="946667118" sldId="10451"/>
            <ac:spMk id="89" creationId="{EC97F917-C6ED-49BD-B1C9-20BEE6567689}"/>
          </ac:spMkLst>
        </pc:spChg>
        <pc:spChg chg="mod">
          <ac:chgData name="Aude Van de WIELE" userId="7317e673-04dd-415c-a4d7-718682339b40" providerId="ADAL" clId="{80D4E734-020D-4C1F-A028-1B9E9B483F9A}" dt="2021-05-25T08:49:50.708" v="9206" actId="790"/>
          <ac:spMkLst>
            <pc:docMk/>
            <pc:sldMk cId="946667118" sldId="10451"/>
            <ac:spMk id="90" creationId="{96560CEF-D75B-4D59-874C-6BA982B2C860}"/>
          </ac:spMkLst>
        </pc:spChg>
        <pc:spChg chg="mod">
          <ac:chgData name="Aude Van de WIELE" userId="7317e673-04dd-415c-a4d7-718682339b40" providerId="ADAL" clId="{80D4E734-020D-4C1F-A028-1B9E9B483F9A}" dt="2021-05-25T08:49:50.715" v="9213" actId="790"/>
          <ac:spMkLst>
            <pc:docMk/>
            <pc:sldMk cId="946667118" sldId="10451"/>
            <ac:spMk id="91" creationId="{8D2702E6-E17A-4FED-A239-52E2A9498B00}"/>
          </ac:spMkLst>
        </pc:spChg>
        <pc:spChg chg="mod">
          <ac:chgData name="Aude Van de WIELE" userId="7317e673-04dd-415c-a4d7-718682339b40" providerId="ADAL" clId="{80D4E734-020D-4C1F-A028-1B9E9B483F9A}" dt="2021-05-25T08:49:50.707" v="9204" actId="790"/>
          <ac:spMkLst>
            <pc:docMk/>
            <pc:sldMk cId="946667118" sldId="10451"/>
            <ac:spMk id="92" creationId="{DF0A93D5-BC60-4E6D-8984-A337ACD37FF2}"/>
          </ac:spMkLst>
        </pc:spChg>
        <pc:spChg chg="mod">
          <ac:chgData name="Aude Van de WIELE" userId="7317e673-04dd-415c-a4d7-718682339b40" providerId="ADAL" clId="{80D4E734-020D-4C1F-A028-1B9E9B483F9A}" dt="2021-05-25T08:49:50.708" v="9205" actId="790"/>
          <ac:spMkLst>
            <pc:docMk/>
            <pc:sldMk cId="946667118" sldId="10451"/>
            <ac:spMk id="93" creationId="{7F3E896D-AB39-44B1-A16F-7968DE41B9E3}"/>
          </ac:spMkLst>
        </pc:spChg>
        <pc:spChg chg="mod">
          <ac:chgData name="Aude Van de WIELE" userId="7317e673-04dd-415c-a4d7-718682339b40" providerId="ADAL" clId="{80D4E734-020D-4C1F-A028-1B9E9B483F9A}" dt="2021-05-25T08:49:50.716" v="9214" actId="790"/>
          <ac:spMkLst>
            <pc:docMk/>
            <pc:sldMk cId="946667118" sldId="10451"/>
            <ac:spMk id="94" creationId="{E3370B19-BD69-449F-9C71-B1EC916BCB38}"/>
          </ac:spMkLst>
        </pc:spChg>
        <pc:spChg chg="mod">
          <ac:chgData name="Aude Van de WIELE" userId="7317e673-04dd-415c-a4d7-718682339b40" providerId="ADAL" clId="{80D4E734-020D-4C1F-A028-1B9E9B483F9A}" dt="2021-05-25T08:49:50.717" v="9215" actId="790"/>
          <ac:spMkLst>
            <pc:docMk/>
            <pc:sldMk cId="946667118" sldId="10451"/>
            <ac:spMk id="95" creationId="{D6DD3635-D8C4-4356-8D38-A092F5B54338}"/>
          </ac:spMkLst>
        </pc:spChg>
        <pc:spChg chg="mod">
          <ac:chgData name="Aude Van de WIELE" userId="7317e673-04dd-415c-a4d7-718682339b40" providerId="ADAL" clId="{80D4E734-020D-4C1F-A028-1B9E9B483F9A}" dt="2021-05-25T08:49:50.717" v="9216" actId="790"/>
          <ac:spMkLst>
            <pc:docMk/>
            <pc:sldMk cId="946667118" sldId="10451"/>
            <ac:spMk id="96" creationId="{3AAADA7A-9ABC-4FE7-9FC3-252DBD9FBA26}"/>
          </ac:spMkLst>
        </pc:spChg>
        <pc:spChg chg="mod">
          <ac:chgData name="Aude Van de WIELE" userId="7317e673-04dd-415c-a4d7-718682339b40" providerId="ADAL" clId="{80D4E734-020D-4C1F-A028-1B9E9B483F9A}" dt="2021-05-25T08:49:50.718" v="9217" actId="790"/>
          <ac:spMkLst>
            <pc:docMk/>
            <pc:sldMk cId="946667118" sldId="10451"/>
            <ac:spMk id="97" creationId="{9DEA2FC9-E544-4C7E-A8E7-A6BBC41C266D}"/>
          </ac:spMkLst>
        </pc:spChg>
        <pc:spChg chg="mod">
          <ac:chgData name="Aude Van de WIELE" userId="7317e673-04dd-415c-a4d7-718682339b40" providerId="ADAL" clId="{80D4E734-020D-4C1F-A028-1B9E9B483F9A}" dt="2021-05-25T08:49:50.719" v="9218" actId="790"/>
          <ac:spMkLst>
            <pc:docMk/>
            <pc:sldMk cId="946667118" sldId="10451"/>
            <ac:spMk id="98" creationId="{A8335C43-B2C8-45C7-9493-1227FD0EFBD4}"/>
          </ac:spMkLst>
        </pc:spChg>
        <pc:spChg chg="mod">
          <ac:chgData name="Aude Van de WIELE" userId="7317e673-04dd-415c-a4d7-718682339b40" providerId="ADAL" clId="{80D4E734-020D-4C1F-A028-1B9E9B483F9A}" dt="2021-05-25T08:49:50.720" v="9219" actId="790"/>
          <ac:spMkLst>
            <pc:docMk/>
            <pc:sldMk cId="946667118" sldId="10451"/>
            <ac:spMk id="99" creationId="{BBF0B7C7-34C0-457C-AB36-80E0926AFC06}"/>
          </ac:spMkLst>
        </pc:spChg>
      </pc:sldChg>
      <pc:sldChg chg="modSp mod">
        <pc:chgData name="Aude Van de WIELE" userId="7317e673-04dd-415c-a4d7-718682339b40" providerId="ADAL" clId="{80D4E734-020D-4C1F-A028-1B9E9B483F9A}" dt="2021-05-25T09:01:24.222" v="9882" actId="33524"/>
        <pc:sldMkLst>
          <pc:docMk/>
          <pc:sldMk cId="3108913814" sldId="10452"/>
        </pc:sldMkLst>
        <pc:spChg chg="mod">
          <ac:chgData name="Aude Van de WIELE" userId="7317e673-04dd-415c-a4d7-718682339b40" providerId="ADAL" clId="{80D4E734-020D-4C1F-A028-1B9E9B483F9A}" dt="2021-05-25T08:49:50.952" v="9395" actId="790"/>
          <ac:spMkLst>
            <pc:docMk/>
            <pc:sldMk cId="3108913814" sldId="10452"/>
            <ac:spMk id="2" creationId="{18B86666-70E5-4DDB-BE3A-A1A5EE6EC10B}"/>
          </ac:spMkLst>
        </pc:spChg>
        <pc:spChg chg="mod">
          <ac:chgData name="Aude Van de WIELE" userId="7317e673-04dd-415c-a4d7-718682339b40" providerId="ADAL" clId="{80D4E734-020D-4C1F-A028-1B9E9B483F9A}" dt="2021-05-25T08:49:50.953" v="9396" actId="790"/>
          <ac:spMkLst>
            <pc:docMk/>
            <pc:sldMk cId="3108913814" sldId="10452"/>
            <ac:spMk id="21" creationId="{376D56F4-F25E-4D83-8351-4EB604D803E7}"/>
          </ac:spMkLst>
        </pc:spChg>
        <pc:spChg chg="mod">
          <ac:chgData name="Aude Van de WIELE" userId="7317e673-04dd-415c-a4d7-718682339b40" providerId="ADAL" clId="{80D4E734-020D-4C1F-A028-1B9E9B483F9A}" dt="2021-05-25T08:49:50.954" v="9397" actId="790"/>
          <ac:spMkLst>
            <pc:docMk/>
            <pc:sldMk cId="3108913814" sldId="10452"/>
            <ac:spMk id="23" creationId="{96C8F86D-3456-4E1A-9A38-058BB931B01D}"/>
          </ac:spMkLst>
        </pc:spChg>
        <pc:spChg chg="mod">
          <ac:chgData name="Aude Van de WIELE" userId="7317e673-04dd-415c-a4d7-718682339b40" providerId="ADAL" clId="{80D4E734-020D-4C1F-A028-1B9E9B483F9A}" dt="2021-05-25T08:49:50.955" v="9398" actId="790"/>
          <ac:spMkLst>
            <pc:docMk/>
            <pc:sldMk cId="3108913814" sldId="10452"/>
            <ac:spMk id="25" creationId="{A24A8565-A5A0-42E3-A297-290DCE3B3F2D}"/>
          </ac:spMkLst>
        </pc:spChg>
        <pc:spChg chg="mod">
          <ac:chgData name="Aude Van de WIELE" userId="7317e673-04dd-415c-a4d7-718682339b40" providerId="ADAL" clId="{80D4E734-020D-4C1F-A028-1B9E9B483F9A}" dt="2021-05-25T09:00:13.500" v="9877" actId="20577"/>
          <ac:spMkLst>
            <pc:docMk/>
            <pc:sldMk cId="3108913814" sldId="10452"/>
            <ac:spMk id="26" creationId="{28DA96F7-E2C7-4A2D-AA69-1753555D7016}"/>
          </ac:spMkLst>
        </pc:spChg>
        <pc:spChg chg="mod">
          <ac:chgData name="Aude Van de WIELE" userId="7317e673-04dd-415c-a4d7-718682339b40" providerId="ADAL" clId="{80D4E734-020D-4C1F-A028-1B9E9B483F9A}" dt="2021-05-25T08:49:50.958" v="9400" actId="790"/>
          <ac:spMkLst>
            <pc:docMk/>
            <pc:sldMk cId="3108913814" sldId="10452"/>
            <ac:spMk id="27" creationId="{E9730100-5BE1-474F-801F-EA2F826D0D02}"/>
          </ac:spMkLst>
        </pc:spChg>
        <pc:spChg chg="mod">
          <ac:chgData name="Aude Van de WIELE" userId="7317e673-04dd-415c-a4d7-718682339b40" providerId="ADAL" clId="{80D4E734-020D-4C1F-A028-1B9E9B483F9A}" dt="2021-05-25T08:49:50.965" v="9401" actId="790"/>
          <ac:spMkLst>
            <pc:docMk/>
            <pc:sldMk cId="3108913814" sldId="10452"/>
            <ac:spMk id="28" creationId="{018147EB-4BD0-4E0A-A4A6-8DAAA4CC078C}"/>
          </ac:spMkLst>
        </pc:spChg>
        <pc:spChg chg="mod">
          <ac:chgData name="Aude Van de WIELE" userId="7317e673-04dd-415c-a4d7-718682339b40" providerId="ADAL" clId="{80D4E734-020D-4C1F-A028-1B9E9B483F9A}" dt="2021-05-25T08:49:50.966" v="9402" actId="790"/>
          <ac:spMkLst>
            <pc:docMk/>
            <pc:sldMk cId="3108913814" sldId="10452"/>
            <ac:spMk id="30" creationId="{8001DDD6-9CE5-4D0C-8EC0-91BDDE316A5D}"/>
          </ac:spMkLst>
        </pc:spChg>
        <pc:spChg chg="mod">
          <ac:chgData name="Aude Van de WIELE" userId="7317e673-04dd-415c-a4d7-718682339b40" providerId="ADAL" clId="{80D4E734-020D-4C1F-A028-1B9E9B483F9A}" dt="2021-05-25T09:00:42.535" v="9881" actId="20577"/>
          <ac:spMkLst>
            <pc:docMk/>
            <pc:sldMk cId="3108913814" sldId="10452"/>
            <ac:spMk id="31" creationId="{603FA0EC-0C51-418F-BA57-6852A8F6B5EC}"/>
          </ac:spMkLst>
        </pc:spChg>
        <pc:spChg chg="mod">
          <ac:chgData name="Aude Van de WIELE" userId="7317e673-04dd-415c-a4d7-718682339b40" providerId="ADAL" clId="{80D4E734-020D-4C1F-A028-1B9E9B483F9A}" dt="2021-05-25T08:49:50.970" v="9404" actId="790"/>
          <ac:spMkLst>
            <pc:docMk/>
            <pc:sldMk cId="3108913814" sldId="10452"/>
            <ac:spMk id="32" creationId="{35FE32B4-8DEE-4D93-8A61-A88C1714C5E9}"/>
          </ac:spMkLst>
        </pc:spChg>
        <pc:spChg chg="mod">
          <ac:chgData name="Aude Van de WIELE" userId="7317e673-04dd-415c-a4d7-718682339b40" providerId="ADAL" clId="{80D4E734-020D-4C1F-A028-1B9E9B483F9A}" dt="2021-05-25T08:49:50.971" v="9405" actId="790"/>
          <ac:spMkLst>
            <pc:docMk/>
            <pc:sldMk cId="3108913814" sldId="10452"/>
            <ac:spMk id="35" creationId="{31FEC7BE-AF8D-439B-B45F-7647E4E57CE3}"/>
          </ac:spMkLst>
        </pc:spChg>
        <pc:spChg chg="mod">
          <ac:chgData name="Aude Van de WIELE" userId="7317e673-04dd-415c-a4d7-718682339b40" providerId="ADAL" clId="{80D4E734-020D-4C1F-A028-1B9E9B483F9A}" dt="2021-05-25T08:49:50.990" v="9419" actId="790"/>
          <ac:spMkLst>
            <pc:docMk/>
            <pc:sldMk cId="3108913814" sldId="10452"/>
            <ac:spMk id="36" creationId="{8C83F8F4-BA09-480F-A569-7FF0322E6749}"/>
          </ac:spMkLst>
        </pc:spChg>
        <pc:spChg chg="mod">
          <ac:chgData name="Aude Van de WIELE" userId="7317e673-04dd-415c-a4d7-718682339b40" providerId="ADAL" clId="{80D4E734-020D-4C1F-A028-1B9E9B483F9A}" dt="2021-05-25T08:49:50.973" v="9406" actId="790"/>
          <ac:spMkLst>
            <pc:docMk/>
            <pc:sldMk cId="3108913814" sldId="10452"/>
            <ac:spMk id="37" creationId="{4C0A9B24-29D4-44A2-B4EE-251402C6EAED}"/>
          </ac:spMkLst>
        </pc:spChg>
        <pc:spChg chg="mod">
          <ac:chgData name="Aude Van de WIELE" userId="7317e673-04dd-415c-a4d7-718682339b40" providerId="ADAL" clId="{80D4E734-020D-4C1F-A028-1B9E9B483F9A}" dt="2021-05-25T08:49:50.974" v="9407" actId="790"/>
          <ac:spMkLst>
            <pc:docMk/>
            <pc:sldMk cId="3108913814" sldId="10452"/>
            <ac:spMk id="38" creationId="{7C36D82C-A126-4E16-8729-C5D8C53B2882}"/>
          </ac:spMkLst>
        </pc:spChg>
        <pc:spChg chg="mod">
          <ac:chgData name="Aude Van de WIELE" userId="7317e673-04dd-415c-a4d7-718682339b40" providerId="ADAL" clId="{80D4E734-020D-4C1F-A028-1B9E9B483F9A}" dt="2021-05-25T08:49:50.977" v="9408" actId="790"/>
          <ac:spMkLst>
            <pc:docMk/>
            <pc:sldMk cId="3108913814" sldId="10452"/>
            <ac:spMk id="39" creationId="{7EF8488B-74C4-4436-B13F-C414A9E4A12B}"/>
          </ac:spMkLst>
        </pc:spChg>
        <pc:spChg chg="mod">
          <ac:chgData name="Aude Van de WIELE" userId="7317e673-04dd-415c-a4d7-718682339b40" providerId="ADAL" clId="{80D4E734-020D-4C1F-A028-1B9E9B483F9A}" dt="2021-05-25T08:49:50.979" v="9409" actId="790"/>
          <ac:spMkLst>
            <pc:docMk/>
            <pc:sldMk cId="3108913814" sldId="10452"/>
            <ac:spMk id="40" creationId="{74209801-38CE-4C71-8B6B-5A90ABA78849}"/>
          </ac:spMkLst>
        </pc:spChg>
        <pc:spChg chg="mod">
          <ac:chgData name="Aude Van de WIELE" userId="7317e673-04dd-415c-a4d7-718682339b40" providerId="ADAL" clId="{80D4E734-020D-4C1F-A028-1B9E9B483F9A}" dt="2021-05-25T08:49:50.991" v="9420" actId="790"/>
          <ac:spMkLst>
            <pc:docMk/>
            <pc:sldMk cId="3108913814" sldId="10452"/>
            <ac:spMk id="41" creationId="{C3BE5946-4EA9-4EBA-98B3-2E7B4346CC7B}"/>
          </ac:spMkLst>
        </pc:spChg>
        <pc:spChg chg="mod">
          <ac:chgData name="Aude Van de WIELE" userId="7317e673-04dd-415c-a4d7-718682339b40" providerId="ADAL" clId="{80D4E734-020D-4C1F-A028-1B9E9B483F9A}" dt="2021-05-25T08:49:50.980" v="9410" actId="790"/>
          <ac:spMkLst>
            <pc:docMk/>
            <pc:sldMk cId="3108913814" sldId="10452"/>
            <ac:spMk id="42" creationId="{9BEA6BB3-7823-46B7-8F99-978C58F27994}"/>
          </ac:spMkLst>
        </pc:spChg>
        <pc:spChg chg="mod">
          <ac:chgData name="Aude Van de WIELE" userId="7317e673-04dd-415c-a4d7-718682339b40" providerId="ADAL" clId="{80D4E734-020D-4C1F-A028-1B9E9B483F9A}" dt="2021-05-25T09:01:24.222" v="9882" actId="33524"/>
          <ac:spMkLst>
            <pc:docMk/>
            <pc:sldMk cId="3108913814" sldId="10452"/>
            <ac:spMk id="43" creationId="{3509C0CA-6733-47F1-9C68-36F5A76A186F}"/>
          </ac:spMkLst>
        </pc:spChg>
        <pc:spChg chg="mod">
          <ac:chgData name="Aude Van de WIELE" userId="7317e673-04dd-415c-a4d7-718682339b40" providerId="ADAL" clId="{80D4E734-020D-4C1F-A028-1B9E9B483F9A}" dt="2021-05-25T08:49:50.984" v="9412" actId="790"/>
          <ac:spMkLst>
            <pc:docMk/>
            <pc:sldMk cId="3108913814" sldId="10452"/>
            <ac:spMk id="44" creationId="{028D5372-11E0-4B6A-AB4E-2F0E62DBE004}"/>
          </ac:spMkLst>
        </pc:spChg>
        <pc:spChg chg="mod">
          <ac:chgData name="Aude Van de WIELE" userId="7317e673-04dd-415c-a4d7-718682339b40" providerId="ADAL" clId="{80D4E734-020D-4C1F-A028-1B9E9B483F9A}" dt="2021-05-25T08:49:50.993" v="9421" actId="790"/>
          <ac:spMkLst>
            <pc:docMk/>
            <pc:sldMk cId="3108913814" sldId="10452"/>
            <ac:spMk id="45" creationId="{FC7F3CBE-50A4-4309-934B-40D538D276D4}"/>
          </ac:spMkLst>
        </pc:spChg>
        <pc:spChg chg="mod">
          <ac:chgData name="Aude Van de WIELE" userId="7317e673-04dd-415c-a4d7-718682339b40" providerId="ADAL" clId="{80D4E734-020D-4C1F-A028-1B9E9B483F9A}" dt="2021-05-25T08:49:50.985" v="9413" actId="790"/>
          <ac:spMkLst>
            <pc:docMk/>
            <pc:sldMk cId="3108913814" sldId="10452"/>
            <ac:spMk id="47" creationId="{2F353796-1633-4991-91E9-0DDC0C5F8959}"/>
          </ac:spMkLst>
        </pc:spChg>
        <pc:spChg chg="mod">
          <ac:chgData name="Aude Van de WIELE" userId="7317e673-04dd-415c-a4d7-718682339b40" providerId="ADAL" clId="{80D4E734-020D-4C1F-A028-1B9E9B483F9A}" dt="2021-05-25T08:49:50.994" v="9422" actId="790"/>
          <ac:spMkLst>
            <pc:docMk/>
            <pc:sldMk cId="3108913814" sldId="10452"/>
            <ac:spMk id="48" creationId="{C9DB6ADF-62CD-463C-9E75-FDF7C77CFBF9}"/>
          </ac:spMkLst>
        </pc:spChg>
        <pc:spChg chg="mod">
          <ac:chgData name="Aude Van de WIELE" userId="7317e673-04dd-415c-a4d7-718682339b40" providerId="ADAL" clId="{80D4E734-020D-4C1F-A028-1B9E9B483F9A}" dt="2021-05-25T08:49:50.995" v="9423" actId="790"/>
          <ac:spMkLst>
            <pc:docMk/>
            <pc:sldMk cId="3108913814" sldId="10452"/>
            <ac:spMk id="49" creationId="{1AE7A9CB-1EFB-49E9-9FE7-187AFF31426B}"/>
          </ac:spMkLst>
        </pc:spChg>
        <pc:spChg chg="mod">
          <ac:chgData name="Aude Van de WIELE" userId="7317e673-04dd-415c-a4d7-718682339b40" providerId="ADAL" clId="{80D4E734-020D-4C1F-A028-1B9E9B483F9A}" dt="2021-05-25T08:49:50.997" v="9424" actId="790"/>
          <ac:spMkLst>
            <pc:docMk/>
            <pc:sldMk cId="3108913814" sldId="10452"/>
            <ac:spMk id="50" creationId="{5E014CA6-C9F2-4731-A89D-FBE8ED541A6F}"/>
          </ac:spMkLst>
        </pc:spChg>
        <pc:spChg chg="mod">
          <ac:chgData name="Aude Van de WIELE" userId="7317e673-04dd-415c-a4d7-718682339b40" providerId="ADAL" clId="{80D4E734-020D-4C1F-A028-1B9E9B483F9A}" dt="2021-05-25T08:49:50.998" v="9425" actId="790"/>
          <ac:spMkLst>
            <pc:docMk/>
            <pc:sldMk cId="3108913814" sldId="10452"/>
            <ac:spMk id="51" creationId="{1B69EFAE-FB0C-427E-924E-3C156D413FCD}"/>
          </ac:spMkLst>
        </pc:spChg>
        <pc:spChg chg="mod">
          <ac:chgData name="Aude Van de WIELE" userId="7317e673-04dd-415c-a4d7-718682339b40" providerId="ADAL" clId="{80D4E734-020D-4C1F-A028-1B9E9B483F9A}" dt="2021-05-25T08:49:50.999" v="9426" actId="790"/>
          <ac:spMkLst>
            <pc:docMk/>
            <pc:sldMk cId="3108913814" sldId="10452"/>
            <ac:spMk id="52" creationId="{61B86BC1-C806-4252-B5F0-E2F5CBA35260}"/>
          </ac:spMkLst>
        </pc:spChg>
        <pc:spChg chg="mod">
          <ac:chgData name="Aude Van de WIELE" userId="7317e673-04dd-415c-a4d7-718682339b40" providerId="ADAL" clId="{80D4E734-020D-4C1F-A028-1B9E9B483F9A}" dt="2021-05-25T08:49:51" v="9427" actId="790"/>
          <ac:spMkLst>
            <pc:docMk/>
            <pc:sldMk cId="3108913814" sldId="10452"/>
            <ac:spMk id="53" creationId="{DC17EEC7-F210-49D9-8893-E87D82ACBC32}"/>
          </ac:spMkLst>
        </pc:spChg>
        <pc:spChg chg="mod">
          <ac:chgData name="Aude Van de WIELE" userId="7317e673-04dd-415c-a4d7-718682339b40" providerId="ADAL" clId="{80D4E734-020D-4C1F-A028-1B9E9B483F9A}" dt="2021-05-25T08:49:51" v="9428" actId="790"/>
          <ac:spMkLst>
            <pc:docMk/>
            <pc:sldMk cId="3108913814" sldId="10452"/>
            <ac:spMk id="55" creationId="{EC3F5A66-E68B-43A0-93DB-3B430BCA31D5}"/>
          </ac:spMkLst>
        </pc:spChg>
        <pc:spChg chg="mod">
          <ac:chgData name="Aude Van de WIELE" userId="7317e673-04dd-415c-a4d7-718682339b40" providerId="ADAL" clId="{80D4E734-020D-4C1F-A028-1B9E9B483F9A}" dt="2021-05-25T08:49:51.001" v="9429" actId="790"/>
          <ac:spMkLst>
            <pc:docMk/>
            <pc:sldMk cId="3108913814" sldId="10452"/>
            <ac:spMk id="56" creationId="{A0A342E7-603A-4DC0-8BAA-F02E91E5BAFF}"/>
          </ac:spMkLst>
        </pc:spChg>
        <pc:spChg chg="mod">
          <ac:chgData name="Aude Van de WIELE" userId="7317e673-04dd-415c-a4d7-718682339b40" providerId="ADAL" clId="{80D4E734-020D-4C1F-A028-1B9E9B483F9A}" dt="2021-05-25T08:49:51.003" v="9430" actId="790"/>
          <ac:spMkLst>
            <pc:docMk/>
            <pc:sldMk cId="3108913814" sldId="10452"/>
            <ac:spMk id="57" creationId="{FCC17861-B572-44BC-8BFD-408331CF20AB}"/>
          </ac:spMkLst>
        </pc:spChg>
        <pc:spChg chg="mod">
          <ac:chgData name="Aude Van de WIELE" userId="7317e673-04dd-415c-a4d7-718682339b40" providerId="ADAL" clId="{80D4E734-020D-4C1F-A028-1B9E9B483F9A}" dt="2021-05-25T08:49:51.004" v="9431" actId="790"/>
          <ac:spMkLst>
            <pc:docMk/>
            <pc:sldMk cId="3108913814" sldId="10452"/>
            <ac:spMk id="58" creationId="{B7E2878B-58C4-44AD-B210-B9058F3C47A8}"/>
          </ac:spMkLst>
        </pc:spChg>
        <pc:spChg chg="mod">
          <ac:chgData name="Aude Van de WIELE" userId="7317e673-04dd-415c-a4d7-718682339b40" providerId="ADAL" clId="{80D4E734-020D-4C1F-A028-1B9E9B483F9A}" dt="2021-05-25T08:49:51.005" v="9432" actId="790"/>
          <ac:spMkLst>
            <pc:docMk/>
            <pc:sldMk cId="3108913814" sldId="10452"/>
            <ac:spMk id="60" creationId="{8C322FD7-EE8D-43A1-8A57-CB95167019D5}"/>
          </ac:spMkLst>
        </pc:spChg>
        <pc:spChg chg="mod">
          <ac:chgData name="Aude Van de WIELE" userId="7317e673-04dd-415c-a4d7-718682339b40" providerId="ADAL" clId="{80D4E734-020D-4C1F-A028-1B9E9B483F9A}" dt="2021-05-25T08:49:50.986" v="9414" actId="790"/>
          <ac:spMkLst>
            <pc:docMk/>
            <pc:sldMk cId="3108913814" sldId="10452"/>
            <ac:spMk id="67" creationId="{50469B1F-7CD7-49B6-AC12-1AF7D67AA284}"/>
          </ac:spMkLst>
        </pc:spChg>
        <pc:spChg chg="mod">
          <ac:chgData name="Aude Van de WIELE" userId="7317e673-04dd-415c-a4d7-718682339b40" providerId="ADAL" clId="{80D4E734-020D-4C1F-A028-1B9E9B483F9A}" dt="2021-05-25T08:49:50.986" v="9415" actId="790"/>
          <ac:spMkLst>
            <pc:docMk/>
            <pc:sldMk cId="3108913814" sldId="10452"/>
            <ac:spMk id="69" creationId="{8CACD0F1-78C5-47DF-9B55-97782025F6F1}"/>
          </ac:spMkLst>
        </pc:spChg>
        <pc:spChg chg="mod">
          <ac:chgData name="Aude Van de WIELE" userId="7317e673-04dd-415c-a4d7-718682339b40" providerId="ADAL" clId="{80D4E734-020D-4C1F-A028-1B9E9B483F9A}" dt="2021-05-25T08:49:50.987" v="9416" actId="790"/>
          <ac:spMkLst>
            <pc:docMk/>
            <pc:sldMk cId="3108913814" sldId="10452"/>
            <ac:spMk id="74" creationId="{878D71E6-9162-44C2-B9C4-B3270F9F1662}"/>
          </ac:spMkLst>
        </pc:spChg>
        <pc:spChg chg="mod">
          <ac:chgData name="Aude Van de WIELE" userId="7317e673-04dd-415c-a4d7-718682339b40" providerId="ADAL" clId="{80D4E734-020D-4C1F-A028-1B9E9B483F9A}" dt="2021-05-25T08:49:50.988" v="9417" actId="790"/>
          <ac:spMkLst>
            <pc:docMk/>
            <pc:sldMk cId="3108913814" sldId="10452"/>
            <ac:spMk id="75" creationId="{4F7820F8-458C-4E27-9B06-2683EAFC9132}"/>
          </ac:spMkLst>
        </pc:spChg>
        <pc:spChg chg="mod">
          <ac:chgData name="Aude Van de WIELE" userId="7317e673-04dd-415c-a4d7-718682339b40" providerId="ADAL" clId="{80D4E734-020D-4C1F-A028-1B9E9B483F9A}" dt="2021-05-25T08:49:50.989" v="9418" actId="790"/>
          <ac:spMkLst>
            <pc:docMk/>
            <pc:sldMk cId="3108913814" sldId="10452"/>
            <ac:spMk id="76" creationId="{7E569FB1-5338-4D77-B044-98449E372EA0}"/>
          </ac:spMkLst>
        </pc:spChg>
      </pc:sldChg>
      <pc:sldChg chg="del mod modShow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3299669485" sldId="10453"/>
        </pc:sldMkLst>
      </pc:sldChg>
      <pc:sldChg chg="modSp mod">
        <pc:chgData name="Aude Van de WIELE" userId="7317e673-04dd-415c-a4d7-718682339b40" providerId="ADAL" clId="{80D4E734-020D-4C1F-A028-1B9E9B483F9A}" dt="2021-05-25T08:49:50.750" v="9247" actId="790"/>
        <pc:sldMkLst>
          <pc:docMk/>
          <pc:sldMk cId="3177853375" sldId="10454"/>
        </pc:sldMkLst>
        <pc:spChg chg="mod">
          <ac:chgData name="Aude Van de WIELE" userId="7317e673-04dd-415c-a4d7-718682339b40" providerId="ADAL" clId="{80D4E734-020D-4C1F-A028-1B9E9B483F9A}" dt="2021-05-25T08:49:50.721" v="9220" actId="790"/>
          <ac:spMkLst>
            <pc:docMk/>
            <pc:sldMk cId="3177853375" sldId="10454"/>
            <ac:spMk id="9" creationId="{D4C396AB-A618-464F-94D0-FDF3162C882F}"/>
          </ac:spMkLst>
        </pc:spChg>
        <pc:spChg chg="mod">
          <ac:chgData name="Aude Van de WIELE" userId="7317e673-04dd-415c-a4d7-718682339b40" providerId="ADAL" clId="{80D4E734-020D-4C1F-A028-1B9E9B483F9A}" dt="2021-05-25T08:49:50.722" v="9221" actId="790"/>
          <ac:spMkLst>
            <pc:docMk/>
            <pc:sldMk cId="3177853375" sldId="10454"/>
            <ac:spMk id="10" creationId="{26804255-20E5-4E94-A4F5-920E329EFCF5}"/>
          </ac:spMkLst>
        </pc:spChg>
        <pc:spChg chg="mod">
          <ac:chgData name="Aude Van de WIELE" userId="7317e673-04dd-415c-a4d7-718682339b40" providerId="ADAL" clId="{80D4E734-020D-4C1F-A028-1B9E9B483F9A}" dt="2021-05-25T08:49:50.723" v="9222" actId="790"/>
          <ac:spMkLst>
            <pc:docMk/>
            <pc:sldMk cId="3177853375" sldId="10454"/>
            <ac:spMk id="11" creationId="{366B7BDF-4463-42BD-A85C-F01387D4E694}"/>
          </ac:spMkLst>
        </pc:spChg>
        <pc:spChg chg="mod">
          <ac:chgData name="Aude Van de WIELE" userId="7317e673-04dd-415c-a4d7-718682339b40" providerId="ADAL" clId="{80D4E734-020D-4C1F-A028-1B9E9B483F9A}" dt="2021-05-25T08:49:50.724" v="9223" actId="790"/>
          <ac:spMkLst>
            <pc:docMk/>
            <pc:sldMk cId="3177853375" sldId="10454"/>
            <ac:spMk id="12" creationId="{9FC46527-9943-4603-A87B-832AB4E5463F}"/>
          </ac:spMkLst>
        </pc:spChg>
        <pc:spChg chg="mod">
          <ac:chgData name="Aude Van de WIELE" userId="7317e673-04dd-415c-a4d7-718682339b40" providerId="ADAL" clId="{80D4E734-020D-4C1F-A028-1B9E9B483F9A}" dt="2021-05-25T08:49:50.725" v="9224" actId="790"/>
          <ac:spMkLst>
            <pc:docMk/>
            <pc:sldMk cId="3177853375" sldId="10454"/>
            <ac:spMk id="13" creationId="{1B4BF4F1-8F5E-4892-AC86-2A3F1E191766}"/>
          </ac:spMkLst>
        </pc:spChg>
        <pc:spChg chg="mod">
          <ac:chgData name="Aude Van de WIELE" userId="7317e673-04dd-415c-a4d7-718682339b40" providerId="ADAL" clId="{80D4E734-020D-4C1F-A028-1B9E9B483F9A}" dt="2021-05-25T08:49:50.726" v="9225" actId="790"/>
          <ac:spMkLst>
            <pc:docMk/>
            <pc:sldMk cId="3177853375" sldId="10454"/>
            <ac:spMk id="14" creationId="{54A347A6-C1C0-427E-9F0F-E67A7A34B869}"/>
          </ac:spMkLst>
        </pc:spChg>
        <pc:spChg chg="mod">
          <ac:chgData name="Aude Van de WIELE" userId="7317e673-04dd-415c-a4d7-718682339b40" providerId="ADAL" clId="{80D4E734-020D-4C1F-A028-1B9E9B483F9A}" dt="2021-05-25T08:49:50.728" v="9226" actId="790"/>
          <ac:spMkLst>
            <pc:docMk/>
            <pc:sldMk cId="3177853375" sldId="10454"/>
            <ac:spMk id="18" creationId="{5A81D160-8721-446A-9C5E-3BA38AA2B941}"/>
          </ac:spMkLst>
        </pc:spChg>
        <pc:spChg chg="mod">
          <ac:chgData name="Aude Van de WIELE" userId="7317e673-04dd-415c-a4d7-718682339b40" providerId="ADAL" clId="{80D4E734-020D-4C1F-A028-1B9E9B483F9A}" dt="2021-05-25T08:49:50.741" v="9237" actId="790"/>
          <ac:spMkLst>
            <pc:docMk/>
            <pc:sldMk cId="3177853375" sldId="10454"/>
            <ac:spMk id="29" creationId="{453B5121-2F30-4856-BBAB-A6B2A2C01B1A}"/>
          </ac:spMkLst>
        </pc:spChg>
        <pc:spChg chg="mod">
          <ac:chgData name="Aude Van de WIELE" userId="7317e673-04dd-415c-a4d7-718682339b40" providerId="ADAL" clId="{80D4E734-020D-4C1F-A028-1B9E9B483F9A}" dt="2021-05-25T08:49:50.742" v="9238" actId="790"/>
          <ac:spMkLst>
            <pc:docMk/>
            <pc:sldMk cId="3177853375" sldId="10454"/>
            <ac:spMk id="30" creationId="{4D7E7903-219D-47CD-B212-5CA1BC312954}"/>
          </ac:spMkLst>
        </pc:spChg>
        <pc:spChg chg="mod">
          <ac:chgData name="Aude Van de WIELE" userId="7317e673-04dd-415c-a4d7-718682339b40" providerId="ADAL" clId="{80D4E734-020D-4C1F-A028-1B9E9B483F9A}" dt="2021-05-25T08:49:50.743" v="9239" actId="790"/>
          <ac:spMkLst>
            <pc:docMk/>
            <pc:sldMk cId="3177853375" sldId="10454"/>
            <ac:spMk id="32" creationId="{3513B82D-EADB-4B0E-8C19-EAA01998F7D8}"/>
          </ac:spMkLst>
        </pc:spChg>
        <pc:spChg chg="mod">
          <ac:chgData name="Aude Van de WIELE" userId="7317e673-04dd-415c-a4d7-718682339b40" providerId="ADAL" clId="{80D4E734-020D-4C1F-A028-1B9E9B483F9A}" dt="2021-05-25T08:49:50.729" v="9227" actId="790"/>
          <ac:spMkLst>
            <pc:docMk/>
            <pc:sldMk cId="3177853375" sldId="10454"/>
            <ac:spMk id="40" creationId="{4B65849B-86CA-4D71-9950-D0231A4AC02F}"/>
          </ac:spMkLst>
        </pc:spChg>
        <pc:spChg chg="mod">
          <ac:chgData name="Aude Van de WIELE" userId="7317e673-04dd-415c-a4d7-718682339b40" providerId="ADAL" clId="{80D4E734-020D-4C1F-A028-1B9E9B483F9A}" dt="2021-05-25T08:49:50.730" v="9228" actId="790"/>
          <ac:spMkLst>
            <pc:docMk/>
            <pc:sldMk cId="3177853375" sldId="10454"/>
            <ac:spMk id="41" creationId="{41D3736C-17D5-407B-A454-92BA4EEBEE51}"/>
          </ac:spMkLst>
        </pc:spChg>
        <pc:spChg chg="mod">
          <ac:chgData name="Aude Van de WIELE" userId="7317e673-04dd-415c-a4d7-718682339b40" providerId="ADAL" clId="{80D4E734-020D-4C1F-A028-1B9E9B483F9A}" dt="2021-05-25T08:49:50.732" v="9229" actId="790"/>
          <ac:spMkLst>
            <pc:docMk/>
            <pc:sldMk cId="3177853375" sldId="10454"/>
            <ac:spMk id="42" creationId="{5985DB3D-7C62-4A85-926C-852C05193A03}"/>
          </ac:spMkLst>
        </pc:spChg>
        <pc:spChg chg="mod">
          <ac:chgData name="Aude Van de WIELE" userId="7317e673-04dd-415c-a4d7-718682339b40" providerId="ADAL" clId="{80D4E734-020D-4C1F-A028-1B9E9B483F9A}" dt="2021-05-25T08:49:50.733" v="9230" actId="790"/>
          <ac:spMkLst>
            <pc:docMk/>
            <pc:sldMk cId="3177853375" sldId="10454"/>
            <ac:spMk id="43" creationId="{C7726A82-A9BE-4C03-AB6C-1A867B76F0A5}"/>
          </ac:spMkLst>
        </pc:spChg>
        <pc:spChg chg="mod">
          <ac:chgData name="Aude Van de WIELE" userId="7317e673-04dd-415c-a4d7-718682339b40" providerId="ADAL" clId="{80D4E734-020D-4C1F-A028-1B9E9B483F9A}" dt="2021-05-25T08:49:50.734" v="9231" actId="790"/>
          <ac:spMkLst>
            <pc:docMk/>
            <pc:sldMk cId="3177853375" sldId="10454"/>
            <ac:spMk id="44" creationId="{64EA8B46-EDBA-492C-8605-0C57BB873C71}"/>
          </ac:spMkLst>
        </pc:spChg>
        <pc:spChg chg="mod">
          <ac:chgData name="Aude Van de WIELE" userId="7317e673-04dd-415c-a4d7-718682339b40" providerId="ADAL" clId="{80D4E734-020D-4C1F-A028-1B9E9B483F9A}" dt="2021-05-25T08:49:50.735" v="9232" actId="790"/>
          <ac:spMkLst>
            <pc:docMk/>
            <pc:sldMk cId="3177853375" sldId="10454"/>
            <ac:spMk id="48" creationId="{C242D873-E73A-46FF-88E4-4F7FF592F386}"/>
          </ac:spMkLst>
        </pc:spChg>
        <pc:spChg chg="mod">
          <ac:chgData name="Aude Van de WIELE" userId="7317e673-04dd-415c-a4d7-718682339b40" providerId="ADAL" clId="{80D4E734-020D-4C1F-A028-1B9E9B483F9A}" dt="2021-05-25T08:49:50.737" v="9233" actId="790"/>
          <ac:spMkLst>
            <pc:docMk/>
            <pc:sldMk cId="3177853375" sldId="10454"/>
            <ac:spMk id="49" creationId="{5B79BA09-24AF-4DD4-A40D-1BA5E697B06D}"/>
          </ac:spMkLst>
        </pc:spChg>
        <pc:spChg chg="mod">
          <ac:chgData name="Aude Van de WIELE" userId="7317e673-04dd-415c-a4d7-718682339b40" providerId="ADAL" clId="{80D4E734-020D-4C1F-A028-1B9E9B483F9A}" dt="2021-05-25T08:49:50.738" v="9234" actId="790"/>
          <ac:spMkLst>
            <pc:docMk/>
            <pc:sldMk cId="3177853375" sldId="10454"/>
            <ac:spMk id="50" creationId="{2D78B40F-EBB8-4307-9278-EC1CE8575E76}"/>
          </ac:spMkLst>
        </pc:spChg>
        <pc:spChg chg="mod">
          <ac:chgData name="Aude Van de WIELE" userId="7317e673-04dd-415c-a4d7-718682339b40" providerId="ADAL" clId="{80D4E734-020D-4C1F-A028-1B9E9B483F9A}" dt="2021-05-25T08:49:50.739" v="9235" actId="790"/>
          <ac:spMkLst>
            <pc:docMk/>
            <pc:sldMk cId="3177853375" sldId="10454"/>
            <ac:spMk id="51" creationId="{38A00563-F0E4-4DD2-BCC0-2CE8730B5ECB}"/>
          </ac:spMkLst>
        </pc:spChg>
        <pc:spChg chg="mod">
          <ac:chgData name="Aude Van de WIELE" userId="7317e673-04dd-415c-a4d7-718682339b40" providerId="ADAL" clId="{80D4E734-020D-4C1F-A028-1B9E9B483F9A}" dt="2021-05-25T08:49:50.740" v="9236" actId="790"/>
          <ac:spMkLst>
            <pc:docMk/>
            <pc:sldMk cId="3177853375" sldId="10454"/>
            <ac:spMk id="52" creationId="{FF17630E-6039-47E0-A099-F9AF44449B48}"/>
          </ac:spMkLst>
        </pc:spChg>
        <pc:spChg chg="mod">
          <ac:chgData name="Aude Van de WIELE" userId="7317e673-04dd-415c-a4d7-718682339b40" providerId="ADAL" clId="{80D4E734-020D-4C1F-A028-1B9E9B483F9A}" dt="2021-05-25T08:49:50.744" v="9240" actId="790"/>
          <ac:spMkLst>
            <pc:docMk/>
            <pc:sldMk cId="3177853375" sldId="10454"/>
            <ac:spMk id="56" creationId="{AB37E254-CB07-4E2F-8C11-BC55A2502367}"/>
          </ac:spMkLst>
        </pc:spChg>
        <pc:spChg chg="mod">
          <ac:chgData name="Aude Van de WIELE" userId="7317e673-04dd-415c-a4d7-718682339b40" providerId="ADAL" clId="{80D4E734-020D-4C1F-A028-1B9E9B483F9A}" dt="2021-05-25T08:49:50.745" v="9241" actId="790"/>
          <ac:spMkLst>
            <pc:docMk/>
            <pc:sldMk cId="3177853375" sldId="10454"/>
            <ac:spMk id="57" creationId="{DA45594E-7518-40CF-BAF6-8C01EF7D5755}"/>
          </ac:spMkLst>
        </pc:spChg>
        <pc:spChg chg="mod">
          <ac:chgData name="Aude Van de WIELE" userId="7317e673-04dd-415c-a4d7-718682339b40" providerId="ADAL" clId="{80D4E734-020D-4C1F-A028-1B9E9B483F9A}" dt="2021-05-25T08:49:50.746" v="9242" actId="790"/>
          <ac:spMkLst>
            <pc:docMk/>
            <pc:sldMk cId="3177853375" sldId="10454"/>
            <ac:spMk id="58" creationId="{C29803E8-FBC2-483B-A68E-EABEA041F3DA}"/>
          </ac:spMkLst>
        </pc:spChg>
        <pc:spChg chg="mod">
          <ac:chgData name="Aude Van de WIELE" userId="7317e673-04dd-415c-a4d7-718682339b40" providerId="ADAL" clId="{80D4E734-020D-4C1F-A028-1B9E9B483F9A}" dt="2021-05-25T08:49:50.746" v="9243" actId="790"/>
          <ac:spMkLst>
            <pc:docMk/>
            <pc:sldMk cId="3177853375" sldId="10454"/>
            <ac:spMk id="59" creationId="{CFE36E34-7946-43BC-85F5-FE04E45C3AC6}"/>
          </ac:spMkLst>
        </pc:spChg>
        <pc:spChg chg="mod">
          <ac:chgData name="Aude Van de WIELE" userId="7317e673-04dd-415c-a4d7-718682339b40" providerId="ADAL" clId="{80D4E734-020D-4C1F-A028-1B9E9B483F9A}" dt="2021-05-25T08:49:50.747" v="9244" actId="790"/>
          <ac:spMkLst>
            <pc:docMk/>
            <pc:sldMk cId="3177853375" sldId="10454"/>
            <ac:spMk id="60" creationId="{1D91D4A3-076B-46A0-94A1-79814D2920AE}"/>
          </ac:spMkLst>
        </pc:spChg>
        <pc:spChg chg="mod">
          <ac:chgData name="Aude Van de WIELE" userId="7317e673-04dd-415c-a4d7-718682339b40" providerId="ADAL" clId="{80D4E734-020D-4C1F-A028-1B9E9B483F9A}" dt="2021-05-25T08:49:50.749" v="9245" actId="790"/>
          <ac:spMkLst>
            <pc:docMk/>
            <pc:sldMk cId="3177853375" sldId="10454"/>
            <ac:spMk id="61" creationId="{4FBB2CFE-59BF-413A-9854-073D18C4744D}"/>
          </ac:spMkLst>
        </pc:spChg>
        <pc:spChg chg="mod">
          <ac:chgData name="Aude Van de WIELE" userId="7317e673-04dd-415c-a4d7-718682339b40" providerId="ADAL" clId="{80D4E734-020D-4C1F-A028-1B9E9B483F9A}" dt="2021-05-25T08:49:50.749" v="9246" actId="790"/>
          <ac:spMkLst>
            <pc:docMk/>
            <pc:sldMk cId="3177853375" sldId="10454"/>
            <ac:spMk id="62" creationId="{5E8D6078-1C50-49DC-8AC6-5BE1132E09D1}"/>
          </ac:spMkLst>
        </pc:spChg>
        <pc:spChg chg="mod">
          <ac:chgData name="Aude Van de WIELE" userId="7317e673-04dd-415c-a4d7-718682339b40" providerId="ADAL" clId="{80D4E734-020D-4C1F-A028-1B9E9B483F9A}" dt="2021-05-25T08:49:50.750" v="9247" actId="790"/>
          <ac:spMkLst>
            <pc:docMk/>
            <pc:sldMk cId="3177853375" sldId="10454"/>
            <ac:spMk id="63" creationId="{81F420AF-FDD5-4D82-AB93-DB2EA1AF7D88}"/>
          </ac:spMkLst>
        </pc:spChg>
      </pc:sldChg>
      <pc:sldChg chg="addSp modSp del mod">
        <pc:chgData name="Aude Van de WIELE" userId="7317e673-04dd-415c-a4d7-718682339b40" providerId="ADAL" clId="{80D4E734-020D-4C1F-A028-1B9E9B483F9A}" dt="2021-05-24T11:45:53.276" v="2494" actId="47"/>
        <pc:sldMkLst>
          <pc:docMk/>
          <pc:sldMk cId="2330696453" sldId="10455"/>
        </pc:sldMkLst>
        <pc:spChg chg="add mod">
          <ac:chgData name="Aude Van de WIELE" userId="7317e673-04dd-415c-a4d7-718682339b40" providerId="ADAL" clId="{80D4E734-020D-4C1F-A028-1B9E9B483F9A}" dt="2021-05-24T11:45:20.300" v="2489"/>
          <ac:spMkLst>
            <pc:docMk/>
            <pc:sldMk cId="2330696453" sldId="10455"/>
            <ac:spMk id="121" creationId="{E32C2E6B-1016-414E-BDBE-57B3315E72C4}"/>
          </ac:spMkLst>
        </pc:spChg>
        <pc:spChg chg="mod">
          <ac:chgData name="Aude Van de WIELE" userId="7317e673-04dd-415c-a4d7-718682339b40" providerId="ADAL" clId="{80D4E734-020D-4C1F-A028-1B9E9B483F9A}" dt="2021-05-24T11:44:50.612" v="2482" actId="14100"/>
          <ac:spMkLst>
            <pc:docMk/>
            <pc:sldMk cId="2330696453" sldId="10455"/>
            <ac:spMk id="434" creationId="{7F9A7766-BCA7-4A19-AC45-1019C0EB77E6}"/>
          </ac:spMkLst>
        </pc:spChg>
      </pc:sldChg>
      <pc:sldChg chg="modSp mod">
        <pc:chgData name="Aude Van de WIELE" userId="7317e673-04dd-415c-a4d7-718682339b40" providerId="ADAL" clId="{80D4E734-020D-4C1F-A028-1B9E9B483F9A}" dt="2021-05-25T08:49:48.185" v="7087" actId="790"/>
        <pc:sldMkLst>
          <pc:docMk/>
          <pc:sldMk cId="3875425083" sldId="10457"/>
        </pc:sldMkLst>
        <pc:spChg chg="mod">
          <ac:chgData name="Aude Van de WIELE" userId="7317e673-04dd-415c-a4d7-718682339b40" providerId="ADAL" clId="{80D4E734-020D-4C1F-A028-1B9E9B483F9A}" dt="2021-05-25T08:49:48.177" v="7080" actId="790"/>
          <ac:spMkLst>
            <pc:docMk/>
            <pc:sldMk cId="3875425083" sldId="10457"/>
            <ac:spMk id="3" creationId="{744C9668-D38F-4DBF-9AE2-129AFE4443E6}"/>
          </ac:spMkLst>
        </pc:spChg>
        <pc:spChg chg="mod">
          <ac:chgData name="Aude Van de WIELE" userId="7317e673-04dd-415c-a4d7-718682339b40" providerId="ADAL" clId="{80D4E734-020D-4C1F-A028-1B9E9B483F9A}" dt="2021-05-25T08:49:48.178" v="7081" actId="790"/>
          <ac:spMkLst>
            <pc:docMk/>
            <pc:sldMk cId="3875425083" sldId="10457"/>
            <ac:spMk id="4" creationId="{B1DD5068-1806-4730-9DB9-278C1A572145}"/>
          </ac:spMkLst>
        </pc:spChg>
        <pc:spChg chg="mod">
          <ac:chgData name="Aude Van de WIELE" userId="7317e673-04dd-415c-a4d7-718682339b40" providerId="ADAL" clId="{80D4E734-020D-4C1F-A028-1B9E9B483F9A}" dt="2021-05-25T08:49:48.179" v="7082" actId="790"/>
          <ac:spMkLst>
            <pc:docMk/>
            <pc:sldMk cId="3875425083" sldId="10457"/>
            <ac:spMk id="5" creationId="{3043F534-C5C5-4371-A080-3E7D382D4691}"/>
          </ac:spMkLst>
        </pc:spChg>
        <pc:spChg chg="mod">
          <ac:chgData name="Aude Van de WIELE" userId="7317e673-04dd-415c-a4d7-718682339b40" providerId="ADAL" clId="{80D4E734-020D-4C1F-A028-1B9E9B483F9A}" dt="2021-05-25T08:49:48.185" v="7087" actId="790"/>
          <ac:spMkLst>
            <pc:docMk/>
            <pc:sldMk cId="3875425083" sldId="10457"/>
            <ac:spMk id="7" creationId="{9DCBC619-97D3-4FF1-B9FE-CBEF775B63E5}"/>
          </ac:spMkLst>
        </pc:spChg>
        <pc:spChg chg="mod">
          <ac:chgData name="Aude Van de WIELE" userId="7317e673-04dd-415c-a4d7-718682339b40" providerId="ADAL" clId="{80D4E734-020D-4C1F-A028-1B9E9B483F9A}" dt="2021-05-25T08:49:48.180" v="7083" actId="790"/>
          <ac:spMkLst>
            <pc:docMk/>
            <pc:sldMk cId="3875425083" sldId="10457"/>
            <ac:spMk id="18" creationId="{76F36889-FDFC-4A3B-99A2-030305287A37}"/>
          </ac:spMkLst>
        </pc:spChg>
        <pc:spChg chg="mod">
          <ac:chgData name="Aude Van de WIELE" userId="7317e673-04dd-415c-a4d7-718682339b40" providerId="ADAL" clId="{80D4E734-020D-4C1F-A028-1B9E9B483F9A}" dt="2021-05-25T08:49:48.181" v="7084" actId="790"/>
          <ac:spMkLst>
            <pc:docMk/>
            <pc:sldMk cId="3875425083" sldId="10457"/>
            <ac:spMk id="20" creationId="{9DECDA42-DA1B-4765-9DB2-026DA5BE2D89}"/>
          </ac:spMkLst>
        </pc:spChg>
        <pc:spChg chg="mod">
          <ac:chgData name="Aude Van de WIELE" userId="7317e673-04dd-415c-a4d7-718682339b40" providerId="ADAL" clId="{80D4E734-020D-4C1F-A028-1B9E9B483F9A}" dt="2021-05-25T08:49:48.183" v="7085" actId="790"/>
          <ac:spMkLst>
            <pc:docMk/>
            <pc:sldMk cId="3875425083" sldId="10457"/>
            <ac:spMk id="22" creationId="{C002634F-3FA9-4AC3-90E2-0D253FC97BF7}"/>
          </ac:spMkLst>
        </pc:spChg>
        <pc:spChg chg="mod">
          <ac:chgData name="Aude Van de WIELE" userId="7317e673-04dd-415c-a4d7-718682339b40" providerId="ADAL" clId="{80D4E734-020D-4C1F-A028-1B9E9B483F9A}" dt="2021-05-25T08:49:48.183" v="7086" actId="790"/>
          <ac:spMkLst>
            <pc:docMk/>
            <pc:sldMk cId="3875425083" sldId="10457"/>
            <ac:spMk id="24" creationId="{9523976D-7994-4445-A7A3-F04F6C533708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13:36:05.289" v="12766" actId="113"/>
        <pc:sldMkLst>
          <pc:docMk/>
          <pc:sldMk cId="2117336307" sldId="10458"/>
        </pc:sldMkLst>
        <pc:spChg chg="mod">
          <ac:chgData name="Aude Van de WIELE" userId="7317e673-04dd-415c-a4d7-718682339b40" providerId="ADAL" clId="{80D4E734-020D-4C1F-A028-1B9E9B483F9A}" dt="2021-05-25T08:49:48.234" v="7127" actId="790"/>
          <ac:spMkLst>
            <pc:docMk/>
            <pc:sldMk cId="2117336307" sldId="10458"/>
            <ac:spMk id="2" creationId="{97E194A7-6D37-418C-9122-DDE304798BEF}"/>
          </ac:spMkLst>
        </pc:spChg>
        <pc:spChg chg="mod">
          <ac:chgData name="Aude Van de WIELE" userId="7317e673-04dd-415c-a4d7-718682339b40" providerId="ADAL" clId="{80D4E734-020D-4C1F-A028-1B9E9B483F9A}" dt="2021-05-25T08:49:48.236" v="7128" actId="790"/>
          <ac:spMkLst>
            <pc:docMk/>
            <pc:sldMk cId="2117336307" sldId="10458"/>
            <ac:spMk id="3" creationId="{8CF4F83C-DF06-481B-B47A-FD3FB9938753}"/>
          </ac:spMkLst>
        </pc:spChg>
        <pc:spChg chg="mod">
          <ac:chgData name="Aude Van de WIELE" userId="7317e673-04dd-415c-a4d7-718682339b40" providerId="ADAL" clId="{80D4E734-020D-4C1F-A028-1B9E9B483F9A}" dt="2021-05-25T08:49:48.237" v="7129" actId="790"/>
          <ac:spMkLst>
            <pc:docMk/>
            <pc:sldMk cId="2117336307" sldId="10458"/>
            <ac:spMk id="4" creationId="{9A211B58-FC94-42D9-B8A5-6D5DF998B3F7}"/>
          </ac:spMkLst>
        </pc:spChg>
        <pc:spChg chg="mod">
          <ac:chgData name="Aude Van de WIELE" userId="7317e673-04dd-415c-a4d7-718682339b40" providerId="ADAL" clId="{80D4E734-020D-4C1F-A028-1B9E9B483F9A}" dt="2021-05-25T08:49:48.238" v="7130" actId="790"/>
          <ac:spMkLst>
            <pc:docMk/>
            <pc:sldMk cId="2117336307" sldId="10458"/>
            <ac:spMk id="5" creationId="{C25708FA-3E9E-4816-9525-DFB86044AD07}"/>
          </ac:spMkLst>
        </pc:spChg>
        <pc:spChg chg="del mod">
          <ac:chgData name="Aude Van de WIELE" userId="7317e673-04dd-415c-a4d7-718682339b40" providerId="ADAL" clId="{80D4E734-020D-4C1F-A028-1B9E9B483F9A}" dt="2021-05-25T09:38:24.409" v="9968" actId="478"/>
          <ac:spMkLst>
            <pc:docMk/>
            <pc:sldMk cId="2117336307" sldId="10458"/>
            <ac:spMk id="6" creationId="{A4BC731C-26C0-4283-BB4E-50D5B1717FE8}"/>
          </ac:spMkLst>
        </pc:spChg>
        <pc:spChg chg="mod">
          <ac:chgData name="Aude Van de WIELE" userId="7317e673-04dd-415c-a4d7-718682339b40" providerId="ADAL" clId="{80D4E734-020D-4C1F-A028-1B9E9B483F9A}" dt="2021-05-25T08:49:48.240" v="7132" actId="790"/>
          <ac:spMkLst>
            <pc:docMk/>
            <pc:sldMk cId="2117336307" sldId="10458"/>
            <ac:spMk id="7" creationId="{5FF043EB-3601-4C22-9167-48A1A3AE1F94}"/>
          </ac:spMkLst>
        </pc:spChg>
        <pc:spChg chg="mod">
          <ac:chgData name="Aude Van de WIELE" userId="7317e673-04dd-415c-a4d7-718682339b40" providerId="ADAL" clId="{80D4E734-020D-4C1F-A028-1B9E9B483F9A}" dt="2021-05-25T08:49:48.240" v="7133" actId="790"/>
          <ac:spMkLst>
            <pc:docMk/>
            <pc:sldMk cId="2117336307" sldId="10458"/>
            <ac:spMk id="8" creationId="{FFBB7020-4421-4CFB-9AD5-1893BFC8D2F0}"/>
          </ac:spMkLst>
        </pc:spChg>
        <pc:spChg chg="mod">
          <ac:chgData name="Aude Van de WIELE" userId="7317e673-04dd-415c-a4d7-718682339b40" providerId="ADAL" clId="{80D4E734-020D-4C1F-A028-1B9E9B483F9A}" dt="2021-05-25T08:49:48.241" v="7134" actId="790"/>
          <ac:spMkLst>
            <pc:docMk/>
            <pc:sldMk cId="2117336307" sldId="10458"/>
            <ac:spMk id="9" creationId="{F751E742-ACE5-4311-BEC7-8D8A10732879}"/>
          </ac:spMkLst>
        </pc:spChg>
        <pc:spChg chg="mod">
          <ac:chgData name="Aude Van de WIELE" userId="7317e673-04dd-415c-a4d7-718682339b40" providerId="ADAL" clId="{80D4E734-020D-4C1F-A028-1B9E9B483F9A}" dt="2021-05-25T08:49:48.242" v="7135" actId="790"/>
          <ac:spMkLst>
            <pc:docMk/>
            <pc:sldMk cId="2117336307" sldId="10458"/>
            <ac:spMk id="10" creationId="{4DF43315-8157-40B9-831B-B3F41D276556}"/>
          </ac:spMkLst>
        </pc:spChg>
        <pc:spChg chg="mod">
          <ac:chgData name="Aude Van de WIELE" userId="7317e673-04dd-415c-a4d7-718682339b40" providerId="ADAL" clId="{80D4E734-020D-4C1F-A028-1B9E9B483F9A}" dt="2021-05-25T08:49:48.243" v="7136" actId="790"/>
          <ac:spMkLst>
            <pc:docMk/>
            <pc:sldMk cId="2117336307" sldId="10458"/>
            <ac:spMk id="11" creationId="{C6B0A0A6-7DC1-446E-A970-1C78FE7B05E7}"/>
          </ac:spMkLst>
        </pc:spChg>
        <pc:spChg chg="mod">
          <ac:chgData name="Aude Van de WIELE" userId="7317e673-04dd-415c-a4d7-718682339b40" providerId="ADAL" clId="{80D4E734-020D-4C1F-A028-1B9E9B483F9A}" dt="2021-05-25T08:49:48.243" v="7137" actId="790"/>
          <ac:spMkLst>
            <pc:docMk/>
            <pc:sldMk cId="2117336307" sldId="10458"/>
            <ac:spMk id="12" creationId="{67693F63-D872-4044-ADB2-C400E44ED05F}"/>
          </ac:spMkLst>
        </pc:spChg>
        <pc:spChg chg="mod">
          <ac:chgData name="Aude Van de WIELE" userId="7317e673-04dd-415c-a4d7-718682339b40" providerId="ADAL" clId="{80D4E734-020D-4C1F-A028-1B9E9B483F9A}" dt="2021-05-25T08:49:48.244" v="7138" actId="790"/>
          <ac:spMkLst>
            <pc:docMk/>
            <pc:sldMk cId="2117336307" sldId="10458"/>
            <ac:spMk id="13" creationId="{FFD2313E-5B14-4DD1-BDBA-9C5889D66C73}"/>
          </ac:spMkLst>
        </pc:spChg>
        <pc:spChg chg="mod">
          <ac:chgData name="Aude Van de WIELE" userId="7317e673-04dd-415c-a4d7-718682339b40" providerId="ADAL" clId="{80D4E734-020D-4C1F-A028-1B9E9B483F9A}" dt="2021-05-25T08:49:48.245" v="7139" actId="790"/>
          <ac:spMkLst>
            <pc:docMk/>
            <pc:sldMk cId="2117336307" sldId="10458"/>
            <ac:spMk id="14" creationId="{329454EA-414E-4AC5-80E0-57789AEC3CB6}"/>
          </ac:spMkLst>
        </pc:spChg>
        <pc:spChg chg="mod">
          <ac:chgData name="Aude Van de WIELE" userId="7317e673-04dd-415c-a4d7-718682339b40" providerId="ADAL" clId="{80D4E734-020D-4C1F-A028-1B9E9B483F9A}" dt="2021-05-25T08:49:48.246" v="7140" actId="790"/>
          <ac:spMkLst>
            <pc:docMk/>
            <pc:sldMk cId="2117336307" sldId="10458"/>
            <ac:spMk id="15" creationId="{74475D91-FAA9-4481-BB90-C143AB2CF6AD}"/>
          </ac:spMkLst>
        </pc:spChg>
        <pc:spChg chg="mod">
          <ac:chgData name="Aude Van de WIELE" userId="7317e673-04dd-415c-a4d7-718682339b40" providerId="ADAL" clId="{80D4E734-020D-4C1F-A028-1B9E9B483F9A}" dt="2021-05-25T08:49:48.247" v="7141" actId="790"/>
          <ac:spMkLst>
            <pc:docMk/>
            <pc:sldMk cId="2117336307" sldId="10458"/>
            <ac:spMk id="16" creationId="{C3B5A392-C953-443D-83BE-3BA88F87E568}"/>
          </ac:spMkLst>
        </pc:spChg>
        <pc:spChg chg="mod">
          <ac:chgData name="Aude Van de WIELE" userId="7317e673-04dd-415c-a4d7-718682339b40" providerId="ADAL" clId="{80D4E734-020D-4C1F-A028-1B9E9B483F9A}" dt="2021-05-25T08:49:48.247" v="7142" actId="790"/>
          <ac:spMkLst>
            <pc:docMk/>
            <pc:sldMk cId="2117336307" sldId="10458"/>
            <ac:spMk id="17" creationId="{08602E73-CEE9-4D0A-8C3F-5D734DA21856}"/>
          </ac:spMkLst>
        </pc:spChg>
        <pc:spChg chg="del">
          <ac:chgData name="Aude Van de WIELE" userId="7317e673-04dd-415c-a4d7-718682339b40" providerId="ADAL" clId="{80D4E734-020D-4C1F-A028-1B9E9B483F9A}" dt="2021-05-24T12:37:15.010" v="3246" actId="478"/>
          <ac:spMkLst>
            <pc:docMk/>
            <pc:sldMk cId="2117336307" sldId="10458"/>
            <ac:spMk id="18" creationId="{D961A7BD-272D-4FEC-9E2B-02B8F98DF182}"/>
          </ac:spMkLst>
        </pc:spChg>
        <pc:spChg chg="del mod">
          <ac:chgData name="Aude Van de WIELE" userId="7317e673-04dd-415c-a4d7-718682339b40" providerId="ADAL" clId="{80D4E734-020D-4C1F-A028-1B9E9B483F9A}" dt="2021-05-25T12:03:52.430" v="11337" actId="478"/>
          <ac:spMkLst>
            <pc:docMk/>
            <pc:sldMk cId="2117336307" sldId="10458"/>
            <ac:spMk id="18" creationId="{FA61C699-1B14-4A7D-97EA-A0DCD26A8613}"/>
          </ac:spMkLst>
        </pc:spChg>
        <pc:spChg chg="del">
          <ac:chgData name="Aude Van de WIELE" userId="7317e673-04dd-415c-a4d7-718682339b40" providerId="ADAL" clId="{80D4E734-020D-4C1F-A028-1B9E9B483F9A}" dt="2021-05-24T12:37:15.010" v="3246" actId="478"/>
          <ac:spMkLst>
            <pc:docMk/>
            <pc:sldMk cId="2117336307" sldId="10458"/>
            <ac:spMk id="22" creationId="{98DD4FBD-6686-4401-96ED-A36BAAE66F7C}"/>
          </ac:spMkLst>
        </pc:spChg>
        <pc:spChg chg="mod">
          <ac:chgData name="Aude Van de WIELE" userId="7317e673-04dd-415c-a4d7-718682339b40" providerId="ADAL" clId="{80D4E734-020D-4C1F-A028-1B9E9B483F9A}" dt="2021-05-25T08:49:48.248" v="7143" actId="790"/>
          <ac:spMkLst>
            <pc:docMk/>
            <pc:sldMk cId="2117336307" sldId="10458"/>
            <ac:spMk id="23" creationId="{B17B5902-BDE5-4C91-98D6-624AA4BD047A}"/>
          </ac:spMkLst>
        </pc:spChg>
        <pc:spChg chg="mod">
          <ac:chgData name="Aude Van de WIELE" userId="7317e673-04dd-415c-a4d7-718682339b40" providerId="ADAL" clId="{80D4E734-020D-4C1F-A028-1B9E9B483F9A}" dt="2021-05-25T08:49:48.250" v="7144" actId="790"/>
          <ac:spMkLst>
            <pc:docMk/>
            <pc:sldMk cId="2117336307" sldId="10458"/>
            <ac:spMk id="30" creationId="{8781E301-2829-4212-BC5D-10A3652130A7}"/>
          </ac:spMkLst>
        </pc:spChg>
        <pc:spChg chg="mod">
          <ac:chgData name="Aude Van de WIELE" userId="7317e673-04dd-415c-a4d7-718682339b40" providerId="ADAL" clId="{80D4E734-020D-4C1F-A028-1B9E9B483F9A}" dt="2021-05-25T08:49:48.252" v="7145" actId="790"/>
          <ac:spMkLst>
            <pc:docMk/>
            <pc:sldMk cId="2117336307" sldId="10458"/>
            <ac:spMk id="31" creationId="{FC5D5549-3024-4706-A1D3-2EC5B6005011}"/>
          </ac:spMkLst>
        </pc:spChg>
        <pc:spChg chg="mod">
          <ac:chgData name="Aude Van de WIELE" userId="7317e673-04dd-415c-a4d7-718682339b40" providerId="ADAL" clId="{80D4E734-020D-4C1F-A028-1B9E9B483F9A}" dt="2021-05-25T08:49:48.254" v="7146" actId="790"/>
          <ac:spMkLst>
            <pc:docMk/>
            <pc:sldMk cId="2117336307" sldId="10458"/>
            <ac:spMk id="32" creationId="{95C2A0B0-3C59-417F-A7AF-CB055F5691A9}"/>
          </ac:spMkLst>
        </pc:spChg>
        <pc:spChg chg="mod">
          <ac:chgData name="Aude Van de WIELE" userId="7317e673-04dd-415c-a4d7-718682339b40" providerId="ADAL" clId="{80D4E734-020D-4C1F-A028-1B9E9B483F9A}" dt="2021-05-25T08:49:48.256" v="7147" actId="790"/>
          <ac:spMkLst>
            <pc:docMk/>
            <pc:sldMk cId="2117336307" sldId="10458"/>
            <ac:spMk id="33" creationId="{9A17175B-3D0E-49D1-9772-511BEABBDF40}"/>
          </ac:spMkLst>
        </pc:spChg>
        <pc:spChg chg="mod">
          <ac:chgData name="Aude Van de WIELE" userId="7317e673-04dd-415c-a4d7-718682339b40" providerId="ADAL" clId="{80D4E734-020D-4C1F-A028-1B9E9B483F9A}" dt="2021-05-25T08:49:48.258" v="7148" actId="790"/>
          <ac:spMkLst>
            <pc:docMk/>
            <pc:sldMk cId="2117336307" sldId="10458"/>
            <ac:spMk id="34" creationId="{0D26BFCF-8441-4D95-B0FE-AB36CB9BE014}"/>
          </ac:spMkLst>
        </pc:spChg>
        <pc:spChg chg="add mod">
          <ac:chgData name="Aude Van de WIELE" userId="7317e673-04dd-415c-a4d7-718682339b40" providerId="ADAL" clId="{80D4E734-020D-4C1F-A028-1B9E9B483F9A}" dt="2021-05-24T09:01:30.110" v="347" actId="14100"/>
          <ac:spMkLst>
            <pc:docMk/>
            <pc:sldMk cId="2117336307" sldId="10458"/>
            <ac:spMk id="35" creationId="{473DB0E9-E2D6-4E40-B1C1-EDF49102C82B}"/>
          </ac:spMkLst>
        </pc:spChg>
        <pc:spChg chg="mod">
          <ac:chgData name="Aude Van de WIELE" userId="7317e673-04dd-415c-a4d7-718682339b40" providerId="ADAL" clId="{80D4E734-020D-4C1F-A028-1B9E9B483F9A}" dt="2021-05-25T08:49:48.259" v="7149" actId="790"/>
          <ac:spMkLst>
            <pc:docMk/>
            <pc:sldMk cId="2117336307" sldId="10458"/>
            <ac:spMk id="36" creationId="{BBA214AC-0EE9-424B-BD2E-A4BE8AEC5800}"/>
          </ac:spMkLst>
        </pc:spChg>
        <pc:spChg chg="mod">
          <ac:chgData name="Aude Van de WIELE" userId="7317e673-04dd-415c-a4d7-718682339b40" providerId="ADAL" clId="{80D4E734-020D-4C1F-A028-1B9E9B483F9A}" dt="2021-05-25T13:36:05.289" v="12766" actId="113"/>
          <ac:spMkLst>
            <pc:docMk/>
            <pc:sldMk cId="2117336307" sldId="10458"/>
            <ac:spMk id="37" creationId="{357BF76E-F609-4ABB-AF14-CA5912FE2D08}"/>
          </ac:spMkLst>
        </pc:spChg>
        <pc:spChg chg="mod">
          <ac:chgData name="Aude Van de WIELE" userId="7317e673-04dd-415c-a4d7-718682339b40" providerId="ADAL" clId="{80D4E734-020D-4C1F-A028-1B9E9B483F9A}" dt="2021-05-25T08:49:48.264" v="7151" actId="790"/>
          <ac:spMkLst>
            <pc:docMk/>
            <pc:sldMk cId="2117336307" sldId="10458"/>
            <ac:spMk id="38" creationId="{3D91B623-E5CB-4481-8380-8F078F4ED175}"/>
          </ac:spMkLst>
        </pc:spChg>
        <pc:spChg chg="del">
          <ac:chgData name="Aude Van de WIELE" userId="7317e673-04dd-415c-a4d7-718682339b40" providerId="ADAL" clId="{80D4E734-020D-4C1F-A028-1B9E9B483F9A}" dt="2021-05-24T10:26:58.987" v="1885" actId="478"/>
          <ac:spMkLst>
            <pc:docMk/>
            <pc:sldMk cId="2117336307" sldId="10458"/>
            <ac:spMk id="42" creationId="{09CB086D-F870-4D56-AAF9-95F724BA258B}"/>
          </ac:spMkLst>
        </pc:spChg>
        <pc:spChg chg="add mod">
          <ac:chgData name="Aude Van de WIELE" userId="7317e673-04dd-415c-a4d7-718682339b40" providerId="ADAL" clId="{80D4E734-020D-4C1F-A028-1B9E9B483F9A}" dt="2021-05-24T10:26:56.775" v="1884"/>
          <ac:spMkLst>
            <pc:docMk/>
            <pc:sldMk cId="2117336307" sldId="10458"/>
            <ac:spMk id="44" creationId="{168892AE-92E7-4F1F-B412-7FE5E76BF46F}"/>
          </ac:spMkLst>
        </pc:spChg>
        <pc:spChg chg="add mod">
          <ac:chgData name="Aude Van de WIELE" userId="7317e673-04dd-415c-a4d7-718682339b40" providerId="ADAL" clId="{80D4E734-020D-4C1F-A028-1B9E9B483F9A}" dt="2021-05-25T08:49:48.264" v="7152" actId="790"/>
          <ac:spMkLst>
            <pc:docMk/>
            <pc:sldMk cId="2117336307" sldId="10458"/>
            <ac:spMk id="46" creationId="{6AA55E8D-57AF-4945-9E94-DE7A7BE61822}"/>
          </ac:spMkLst>
        </pc:spChg>
        <pc:spChg chg="add del mod">
          <ac:chgData name="Aude Van de WIELE" userId="7317e673-04dd-415c-a4d7-718682339b40" providerId="ADAL" clId="{80D4E734-020D-4C1F-A028-1B9E9B483F9A}" dt="2021-05-24T11:57:37.386" v="2945" actId="21"/>
          <ac:spMkLst>
            <pc:docMk/>
            <pc:sldMk cId="2117336307" sldId="10458"/>
            <ac:spMk id="47" creationId="{DA280527-BB75-4515-819C-EC105E203E13}"/>
          </ac:spMkLst>
        </pc:spChg>
        <pc:spChg chg="add del mod">
          <ac:chgData name="Aude Van de WIELE" userId="7317e673-04dd-415c-a4d7-718682339b40" providerId="ADAL" clId="{80D4E734-020D-4C1F-A028-1B9E9B483F9A}" dt="2021-05-24T12:40:28.920" v="3344" actId="478"/>
          <ac:spMkLst>
            <pc:docMk/>
            <pc:sldMk cId="2117336307" sldId="10458"/>
            <ac:spMk id="48" creationId="{23BC2A41-DE35-4793-8A6F-C786D7E84AA4}"/>
          </ac:spMkLst>
        </pc:spChg>
        <pc:spChg chg="add mod">
          <ac:chgData name="Aude Van de WIELE" userId="7317e673-04dd-415c-a4d7-718682339b40" providerId="ADAL" clId="{80D4E734-020D-4C1F-A028-1B9E9B483F9A}" dt="2021-05-25T08:49:48.265" v="7153" actId="790"/>
          <ac:spMkLst>
            <pc:docMk/>
            <pc:sldMk cId="2117336307" sldId="10458"/>
            <ac:spMk id="49" creationId="{7F1A8DDF-BB9E-4E12-90EF-9A954D4E9527}"/>
          </ac:spMkLst>
        </pc:spChg>
        <pc:spChg chg="add mod">
          <ac:chgData name="Aude Van de WIELE" userId="7317e673-04dd-415c-a4d7-718682339b40" providerId="ADAL" clId="{80D4E734-020D-4C1F-A028-1B9E9B483F9A}" dt="2021-05-25T08:49:48.266" v="7154" actId="790"/>
          <ac:spMkLst>
            <pc:docMk/>
            <pc:sldMk cId="2117336307" sldId="10458"/>
            <ac:spMk id="50" creationId="{D983CBF4-656D-415F-A0E6-4EF1ECFA98D8}"/>
          </ac:spMkLst>
        </pc:spChg>
        <pc:spChg chg="add mod">
          <ac:chgData name="Aude Van de WIELE" userId="7317e673-04dd-415c-a4d7-718682339b40" providerId="ADAL" clId="{80D4E734-020D-4C1F-A028-1B9E9B483F9A}" dt="2021-05-25T08:49:48.268" v="7155" actId="790"/>
          <ac:spMkLst>
            <pc:docMk/>
            <pc:sldMk cId="2117336307" sldId="10458"/>
            <ac:spMk id="51" creationId="{C518067F-36AA-4233-91AF-1B75DE764C1D}"/>
          </ac:spMkLst>
        </pc:spChg>
        <pc:spChg chg="add mod">
          <ac:chgData name="Aude Van de WIELE" userId="7317e673-04dd-415c-a4d7-718682339b40" providerId="ADAL" clId="{80D4E734-020D-4C1F-A028-1B9E9B483F9A}" dt="2021-05-25T08:49:48.269" v="7156" actId="790"/>
          <ac:spMkLst>
            <pc:docMk/>
            <pc:sldMk cId="2117336307" sldId="10458"/>
            <ac:spMk id="52" creationId="{CB183989-F33A-443E-A9EC-A3EA75137A1D}"/>
          </ac:spMkLst>
        </pc:spChg>
        <pc:spChg chg="add mod">
          <ac:chgData name="Aude Van de WIELE" userId="7317e673-04dd-415c-a4d7-718682339b40" providerId="ADAL" clId="{80D4E734-020D-4C1F-A028-1B9E9B483F9A}" dt="2021-05-25T08:49:48.271" v="7157" actId="790"/>
          <ac:spMkLst>
            <pc:docMk/>
            <pc:sldMk cId="2117336307" sldId="10458"/>
            <ac:spMk id="60" creationId="{14D6537D-0B58-4DB6-B315-DB8469395B6C}"/>
          </ac:spMkLst>
        </pc:spChg>
        <pc:spChg chg="add mod">
          <ac:chgData name="Aude Van de WIELE" userId="7317e673-04dd-415c-a4d7-718682339b40" providerId="ADAL" clId="{80D4E734-020D-4C1F-A028-1B9E9B483F9A}" dt="2021-05-25T08:49:48.272" v="7158" actId="790"/>
          <ac:spMkLst>
            <pc:docMk/>
            <pc:sldMk cId="2117336307" sldId="10458"/>
            <ac:spMk id="61" creationId="{97E650CB-FAC0-446C-B880-E44B6031DF36}"/>
          </ac:spMkLst>
        </pc:spChg>
        <pc:spChg chg="add mod">
          <ac:chgData name="Aude Van de WIELE" userId="7317e673-04dd-415c-a4d7-718682339b40" providerId="ADAL" clId="{80D4E734-020D-4C1F-A028-1B9E9B483F9A}" dt="2021-05-25T08:49:48.273" v="7159" actId="790"/>
          <ac:spMkLst>
            <pc:docMk/>
            <pc:sldMk cId="2117336307" sldId="10458"/>
            <ac:spMk id="62" creationId="{D82C7EEA-6857-42BF-9A36-8E700C58E26A}"/>
          </ac:spMkLst>
        </pc:spChg>
        <pc:spChg chg="mod">
          <ac:chgData name="Aude Van de WIELE" userId="7317e673-04dd-415c-a4d7-718682339b40" providerId="ADAL" clId="{80D4E734-020D-4C1F-A028-1B9E9B483F9A}" dt="2021-05-25T08:49:48.276" v="7160" actId="790"/>
          <ac:spMkLst>
            <pc:docMk/>
            <pc:sldMk cId="2117336307" sldId="10458"/>
            <ac:spMk id="63" creationId="{B30BB911-AB18-464D-9C82-EC0D38A7511C}"/>
          </ac:spMkLst>
        </pc:spChg>
        <pc:spChg chg="mod">
          <ac:chgData name="Aude Van de WIELE" userId="7317e673-04dd-415c-a4d7-718682339b40" providerId="ADAL" clId="{80D4E734-020D-4C1F-A028-1B9E9B483F9A}" dt="2021-05-25T08:49:48.277" v="7161" actId="790"/>
          <ac:spMkLst>
            <pc:docMk/>
            <pc:sldMk cId="2117336307" sldId="10458"/>
            <ac:spMk id="85" creationId="{76BFCA86-39A2-4CAD-9C8C-1732C90C6871}"/>
          </ac:spMkLst>
        </pc:spChg>
        <pc:spChg chg="mod">
          <ac:chgData name="Aude Van de WIELE" userId="7317e673-04dd-415c-a4d7-718682339b40" providerId="ADAL" clId="{80D4E734-020D-4C1F-A028-1B9E9B483F9A}" dt="2021-05-25T08:49:48.278" v="7162" actId="790"/>
          <ac:spMkLst>
            <pc:docMk/>
            <pc:sldMk cId="2117336307" sldId="10458"/>
            <ac:spMk id="87" creationId="{CBC7D0E4-9931-49F5-B377-23BCB0A575C7}"/>
          </ac:spMkLst>
        </pc:spChg>
        <pc:spChg chg="mod">
          <ac:chgData name="Aude Van de WIELE" userId="7317e673-04dd-415c-a4d7-718682339b40" providerId="ADAL" clId="{80D4E734-020D-4C1F-A028-1B9E9B483F9A}" dt="2021-05-25T08:49:48.278" v="7163" actId="790"/>
          <ac:spMkLst>
            <pc:docMk/>
            <pc:sldMk cId="2117336307" sldId="10458"/>
            <ac:spMk id="88" creationId="{ABCB8B83-93E3-4A1E-8093-CE6E34DA708F}"/>
          </ac:spMkLst>
        </pc:spChg>
        <pc:spChg chg="mod">
          <ac:chgData name="Aude Van de WIELE" userId="7317e673-04dd-415c-a4d7-718682339b40" providerId="ADAL" clId="{80D4E734-020D-4C1F-A028-1B9E9B483F9A}" dt="2021-05-25T08:49:48.279" v="7164" actId="790"/>
          <ac:spMkLst>
            <pc:docMk/>
            <pc:sldMk cId="2117336307" sldId="10458"/>
            <ac:spMk id="89" creationId="{65B67ADD-22A0-4907-978D-68228C272BBC}"/>
          </ac:spMkLst>
        </pc:spChg>
        <pc:spChg chg="mod">
          <ac:chgData name="Aude Van de WIELE" userId="7317e673-04dd-415c-a4d7-718682339b40" providerId="ADAL" clId="{80D4E734-020D-4C1F-A028-1B9E9B483F9A}" dt="2021-05-25T08:49:48.280" v="7165" actId="790"/>
          <ac:spMkLst>
            <pc:docMk/>
            <pc:sldMk cId="2117336307" sldId="10458"/>
            <ac:spMk id="90" creationId="{99590A32-E17E-49DE-810F-B3D74DC2233F}"/>
          </ac:spMkLst>
        </pc:spChg>
        <pc:spChg chg="mod">
          <ac:chgData name="Aude Van de WIELE" userId="7317e673-04dd-415c-a4d7-718682339b40" providerId="ADAL" clId="{80D4E734-020D-4C1F-A028-1B9E9B483F9A}" dt="2021-05-25T08:49:48.280" v="7166" actId="790"/>
          <ac:spMkLst>
            <pc:docMk/>
            <pc:sldMk cId="2117336307" sldId="10458"/>
            <ac:spMk id="91" creationId="{8D467664-F3A1-4C7B-B048-2937C81D78C2}"/>
          </ac:spMkLst>
        </pc:spChg>
        <pc:spChg chg="mod">
          <ac:chgData name="Aude Van de WIELE" userId="7317e673-04dd-415c-a4d7-718682339b40" providerId="ADAL" clId="{80D4E734-020D-4C1F-A028-1B9E9B483F9A}" dt="2021-05-25T08:49:48.281" v="7167" actId="790"/>
          <ac:spMkLst>
            <pc:docMk/>
            <pc:sldMk cId="2117336307" sldId="10458"/>
            <ac:spMk id="92" creationId="{625CB989-A833-4E51-82FA-EB48496536ED}"/>
          </ac:spMkLst>
        </pc:spChg>
        <pc:spChg chg="mod">
          <ac:chgData name="Aude Van de WIELE" userId="7317e673-04dd-415c-a4d7-718682339b40" providerId="ADAL" clId="{80D4E734-020D-4C1F-A028-1B9E9B483F9A}" dt="2021-05-25T08:49:48.284" v="7168" actId="790"/>
          <ac:spMkLst>
            <pc:docMk/>
            <pc:sldMk cId="2117336307" sldId="10458"/>
            <ac:spMk id="93" creationId="{1ABC16EC-E4C7-4FDB-91C6-850186F5860B}"/>
          </ac:spMkLst>
        </pc:spChg>
        <pc:spChg chg="add mod">
          <ac:chgData name="Aude Van de WIELE" userId="7317e673-04dd-415c-a4d7-718682339b40" providerId="ADAL" clId="{80D4E734-020D-4C1F-A028-1B9E9B483F9A}" dt="2021-05-25T09:38:24.556" v="9969"/>
          <ac:spMkLst>
            <pc:docMk/>
            <pc:sldMk cId="2117336307" sldId="10458"/>
            <ac:spMk id="94" creationId="{D17075F8-2FAF-4F7E-BC65-F4025CF0B0A7}"/>
          </ac:spMkLst>
        </pc:spChg>
        <pc:spChg chg="add del">
          <ac:chgData name="Aude Van de WIELE" userId="7317e673-04dd-415c-a4d7-718682339b40" providerId="ADAL" clId="{80D4E734-020D-4C1F-A028-1B9E9B483F9A}" dt="2021-05-25T10:48:25.811" v="10161" actId="22"/>
          <ac:spMkLst>
            <pc:docMk/>
            <pc:sldMk cId="2117336307" sldId="10458"/>
            <ac:spMk id="95" creationId="{827B0F29-432C-4666-9F78-8975A0248E39}"/>
          </ac:spMkLst>
        </pc:spChg>
        <pc:spChg chg="add mod">
          <ac:chgData name="Aude Van de WIELE" userId="7317e673-04dd-415c-a4d7-718682339b40" providerId="ADAL" clId="{80D4E734-020D-4C1F-A028-1B9E9B483F9A}" dt="2021-05-25T10:48:34.877" v="10187" actId="5793"/>
          <ac:spMkLst>
            <pc:docMk/>
            <pc:sldMk cId="2117336307" sldId="10458"/>
            <ac:spMk id="96" creationId="{000662F8-B306-4AED-B621-609FBB04A6B2}"/>
          </ac:spMkLst>
        </pc:spChg>
        <pc:picChg chg="mod">
          <ac:chgData name="Aude Van de WIELE" userId="7317e673-04dd-415c-a4d7-718682339b40" providerId="ADAL" clId="{80D4E734-020D-4C1F-A028-1B9E9B483F9A}" dt="2021-05-24T12:43:35.001" v="3399" actId="1076"/>
          <ac:picMkLst>
            <pc:docMk/>
            <pc:sldMk cId="2117336307" sldId="10458"/>
            <ac:picMk id="19" creationId="{6977233C-DB92-442C-BBB8-99408DD907EA}"/>
          </ac:picMkLst>
        </pc:picChg>
        <pc:picChg chg="mod">
          <ac:chgData name="Aude Van de WIELE" userId="7317e673-04dd-415c-a4d7-718682339b40" providerId="ADAL" clId="{80D4E734-020D-4C1F-A028-1B9E9B483F9A}" dt="2021-05-24T12:43:35.001" v="3399" actId="1076"/>
          <ac:picMkLst>
            <pc:docMk/>
            <pc:sldMk cId="2117336307" sldId="10458"/>
            <ac:picMk id="20" creationId="{B7E541F4-3848-42B3-B882-7EB097454D20}"/>
          </ac:picMkLst>
        </pc:picChg>
        <pc:picChg chg="mod">
          <ac:chgData name="Aude Van de WIELE" userId="7317e673-04dd-415c-a4d7-718682339b40" providerId="ADAL" clId="{80D4E734-020D-4C1F-A028-1B9E9B483F9A}" dt="2021-05-24T12:43:35.001" v="3399" actId="1076"/>
          <ac:picMkLst>
            <pc:docMk/>
            <pc:sldMk cId="2117336307" sldId="10458"/>
            <ac:picMk id="21" creationId="{B131A9E4-9923-4B3A-9AD5-737A8D516105}"/>
          </ac:picMkLst>
        </pc:picChg>
        <pc:picChg chg="add 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22" creationId="{EF3B59DF-7E34-4F93-8BA1-3E055CC8AF77}"/>
          </ac:picMkLst>
        </pc:picChg>
        <pc:picChg chg="add mod modCrop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26" creationId="{3A4E0416-FA98-4768-BCE5-C89DFE935E85}"/>
          </ac:picMkLst>
        </pc:picChg>
        <pc:picChg chg="add 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47" creationId="{E55B1282-30F9-41A4-972C-A153DADDD094}"/>
          </ac:picMkLst>
        </pc:picChg>
        <pc:picChg chg="add 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48" creationId="{4DC343D9-BB71-4420-AD62-C5846D091B04}"/>
          </ac:picMkLst>
        </pc:picChg>
        <pc:picChg chg="add 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53" creationId="{068ACBE1-66FB-4EAF-8AE9-572D6E66289B}"/>
          </ac:picMkLst>
        </pc:picChg>
        <pc:picChg chg="add 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54" creationId="{079044B3-855B-40B7-93CA-F97DCE5F15B5}"/>
          </ac:picMkLst>
        </pc:picChg>
        <pc:picChg chg="add 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55" creationId="{9ECAF7B9-A9BC-47AB-ABE4-D0BF891393C0}"/>
          </ac:picMkLst>
        </pc:picChg>
        <pc:picChg chg="add 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56" creationId="{C1A52AE9-F1F7-4EF5-9F3F-07D0E04ED44A}"/>
          </ac:picMkLst>
        </pc:picChg>
        <pc:picChg chg="add mod">
          <ac:chgData name="Aude Van de WIELE" userId="7317e673-04dd-415c-a4d7-718682339b40" providerId="ADAL" clId="{80D4E734-020D-4C1F-A028-1B9E9B483F9A}" dt="2021-05-24T12:48:21.824" v="3434" actId="1076"/>
          <ac:picMkLst>
            <pc:docMk/>
            <pc:sldMk cId="2117336307" sldId="10458"/>
            <ac:picMk id="57" creationId="{F74FA63A-A594-459B-8011-33B103A254E6}"/>
          </ac:picMkLst>
        </pc:picChg>
        <pc:picChg chg="add mod">
          <ac:chgData name="Aude Van de WIELE" userId="7317e673-04dd-415c-a4d7-718682339b40" providerId="ADAL" clId="{80D4E734-020D-4C1F-A028-1B9E9B483F9A}" dt="2021-05-24T12:53:21.960" v="3461" actId="1076"/>
          <ac:picMkLst>
            <pc:docMk/>
            <pc:sldMk cId="2117336307" sldId="10458"/>
            <ac:picMk id="58" creationId="{C18556EB-BEE3-4759-8509-8BAC9C7CF70E}"/>
          </ac:picMkLst>
        </pc:picChg>
        <pc:picChg chg="add mod">
          <ac:chgData name="Aude Van de WIELE" userId="7317e673-04dd-415c-a4d7-718682339b40" providerId="ADAL" clId="{80D4E734-020D-4C1F-A028-1B9E9B483F9A}" dt="2021-05-24T12:53:46.832" v="3500" actId="1076"/>
          <ac:picMkLst>
            <pc:docMk/>
            <pc:sldMk cId="2117336307" sldId="10458"/>
            <ac:picMk id="59" creationId="{E0CC8DC4-6C89-43D7-9391-E1CB27F5385D}"/>
          </ac:picMkLst>
        </pc:picChg>
        <pc:picChg chg="add mod">
          <ac:chgData name="Aude Van de WIELE" userId="7317e673-04dd-415c-a4d7-718682339b40" providerId="ADAL" clId="{80D4E734-020D-4C1F-A028-1B9E9B483F9A}" dt="2021-05-24T15:55:04.884" v="6187"/>
          <ac:picMkLst>
            <pc:docMk/>
            <pc:sldMk cId="2117336307" sldId="10458"/>
            <ac:picMk id="68" creationId="{269CB190-95B7-43B6-8D9E-D12916BDDBAB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69" creationId="{B399C283-25FC-4629-B137-6E6F2BDEEEC0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70" creationId="{650AB172-88E6-4A5A-A01C-D8FC658784E7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71" creationId="{39782FAF-A37F-4F8B-BC30-43FB128AE65D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72" creationId="{8D44E403-9938-4E3B-A5B8-15D400BDDA52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73" creationId="{5E636AC5-10DC-4BFA-B3E0-28F86C6B3AD2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74" creationId="{3856B892-33CE-4C3B-849D-CAB589121402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75" creationId="{13BBFCE2-23FC-42FC-9675-4EB722233278}"/>
          </ac:picMkLst>
        </pc:picChg>
        <pc:picChg chg="mod">
          <ac:chgData name="Aude Van de WIELE" userId="7317e673-04dd-415c-a4d7-718682339b40" providerId="ADAL" clId="{80D4E734-020D-4C1F-A028-1B9E9B483F9A}" dt="2021-05-24T12:48:11.130" v="3431" actId="14100"/>
          <ac:picMkLst>
            <pc:docMk/>
            <pc:sldMk cId="2117336307" sldId="10458"/>
            <ac:picMk id="76" creationId="{ECA7F18C-56CA-4DA2-B224-D3EB95AA1B7D}"/>
          </ac:picMkLst>
        </pc:picChg>
        <pc:picChg chg="add mod">
          <ac:chgData name="Aude Van de WIELE" userId="7317e673-04dd-415c-a4d7-718682339b40" providerId="ADAL" clId="{80D4E734-020D-4C1F-A028-1B9E9B483F9A}" dt="2021-05-24T15:55:04.884" v="6187"/>
          <ac:picMkLst>
            <pc:docMk/>
            <pc:sldMk cId="2117336307" sldId="10458"/>
            <ac:picMk id="77" creationId="{319ACB54-1D2B-4124-A8CC-C465F39DD3E1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12:28:00.516" v="11497" actId="14100"/>
        <pc:sldMkLst>
          <pc:docMk/>
          <pc:sldMk cId="2622219198" sldId="10459"/>
        </pc:sldMkLst>
        <pc:spChg chg="mod">
          <ac:chgData name="Aude Van de WIELE" userId="7317e673-04dd-415c-a4d7-718682339b40" providerId="ADAL" clId="{80D4E734-020D-4C1F-A028-1B9E9B483F9A}" dt="2021-05-25T08:49:48.712" v="7561" actId="790"/>
          <ac:spMkLst>
            <pc:docMk/>
            <pc:sldMk cId="2622219198" sldId="10459"/>
            <ac:spMk id="2" creationId="{E19F901F-5492-47C0-A6F7-DF38EE87C63C}"/>
          </ac:spMkLst>
        </pc:spChg>
        <pc:spChg chg="mod">
          <ac:chgData name="Aude Van de WIELE" userId="7317e673-04dd-415c-a4d7-718682339b40" providerId="ADAL" clId="{80D4E734-020D-4C1F-A028-1B9E9B483F9A}" dt="2021-05-25T08:49:48.713" v="7562" actId="790"/>
          <ac:spMkLst>
            <pc:docMk/>
            <pc:sldMk cId="2622219198" sldId="10459"/>
            <ac:spMk id="3" creationId="{EA36DEC0-367F-4462-9ECA-BD4E3ABDD7AD}"/>
          </ac:spMkLst>
        </pc:spChg>
        <pc:spChg chg="mod">
          <ac:chgData name="Aude Van de WIELE" userId="7317e673-04dd-415c-a4d7-718682339b40" providerId="ADAL" clId="{80D4E734-020D-4C1F-A028-1B9E9B483F9A}" dt="2021-05-25T08:49:48.714" v="7563" actId="790"/>
          <ac:spMkLst>
            <pc:docMk/>
            <pc:sldMk cId="2622219198" sldId="10459"/>
            <ac:spMk id="4" creationId="{36E8441A-7CAA-4835-B0E0-73093E7211AF}"/>
          </ac:spMkLst>
        </pc:spChg>
        <pc:spChg chg="mod">
          <ac:chgData name="Aude Van de WIELE" userId="7317e673-04dd-415c-a4d7-718682339b40" providerId="ADAL" clId="{80D4E734-020D-4C1F-A028-1B9E9B483F9A}" dt="2021-05-25T08:49:48.715" v="7564" actId="790"/>
          <ac:spMkLst>
            <pc:docMk/>
            <pc:sldMk cId="2622219198" sldId="10459"/>
            <ac:spMk id="5" creationId="{B595370E-355C-4B5F-A978-CDD15547DBD1}"/>
          </ac:spMkLst>
        </pc:spChg>
        <pc:spChg chg="mod">
          <ac:chgData name="Aude Van de WIELE" userId="7317e673-04dd-415c-a4d7-718682339b40" providerId="ADAL" clId="{80D4E734-020D-4C1F-A028-1B9E9B483F9A}" dt="2021-05-25T08:49:48.715" v="7565" actId="790"/>
          <ac:spMkLst>
            <pc:docMk/>
            <pc:sldMk cId="2622219198" sldId="10459"/>
            <ac:spMk id="6" creationId="{609D4ECD-A435-4FC4-8FA3-4F4EB4E1037F}"/>
          </ac:spMkLst>
        </pc:spChg>
        <pc:spChg chg="mod">
          <ac:chgData name="Aude Van de WIELE" userId="7317e673-04dd-415c-a4d7-718682339b40" providerId="ADAL" clId="{80D4E734-020D-4C1F-A028-1B9E9B483F9A}" dt="2021-05-25T08:49:48.716" v="7566" actId="790"/>
          <ac:spMkLst>
            <pc:docMk/>
            <pc:sldMk cId="2622219198" sldId="10459"/>
            <ac:spMk id="7" creationId="{3519796A-9FDF-4BE6-8C17-7B847140DB1E}"/>
          </ac:spMkLst>
        </pc:spChg>
        <pc:spChg chg="mod">
          <ac:chgData name="Aude Van de WIELE" userId="7317e673-04dd-415c-a4d7-718682339b40" providerId="ADAL" clId="{80D4E734-020D-4C1F-A028-1B9E9B483F9A}" dt="2021-05-25T08:49:48.717" v="7567" actId="790"/>
          <ac:spMkLst>
            <pc:docMk/>
            <pc:sldMk cId="2622219198" sldId="10459"/>
            <ac:spMk id="8" creationId="{C0F9EC2E-5B9C-44C3-8BBC-04E6A56A04D9}"/>
          </ac:spMkLst>
        </pc:spChg>
        <pc:spChg chg="mod">
          <ac:chgData name="Aude Van de WIELE" userId="7317e673-04dd-415c-a4d7-718682339b40" providerId="ADAL" clId="{80D4E734-020D-4C1F-A028-1B9E9B483F9A}" dt="2021-05-25T08:49:48.718" v="7568" actId="790"/>
          <ac:spMkLst>
            <pc:docMk/>
            <pc:sldMk cId="2622219198" sldId="10459"/>
            <ac:spMk id="9" creationId="{317041DE-AACE-4076-B336-98D4DFCF2F8D}"/>
          </ac:spMkLst>
        </pc:spChg>
        <pc:spChg chg="mod">
          <ac:chgData name="Aude Van de WIELE" userId="7317e673-04dd-415c-a4d7-718682339b40" providerId="ADAL" clId="{80D4E734-020D-4C1F-A028-1B9E9B483F9A}" dt="2021-05-25T08:49:48.718" v="7569" actId="790"/>
          <ac:spMkLst>
            <pc:docMk/>
            <pc:sldMk cId="2622219198" sldId="10459"/>
            <ac:spMk id="10" creationId="{96B7A014-AD04-4B6B-93EF-F8AE892DB682}"/>
          </ac:spMkLst>
        </pc:spChg>
        <pc:spChg chg="mod">
          <ac:chgData name="Aude Van de WIELE" userId="7317e673-04dd-415c-a4d7-718682339b40" providerId="ADAL" clId="{80D4E734-020D-4C1F-A028-1B9E9B483F9A}" dt="2021-05-25T08:49:48.719" v="7570" actId="790"/>
          <ac:spMkLst>
            <pc:docMk/>
            <pc:sldMk cId="2622219198" sldId="10459"/>
            <ac:spMk id="11" creationId="{BF229D2B-E1C5-4C07-819B-6B198291B445}"/>
          </ac:spMkLst>
        </pc:spChg>
        <pc:spChg chg="mod">
          <ac:chgData name="Aude Van de WIELE" userId="7317e673-04dd-415c-a4d7-718682339b40" providerId="ADAL" clId="{80D4E734-020D-4C1F-A028-1B9E9B483F9A}" dt="2021-05-25T08:49:48.720" v="7571" actId="790"/>
          <ac:spMkLst>
            <pc:docMk/>
            <pc:sldMk cId="2622219198" sldId="10459"/>
            <ac:spMk id="12" creationId="{3EFA3E8A-E38B-412F-A7AC-89C4DD936271}"/>
          </ac:spMkLst>
        </pc:spChg>
        <pc:spChg chg="mod">
          <ac:chgData name="Aude Van de WIELE" userId="7317e673-04dd-415c-a4d7-718682339b40" providerId="ADAL" clId="{80D4E734-020D-4C1F-A028-1B9E9B483F9A}" dt="2021-05-25T08:49:48.721" v="7572" actId="790"/>
          <ac:spMkLst>
            <pc:docMk/>
            <pc:sldMk cId="2622219198" sldId="10459"/>
            <ac:spMk id="13" creationId="{17705788-120B-4AC9-B719-CCF70341BA1F}"/>
          </ac:spMkLst>
        </pc:spChg>
        <pc:spChg chg="mod">
          <ac:chgData name="Aude Van de WIELE" userId="7317e673-04dd-415c-a4d7-718682339b40" providerId="ADAL" clId="{80D4E734-020D-4C1F-A028-1B9E9B483F9A}" dt="2021-05-25T08:49:48.722" v="7573" actId="790"/>
          <ac:spMkLst>
            <pc:docMk/>
            <pc:sldMk cId="2622219198" sldId="10459"/>
            <ac:spMk id="14" creationId="{724AF84E-9B10-405B-8DB6-FA7988A7668D}"/>
          </ac:spMkLst>
        </pc:spChg>
        <pc:spChg chg="mod">
          <ac:chgData name="Aude Van de WIELE" userId="7317e673-04dd-415c-a4d7-718682339b40" providerId="ADAL" clId="{80D4E734-020D-4C1F-A028-1B9E9B483F9A}" dt="2021-05-25T08:49:48.723" v="7574" actId="790"/>
          <ac:spMkLst>
            <pc:docMk/>
            <pc:sldMk cId="2622219198" sldId="10459"/>
            <ac:spMk id="15" creationId="{34C45BC7-2142-44BC-8D88-77D9EBC4EA6E}"/>
          </ac:spMkLst>
        </pc:spChg>
        <pc:spChg chg="mod">
          <ac:chgData name="Aude Van de WIELE" userId="7317e673-04dd-415c-a4d7-718682339b40" providerId="ADAL" clId="{80D4E734-020D-4C1F-A028-1B9E9B483F9A}" dt="2021-05-25T08:49:48.723" v="7575" actId="790"/>
          <ac:spMkLst>
            <pc:docMk/>
            <pc:sldMk cId="2622219198" sldId="10459"/>
            <ac:spMk id="16" creationId="{41A679EC-8321-4F10-B731-7F5C67FA2AC4}"/>
          </ac:spMkLst>
        </pc:spChg>
        <pc:spChg chg="mod">
          <ac:chgData name="Aude Van de WIELE" userId="7317e673-04dd-415c-a4d7-718682339b40" providerId="ADAL" clId="{80D4E734-020D-4C1F-A028-1B9E9B483F9A}" dt="2021-05-25T08:49:48.724" v="7576" actId="790"/>
          <ac:spMkLst>
            <pc:docMk/>
            <pc:sldMk cId="2622219198" sldId="10459"/>
            <ac:spMk id="17" creationId="{2935E5F8-84AB-433D-881B-5B0E1C57BA6F}"/>
          </ac:spMkLst>
        </pc:spChg>
        <pc:spChg chg="mod">
          <ac:chgData name="Aude Van de WIELE" userId="7317e673-04dd-415c-a4d7-718682339b40" providerId="ADAL" clId="{80D4E734-020D-4C1F-A028-1B9E9B483F9A}" dt="2021-05-25T08:49:48.725" v="7577" actId="790"/>
          <ac:spMkLst>
            <pc:docMk/>
            <pc:sldMk cId="2622219198" sldId="10459"/>
            <ac:spMk id="18" creationId="{B0A62E94-BF7E-40AC-B764-BB2A54C0C494}"/>
          </ac:spMkLst>
        </pc:spChg>
        <pc:spChg chg="mod">
          <ac:chgData name="Aude Van de WIELE" userId="7317e673-04dd-415c-a4d7-718682339b40" providerId="ADAL" clId="{80D4E734-020D-4C1F-A028-1B9E9B483F9A}" dt="2021-05-25T08:49:48.726" v="7578" actId="790"/>
          <ac:spMkLst>
            <pc:docMk/>
            <pc:sldMk cId="2622219198" sldId="10459"/>
            <ac:spMk id="19" creationId="{027A9967-715F-48E8-B963-0D3A8F664B42}"/>
          </ac:spMkLst>
        </pc:spChg>
        <pc:spChg chg="mod">
          <ac:chgData name="Aude Van de WIELE" userId="7317e673-04dd-415c-a4d7-718682339b40" providerId="ADAL" clId="{80D4E734-020D-4C1F-A028-1B9E9B483F9A}" dt="2021-05-25T08:49:48.732" v="7579" actId="790"/>
          <ac:spMkLst>
            <pc:docMk/>
            <pc:sldMk cId="2622219198" sldId="10459"/>
            <ac:spMk id="45" creationId="{EB8DCDA0-B944-46B1-94A1-3BC57FE2558C}"/>
          </ac:spMkLst>
        </pc:spChg>
        <pc:spChg chg="mod">
          <ac:chgData name="Aude Van de WIELE" userId="7317e673-04dd-415c-a4d7-718682339b40" providerId="ADAL" clId="{80D4E734-020D-4C1F-A028-1B9E9B483F9A}" dt="2021-05-25T08:49:48.735" v="7580" actId="790"/>
          <ac:spMkLst>
            <pc:docMk/>
            <pc:sldMk cId="2622219198" sldId="10459"/>
            <ac:spMk id="46" creationId="{7B138FEF-21CD-48C0-BC88-FE04EB25D3AA}"/>
          </ac:spMkLst>
        </pc:spChg>
        <pc:spChg chg="mod">
          <ac:chgData name="Aude Van de WIELE" userId="7317e673-04dd-415c-a4d7-718682339b40" providerId="ADAL" clId="{80D4E734-020D-4C1F-A028-1B9E9B483F9A}" dt="2021-05-25T08:49:48.736" v="7581" actId="790"/>
          <ac:spMkLst>
            <pc:docMk/>
            <pc:sldMk cId="2622219198" sldId="10459"/>
            <ac:spMk id="47" creationId="{C8752D5D-1277-4ECD-BD07-8C2295A5CD51}"/>
          </ac:spMkLst>
        </pc:spChg>
        <pc:spChg chg="mod">
          <ac:chgData name="Aude Van de WIELE" userId="7317e673-04dd-415c-a4d7-718682339b40" providerId="ADAL" clId="{80D4E734-020D-4C1F-A028-1B9E9B483F9A}" dt="2021-05-25T08:49:48.737" v="7582" actId="790"/>
          <ac:spMkLst>
            <pc:docMk/>
            <pc:sldMk cId="2622219198" sldId="10459"/>
            <ac:spMk id="49" creationId="{73FF325B-AA43-4315-A9B8-69EBF61E787C}"/>
          </ac:spMkLst>
        </pc:spChg>
        <pc:spChg chg="mod">
          <ac:chgData name="Aude Van de WIELE" userId="7317e673-04dd-415c-a4d7-718682339b40" providerId="ADAL" clId="{80D4E734-020D-4C1F-A028-1B9E9B483F9A}" dt="2021-05-25T08:49:48.738" v="7583" actId="790"/>
          <ac:spMkLst>
            <pc:docMk/>
            <pc:sldMk cId="2622219198" sldId="10459"/>
            <ac:spMk id="52" creationId="{B01F8A17-D5BB-48D0-9812-19B9E7EC3664}"/>
          </ac:spMkLst>
        </pc:spChg>
        <pc:spChg chg="mod">
          <ac:chgData name="Aude Van de WIELE" userId="7317e673-04dd-415c-a4d7-718682339b40" providerId="ADAL" clId="{80D4E734-020D-4C1F-A028-1B9E9B483F9A}" dt="2021-05-25T08:49:48.739" v="7584" actId="790"/>
          <ac:spMkLst>
            <pc:docMk/>
            <pc:sldMk cId="2622219198" sldId="10459"/>
            <ac:spMk id="54" creationId="{CBD01CF7-FE13-4ECB-AB15-2BFF82F48911}"/>
          </ac:spMkLst>
        </pc:spChg>
        <pc:spChg chg="mod">
          <ac:chgData name="Aude Van de WIELE" userId="7317e673-04dd-415c-a4d7-718682339b40" providerId="ADAL" clId="{80D4E734-020D-4C1F-A028-1B9E9B483F9A}" dt="2021-05-25T08:49:48.739" v="7585" actId="790"/>
          <ac:spMkLst>
            <pc:docMk/>
            <pc:sldMk cId="2622219198" sldId="10459"/>
            <ac:spMk id="55" creationId="{B63F3251-C420-4EC6-A652-BED9B1662C49}"/>
          </ac:spMkLst>
        </pc:spChg>
        <pc:spChg chg="mod">
          <ac:chgData name="Aude Van de WIELE" userId="7317e673-04dd-415c-a4d7-718682339b40" providerId="ADAL" clId="{80D4E734-020D-4C1F-A028-1B9E9B483F9A}" dt="2021-05-25T08:49:48.740" v="7586" actId="790"/>
          <ac:spMkLst>
            <pc:docMk/>
            <pc:sldMk cId="2622219198" sldId="10459"/>
            <ac:spMk id="57" creationId="{69054210-C4B6-4FB4-80AD-FD0685FDB8A7}"/>
          </ac:spMkLst>
        </pc:spChg>
        <pc:spChg chg="mod">
          <ac:chgData name="Aude Van de WIELE" userId="7317e673-04dd-415c-a4d7-718682339b40" providerId="ADAL" clId="{80D4E734-020D-4C1F-A028-1B9E9B483F9A}" dt="2021-05-25T08:49:48.741" v="7587" actId="790"/>
          <ac:spMkLst>
            <pc:docMk/>
            <pc:sldMk cId="2622219198" sldId="10459"/>
            <ac:spMk id="58" creationId="{232AEBA7-7474-41B4-B82F-C3A42529BB0E}"/>
          </ac:spMkLst>
        </pc:spChg>
        <pc:spChg chg="mod">
          <ac:chgData name="Aude Van de WIELE" userId="7317e673-04dd-415c-a4d7-718682339b40" providerId="ADAL" clId="{80D4E734-020D-4C1F-A028-1B9E9B483F9A}" dt="2021-05-25T08:49:48.742" v="7588" actId="790"/>
          <ac:spMkLst>
            <pc:docMk/>
            <pc:sldMk cId="2622219198" sldId="10459"/>
            <ac:spMk id="63" creationId="{61A1973B-5E55-44A7-880E-BA9B0E602E07}"/>
          </ac:spMkLst>
        </pc:spChg>
        <pc:spChg chg="mod">
          <ac:chgData name="Aude Van de WIELE" userId="7317e673-04dd-415c-a4d7-718682339b40" providerId="ADAL" clId="{80D4E734-020D-4C1F-A028-1B9E9B483F9A}" dt="2021-05-25T08:49:48.743" v="7589" actId="790"/>
          <ac:spMkLst>
            <pc:docMk/>
            <pc:sldMk cId="2622219198" sldId="10459"/>
            <ac:spMk id="64" creationId="{454B325B-9049-498F-95B6-2D362EE8E082}"/>
          </ac:spMkLst>
        </pc:spChg>
        <pc:spChg chg="mod">
          <ac:chgData name="Aude Van de WIELE" userId="7317e673-04dd-415c-a4d7-718682339b40" providerId="ADAL" clId="{80D4E734-020D-4C1F-A028-1B9E9B483F9A}" dt="2021-05-25T08:49:48.743" v="7590" actId="790"/>
          <ac:spMkLst>
            <pc:docMk/>
            <pc:sldMk cId="2622219198" sldId="10459"/>
            <ac:spMk id="65" creationId="{1E938B2A-4E75-4F22-B677-0E92942C3BF0}"/>
          </ac:spMkLst>
        </pc:spChg>
        <pc:spChg chg="mod">
          <ac:chgData name="Aude Van de WIELE" userId="7317e673-04dd-415c-a4d7-718682339b40" providerId="ADAL" clId="{80D4E734-020D-4C1F-A028-1B9E9B483F9A}" dt="2021-05-25T08:49:48.745" v="7591" actId="790"/>
          <ac:spMkLst>
            <pc:docMk/>
            <pc:sldMk cId="2622219198" sldId="10459"/>
            <ac:spMk id="69" creationId="{DBCAE63A-1BB7-4D88-AF4F-3EA225B48E8E}"/>
          </ac:spMkLst>
        </pc:spChg>
        <pc:spChg chg="mod">
          <ac:chgData name="Aude Van de WIELE" userId="7317e673-04dd-415c-a4d7-718682339b40" providerId="ADAL" clId="{80D4E734-020D-4C1F-A028-1B9E9B483F9A}" dt="2021-05-25T08:49:48.746" v="7592" actId="790"/>
          <ac:spMkLst>
            <pc:docMk/>
            <pc:sldMk cId="2622219198" sldId="10459"/>
            <ac:spMk id="70" creationId="{F1C05B6A-4C6A-49A8-B882-43C0D93B017C}"/>
          </ac:spMkLst>
        </pc:spChg>
        <pc:spChg chg="mod">
          <ac:chgData name="Aude Van de WIELE" userId="7317e673-04dd-415c-a4d7-718682339b40" providerId="ADAL" clId="{80D4E734-020D-4C1F-A028-1B9E9B483F9A}" dt="2021-05-25T08:49:48.746" v="7593" actId="790"/>
          <ac:spMkLst>
            <pc:docMk/>
            <pc:sldMk cId="2622219198" sldId="10459"/>
            <ac:spMk id="72" creationId="{D30E9580-C8AB-4324-8ACD-5E2FFF909617}"/>
          </ac:spMkLst>
        </pc:spChg>
        <pc:spChg chg="mod">
          <ac:chgData name="Aude Van de WIELE" userId="7317e673-04dd-415c-a4d7-718682339b40" providerId="ADAL" clId="{80D4E734-020D-4C1F-A028-1B9E9B483F9A}" dt="2021-05-25T08:49:48.747" v="7594" actId="790"/>
          <ac:spMkLst>
            <pc:docMk/>
            <pc:sldMk cId="2622219198" sldId="10459"/>
            <ac:spMk id="73" creationId="{10BC5ECF-96B8-4588-B214-C8B1A33C3323}"/>
          </ac:spMkLst>
        </pc:spChg>
        <pc:spChg chg="mod">
          <ac:chgData name="Aude Van de WIELE" userId="7317e673-04dd-415c-a4d7-718682339b40" providerId="ADAL" clId="{80D4E734-020D-4C1F-A028-1B9E9B483F9A}" dt="2021-05-25T08:49:48.748" v="7595" actId="790"/>
          <ac:spMkLst>
            <pc:docMk/>
            <pc:sldMk cId="2622219198" sldId="10459"/>
            <ac:spMk id="74" creationId="{B1E3592B-DCB2-4C49-AA17-FD77A5513DF7}"/>
          </ac:spMkLst>
        </pc:spChg>
        <pc:spChg chg="mod">
          <ac:chgData name="Aude Van de WIELE" userId="7317e673-04dd-415c-a4d7-718682339b40" providerId="ADAL" clId="{80D4E734-020D-4C1F-A028-1B9E9B483F9A}" dt="2021-05-25T08:49:48.748" v="7596" actId="790"/>
          <ac:spMkLst>
            <pc:docMk/>
            <pc:sldMk cId="2622219198" sldId="10459"/>
            <ac:spMk id="75" creationId="{40464EC8-3ED2-479F-AA13-547A901D2AFC}"/>
          </ac:spMkLst>
        </pc:spChg>
        <pc:spChg chg="mod">
          <ac:chgData name="Aude Van de WIELE" userId="7317e673-04dd-415c-a4d7-718682339b40" providerId="ADAL" clId="{80D4E734-020D-4C1F-A028-1B9E9B483F9A}" dt="2021-05-25T08:49:48.749" v="7597" actId="790"/>
          <ac:spMkLst>
            <pc:docMk/>
            <pc:sldMk cId="2622219198" sldId="10459"/>
            <ac:spMk id="76" creationId="{10D9986C-9CA4-417C-9CD4-BC05991D62D9}"/>
          </ac:spMkLst>
        </pc:spChg>
        <pc:spChg chg="mod">
          <ac:chgData name="Aude Van de WIELE" userId="7317e673-04dd-415c-a4d7-718682339b40" providerId="ADAL" clId="{80D4E734-020D-4C1F-A028-1B9E9B483F9A}" dt="2021-05-25T08:49:48.749" v="7598" actId="790"/>
          <ac:spMkLst>
            <pc:docMk/>
            <pc:sldMk cId="2622219198" sldId="10459"/>
            <ac:spMk id="82" creationId="{E9135B47-2D9D-4245-B195-852DFE06A01F}"/>
          </ac:spMkLst>
        </pc:spChg>
        <pc:spChg chg="mod">
          <ac:chgData name="Aude Van de WIELE" userId="7317e673-04dd-415c-a4d7-718682339b40" providerId="ADAL" clId="{80D4E734-020D-4C1F-A028-1B9E9B483F9A}" dt="2021-05-25T08:49:48.750" v="7599" actId="790"/>
          <ac:spMkLst>
            <pc:docMk/>
            <pc:sldMk cId="2622219198" sldId="10459"/>
            <ac:spMk id="83" creationId="{F605E2FE-2D03-47CF-A9E0-A06DF1E80BA3}"/>
          </ac:spMkLst>
        </pc:spChg>
        <pc:spChg chg="mod">
          <ac:chgData name="Aude Van de WIELE" userId="7317e673-04dd-415c-a4d7-718682339b40" providerId="ADAL" clId="{80D4E734-020D-4C1F-A028-1B9E9B483F9A}" dt="2021-05-25T08:49:48.751" v="7600" actId="790"/>
          <ac:spMkLst>
            <pc:docMk/>
            <pc:sldMk cId="2622219198" sldId="10459"/>
            <ac:spMk id="84" creationId="{8F0B4BBB-A591-4171-B679-F336E5C5CEC8}"/>
          </ac:spMkLst>
        </pc:spChg>
        <pc:spChg chg="mod">
          <ac:chgData name="Aude Van de WIELE" userId="7317e673-04dd-415c-a4d7-718682339b40" providerId="ADAL" clId="{80D4E734-020D-4C1F-A028-1B9E9B483F9A}" dt="2021-05-25T08:49:48.752" v="7601" actId="790"/>
          <ac:spMkLst>
            <pc:docMk/>
            <pc:sldMk cId="2622219198" sldId="10459"/>
            <ac:spMk id="95" creationId="{2B208BB2-6D57-419B-BE99-9FB2EB9BB080}"/>
          </ac:spMkLst>
        </pc:spChg>
        <pc:spChg chg="mod">
          <ac:chgData name="Aude Van de WIELE" userId="7317e673-04dd-415c-a4d7-718682339b40" providerId="ADAL" clId="{80D4E734-020D-4C1F-A028-1B9E9B483F9A}" dt="2021-05-25T08:49:48.753" v="7602" actId="790"/>
          <ac:spMkLst>
            <pc:docMk/>
            <pc:sldMk cId="2622219198" sldId="10459"/>
            <ac:spMk id="96" creationId="{F15561ED-FA6A-4BBA-9A97-BB0743C9E791}"/>
          </ac:spMkLst>
        </pc:spChg>
        <pc:spChg chg="mod">
          <ac:chgData name="Aude Van de WIELE" userId="7317e673-04dd-415c-a4d7-718682339b40" providerId="ADAL" clId="{80D4E734-020D-4C1F-A028-1B9E9B483F9A}" dt="2021-05-25T08:49:48.754" v="7603" actId="790"/>
          <ac:spMkLst>
            <pc:docMk/>
            <pc:sldMk cId="2622219198" sldId="10459"/>
            <ac:spMk id="97" creationId="{1E59D88E-0852-47C8-A0C2-EC18D5E724D9}"/>
          </ac:spMkLst>
        </pc:spChg>
        <pc:spChg chg="mod">
          <ac:chgData name="Aude Van de WIELE" userId="7317e673-04dd-415c-a4d7-718682339b40" providerId="ADAL" clId="{80D4E734-020D-4C1F-A028-1B9E9B483F9A}" dt="2021-05-25T08:49:48.755" v="7604" actId="790"/>
          <ac:spMkLst>
            <pc:docMk/>
            <pc:sldMk cId="2622219198" sldId="10459"/>
            <ac:spMk id="98" creationId="{80D609C3-770A-4A62-A60B-1A41FF145B8B}"/>
          </ac:spMkLst>
        </pc:spChg>
        <pc:spChg chg="mod">
          <ac:chgData name="Aude Van de WIELE" userId="7317e673-04dd-415c-a4d7-718682339b40" providerId="ADAL" clId="{80D4E734-020D-4C1F-A028-1B9E9B483F9A}" dt="2021-05-25T08:49:48.757" v="7605" actId="790"/>
          <ac:spMkLst>
            <pc:docMk/>
            <pc:sldMk cId="2622219198" sldId="10459"/>
            <ac:spMk id="101" creationId="{BEE69406-F245-4940-A3D8-6BB2373960DE}"/>
          </ac:spMkLst>
        </pc:spChg>
        <pc:spChg chg="mod">
          <ac:chgData name="Aude Van de WIELE" userId="7317e673-04dd-415c-a4d7-718682339b40" providerId="ADAL" clId="{80D4E734-020D-4C1F-A028-1B9E9B483F9A}" dt="2021-05-25T08:49:48.758" v="7606" actId="790"/>
          <ac:spMkLst>
            <pc:docMk/>
            <pc:sldMk cId="2622219198" sldId="10459"/>
            <ac:spMk id="131" creationId="{A0CF7030-74D6-41D0-9786-9F4BB7CAC9A7}"/>
          </ac:spMkLst>
        </pc:spChg>
        <pc:spChg chg="mod">
          <ac:chgData name="Aude Van de WIELE" userId="7317e673-04dd-415c-a4d7-718682339b40" providerId="ADAL" clId="{80D4E734-020D-4C1F-A028-1B9E9B483F9A}" dt="2021-05-25T08:49:48.759" v="7607" actId="790"/>
          <ac:spMkLst>
            <pc:docMk/>
            <pc:sldMk cId="2622219198" sldId="10459"/>
            <ac:spMk id="132" creationId="{2E738EF8-B3B7-4757-806E-88E0B1DF2612}"/>
          </ac:spMkLst>
        </pc:spChg>
        <pc:spChg chg="mod">
          <ac:chgData name="Aude Van de WIELE" userId="7317e673-04dd-415c-a4d7-718682339b40" providerId="ADAL" clId="{80D4E734-020D-4C1F-A028-1B9E9B483F9A}" dt="2021-05-25T08:49:48.763" v="7608" actId="790"/>
          <ac:spMkLst>
            <pc:docMk/>
            <pc:sldMk cId="2622219198" sldId="10459"/>
            <ac:spMk id="147" creationId="{81BCCAD9-ACBB-4315-8102-539D64974B9D}"/>
          </ac:spMkLst>
        </pc:spChg>
        <pc:spChg chg="mod">
          <ac:chgData name="Aude Van de WIELE" userId="7317e673-04dd-415c-a4d7-718682339b40" providerId="ADAL" clId="{80D4E734-020D-4C1F-A028-1B9E9B483F9A}" dt="2021-05-25T08:49:48.764" v="7609" actId="790"/>
          <ac:spMkLst>
            <pc:docMk/>
            <pc:sldMk cId="2622219198" sldId="10459"/>
            <ac:spMk id="148" creationId="{448DFD26-A3F4-495C-8CC0-96A9E41F69F3}"/>
          </ac:spMkLst>
        </pc:spChg>
        <pc:spChg chg="mod">
          <ac:chgData name="Aude Van de WIELE" userId="7317e673-04dd-415c-a4d7-718682339b40" providerId="ADAL" clId="{80D4E734-020D-4C1F-A028-1B9E9B483F9A}" dt="2021-05-25T08:49:48.765" v="7610" actId="790"/>
          <ac:spMkLst>
            <pc:docMk/>
            <pc:sldMk cId="2622219198" sldId="10459"/>
            <ac:spMk id="149" creationId="{0090C71F-8FB4-4DE7-9BA3-7589EFDFECAD}"/>
          </ac:spMkLst>
        </pc:spChg>
        <pc:spChg chg="mod">
          <ac:chgData name="Aude Van de WIELE" userId="7317e673-04dd-415c-a4d7-718682339b40" providerId="ADAL" clId="{80D4E734-020D-4C1F-A028-1B9E9B483F9A}" dt="2021-05-25T08:49:48.765" v="7611" actId="790"/>
          <ac:spMkLst>
            <pc:docMk/>
            <pc:sldMk cId="2622219198" sldId="10459"/>
            <ac:spMk id="150" creationId="{062E4221-AD36-4890-8A26-24CC90897E91}"/>
          </ac:spMkLst>
        </pc:spChg>
        <pc:spChg chg="mod">
          <ac:chgData name="Aude Van de WIELE" userId="7317e673-04dd-415c-a4d7-718682339b40" providerId="ADAL" clId="{80D4E734-020D-4C1F-A028-1B9E9B483F9A}" dt="2021-05-25T08:49:48.766" v="7612" actId="790"/>
          <ac:spMkLst>
            <pc:docMk/>
            <pc:sldMk cId="2622219198" sldId="10459"/>
            <ac:spMk id="151" creationId="{5E64C097-F81E-4F7D-9E0A-18252B921E98}"/>
          </ac:spMkLst>
        </pc:spChg>
        <pc:spChg chg="add mod">
          <ac:chgData name="Aude Van de WIELE" userId="7317e673-04dd-415c-a4d7-718682339b40" providerId="ADAL" clId="{80D4E734-020D-4C1F-A028-1B9E9B483F9A}" dt="2021-05-25T08:49:48.806" v="7633" actId="790"/>
          <ac:spMkLst>
            <pc:docMk/>
            <pc:sldMk cId="2622219198" sldId="10459"/>
            <ac:spMk id="154" creationId="{0CB394EB-880C-43F9-B28B-8399DB112037}"/>
          </ac:spMkLst>
        </pc:spChg>
        <pc:spChg chg="mod">
          <ac:chgData name="Aude Van de WIELE" userId="7317e673-04dd-415c-a4d7-718682339b40" providerId="ADAL" clId="{80D4E734-020D-4C1F-A028-1B9E9B483F9A}" dt="2021-05-25T11:15:37.968" v="10746" actId="20577"/>
          <ac:spMkLst>
            <pc:docMk/>
            <pc:sldMk cId="2622219198" sldId="10459"/>
            <ac:spMk id="158" creationId="{D2314A85-35E9-461E-890A-0B6688101EA8}"/>
          </ac:spMkLst>
        </pc:spChg>
        <pc:spChg chg="mod">
          <ac:chgData name="Aude Van de WIELE" userId="7317e673-04dd-415c-a4d7-718682339b40" providerId="ADAL" clId="{80D4E734-020D-4C1F-A028-1B9E9B483F9A}" dt="2021-05-25T08:49:48.781" v="7613" actId="790"/>
          <ac:spMkLst>
            <pc:docMk/>
            <pc:sldMk cId="2622219198" sldId="10459"/>
            <ac:spMk id="162" creationId="{A5B49362-B700-474F-869D-13632EDB5039}"/>
          </ac:spMkLst>
        </pc:spChg>
        <pc:spChg chg="mod">
          <ac:chgData name="Aude Van de WIELE" userId="7317e673-04dd-415c-a4d7-718682339b40" providerId="ADAL" clId="{80D4E734-020D-4C1F-A028-1B9E9B483F9A}" dt="2021-05-24T10:27:53.324" v="1917" actId="1035"/>
          <ac:spMkLst>
            <pc:docMk/>
            <pc:sldMk cId="2622219198" sldId="10459"/>
            <ac:spMk id="167" creationId="{70A31A41-D39A-4901-B524-DEB6EC5B4504}"/>
          </ac:spMkLst>
        </pc:spChg>
        <pc:spChg chg="mod">
          <ac:chgData name="Aude Van de WIELE" userId="7317e673-04dd-415c-a4d7-718682339b40" providerId="ADAL" clId="{80D4E734-020D-4C1F-A028-1B9E9B483F9A}" dt="2021-05-25T08:49:48.783" v="7614" actId="790"/>
          <ac:spMkLst>
            <pc:docMk/>
            <pc:sldMk cId="2622219198" sldId="10459"/>
            <ac:spMk id="172" creationId="{573B193E-922F-4F2A-B0EF-A233D5981190}"/>
          </ac:spMkLst>
        </pc:spChg>
        <pc:spChg chg="mod">
          <ac:chgData name="Aude Van de WIELE" userId="7317e673-04dd-415c-a4d7-718682339b40" providerId="ADAL" clId="{80D4E734-020D-4C1F-A028-1B9E9B483F9A}" dt="2021-05-25T08:49:48.784" v="7615" actId="790"/>
          <ac:spMkLst>
            <pc:docMk/>
            <pc:sldMk cId="2622219198" sldId="10459"/>
            <ac:spMk id="173" creationId="{0E1F7BD5-C7A9-40EB-BE70-0ED5A5A3E443}"/>
          </ac:spMkLst>
        </pc:spChg>
        <pc:spChg chg="mod">
          <ac:chgData name="Aude Van de WIELE" userId="7317e673-04dd-415c-a4d7-718682339b40" providerId="ADAL" clId="{80D4E734-020D-4C1F-A028-1B9E9B483F9A}" dt="2021-05-25T08:49:48.785" v="7616" actId="790"/>
          <ac:spMkLst>
            <pc:docMk/>
            <pc:sldMk cId="2622219198" sldId="10459"/>
            <ac:spMk id="174" creationId="{1BD2C0B7-0F4D-4E93-9CBF-5D166B72FB73}"/>
          </ac:spMkLst>
        </pc:spChg>
        <pc:spChg chg="mod">
          <ac:chgData name="Aude Van de WIELE" userId="7317e673-04dd-415c-a4d7-718682339b40" providerId="ADAL" clId="{80D4E734-020D-4C1F-A028-1B9E9B483F9A}" dt="2021-05-25T08:49:48.787" v="7617" actId="790"/>
          <ac:spMkLst>
            <pc:docMk/>
            <pc:sldMk cId="2622219198" sldId="10459"/>
            <ac:spMk id="175" creationId="{0C39A08F-20B5-4DA9-8952-9C4E259C3CD0}"/>
          </ac:spMkLst>
        </pc:spChg>
        <pc:spChg chg="mod">
          <ac:chgData name="Aude Van de WIELE" userId="7317e673-04dd-415c-a4d7-718682339b40" providerId="ADAL" clId="{80D4E734-020D-4C1F-A028-1B9E9B483F9A}" dt="2021-05-25T08:49:48.789" v="7618" actId="790"/>
          <ac:spMkLst>
            <pc:docMk/>
            <pc:sldMk cId="2622219198" sldId="10459"/>
            <ac:spMk id="176" creationId="{E452111D-2242-4028-AA71-C83ED46CFF56}"/>
          </ac:spMkLst>
        </pc:spChg>
        <pc:spChg chg="mod">
          <ac:chgData name="Aude Van de WIELE" userId="7317e673-04dd-415c-a4d7-718682339b40" providerId="ADAL" clId="{80D4E734-020D-4C1F-A028-1B9E9B483F9A}" dt="2021-05-25T08:49:48.790" v="7619" actId="790"/>
          <ac:spMkLst>
            <pc:docMk/>
            <pc:sldMk cId="2622219198" sldId="10459"/>
            <ac:spMk id="177" creationId="{02D6AC18-1DCD-4CCE-937B-AF9ED43AEFF2}"/>
          </ac:spMkLst>
        </pc:spChg>
        <pc:spChg chg="mod">
          <ac:chgData name="Aude Van de WIELE" userId="7317e673-04dd-415c-a4d7-718682339b40" providerId="ADAL" clId="{80D4E734-020D-4C1F-A028-1B9E9B483F9A}" dt="2021-05-25T08:49:48.792" v="7620" actId="790"/>
          <ac:spMkLst>
            <pc:docMk/>
            <pc:sldMk cId="2622219198" sldId="10459"/>
            <ac:spMk id="178" creationId="{84F748E7-32C8-4D45-B09F-063FE37693E3}"/>
          </ac:spMkLst>
        </pc:spChg>
        <pc:spChg chg="mod">
          <ac:chgData name="Aude Van de WIELE" userId="7317e673-04dd-415c-a4d7-718682339b40" providerId="ADAL" clId="{80D4E734-020D-4C1F-A028-1B9E9B483F9A}" dt="2021-05-25T12:28:00.516" v="11497" actId="14100"/>
          <ac:spMkLst>
            <pc:docMk/>
            <pc:sldMk cId="2622219198" sldId="10459"/>
            <ac:spMk id="179" creationId="{B66B3442-859B-42FD-8236-77D440E52012}"/>
          </ac:spMkLst>
        </pc:spChg>
        <pc:spChg chg="mod">
          <ac:chgData name="Aude Van de WIELE" userId="7317e673-04dd-415c-a4d7-718682339b40" providerId="ADAL" clId="{80D4E734-020D-4C1F-A028-1B9E9B483F9A}" dt="2021-05-25T08:49:48.795" v="7622" actId="790"/>
          <ac:spMkLst>
            <pc:docMk/>
            <pc:sldMk cId="2622219198" sldId="10459"/>
            <ac:spMk id="180" creationId="{0E9A7E47-BD38-44E5-819C-B5F759AC6D7D}"/>
          </ac:spMkLst>
        </pc:spChg>
        <pc:spChg chg="mod">
          <ac:chgData name="Aude Van de WIELE" userId="7317e673-04dd-415c-a4d7-718682339b40" providerId="ADAL" clId="{80D4E734-020D-4C1F-A028-1B9E9B483F9A}" dt="2021-05-25T08:49:48.796" v="7623" actId="790"/>
          <ac:spMkLst>
            <pc:docMk/>
            <pc:sldMk cId="2622219198" sldId="10459"/>
            <ac:spMk id="181" creationId="{1BB216E4-6201-48B3-8401-10870BB9DCD5}"/>
          </ac:spMkLst>
        </pc:spChg>
        <pc:spChg chg="mod">
          <ac:chgData name="Aude Van de WIELE" userId="7317e673-04dd-415c-a4d7-718682339b40" providerId="ADAL" clId="{80D4E734-020D-4C1F-A028-1B9E9B483F9A}" dt="2021-05-25T08:49:48.798" v="7624" actId="790"/>
          <ac:spMkLst>
            <pc:docMk/>
            <pc:sldMk cId="2622219198" sldId="10459"/>
            <ac:spMk id="182" creationId="{C3F31445-4914-4F96-8D31-7A526B1FDCE5}"/>
          </ac:spMkLst>
        </pc:spChg>
        <pc:spChg chg="mod">
          <ac:chgData name="Aude Van de WIELE" userId="7317e673-04dd-415c-a4d7-718682339b40" providerId="ADAL" clId="{80D4E734-020D-4C1F-A028-1B9E9B483F9A}" dt="2021-05-25T08:49:48.798" v="7625" actId="790"/>
          <ac:spMkLst>
            <pc:docMk/>
            <pc:sldMk cId="2622219198" sldId="10459"/>
            <ac:spMk id="183" creationId="{BEC7A597-F4A8-4974-8375-6E29E8C47B42}"/>
          </ac:spMkLst>
        </pc:spChg>
        <pc:spChg chg="del">
          <ac:chgData name="Aude Van de WIELE" userId="7317e673-04dd-415c-a4d7-718682339b40" providerId="ADAL" clId="{80D4E734-020D-4C1F-A028-1B9E9B483F9A}" dt="2021-05-24T16:12:27.140" v="6210" actId="478"/>
          <ac:spMkLst>
            <pc:docMk/>
            <pc:sldMk cId="2622219198" sldId="10459"/>
            <ac:spMk id="190" creationId="{585D1C7F-69A8-4001-89E5-EA9E32584A1B}"/>
          </ac:spMkLst>
        </pc:spChg>
        <pc:spChg chg="mod">
          <ac:chgData name="Aude Van de WIELE" userId="7317e673-04dd-415c-a4d7-718682339b40" providerId="ADAL" clId="{80D4E734-020D-4C1F-A028-1B9E9B483F9A}" dt="2021-05-25T08:49:48.801" v="7626" actId="790"/>
          <ac:spMkLst>
            <pc:docMk/>
            <pc:sldMk cId="2622219198" sldId="10459"/>
            <ac:spMk id="191" creationId="{8ADF53D2-8D13-4D07-BFEF-B74E24AA0F74}"/>
          </ac:spMkLst>
        </pc:spChg>
        <pc:spChg chg="mod">
          <ac:chgData name="Aude Van de WIELE" userId="7317e673-04dd-415c-a4d7-718682339b40" providerId="ADAL" clId="{80D4E734-020D-4C1F-A028-1B9E9B483F9A}" dt="2021-05-25T08:49:48.802" v="7627" actId="790"/>
          <ac:spMkLst>
            <pc:docMk/>
            <pc:sldMk cId="2622219198" sldId="10459"/>
            <ac:spMk id="192" creationId="{80934016-69B3-4C95-B81A-6EBE37BE361F}"/>
          </ac:spMkLst>
        </pc:spChg>
        <pc:spChg chg="mod">
          <ac:chgData name="Aude Van de WIELE" userId="7317e673-04dd-415c-a4d7-718682339b40" providerId="ADAL" clId="{80D4E734-020D-4C1F-A028-1B9E9B483F9A}" dt="2021-05-25T08:49:48.803" v="7628" actId="790"/>
          <ac:spMkLst>
            <pc:docMk/>
            <pc:sldMk cId="2622219198" sldId="10459"/>
            <ac:spMk id="193" creationId="{7AFB5043-8B3B-4546-8B4A-F7431AA952A9}"/>
          </ac:spMkLst>
        </pc:spChg>
        <pc:spChg chg="mod">
          <ac:chgData name="Aude Van de WIELE" userId="7317e673-04dd-415c-a4d7-718682339b40" providerId="ADAL" clId="{80D4E734-020D-4C1F-A028-1B9E9B483F9A}" dt="2021-05-25T08:49:48.803" v="7629" actId="790"/>
          <ac:spMkLst>
            <pc:docMk/>
            <pc:sldMk cId="2622219198" sldId="10459"/>
            <ac:spMk id="194" creationId="{DAC83DCD-85BC-49D1-A938-A4B5ED5E09AE}"/>
          </ac:spMkLst>
        </pc:spChg>
        <pc:spChg chg="mod">
          <ac:chgData name="Aude Van de WIELE" userId="7317e673-04dd-415c-a4d7-718682339b40" providerId="ADAL" clId="{80D4E734-020D-4C1F-A028-1B9E9B483F9A}" dt="2021-05-25T08:49:48.804" v="7630" actId="790"/>
          <ac:spMkLst>
            <pc:docMk/>
            <pc:sldMk cId="2622219198" sldId="10459"/>
            <ac:spMk id="195" creationId="{534F1907-F2A1-47BF-823C-D463F4E365D2}"/>
          </ac:spMkLst>
        </pc:spChg>
        <pc:spChg chg="mod">
          <ac:chgData name="Aude Van de WIELE" userId="7317e673-04dd-415c-a4d7-718682339b40" providerId="ADAL" clId="{80D4E734-020D-4C1F-A028-1B9E9B483F9A}" dt="2021-05-25T08:49:48.805" v="7631" actId="790"/>
          <ac:spMkLst>
            <pc:docMk/>
            <pc:sldMk cId="2622219198" sldId="10459"/>
            <ac:spMk id="196" creationId="{6C145554-67D3-47CA-B623-9457BDCCFA5C}"/>
          </ac:spMkLst>
        </pc:spChg>
        <pc:spChg chg="mod">
          <ac:chgData name="Aude Van de WIELE" userId="7317e673-04dd-415c-a4d7-718682339b40" providerId="ADAL" clId="{80D4E734-020D-4C1F-A028-1B9E9B483F9A}" dt="2021-05-25T08:49:48.806" v="7632" actId="790"/>
          <ac:spMkLst>
            <pc:docMk/>
            <pc:sldMk cId="2622219198" sldId="10459"/>
            <ac:spMk id="197" creationId="{8D69E602-432B-4FF2-A5E5-1E475B8F08FC}"/>
          </ac:spMkLst>
        </pc:spChg>
      </pc:sldChg>
      <pc:sldChg chg="addSp delSp modSp mod ord">
        <pc:chgData name="Aude Van de WIELE" userId="7317e673-04dd-415c-a4d7-718682339b40" providerId="ADAL" clId="{80D4E734-020D-4C1F-A028-1B9E9B483F9A}" dt="2021-05-25T08:49:48.924" v="7729" actId="790"/>
        <pc:sldMkLst>
          <pc:docMk/>
          <pc:sldMk cId="2233000822" sldId="10460"/>
        </pc:sldMkLst>
        <pc:spChg chg="mod">
          <ac:chgData name="Aude Van de WIELE" userId="7317e673-04dd-415c-a4d7-718682339b40" providerId="ADAL" clId="{80D4E734-020D-4C1F-A028-1B9E9B483F9A}" dt="2021-05-25T08:49:48.877" v="7691" actId="790"/>
          <ac:spMkLst>
            <pc:docMk/>
            <pc:sldMk cId="2233000822" sldId="10460"/>
            <ac:spMk id="2" creationId="{BA3E4240-1B8B-4AAA-9DCA-9FE236464846}"/>
          </ac:spMkLst>
        </pc:spChg>
        <pc:spChg chg="del">
          <ac:chgData name="Aude Van de WIELE" userId="7317e673-04dd-415c-a4d7-718682339b40" providerId="ADAL" clId="{80D4E734-020D-4C1F-A028-1B9E9B483F9A}" dt="2021-05-24T16:12:36.990" v="6214" actId="478"/>
          <ac:spMkLst>
            <pc:docMk/>
            <pc:sldMk cId="2233000822" sldId="10460"/>
            <ac:spMk id="9" creationId="{8EBE87B3-F04E-491F-82E3-AD5C42A920E2}"/>
          </ac:spMkLst>
        </pc:spChg>
        <pc:spChg chg="mod">
          <ac:chgData name="Aude Van de WIELE" userId="7317e673-04dd-415c-a4d7-718682339b40" providerId="ADAL" clId="{80D4E734-020D-4C1F-A028-1B9E9B483F9A}" dt="2021-05-25T08:49:48.887" v="7699" actId="790"/>
          <ac:spMkLst>
            <pc:docMk/>
            <pc:sldMk cId="2233000822" sldId="10460"/>
            <ac:spMk id="10" creationId="{8B80541E-0CB8-4F46-AA31-1D2CE8ECE50F}"/>
          </ac:spMkLst>
        </pc:spChg>
        <pc:spChg chg="mod">
          <ac:chgData name="Aude Van de WIELE" userId="7317e673-04dd-415c-a4d7-718682339b40" providerId="ADAL" clId="{80D4E734-020D-4C1F-A028-1B9E9B483F9A}" dt="2021-05-25T08:49:48.878" v="7692" actId="790"/>
          <ac:spMkLst>
            <pc:docMk/>
            <pc:sldMk cId="2233000822" sldId="10460"/>
            <ac:spMk id="12" creationId="{5632CA9B-96AD-46F9-9A8A-B6E6800443DD}"/>
          </ac:spMkLst>
        </pc:spChg>
        <pc:spChg chg="mod">
          <ac:chgData name="Aude Van de WIELE" userId="7317e673-04dd-415c-a4d7-718682339b40" providerId="ADAL" clId="{80D4E734-020D-4C1F-A028-1B9E9B483F9A}" dt="2021-05-25T08:49:48.879" v="7693" actId="790"/>
          <ac:spMkLst>
            <pc:docMk/>
            <pc:sldMk cId="2233000822" sldId="10460"/>
            <ac:spMk id="13" creationId="{8A47A578-76B7-48A6-B910-8A54E9BC3C53}"/>
          </ac:spMkLst>
        </pc:spChg>
        <pc:spChg chg="mod">
          <ac:chgData name="Aude Van de WIELE" userId="7317e673-04dd-415c-a4d7-718682339b40" providerId="ADAL" clId="{80D4E734-020D-4C1F-A028-1B9E9B483F9A}" dt="2021-05-25T08:49:48.880" v="7694" actId="790"/>
          <ac:spMkLst>
            <pc:docMk/>
            <pc:sldMk cId="2233000822" sldId="10460"/>
            <ac:spMk id="16" creationId="{4FCCDEAF-F1D6-472C-8877-BCF7D817DF4C}"/>
          </ac:spMkLst>
        </pc:spChg>
        <pc:spChg chg="mod topLvl">
          <ac:chgData name="Aude Van de WIELE" userId="7317e673-04dd-415c-a4d7-718682339b40" providerId="ADAL" clId="{80D4E734-020D-4C1F-A028-1B9E9B483F9A}" dt="2021-05-25T08:49:48.908" v="7713" actId="790"/>
          <ac:spMkLst>
            <pc:docMk/>
            <pc:sldMk cId="2233000822" sldId="10460"/>
            <ac:spMk id="21" creationId="{58337BA2-B7F0-4432-B9BF-C085B3E8B7D0}"/>
          </ac:spMkLst>
        </pc:spChg>
        <pc:spChg chg="mod topLvl">
          <ac:chgData name="Aude Van de WIELE" userId="7317e673-04dd-415c-a4d7-718682339b40" providerId="ADAL" clId="{80D4E734-020D-4C1F-A028-1B9E9B483F9A}" dt="2021-05-25T08:49:48.909" v="7714" actId="790"/>
          <ac:spMkLst>
            <pc:docMk/>
            <pc:sldMk cId="2233000822" sldId="10460"/>
            <ac:spMk id="23" creationId="{CAB7DE97-987C-4E1B-AC28-72D620F2E2AC}"/>
          </ac:spMkLst>
        </pc:spChg>
        <pc:spChg chg="mod">
          <ac:chgData name="Aude Van de WIELE" userId="7317e673-04dd-415c-a4d7-718682339b40" providerId="ADAL" clId="{80D4E734-020D-4C1F-A028-1B9E9B483F9A}" dt="2021-05-25T08:49:48.882" v="7696" actId="790"/>
          <ac:spMkLst>
            <pc:docMk/>
            <pc:sldMk cId="2233000822" sldId="10460"/>
            <ac:spMk id="50" creationId="{3D11D9AD-56B2-4FD0-998A-C3C17321490E}"/>
          </ac:spMkLst>
        </pc:spChg>
        <pc:spChg chg="mod">
          <ac:chgData name="Aude Van de WIELE" userId="7317e673-04dd-415c-a4d7-718682339b40" providerId="ADAL" clId="{80D4E734-020D-4C1F-A028-1B9E9B483F9A}" dt="2021-05-25T08:49:48.883" v="7697" actId="790"/>
          <ac:spMkLst>
            <pc:docMk/>
            <pc:sldMk cId="2233000822" sldId="10460"/>
            <ac:spMk id="51" creationId="{ABA09096-B3E8-4754-A77D-65D350688B5B}"/>
          </ac:spMkLst>
        </pc:spChg>
        <pc:spChg chg="mod">
          <ac:chgData name="Aude Van de WIELE" userId="7317e673-04dd-415c-a4d7-718682339b40" providerId="ADAL" clId="{80D4E734-020D-4C1F-A028-1B9E9B483F9A}" dt="2021-05-25T08:49:48.886" v="7698" actId="790"/>
          <ac:spMkLst>
            <pc:docMk/>
            <pc:sldMk cId="2233000822" sldId="10460"/>
            <ac:spMk id="52" creationId="{269DE5CB-BABB-4CE5-BFC8-CA5EE268E23C}"/>
          </ac:spMkLst>
        </pc:spChg>
        <pc:spChg chg="add mod">
          <ac:chgData name="Aude Van de WIELE" userId="7317e673-04dd-415c-a4d7-718682339b40" providerId="ADAL" clId="{80D4E734-020D-4C1F-A028-1B9E9B483F9A}" dt="2021-05-25T08:49:48.924" v="7729" actId="790"/>
          <ac:spMkLst>
            <pc:docMk/>
            <pc:sldMk cId="2233000822" sldId="10460"/>
            <ac:spMk id="53" creationId="{E78B608F-6BB5-42D9-B674-E79A1AA2E5CC}"/>
          </ac:spMkLst>
        </pc:spChg>
        <pc:spChg chg="mod">
          <ac:chgData name="Aude Van de WIELE" userId="7317e673-04dd-415c-a4d7-718682339b40" providerId="ADAL" clId="{80D4E734-020D-4C1F-A028-1B9E9B483F9A}" dt="2021-05-25T08:49:48.888" v="7700" actId="790"/>
          <ac:spMkLst>
            <pc:docMk/>
            <pc:sldMk cId="2233000822" sldId="10460"/>
            <ac:spMk id="54" creationId="{A1ED7959-6972-4CA1-87DE-4A9E265D1EE1}"/>
          </ac:spMkLst>
        </pc:spChg>
        <pc:spChg chg="mod">
          <ac:chgData name="Aude Van de WIELE" userId="7317e673-04dd-415c-a4d7-718682339b40" providerId="ADAL" clId="{80D4E734-020D-4C1F-A028-1B9E9B483F9A}" dt="2021-05-25T08:49:48.889" v="7701" actId="790"/>
          <ac:spMkLst>
            <pc:docMk/>
            <pc:sldMk cId="2233000822" sldId="10460"/>
            <ac:spMk id="61" creationId="{0CCFF1A2-CE09-4311-BD82-2FC01C7F8607}"/>
          </ac:spMkLst>
        </pc:spChg>
        <pc:spChg chg="mod">
          <ac:chgData name="Aude Van de WIELE" userId="7317e673-04dd-415c-a4d7-718682339b40" providerId="ADAL" clId="{80D4E734-020D-4C1F-A028-1B9E9B483F9A}" dt="2021-05-24T10:28:01.483" v="1929" actId="1035"/>
          <ac:spMkLst>
            <pc:docMk/>
            <pc:sldMk cId="2233000822" sldId="10460"/>
            <ac:spMk id="64" creationId="{62AD9C8B-EE8D-4437-9A4F-DB3CF9653138}"/>
          </ac:spMkLst>
        </pc:spChg>
        <pc:spChg chg="mod">
          <ac:chgData name="Aude Van de WIELE" userId="7317e673-04dd-415c-a4d7-718682339b40" providerId="ADAL" clId="{80D4E734-020D-4C1F-A028-1B9E9B483F9A}" dt="2021-05-25T08:49:48.890" v="7702" actId="790"/>
          <ac:spMkLst>
            <pc:docMk/>
            <pc:sldMk cId="2233000822" sldId="10460"/>
            <ac:spMk id="68" creationId="{A5346155-53F6-4492-8069-514F081C33B9}"/>
          </ac:spMkLst>
        </pc:spChg>
        <pc:spChg chg="mod">
          <ac:chgData name="Aude Van de WIELE" userId="7317e673-04dd-415c-a4d7-718682339b40" providerId="ADAL" clId="{80D4E734-020D-4C1F-A028-1B9E9B483F9A}" dt="2021-05-25T08:49:48.891" v="7703" actId="790"/>
          <ac:spMkLst>
            <pc:docMk/>
            <pc:sldMk cId="2233000822" sldId="10460"/>
            <ac:spMk id="73" creationId="{98DD9878-7EFD-4EE3-8563-0AB6CA847BCD}"/>
          </ac:spMkLst>
        </pc:spChg>
        <pc:spChg chg="mod">
          <ac:chgData name="Aude Van de WIELE" userId="7317e673-04dd-415c-a4d7-718682339b40" providerId="ADAL" clId="{80D4E734-020D-4C1F-A028-1B9E9B483F9A}" dt="2021-05-25T08:49:48.894" v="7704" actId="790"/>
          <ac:spMkLst>
            <pc:docMk/>
            <pc:sldMk cId="2233000822" sldId="10460"/>
            <ac:spMk id="78" creationId="{5112757C-9BF4-4BA1-9498-541BF2906FB2}"/>
          </ac:spMkLst>
        </pc:spChg>
        <pc:spChg chg="mod">
          <ac:chgData name="Aude Van de WIELE" userId="7317e673-04dd-415c-a4d7-718682339b40" providerId="ADAL" clId="{80D4E734-020D-4C1F-A028-1B9E9B483F9A}" dt="2021-05-25T08:49:48.896" v="7705" actId="790"/>
          <ac:spMkLst>
            <pc:docMk/>
            <pc:sldMk cId="2233000822" sldId="10460"/>
            <ac:spMk id="79" creationId="{03A27743-6F0C-44CB-A476-520C8741EAE9}"/>
          </ac:spMkLst>
        </pc:spChg>
        <pc:spChg chg="mod">
          <ac:chgData name="Aude Van de WIELE" userId="7317e673-04dd-415c-a4d7-718682339b40" providerId="ADAL" clId="{80D4E734-020D-4C1F-A028-1B9E9B483F9A}" dt="2021-05-25T08:49:48.900" v="7706" actId="790"/>
          <ac:spMkLst>
            <pc:docMk/>
            <pc:sldMk cId="2233000822" sldId="10460"/>
            <ac:spMk id="80" creationId="{E399A358-1215-4FA3-8339-9689B70175BF}"/>
          </ac:spMkLst>
        </pc:spChg>
        <pc:spChg chg="mod topLvl">
          <ac:chgData name="Aude Van de WIELE" userId="7317e673-04dd-415c-a4d7-718682339b40" providerId="ADAL" clId="{80D4E734-020D-4C1F-A028-1B9E9B483F9A}" dt="2021-05-25T08:49:48.910" v="7715" actId="790"/>
          <ac:spMkLst>
            <pc:docMk/>
            <pc:sldMk cId="2233000822" sldId="10460"/>
            <ac:spMk id="81" creationId="{60F8FC4C-7305-426C-8523-F98FB2B728B2}"/>
          </ac:spMkLst>
        </pc:spChg>
        <pc:spChg chg="mod">
          <ac:chgData name="Aude Van de WIELE" userId="7317e673-04dd-415c-a4d7-718682339b40" providerId="ADAL" clId="{80D4E734-020D-4C1F-A028-1B9E9B483F9A}" dt="2021-05-25T08:49:48.902" v="7707" actId="790"/>
          <ac:spMkLst>
            <pc:docMk/>
            <pc:sldMk cId="2233000822" sldId="10460"/>
            <ac:spMk id="82" creationId="{378DC2D4-4EBE-4118-8C40-86863555C037}"/>
          </ac:spMkLst>
        </pc:spChg>
        <pc:spChg chg="mod">
          <ac:chgData name="Aude Van de WIELE" userId="7317e673-04dd-415c-a4d7-718682339b40" providerId="ADAL" clId="{80D4E734-020D-4C1F-A028-1B9E9B483F9A}" dt="2021-05-25T08:49:48.903" v="7708" actId="790"/>
          <ac:spMkLst>
            <pc:docMk/>
            <pc:sldMk cId="2233000822" sldId="10460"/>
            <ac:spMk id="84" creationId="{3C53EFB8-8D77-4743-B5E2-D02A8132C2B0}"/>
          </ac:spMkLst>
        </pc:spChg>
        <pc:spChg chg="mod topLvl">
          <ac:chgData name="Aude Van de WIELE" userId="7317e673-04dd-415c-a4d7-718682339b40" providerId="ADAL" clId="{80D4E734-020D-4C1F-A028-1B9E9B483F9A}" dt="2021-05-25T08:49:48.911" v="7716" actId="790"/>
          <ac:spMkLst>
            <pc:docMk/>
            <pc:sldMk cId="2233000822" sldId="10460"/>
            <ac:spMk id="86" creationId="{5426AF42-AB87-4AFB-94AB-DD1D8EF561A6}"/>
          </ac:spMkLst>
        </pc:spChg>
        <pc:spChg chg="mod">
          <ac:chgData name="Aude Van de WIELE" userId="7317e673-04dd-415c-a4d7-718682339b40" providerId="ADAL" clId="{80D4E734-020D-4C1F-A028-1B9E9B483F9A}" dt="2021-05-25T08:49:48.904" v="7709" actId="790"/>
          <ac:spMkLst>
            <pc:docMk/>
            <pc:sldMk cId="2233000822" sldId="10460"/>
            <ac:spMk id="92" creationId="{58B5811A-7C8F-45CF-9D3B-9676978FB9CF}"/>
          </ac:spMkLst>
        </pc:spChg>
        <pc:spChg chg="mod">
          <ac:chgData name="Aude Van de WIELE" userId="7317e673-04dd-415c-a4d7-718682339b40" providerId="ADAL" clId="{80D4E734-020D-4C1F-A028-1B9E9B483F9A}" dt="2021-05-25T08:49:48.905" v="7710" actId="790"/>
          <ac:spMkLst>
            <pc:docMk/>
            <pc:sldMk cId="2233000822" sldId="10460"/>
            <ac:spMk id="98" creationId="{E7E824A9-0075-4DB7-94CB-07C41244E4EF}"/>
          </ac:spMkLst>
        </pc:spChg>
        <pc:spChg chg="mod">
          <ac:chgData name="Aude Van de WIELE" userId="7317e673-04dd-415c-a4d7-718682339b40" providerId="ADAL" clId="{80D4E734-020D-4C1F-A028-1B9E9B483F9A}" dt="2021-05-25T08:49:48.906" v="7711" actId="790"/>
          <ac:spMkLst>
            <pc:docMk/>
            <pc:sldMk cId="2233000822" sldId="10460"/>
            <ac:spMk id="99" creationId="{9F13D4F4-DACE-4D56-AD46-7369D3A8494C}"/>
          </ac:spMkLst>
        </pc:spChg>
        <pc:spChg chg="add mod">
          <ac:chgData name="Aude Van de WIELE" userId="7317e673-04dd-415c-a4d7-718682339b40" providerId="ADAL" clId="{80D4E734-020D-4C1F-A028-1B9E9B483F9A}" dt="2021-05-25T08:49:48.917" v="7720" actId="790"/>
          <ac:spMkLst>
            <pc:docMk/>
            <pc:sldMk cId="2233000822" sldId="10460"/>
            <ac:spMk id="104" creationId="{84D904D1-6FD7-411F-9055-7BDDD6F8D510}"/>
          </ac:spMkLst>
        </pc:spChg>
        <pc:spChg chg="add mod">
          <ac:chgData name="Aude Van de WIELE" userId="7317e673-04dd-415c-a4d7-718682339b40" providerId="ADAL" clId="{80D4E734-020D-4C1F-A028-1B9E9B483F9A}" dt="2021-05-25T08:49:48.917" v="7721" actId="790"/>
          <ac:spMkLst>
            <pc:docMk/>
            <pc:sldMk cId="2233000822" sldId="10460"/>
            <ac:spMk id="107" creationId="{E4B14101-5119-4FB2-BCD9-4C0E7BEAF957}"/>
          </ac:spMkLst>
        </pc:spChg>
        <pc:spChg chg="mod">
          <ac:chgData name="Aude Van de WIELE" userId="7317e673-04dd-415c-a4d7-718682339b40" providerId="ADAL" clId="{80D4E734-020D-4C1F-A028-1B9E9B483F9A}" dt="2021-05-25T08:49:48.907" v="7712" actId="790"/>
          <ac:spMkLst>
            <pc:docMk/>
            <pc:sldMk cId="2233000822" sldId="10460"/>
            <ac:spMk id="109" creationId="{E8BE3BCE-A832-4D22-9958-D819266EA290}"/>
          </ac:spMkLst>
        </pc:spChg>
        <pc:spChg chg="mod">
          <ac:chgData name="Aude Van de WIELE" userId="7317e673-04dd-415c-a4d7-718682339b40" providerId="ADAL" clId="{80D4E734-020D-4C1F-A028-1B9E9B483F9A}" dt="2021-05-25T08:49:48.913" v="7717" actId="790"/>
          <ac:spMkLst>
            <pc:docMk/>
            <pc:sldMk cId="2233000822" sldId="10460"/>
            <ac:spMk id="114" creationId="{EF7E7272-A5E8-48AE-AF6F-C99EB6336D02}"/>
          </ac:spMkLst>
        </pc:spChg>
        <pc:spChg chg="mod">
          <ac:chgData name="Aude Van de WIELE" userId="7317e673-04dd-415c-a4d7-718682339b40" providerId="ADAL" clId="{80D4E734-020D-4C1F-A028-1B9E9B483F9A}" dt="2021-05-25T08:49:48.915" v="7718" actId="790"/>
          <ac:spMkLst>
            <pc:docMk/>
            <pc:sldMk cId="2233000822" sldId="10460"/>
            <ac:spMk id="115" creationId="{E4406749-7A4A-41F0-A850-CE3465C20F17}"/>
          </ac:spMkLst>
        </pc:spChg>
        <pc:spChg chg="mod">
          <ac:chgData name="Aude Van de WIELE" userId="7317e673-04dd-415c-a4d7-718682339b40" providerId="ADAL" clId="{80D4E734-020D-4C1F-A028-1B9E9B483F9A}" dt="2021-05-25T08:49:48.916" v="7719" actId="790"/>
          <ac:spMkLst>
            <pc:docMk/>
            <pc:sldMk cId="2233000822" sldId="10460"/>
            <ac:spMk id="116" creationId="{2806627C-A398-4592-B3EB-4C56D0420050}"/>
          </ac:spMkLst>
        </pc:spChg>
        <pc:spChg chg="mod">
          <ac:chgData name="Aude Van de WIELE" userId="7317e673-04dd-415c-a4d7-718682339b40" providerId="ADAL" clId="{80D4E734-020D-4C1F-A028-1B9E9B483F9A}" dt="2021-05-25T08:49:48.881" v="7695" actId="790"/>
          <ac:spMkLst>
            <pc:docMk/>
            <pc:sldMk cId="2233000822" sldId="10460"/>
            <ac:spMk id="152" creationId="{FD7ED2BD-3A04-423A-8563-A638727F3B40}"/>
          </ac:spMkLst>
        </pc:spChg>
        <pc:spChg chg="mod">
          <ac:chgData name="Aude Van de WIELE" userId="7317e673-04dd-415c-a4d7-718682339b40" providerId="ADAL" clId="{80D4E734-020D-4C1F-A028-1B9E9B483F9A}" dt="2021-05-25T08:49:48.919" v="7722" actId="790"/>
          <ac:spMkLst>
            <pc:docMk/>
            <pc:sldMk cId="2233000822" sldId="10460"/>
            <ac:spMk id="154" creationId="{D35DD235-AAB8-4F6B-B3B1-D38983ADA0CA}"/>
          </ac:spMkLst>
        </pc:spChg>
        <pc:spChg chg="mod">
          <ac:chgData name="Aude Van de WIELE" userId="7317e673-04dd-415c-a4d7-718682339b40" providerId="ADAL" clId="{80D4E734-020D-4C1F-A028-1B9E9B483F9A}" dt="2021-05-25T08:49:48.919" v="7723" actId="790"/>
          <ac:spMkLst>
            <pc:docMk/>
            <pc:sldMk cId="2233000822" sldId="10460"/>
            <ac:spMk id="155" creationId="{45677D6E-1074-44F0-A972-E8300AB3680D}"/>
          </ac:spMkLst>
        </pc:spChg>
        <pc:spChg chg="mod">
          <ac:chgData name="Aude Van de WIELE" userId="7317e673-04dd-415c-a4d7-718682339b40" providerId="ADAL" clId="{80D4E734-020D-4C1F-A028-1B9E9B483F9A}" dt="2021-05-25T08:49:48.920" v="7724" actId="790"/>
          <ac:spMkLst>
            <pc:docMk/>
            <pc:sldMk cId="2233000822" sldId="10460"/>
            <ac:spMk id="156" creationId="{29678C34-BE61-4AD4-863B-FD79AC636B57}"/>
          </ac:spMkLst>
        </pc:spChg>
        <pc:spChg chg="mod">
          <ac:chgData name="Aude Van de WIELE" userId="7317e673-04dd-415c-a4d7-718682339b40" providerId="ADAL" clId="{80D4E734-020D-4C1F-A028-1B9E9B483F9A}" dt="2021-05-25T08:49:48.921" v="7725" actId="790"/>
          <ac:spMkLst>
            <pc:docMk/>
            <pc:sldMk cId="2233000822" sldId="10460"/>
            <ac:spMk id="157" creationId="{FC79914C-612B-461D-BE51-7D1309D6DFE0}"/>
          </ac:spMkLst>
        </pc:spChg>
        <pc:spChg chg="mod">
          <ac:chgData name="Aude Van de WIELE" userId="7317e673-04dd-415c-a4d7-718682339b40" providerId="ADAL" clId="{80D4E734-020D-4C1F-A028-1B9E9B483F9A}" dt="2021-05-25T08:49:48.922" v="7726" actId="790"/>
          <ac:spMkLst>
            <pc:docMk/>
            <pc:sldMk cId="2233000822" sldId="10460"/>
            <ac:spMk id="158" creationId="{2D81ABC9-682E-4CC0-995F-B4C6876BBBA5}"/>
          </ac:spMkLst>
        </pc:spChg>
        <pc:spChg chg="mod">
          <ac:chgData name="Aude Van de WIELE" userId="7317e673-04dd-415c-a4d7-718682339b40" providerId="ADAL" clId="{80D4E734-020D-4C1F-A028-1B9E9B483F9A}" dt="2021-05-25T08:49:48.922" v="7727" actId="790"/>
          <ac:spMkLst>
            <pc:docMk/>
            <pc:sldMk cId="2233000822" sldId="10460"/>
            <ac:spMk id="159" creationId="{B9492A56-4112-40F4-9483-056AE30973C3}"/>
          </ac:spMkLst>
        </pc:spChg>
        <pc:spChg chg="mod">
          <ac:chgData name="Aude Van de WIELE" userId="7317e673-04dd-415c-a4d7-718682339b40" providerId="ADAL" clId="{80D4E734-020D-4C1F-A028-1B9E9B483F9A}" dt="2021-05-25T08:49:48.923" v="7728" actId="790"/>
          <ac:spMkLst>
            <pc:docMk/>
            <pc:sldMk cId="2233000822" sldId="10460"/>
            <ac:spMk id="160" creationId="{DF39C3C0-CF28-40E8-9508-1DBF262C4F4D}"/>
          </ac:spMkLst>
        </pc:spChg>
        <pc:grpChg chg="del mod topLvl">
          <ac:chgData name="Aude Van de WIELE" userId="7317e673-04dd-415c-a4d7-718682339b40" providerId="ADAL" clId="{80D4E734-020D-4C1F-A028-1B9E9B483F9A}" dt="2021-05-24T13:01:14.653" v="3859" actId="165"/>
          <ac:grpSpMkLst>
            <pc:docMk/>
            <pc:sldMk cId="2233000822" sldId="10460"/>
            <ac:grpSpMk id="30" creationId="{C120C817-0CFF-4209-AC4C-59C12AEC2736}"/>
          </ac:grpSpMkLst>
        </pc:grpChg>
        <pc:grpChg chg="add del mod">
          <ac:chgData name="Aude Van de WIELE" userId="7317e673-04dd-415c-a4d7-718682339b40" providerId="ADAL" clId="{80D4E734-020D-4C1F-A028-1B9E9B483F9A}" dt="2021-05-24T13:01:14.294" v="3858" actId="165"/>
          <ac:grpSpMkLst>
            <pc:docMk/>
            <pc:sldMk cId="2233000822" sldId="10460"/>
            <ac:grpSpMk id="53" creationId="{01151768-4AEA-4474-871A-F4A8881545EB}"/>
          </ac:grpSpMkLst>
        </pc:grpChg>
        <pc:grpChg chg="del mod topLvl">
          <ac:chgData name="Aude Van de WIELE" userId="7317e673-04dd-415c-a4d7-718682339b40" providerId="ADAL" clId="{80D4E734-020D-4C1F-A028-1B9E9B483F9A}" dt="2021-05-24T13:01:14.653" v="3859" actId="165"/>
          <ac:grpSpMkLst>
            <pc:docMk/>
            <pc:sldMk cId="2233000822" sldId="10460"/>
            <ac:grpSpMk id="105" creationId="{42D74066-1DDA-4974-AADC-DBB400A8CCF4}"/>
          </ac:grpSpMkLst>
        </pc:grpChg>
        <pc:picChg chg="mod topLvl">
          <ac:chgData name="Aude Van de WIELE" userId="7317e673-04dd-415c-a4d7-718682339b40" providerId="ADAL" clId="{80D4E734-020D-4C1F-A028-1B9E9B483F9A}" dt="2021-05-24T13:01:14.653" v="3859" actId="165"/>
          <ac:picMkLst>
            <pc:docMk/>
            <pc:sldMk cId="2233000822" sldId="10460"/>
            <ac:picMk id="29" creationId="{BED356B1-5299-4B02-9B34-333246151A62}"/>
          </ac:picMkLst>
        </pc:picChg>
        <pc:picChg chg="mod topLvl">
          <ac:chgData name="Aude Van de WIELE" userId="7317e673-04dd-415c-a4d7-718682339b40" providerId="ADAL" clId="{80D4E734-020D-4C1F-A028-1B9E9B483F9A}" dt="2021-05-24T13:01:14.653" v="3859" actId="165"/>
          <ac:picMkLst>
            <pc:docMk/>
            <pc:sldMk cId="2233000822" sldId="10460"/>
            <ac:picMk id="47" creationId="{A8AD543B-38C9-44F4-BE59-CEE06D9FC367}"/>
          </ac:picMkLst>
        </pc:picChg>
      </pc:sldChg>
      <pc:sldChg chg="add 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435653618" sldId="10461"/>
        </pc:sldMkLst>
      </pc:sldChg>
      <pc:sldChg chg="modSp del mod modShow">
        <pc:chgData name="Aude Van de WIELE" userId="7317e673-04dd-415c-a4d7-718682339b40" providerId="ADAL" clId="{80D4E734-020D-4C1F-A028-1B9E9B483F9A}" dt="2021-05-24T13:40:38.416" v="4129" actId="2696"/>
        <pc:sldMkLst>
          <pc:docMk/>
          <pc:sldMk cId="2003759014" sldId="10461"/>
        </pc:sldMkLst>
        <pc:spChg chg="mod">
          <ac:chgData name="Aude Van de WIELE" userId="7317e673-04dd-415c-a4d7-718682339b40" providerId="ADAL" clId="{80D4E734-020D-4C1F-A028-1B9E9B483F9A}" dt="2021-05-24T13:01:48.968" v="3863" actId="113"/>
          <ac:spMkLst>
            <pc:docMk/>
            <pc:sldMk cId="2003759014" sldId="10461"/>
            <ac:spMk id="68" creationId="{5627338E-A842-4061-8375-33FF1D0AA89A}"/>
          </ac:spMkLst>
        </pc:spChg>
        <pc:spChg chg="mod">
          <ac:chgData name="Aude Van de WIELE" userId="7317e673-04dd-415c-a4d7-718682339b40" providerId="ADAL" clId="{80D4E734-020D-4C1F-A028-1B9E9B483F9A}" dt="2021-05-24T13:01:48.968" v="3863" actId="113"/>
          <ac:spMkLst>
            <pc:docMk/>
            <pc:sldMk cId="2003759014" sldId="10461"/>
            <ac:spMk id="69" creationId="{4583965D-2AA7-4F53-9C17-CC3ED3258CE7}"/>
          </ac:spMkLst>
        </pc:spChg>
        <pc:spChg chg="mod">
          <ac:chgData name="Aude Van de WIELE" userId="7317e673-04dd-415c-a4d7-718682339b40" providerId="ADAL" clId="{80D4E734-020D-4C1F-A028-1B9E9B483F9A}" dt="2021-05-24T10:28:05.261" v="1935" actId="1035"/>
          <ac:spMkLst>
            <pc:docMk/>
            <pc:sldMk cId="2003759014" sldId="10461"/>
            <ac:spMk id="76" creationId="{67D1AEAA-66A3-493A-832C-7CAFC86BD4A3}"/>
          </ac:spMkLst>
        </pc:spChg>
      </pc:sldChg>
      <pc:sldChg chg="del">
        <pc:chgData name="Aude Van de WIELE" userId="7317e673-04dd-415c-a4d7-718682339b40" providerId="ADAL" clId="{80D4E734-020D-4C1F-A028-1B9E9B483F9A}" dt="2021-05-24T11:28:54.736" v="2266" actId="47"/>
        <pc:sldMkLst>
          <pc:docMk/>
          <pc:sldMk cId="2034003107" sldId="10462"/>
        </pc:sldMkLst>
      </pc:sldChg>
      <pc:sldChg chg="addSp delSp modSp add mod ord">
        <pc:chgData name="Aude Van de WIELE" userId="7317e673-04dd-415c-a4d7-718682339b40" providerId="ADAL" clId="{80D4E734-020D-4C1F-A028-1B9E9B483F9A}" dt="2021-05-25T08:49:49.137" v="7896" actId="790"/>
        <pc:sldMkLst>
          <pc:docMk/>
          <pc:sldMk cId="994864461" sldId="10463"/>
        </pc:sldMkLst>
        <pc:spChg chg="mod">
          <ac:chgData name="Aude Van de WIELE" userId="7317e673-04dd-415c-a4d7-718682339b40" providerId="ADAL" clId="{80D4E734-020D-4C1F-A028-1B9E9B483F9A}" dt="2021-05-25T08:49:49.056" v="7839" actId="790"/>
          <ac:spMkLst>
            <pc:docMk/>
            <pc:sldMk cId="994864461" sldId="10463"/>
            <ac:spMk id="2" creationId="{6141F854-3009-40D7-9038-56590105A49E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11" creationId="{563B210D-AA79-4D5F-ACE6-ABADF843D2FA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12" creationId="{1E623B1C-37C8-4895-B26E-15F871736A36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13" creationId="{878F2793-BE4D-4FF3-B02D-53D881283C27}"/>
          </ac:spMkLst>
        </pc:spChg>
        <pc:spChg chg="mod">
          <ac:chgData name="Aude Van de WIELE" userId="7317e673-04dd-415c-a4d7-718682339b40" providerId="ADAL" clId="{80D4E734-020D-4C1F-A028-1B9E9B483F9A}" dt="2021-05-25T08:49:49.057" v="7840" actId="790"/>
          <ac:spMkLst>
            <pc:docMk/>
            <pc:sldMk cId="994864461" sldId="10463"/>
            <ac:spMk id="14" creationId="{BF99168B-58D2-49E3-9128-C54D5771CCAF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15" creationId="{05128460-7BFC-4307-97D3-8D6BCE648098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16" creationId="{52DC22F7-50A1-4F9E-BDE2-AEB9287C6358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17" creationId="{13362563-A54C-40FC-9CE3-98BEEED7C283}"/>
          </ac:spMkLst>
        </pc:spChg>
        <pc:spChg chg="del">
          <ac:chgData name="Aude Van de WIELE" userId="7317e673-04dd-415c-a4d7-718682339b40" providerId="ADAL" clId="{80D4E734-020D-4C1F-A028-1B9E9B483F9A}" dt="2021-05-24T11:19:59.163" v="2019" actId="478"/>
          <ac:spMkLst>
            <pc:docMk/>
            <pc:sldMk cId="994864461" sldId="10463"/>
            <ac:spMk id="18" creationId="{A0FC123E-1912-4BE1-A532-BD9FD91F6D4C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19" creationId="{53B1CD2F-0672-4E2A-A3D2-D816C1F3C13A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0" creationId="{2C72074C-EA62-427A-B807-7B4830414ADA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1" creationId="{3CAD7744-8624-4211-8642-F7A97366903A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2" creationId="{0EE64BA2-0E59-4319-86FD-6DC0E3B07DC6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3" creationId="{C50B6671-D4B5-4C43-8259-C37662E047AC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4" creationId="{6FD5383A-D90F-4793-9EE4-978E5E77E6AE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5" creationId="{E73D5AA9-9BED-4CFE-9B15-BA2CA34D3A8F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6" creationId="{1CF178C9-FA09-4B3B-8961-A7D3052DF2A2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7" creationId="{D8D4D570-E556-4136-82DA-1FDC69F4B871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28" creationId="{FCC4D2C6-1441-4E66-A37F-3A76B43E83CE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29" creationId="{4EBEFE44-2A14-4F09-A3EB-58ED287D0203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30" creationId="{0D81CDD6-14AC-4542-8189-57ADD3120D86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31" creationId="{0A21BF8A-4686-4FC7-B72A-00B5F9563C97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32" creationId="{0B4EA174-DBE6-401C-806A-3A9DC28290D2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33" creationId="{6F619186-A29F-47FC-B4C9-60FE5B327007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34" creationId="{7710F13B-8FD8-4679-A9E3-0FF42D7E205D}"/>
          </ac:spMkLst>
        </pc:spChg>
        <pc:spChg chg="del">
          <ac:chgData name="Aude Van de WIELE" userId="7317e673-04dd-415c-a4d7-718682339b40" providerId="ADAL" clId="{80D4E734-020D-4C1F-A028-1B9E9B483F9A}" dt="2021-05-24T11:21:04.283" v="2086" actId="478"/>
          <ac:spMkLst>
            <pc:docMk/>
            <pc:sldMk cId="994864461" sldId="10463"/>
            <ac:spMk id="38" creationId="{443D7E13-5E25-417A-AA2B-D37766447346}"/>
          </ac:spMkLst>
        </pc:spChg>
        <pc:spChg chg="del">
          <ac:chgData name="Aude Van de WIELE" userId="7317e673-04dd-415c-a4d7-718682339b40" providerId="ADAL" clId="{80D4E734-020D-4C1F-A028-1B9E9B483F9A}" dt="2021-05-24T11:19:23.091" v="2007" actId="478"/>
          <ac:spMkLst>
            <pc:docMk/>
            <pc:sldMk cId="994864461" sldId="10463"/>
            <ac:spMk id="39" creationId="{560C4695-6845-4318-AF0C-9108A8886DF2}"/>
          </ac:spMkLst>
        </pc:spChg>
        <pc:spChg chg="del">
          <ac:chgData name="Aude Van de WIELE" userId="7317e673-04dd-415c-a4d7-718682339b40" providerId="ADAL" clId="{80D4E734-020D-4C1F-A028-1B9E9B483F9A}" dt="2021-05-24T11:19:59.163" v="2019" actId="478"/>
          <ac:spMkLst>
            <pc:docMk/>
            <pc:sldMk cId="994864461" sldId="10463"/>
            <ac:spMk id="40" creationId="{951BFB89-3A96-459C-8E4A-080B28FCA297}"/>
          </ac:spMkLst>
        </pc:spChg>
        <pc:spChg chg="mod">
          <ac:chgData name="Aude Van de WIELE" userId="7317e673-04dd-415c-a4d7-718682339b40" providerId="ADAL" clId="{80D4E734-020D-4C1F-A028-1B9E9B483F9A}" dt="2021-05-25T08:49:49.058" v="7841" actId="790"/>
          <ac:spMkLst>
            <pc:docMk/>
            <pc:sldMk cId="994864461" sldId="10463"/>
            <ac:spMk id="41" creationId="{8514CDF6-D3F3-4CEC-96D8-EB94AFEB3106}"/>
          </ac:spMkLst>
        </pc:spChg>
        <pc:spChg chg="mod">
          <ac:chgData name="Aude Van de WIELE" userId="7317e673-04dd-415c-a4d7-718682339b40" providerId="ADAL" clId="{80D4E734-020D-4C1F-A028-1B9E9B483F9A}" dt="2021-05-25T08:49:49.059" v="7842" actId="790"/>
          <ac:spMkLst>
            <pc:docMk/>
            <pc:sldMk cId="994864461" sldId="10463"/>
            <ac:spMk id="42" creationId="{B14DB10B-7FE9-42ED-B303-F33106400EA9}"/>
          </ac:spMkLst>
        </pc:spChg>
        <pc:spChg chg="mod">
          <ac:chgData name="Aude Van de WIELE" userId="7317e673-04dd-415c-a4d7-718682339b40" providerId="ADAL" clId="{80D4E734-020D-4C1F-A028-1B9E9B483F9A}" dt="2021-05-25T08:49:49.060" v="7843" actId="790"/>
          <ac:spMkLst>
            <pc:docMk/>
            <pc:sldMk cId="994864461" sldId="10463"/>
            <ac:spMk id="43" creationId="{E84EA5FA-08E9-40F6-A71F-8BA8F3E3ED99}"/>
          </ac:spMkLst>
        </pc:spChg>
        <pc:spChg chg="mod">
          <ac:chgData name="Aude Van de WIELE" userId="7317e673-04dd-415c-a4d7-718682339b40" providerId="ADAL" clId="{80D4E734-020D-4C1F-A028-1B9E9B483F9A}" dt="2021-05-25T08:49:49.062" v="7844" actId="790"/>
          <ac:spMkLst>
            <pc:docMk/>
            <pc:sldMk cId="994864461" sldId="10463"/>
            <ac:spMk id="44" creationId="{F595688A-2B2A-4B18-BC8F-3E1BBE846D86}"/>
          </ac:spMkLst>
        </pc:spChg>
        <pc:spChg chg="mod">
          <ac:chgData name="Aude Van de WIELE" userId="7317e673-04dd-415c-a4d7-718682339b40" providerId="ADAL" clId="{80D4E734-020D-4C1F-A028-1B9E9B483F9A}" dt="2021-05-25T08:49:49.064" v="7845" actId="790"/>
          <ac:spMkLst>
            <pc:docMk/>
            <pc:sldMk cId="994864461" sldId="10463"/>
            <ac:spMk id="45" creationId="{7A651798-9873-484A-BCBC-F1732F254FCF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46" creationId="{54AFC57A-2292-4CA3-B567-A14B5835A6E8}"/>
          </ac:spMkLst>
        </pc:spChg>
        <pc:spChg chg="del mod">
          <ac:chgData name="Aude Van de WIELE" userId="7317e673-04dd-415c-a4d7-718682339b40" providerId="ADAL" clId="{80D4E734-020D-4C1F-A028-1B9E9B483F9A}" dt="2021-05-24T11:21:32.845" v="2091" actId="21"/>
          <ac:spMkLst>
            <pc:docMk/>
            <pc:sldMk cId="994864461" sldId="10463"/>
            <ac:spMk id="47" creationId="{A14096DC-4CAE-4A32-BFA3-6DBFBDDF9334}"/>
          </ac:spMkLst>
        </pc:spChg>
        <pc:spChg chg="del">
          <ac:chgData name="Aude Van de WIELE" userId="7317e673-04dd-415c-a4d7-718682339b40" providerId="ADAL" clId="{80D4E734-020D-4C1F-A028-1B9E9B483F9A}" dt="2021-05-24T11:21:04.283" v="2086" actId="478"/>
          <ac:spMkLst>
            <pc:docMk/>
            <pc:sldMk cId="994864461" sldId="10463"/>
            <ac:spMk id="48" creationId="{071ECFC0-1FE9-49A0-A0B0-4AFD8164EB62}"/>
          </ac:spMkLst>
        </pc:spChg>
        <pc:spChg chg="mod">
          <ac:chgData name="Aude Van de WIELE" userId="7317e673-04dd-415c-a4d7-718682339b40" providerId="ADAL" clId="{80D4E734-020D-4C1F-A028-1B9E9B483F9A}" dt="2021-05-25T08:49:49.065" v="7846" actId="790"/>
          <ac:spMkLst>
            <pc:docMk/>
            <pc:sldMk cId="994864461" sldId="10463"/>
            <ac:spMk id="49" creationId="{D81D2065-13CD-4420-A58C-E72AE87D1A42}"/>
          </ac:spMkLst>
        </pc:spChg>
        <pc:spChg chg="mod">
          <ac:chgData name="Aude Van de WIELE" userId="7317e673-04dd-415c-a4d7-718682339b40" providerId="ADAL" clId="{80D4E734-020D-4C1F-A028-1B9E9B483F9A}" dt="2021-05-25T08:49:49.068" v="7847" actId="790"/>
          <ac:spMkLst>
            <pc:docMk/>
            <pc:sldMk cId="994864461" sldId="10463"/>
            <ac:spMk id="50" creationId="{ACAAB4F1-8D2B-4B8D-A0C1-3794501DF384}"/>
          </ac:spMkLst>
        </pc:spChg>
        <pc:spChg chg="mod">
          <ac:chgData name="Aude Van de WIELE" userId="7317e673-04dd-415c-a4d7-718682339b40" providerId="ADAL" clId="{80D4E734-020D-4C1F-A028-1B9E9B483F9A}" dt="2021-05-25T08:49:49.069" v="7848" actId="790"/>
          <ac:spMkLst>
            <pc:docMk/>
            <pc:sldMk cId="994864461" sldId="10463"/>
            <ac:spMk id="51" creationId="{CCA5A507-9498-412A-8734-37E9A0CAFBC2}"/>
          </ac:spMkLst>
        </pc:spChg>
        <pc:spChg chg="mod">
          <ac:chgData name="Aude Van de WIELE" userId="7317e673-04dd-415c-a4d7-718682339b40" providerId="ADAL" clId="{80D4E734-020D-4C1F-A028-1B9E9B483F9A}" dt="2021-05-25T08:49:49.070" v="7849" actId="790"/>
          <ac:spMkLst>
            <pc:docMk/>
            <pc:sldMk cId="994864461" sldId="10463"/>
            <ac:spMk id="52" creationId="{9926A3AA-BF17-44D4-8DE7-9339CF1BE6FD}"/>
          </ac:spMkLst>
        </pc:spChg>
        <pc:spChg chg="mod">
          <ac:chgData name="Aude Van de WIELE" userId="7317e673-04dd-415c-a4d7-718682339b40" providerId="ADAL" clId="{80D4E734-020D-4C1F-A028-1B9E9B483F9A}" dt="2021-05-25T08:49:49.071" v="7850" actId="790"/>
          <ac:spMkLst>
            <pc:docMk/>
            <pc:sldMk cId="994864461" sldId="10463"/>
            <ac:spMk id="53" creationId="{5E59300E-921D-44E2-90E6-C444434FE1E2}"/>
          </ac:spMkLst>
        </pc:spChg>
        <pc:spChg chg="mod">
          <ac:chgData name="Aude Van de WIELE" userId="7317e673-04dd-415c-a4d7-718682339b40" providerId="ADAL" clId="{80D4E734-020D-4C1F-A028-1B9E9B483F9A}" dt="2021-05-25T08:49:49.075" v="7851" actId="790"/>
          <ac:spMkLst>
            <pc:docMk/>
            <pc:sldMk cId="994864461" sldId="10463"/>
            <ac:spMk id="56" creationId="{2FB57385-9778-4E16-88A7-927D307E97B3}"/>
          </ac:spMkLst>
        </pc:spChg>
        <pc:spChg chg="del">
          <ac:chgData name="Aude Van de WIELE" userId="7317e673-04dd-415c-a4d7-718682339b40" providerId="ADAL" clId="{80D4E734-020D-4C1F-A028-1B9E9B483F9A}" dt="2021-05-24T11:21:07.085" v="2088" actId="478"/>
          <ac:spMkLst>
            <pc:docMk/>
            <pc:sldMk cId="994864461" sldId="10463"/>
            <ac:spMk id="58" creationId="{328B4C86-96DF-4F0B-9DF0-1048DA68F379}"/>
          </ac:spMkLst>
        </pc:spChg>
        <pc:spChg chg="add mod topLvl">
          <ac:chgData name="Aude Van de WIELE" userId="7317e673-04dd-415c-a4d7-718682339b40" providerId="ADAL" clId="{80D4E734-020D-4C1F-A028-1B9E9B483F9A}" dt="2021-05-25T08:49:49.076" v="7852" actId="790"/>
          <ac:spMkLst>
            <pc:docMk/>
            <pc:sldMk cId="994864461" sldId="10463"/>
            <ac:spMk id="60" creationId="{16434E0F-0445-4AD4-82FB-D64C1DE95F23}"/>
          </ac:spMkLst>
        </pc:spChg>
        <pc:spChg chg="add mod topLvl">
          <ac:chgData name="Aude Van de WIELE" userId="7317e673-04dd-415c-a4d7-718682339b40" providerId="ADAL" clId="{80D4E734-020D-4C1F-A028-1B9E9B483F9A}" dt="2021-05-25T08:49:49.077" v="7853" actId="790"/>
          <ac:spMkLst>
            <pc:docMk/>
            <pc:sldMk cId="994864461" sldId="10463"/>
            <ac:spMk id="61" creationId="{A9D37744-99D5-4181-A4E2-3E7AF4C1AAEF}"/>
          </ac:spMkLst>
        </pc:spChg>
        <pc:spChg chg="add mod topLvl">
          <ac:chgData name="Aude Van de WIELE" userId="7317e673-04dd-415c-a4d7-718682339b40" providerId="ADAL" clId="{80D4E734-020D-4C1F-A028-1B9E9B483F9A}" dt="2021-05-25T08:49:49.078" v="7854" actId="790"/>
          <ac:spMkLst>
            <pc:docMk/>
            <pc:sldMk cId="994864461" sldId="10463"/>
            <ac:spMk id="62" creationId="{7CA1B84B-275B-4A40-B4C6-ACCA5B1EF060}"/>
          </ac:spMkLst>
        </pc:spChg>
        <pc:spChg chg="add mod topLvl">
          <ac:chgData name="Aude Van de WIELE" userId="7317e673-04dd-415c-a4d7-718682339b40" providerId="ADAL" clId="{80D4E734-020D-4C1F-A028-1B9E9B483F9A}" dt="2021-05-25T08:49:49.081" v="7856" actId="790"/>
          <ac:spMkLst>
            <pc:docMk/>
            <pc:sldMk cId="994864461" sldId="10463"/>
            <ac:spMk id="63" creationId="{34C8AF29-90C4-46FA-B9DC-F36ED53B3BDD}"/>
          </ac:spMkLst>
        </pc:spChg>
        <pc:spChg chg="add mod topLvl">
          <ac:chgData name="Aude Van de WIELE" userId="7317e673-04dd-415c-a4d7-718682339b40" providerId="ADAL" clId="{80D4E734-020D-4C1F-A028-1B9E9B483F9A}" dt="2021-05-25T08:49:49.082" v="7857" actId="790"/>
          <ac:spMkLst>
            <pc:docMk/>
            <pc:sldMk cId="994864461" sldId="10463"/>
            <ac:spMk id="64" creationId="{2D17AE97-4406-4CDC-B948-322489FAF64E}"/>
          </ac:spMkLst>
        </pc:spChg>
        <pc:spChg chg="add mod topLvl">
          <ac:chgData name="Aude Van de WIELE" userId="7317e673-04dd-415c-a4d7-718682339b40" providerId="ADAL" clId="{80D4E734-020D-4C1F-A028-1B9E9B483F9A}" dt="2021-05-25T08:49:49.079" v="7855" actId="790"/>
          <ac:spMkLst>
            <pc:docMk/>
            <pc:sldMk cId="994864461" sldId="10463"/>
            <ac:spMk id="65" creationId="{6959121F-EC41-4CB3-A845-BFD588522528}"/>
          </ac:spMkLst>
        </pc:spChg>
        <pc:spChg chg="add mod topLvl">
          <ac:chgData name="Aude Van de WIELE" userId="7317e673-04dd-415c-a4d7-718682339b40" providerId="ADAL" clId="{80D4E734-020D-4C1F-A028-1B9E9B483F9A}" dt="2021-05-25T08:49:49.083" v="7858" actId="790"/>
          <ac:spMkLst>
            <pc:docMk/>
            <pc:sldMk cId="994864461" sldId="10463"/>
            <ac:spMk id="66" creationId="{4479525C-995C-481A-84E6-2CD575176647}"/>
          </ac:spMkLst>
        </pc:spChg>
        <pc:spChg chg="add mod topLvl">
          <ac:chgData name="Aude Van de WIELE" userId="7317e673-04dd-415c-a4d7-718682339b40" providerId="ADAL" clId="{80D4E734-020D-4C1F-A028-1B9E9B483F9A}" dt="2021-05-25T08:49:49.084" v="7859" actId="790"/>
          <ac:spMkLst>
            <pc:docMk/>
            <pc:sldMk cId="994864461" sldId="10463"/>
            <ac:spMk id="67" creationId="{04E022E5-2E4D-42E2-AA60-46BE011C9266}"/>
          </ac:spMkLst>
        </pc:spChg>
        <pc:spChg chg="add mod">
          <ac:chgData name="Aude Van de WIELE" userId="7317e673-04dd-415c-a4d7-718682339b40" providerId="ADAL" clId="{80D4E734-020D-4C1F-A028-1B9E9B483F9A}" dt="2021-05-25T08:49:49.084" v="7860" actId="790"/>
          <ac:spMkLst>
            <pc:docMk/>
            <pc:sldMk cId="994864461" sldId="10463"/>
            <ac:spMk id="68" creationId="{E440AB09-76A6-4F09-B7C3-B68484BF0101}"/>
          </ac:spMkLst>
        </pc:spChg>
        <pc:spChg chg="add mod">
          <ac:chgData name="Aude Van de WIELE" userId="7317e673-04dd-415c-a4d7-718682339b40" providerId="ADAL" clId="{80D4E734-020D-4C1F-A028-1B9E9B483F9A}" dt="2021-05-25T08:49:49.085" v="7861" actId="790"/>
          <ac:spMkLst>
            <pc:docMk/>
            <pc:sldMk cId="994864461" sldId="10463"/>
            <ac:spMk id="69" creationId="{2011D7F9-8390-4E30-9AD1-E3611E2BC1CD}"/>
          </ac:spMkLst>
        </pc:spChg>
        <pc:spChg chg="add mod">
          <ac:chgData name="Aude Van de WIELE" userId="7317e673-04dd-415c-a4d7-718682339b40" providerId="ADAL" clId="{80D4E734-020D-4C1F-A028-1B9E9B483F9A}" dt="2021-05-25T08:49:49.086" v="7862" actId="790"/>
          <ac:spMkLst>
            <pc:docMk/>
            <pc:sldMk cId="994864461" sldId="10463"/>
            <ac:spMk id="70" creationId="{AFE4887D-245E-4A5E-8885-8AF19040C140}"/>
          </ac:spMkLst>
        </pc:spChg>
        <pc:spChg chg="add del mod">
          <ac:chgData name="Aude Van de WIELE" userId="7317e673-04dd-415c-a4d7-718682339b40" providerId="ADAL" clId="{80D4E734-020D-4C1F-A028-1B9E9B483F9A}" dt="2021-05-25T08:49:49.087" v="7863" actId="790"/>
          <ac:spMkLst>
            <pc:docMk/>
            <pc:sldMk cId="994864461" sldId="10463"/>
            <ac:spMk id="71" creationId="{F0F2AF39-5991-495C-A600-6A657673BFB6}"/>
          </ac:spMkLst>
        </pc:spChg>
        <pc:spChg chg="add mod">
          <ac:chgData name="Aude Van de WIELE" userId="7317e673-04dd-415c-a4d7-718682339b40" providerId="ADAL" clId="{80D4E734-020D-4C1F-A028-1B9E9B483F9A}" dt="2021-05-25T08:49:49.088" v="7864" actId="790"/>
          <ac:spMkLst>
            <pc:docMk/>
            <pc:sldMk cId="994864461" sldId="10463"/>
            <ac:spMk id="72" creationId="{80311AF2-539D-40DF-BC68-A43B2EEB1602}"/>
          </ac:spMkLst>
        </pc:spChg>
        <pc:spChg chg="add mod">
          <ac:chgData name="Aude Van de WIELE" userId="7317e673-04dd-415c-a4d7-718682339b40" providerId="ADAL" clId="{80D4E734-020D-4C1F-A028-1B9E9B483F9A}" dt="2021-05-25T08:49:49.089" v="7865" actId="790"/>
          <ac:spMkLst>
            <pc:docMk/>
            <pc:sldMk cId="994864461" sldId="10463"/>
            <ac:spMk id="73" creationId="{0B2D4FEA-C321-48DA-A508-11F9FD1D872D}"/>
          </ac:spMkLst>
        </pc:spChg>
        <pc:spChg chg="add mod">
          <ac:chgData name="Aude Van de WIELE" userId="7317e673-04dd-415c-a4d7-718682339b40" providerId="ADAL" clId="{80D4E734-020D-4C1F-A028-1B9E9B483F9A}" dt="2021-05-25T08:49:49.090" v="7866" actId="790"/>
          <ac:spMkLst>
            <pc:docMk/>
            <pc:sldMk cId="994864461" sldId="10463"/>
            <ac:spMk id="74" creationId="{6C2C45BC-5F8F-4158-95FA-DBED5FF506B1}"/>
          </ac:spMkLst>
        </pc:spChg>
        <pc:spChg chg="add mod">
          <ac:chgData name="Aude Van de WIELE" userId="7317e673-04dd-415c-a4d7-718682339b40" providerId="ADAL" clId="{80D4E734-020D-4C1F-A028-1B9E9B483F9A}" dt="2021-05-25T08:49:49.092" v="7867" actId="790"/>
          <ac:spMkLst>
            <pc:docMk/>
            <pc:sldMk cId="994864461" sldId="10463"/>
            <ac:spMk id="75" creationId="{7B0FFDE9-FFD9-4A73-8832-170F98D17244}"/>
          </ac:spMkLst>
        </pc:spChg>
        <pc:spChg chg="add mod">
          <ac:chgData name="Aude Van de WIELE" userId="7317e673-04dd-415c-a4d7-718682339b40" providerId="ADAL" clId="{80D4E734-020D-4C1F-A028-1B9E9B483F9A}" dt="2021-05-25T08:49:49.093" v="7868" actId="790"/>
          <ac:spMkLst>
            <pc:docMk/>
            <pc:sldMk cId="994864461" sldId="10463"/>
            <ac:spMk id="76" creationId="{04AB1183-48A5-4AAB-AFC7-EE17CBA30D1F}"/>
          </ac:spMkLst>
        </pc:spChg>
        <pc:spChg chg="add mod">
          <ac:chgData name="Aude Van de WIELE" userId="7317e673-04dd-415c-a4d7-718682339b40" providerId="ADAL" clId="{80D4E734-020D-4C1F-A028-1B9E9B483F9A}" dt="2021-05-25T08:49:49.094" v="7869" actId="790"/>
          <ac:spMkLst>
            <pc:docMk/>
            <pc:sldMk cId="994864461" sldId="10463"/>
            <ac:spMk id="77" creationId="{953DC0E8-B9BA-4272-838D-47500A00630B}"/>
          </ac:spMkLst>
        </pc:spChg>
        <pc:spChg chg="add mod">
          <ac:chgData name="Aude Van de WIELE" userId="7317e673-04dd-415c-a4d7-718682339b40" providerId="ADAL" clId="{80D4E734-020D-4C1F-A028-1B9E9B483F9A}" dt="2021-05-25T08:49:49.095" v="7870" actId="790"/>
          <ac:spMkLst>
            <pc:docMk/>
            <pc:sldMk cId="994864461" sldId="10463"/>
            <ac:spMk id="78" creationId="{6E94A301-188D-411F-840A-724B132E6629}"/>
          </ac:spMkLst>
        </pc:spChg>
        <pc:spChg chg="add mod">
          <ac:chgData name="Aude Van de WIELE" userId="7317e673-04dd-415c-a4d7-718682339b40" providerId="ADAL" clId="{80D4E734-020D-4C1F-A028-1B9E9B483F9A}" dt="2021-05-25T08:49:49.096" v="7871" actId="790"/>
          <ac:spMkLst>
            <pc:docMk/>
            <pc:sldMk cId="994864461" sldId="10463"/>
            <ac:spMk id="79" creationId="{7F2E29EF-CCA5-49C7-B921-5468D45F7D5D}"/>
          </ac:spMkLst>
        </pc:spChg>
        <pc:spChg chg="add mod">
          <ac:chgData name="Aude Van de WIELE" userId="7317e673-04dd-415c-a4d7-718682339b40" providerId="ADAL" clId="{80D4E734-020D-4C1F-A028-1B9E9B483F9A}" dt="2021-05-25T08:49:49.098" v="7872" actId="790"/>
          <ac:spMkLst>
            <pc:docMk/>
            <pc:sldMk cId="994864461" sldId="10463"/>
            <ac:spMk id="80" creationId="{F2B59353-E19F-4D93-9E7E-E095010072BD}"/>
          </ac:spMkLst>
        </pc:spChg>
        <pc:spChg chg="add mod">
          <ac:chgData name="Aude Van de WIELE" userId="7317e673-04dd-415c-a4d7-718682339b40" providerId="ADAL" clId="{80D4E734-020D-4C1F-A028-1B9E9B483F9A}" dt="2021-05-25T08:49:49.099" v="7873" actId="790"/>
          <ac:spMkLst>
            <pc:docMk/>
            <pc:sldMk cId="994864461" sldId="10463"/>
            <ac:spMk id="81" creationId="{CC201E51-AC66-4CA9-A83C-D0C9C8FFE8BE}"/>
          </ac:spMkLst>
        </pc:spChg>
        <pc:spChg chg="add mod">
          <ac:chgData name="Aude Van de WIELE" userId="7317e673-04dd-415c-a4d7-718682339b40" providerId="ADAL" clId="{80D4E734-020D-4C1F-A028-1B9E9B483F9A}" dt="2021-05-25T08:49:49.100" v="7874" actId="790"/>
          <ac:spMkLst>
            <pc:docMk/>
            <pc:sldMk cId="994864461" sldId="10463"/>
            <ac:spMk id="82" creationId="{89D680A3-5621-4E69-8DC5-AAE03504131D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83" creationId="{4BCDEB30-C679-488A-96A1-D3974FF11A50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84" creationId="{4DE075D3-E61C-41B7-AF2E-BCFDA31C24FA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85" creationId="{B6A52E78-6ACB-4A94-AE60-53E86533C3FA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86" creationId="{DC4039F8-3D89-44F7-A1A9-67D32CEBE456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87" creationId="{520A4560-90F2-4F87-801F-58CED0907FC0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88" creationId="{2CF8FC42-9080-43C5-B4A7-DB92CE1F3183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89" creationId="{CED98145-48D5-44F3-9FF4-88634AEA7FED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90" creationId="{EE8F055F-B112-4CAA-9F7C-7A19D253605C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91" creationId="{1D6AC9AB-C599-4E99-8A3A-836A3EC0118A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92" creationId="{18773F25-0F83-4FD9-9BA7-BCAE261B8C18}"/>
          </ac:spMkLst>
        </pc:spChg>
        <pc:spChg chg="mod">
          <ac:chgData name="Aude Van de WIELE" userId="7317e673-04dd-415c-a4d7-718682339b40" providerId="ADAL" clId="{80D4E734-020D-4C1F-A028-1B9E9B483F9A}" dt="2021-05-25T08:49:49.137" v="7896" actId="790"/>
          <ac:spMkLst>
            <pc:docMk/>
            <pc:sldMk cId="994864461" sldId="10463"/>
            <ac:spMk id="92" creationId="{E7D22619-E8D4-4A88-8485-350757193325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93" creationId="{36EA6339-8F01-45DA-854A-FF294D3EE54D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94" creationId="{E321EABF-8122-4445-9091-84DC8EC04E5C}"/>
          </ac:spMkLst>
        </pc:spChg>
        <pc:spChg chg="add del mod">
          <ac:chgData name="Aude Van de WIELE" userId="7317e673-04dd-415c-a4d7-718682339b40" providerId="ADAL" clId="{80D4E734-020D-4C1F-A028-1B9E9B483F9A}" dt="2021-05-24T11:22:25.358" v="2163" actId="478"/>
          <ac:spMkLst>
            <pc:docMk/>
            <pc:sldMk cId="994864461" sldId="10463"/>
            <ac:spMk id="95" creationId="{B75B0B63-6CCE-457F-88D2-1F81004A1819}"/>
          </ac:spMkLst>
        </pc:spChg>
        <pc:spChg chg="add mod">
          <ac:chgData name="Aude Van de WIELE" userId="7317e673-04dd-415c-a4d7-718682339b40" providerId="ADAL" clId="{80D4E734-020D-4C1F-A028-1B9E9B483F9A}" dt="2021-05-25T08:49:49.102" v="7875" actId="790"/>
          <ac:spMkLst>
            <pc:docMk/>
            <pc:sldMk cId="994864461" sldId="10463"/>
            <ac:spMk id="96" creationId="{60AA0A4A-BEEE-4604-956C-953BE71EFC9D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97" creationId="{781DBA83-C26E-467E-8CE8-A00E224CAEED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98" creationId="{A58E8F0F-5FAB-435C-8C3B-629505CE7705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99" creationId="{981405DE-F98B-43F2-9D0B-BF5B90EE3B88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0" creationId="{4A667274-CDAC-4F8B-9390-E89318449575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1" creationId="{8895F43A-0F86-40E8-B961-68955CE0A9AB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2" creationId="{B62AF9C1-1B04-4106-A614-911620287A0D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3" creationId="{3B5075DA-7434-405E-A8A6-26F8244B42A4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4" creationId="{970E27D3-48EC-496B-9A99-B4936BE46D53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5" creationId="{F94DFFDA-058B-490D-A871-9BFF725DCFFE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6" creationId="{606008E3-FA9E-44A2-925B-56F3DC2B961D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7" creationId="{2917A8AC-0A7F-46AD-BD7D-81AF70B19EB7}"/>
          </ac:spMkLst>
        </pc:spChg>
        <pc:spChg chg="add del mod">
          <ac:chgData name="Aude Van de WIELE" userId="7317e673-04dd-415c-a4d7-718682339b40" providerId="ADAL" clId="{80D4E734-020D-4C1F-A028-1B9E9B483F9A}" dt="2021-05-24T11:24:31.687" v="2210" actId="478"/>
          <ac:spMkLst>
            <pc:docMk/>
            <pc:sldMk cId="994864461" sldId="10463"/>
            <ac:spMk id="108" creationId="{0FD20D1E-F757-40E0-B24D-D4AD71E382B7}"/>
          </ac:spMkLst>
        </pc:spChg>
        <pc:spChg chg="add mod">
          <ac:chgData name="Aude Van de WIELE" userId="7317e673-04dd-415c-a4d7-718682339b40" providerId="ADAL" clId="{80D4E734-020D-4C1F-A028-1B9E9B483F9A}" dt="2021-05-25T08:49:49.104" v="7876" actId="790"/>
          <ac:spMkLst>
            <pc:docMk/>
            <pc:sldMk cId="994864461" sldId="10463"/>
            <ac:spMk id="109" creationId="{B8C651EF-8C79-4EEF-BCDF-0C547882B32B}"/>
          </ac:spMkLst>
        </pc:spChg>
        <pc:spChg chg="add mod">
          <ac:chgData name="Aude Van de WIELE" userId="7317e673-04dd-415c-a4d7-718682339b40" providerId="ADAL" clId="{80D4E734-020D-4C1F-A028-1B9E9B483F9A}" dt="2021-05-25T08:49:49.105" v="7877" actId="790"/>
          <ac:spMkLst>
            <pc:docMk/>
            <pc:sldMk cId="994864461" sldId="10463"/>
            <ac:spMk id="110" creationId="{C1242745-0D13-455E-8D76-9CABDFB68D09}"/>
          </ac:spMkLst>
        </pc:spChg>
        <pc:spChg chg="add mod">
          <ac:chgData name="Aude Van de WIELE" userId="7317e673-04dd-415c-a4d7-718682339b40" providerId="ADAL" clId="{80D4E734-020D-4C1F-A028-1B9E9B483F9A}" dt="2021-05-25T08:49:49.122" v="7878" actId="790"/>
          <ac:spMkLst>
            <pc:docMk/>
            <pc:sldMk cId="994864461" sldId="10463"/>
            <ac:spMk id="111" creationId="{F76AA831-FD95-45A6-8806-8F9A459A7676}"/>
          </ac:spMkLst>
        </pc:spChg>
        <pc:spChg chg="add mod">
          <ac:chgData name="Aude Van de WIELE" userId="7317e673-04dd-415c-a4d7-718682339b40" providerId="ADAL" clId="{80D4E734-020D-4C1F-A028-1B9E9B483F9A}" dt="2021-05-25T08:49:49.123" v="7879" actId="790"/>
          <ac:spMkLst>
            <pc:docMk/>
            <pc:sldMk cId="994864461" sldId="10463"/>
            <ac:spMk id="112" creationId="{FEDE8EDB-9323-48AA-A8D4-0F9C692E7A3C}"/>
          </ac:spMkLst>
        </pc:spChg>
        <pc:spChg chg="add mod">
          <ac:chgData name="Aude Van de WIELE" userId="7317e673-04dd-415c-a4d7-718682339b40" providerId="ADAL" clId="{80D4E734-020D-4C1F-A028-1B9E9B483F9A}" dt="2021-05-25T08:49:49.124" v="7880" actId="790"/>
          <ac:spMkLst>
            <pc:docMk/>
            <pc:sldMk cId="994864461" sldId="10463"/>
            <ac:spMk id="113" creationId="{66FFCA00-9590-4FD6-BEA6-01F02807C391}"/>
          </ac:spMkLst>
        </pc:spChg>
        <pc:spChg chg="add mod">
          <ac:chgData name="Aude Van de WIELE" userId="7317e673-04dd-415c-a4d7-718682339b40" providerId="ADAL" clId="{80D4E734-020D-4C1F-A028-1B9E9B483F9A}" dt="2021-05-25T08:49:49.125" v="7881" actId="790"/>
          <ac:spMkLst>
            <pc:docMk/>
            <pc:sldMk cId="994864461" sldId="10463"/>
            <ac:spMk id="114" creationId="{83E3983C-7907-4845-8A3C-B826235A80DE}"/>
          </ac:spMkLst>
        </pc:spChg>
        <pc:spChg chg="add mod">
          <ac:chgData name="Aude Van de WIELE" userId="7317e673-04dd-415c-a4d7-718682339b40" providerId="ADAL" clId="{80D4E734-020D-4C1F-A028-1B9E9B483F9A}" dt="2021-05-25T08:49:49.126" v="7882" actId="790"/>
          <ac:spMkLst>
            <pc:docMk/>
            <pc:sldMk cId="994864461" sldId="10463"/>
            <ac:spMk id="115" creationId="{856DB5DA-5C74-47EE-A53D-D14D437C76BE}"/>
          </ac:spMkLst>
        </pc:spChg>
        <pc:spChg chg="add mod">
          <ac:chgData name="Aude Van de WIELE" userId="7317e673-04dd-415c-a4d7-718682339b40" providerId="ADAL" clId="{80D4E734-020D-4C1F-A028-1B9E9B483F9A}" dt="2021-05-25T08:49:49.127" v="7883" actId="790"/>
          <ac:spMkLst>
            <pc:docMk/>
            <pc:sldMk cId="994864461" sldId="10463"/>
            <ac:spMk id="116" creationId="{256E6065-18B1-4B1A-9B1C-395D7858CEF7}"/>
          </ac:spMkLst>
        </pc:spChg>
        <pc:spChg chg="add mod">
          <ac:chgData name="Aude Van de WIELE" userId="7317e673-04dd-415c-a4d7-718682339b40" providerId="ADAL" clId="{80D4E734-020D-4C1F-A028-1B9E9B483F9A}" dt="2021-05-25T08:49:49.127" v="7884" actId="790"/>
          <ac:spMkLst>
            <pc:docMk/>
            <pc:sldMk cId="994864461" sldId="10463"/>
            <ac:spMk id="117" creationId="{8FF8270B-E7B5-4CEF-9925-A038D6A17D9E}"/>
          </ac:spMkLst>
        </pc:spChg>
        <pc:spChg chg="add mod">
          <ac:chgData name="Aude Van de WIELE" userId="7317e673-04dd-415c-a4d7-718682339b40" providerId="ADAL" clId="{80D4E734-020D-4C1F-A028-1B9E9B483F9A}" dt="2021-05-25T08:49:49.128" v="7885" actId="790"/>
          <ac:spMkLst>
            <pc:docMk/>
            <pc:sldMk cId="994864461" sldId="10463"/>
            <ac:spMk id="118" creationId="{1CF9F239-F8D1-473B-9E76-AB8282E7869E}"/>
          </ac:spMkLst>
        </pc:spChg>
        <pc:spChg chg="add mod">
          <ac:chgData name="Aude Van de WIELE" userId="7317e673-04dd-415c-a4d7-718682339b40" providerId="ADAL" clId="{80D4E734-020D-4C1F-A028-1B9E9B483F9A}" dt="2021-05-25T08:49:49.129" v="7886" actId="790"/>
          <ac:spMkLst>
            <pc:docMk/>
            <pc:sldMk cId="994864461" sldId="10463"/>
            <ac:spMk id="119" creationId="{69B6E3C2-D5C0-49B4-903F-13C06B000B16}"/>
          </ac:spMkLst>
        </pc:spChg>
        <pc:spChg chg="add mod">
          <ac:chgData name="Aude Van de WIELE" userId="7317e673-04dd-415c-a4d7-718682339b40" providerId="ADAL" clId="{80D4E734-020D-4C1F-A028-1B9E9B483F9A}" dt="2021-05-25T08:49:49.129" v="7887" actId="790"/>
          <ac:spMkLst>
            <pc:docMk/>
            <pc:sldMk cId="994864461" sldId="10463"/>
            <ac:spMk id="120" creationId="{78EECC20-D216-4136-9D42-27F7C1CFFE8D}"/>
          </ac:spMkLst>
        </pc:spChg>
        <pc:spChg chg="add mod topLvl">
          <ac:chgData name="Aude Van de WIELE" userId="7317e673-04dd-415c-a4d7-718682339b40" providerId="ADAL" clId="{80D4E734-020D-4C1F-A028-1B9E9B483F9A}" dt="2021-05-25T08:49:49.130" v="7888" actId="790"/>
          <ac:spMkLst>
            <pc:docMk/>
            <pc:sldMk cId="994864461" sldId="10463"/>
            <ac:spMk id="138" creationId="{786755AD-722C-439B-AACB-BCCC66E0BC2C}"/>
          </ac:spMkLst>
        </pc:spChg>
        <pc:spChg chg="add mod">
          <ac:chgData name="Aude Van de WIELE" userId="7317e673-04dd-415c-a4d7-718682339b40" providerId="ADAL" clId="{80D4E734-020D-4C1F-A028-1B9E9B483F9A}" dt="2021-05-25T08:49:49.131" v="7889" actId="790"/>
          <ac:spMkLst>
            <pc:docMk/>
            <pc:sldMk cId="994864461" sldId="10463"/>
            <ac:spMk id="144" creationId="{6EE8D667-CA8A-4C92-9EF4-8F0051D4E11C}"/>
          </ac:spMkLst>
        </pc:spChg>
        <pc:spChg chg="add del">
          <ac:chgData name="Aude Van de WIELE" userId="7317e673-04dd-415c-a4d7-718682339b40" providerId="ADAL" clId="{80D4E734-020D-4C1F-A028-1B9E9B483F9A}" dt="2021-05-24T11:34:23.336" v="2339" actId="22"/>
          <ac:spMkLst>
            <pc:docMk/>
            <pc:sldMk cId="994864461" sldId="10463"/>
            <ac:spMk id="151" creationId="{D8257B3F-1FC1-4606-BE2E-66BA9279A8E4}"/>
          </ac:spMkLst>
        </pc:spChg>
        <pc:spChg chg="add mod">
          <ac:chgData name="Aude Van de WIELE" userId="7317e673-04dd-415c-a4d7-718682339b40" providerId="ADAL" clId="{80D4E734-020D-4C1F-A028-1B9E9B483F9A}" dt="2021-05-25T08:49:49.132" v="7890" actId="790"/>
          <ac:spMkLst>
            <pc:docMk/>
            <pc:sldMk cId="994864461" sldId="10463"/>
            <ac:spMk id="152" creationId="{D3C9318C-98C0-4C62-8EBD-9AD019DF3AC0}"/>
          </ac:spMkLst>
        </pc:spChg>
        <pc:spChg chg="mod">
          <ac:chgData name="Aude Van de WIELE" userId="7317e673-04dd-415c-a4d7-718682339b40" providerId="ADAL" clId="{80D4E734-020D-4C1F-A028-1B9E9B483F9A}" dt="2021-05-25T08:49:49.133" v="7891" actId="790"/>
          <ac:spMkLst>
            <pc:docMk/>
            <pc:sldMk cId="994864461" sldId="10463"/>
            <ac:spMk id="154" creationId="{15C04357-F4FC-4E40-89E9-1938E6F2473A}"/>
          </ac:spMkLst>
        </pc:spChg>
        <pc:spChg chg="mod">
          <ac:chgData name="Aude Van de WIELE" userId="7317e673-04dd-415c-a4d7-718682339b40" providerId="ADAL" clId="{80D4E734-020D-4C1F-A028-1B9E9B483F9A}" dt="2021-05-25T08:49:49.134" v="7892" actId="790"/>
          <ac:spMkLst>
            <pc:docMk/>
            <pc:sldMk cId="994864461" sldId="10463"/>
            <ac:spMk id="157" creationId="{030C0D2C-3FC1-42D9-B6D4-42F94552EB2A}"/>
          </ac:spMkLst>
        </pc:spChg>
        <pc:spChg chg="add del mod ord">
          <ac:chgData name="Aude Van de WIELE" userId="7317e673-04dd-415c-a4d7-718682339b40" providerId="ADAL" clId="{80D4E734-020D-4C1F-A028-1B9E9B483F9A}" dt="2021-05-24T11:37:05.639" v="2379" actId="478"/>
          <ac:spMkLst>
            <pc:docMk/>
            <pc:sldMk cId="994864461" sldId="10463"/>
            <ac:spMk id="161" creationId="{01CF71A0-F94D-4546-A312-B2CB3B0946FD}"/>
          </ac:spMkLst>
        </pc:spChg>
        <pc:spChg chg="add mod">
          <ac:chgData name="Aude Van de WIELE" userId="7317e673-04dd-415c-a4d7-718682339b40" providerId="ADAL" clId="{80D4E734-020D-4C1F-A028-1B9E9B483F9A}" dt="2021-05-25T08:49:49.135" v="7893" actId="790"/>
          <ac:spMkLst>
            <pc:docMk/>
            <pc:sldMk cId="994864461" sldId="10463"/>
            <ac:spMk id="162" creationId="{8226D5C3-E940-4438-8464-F5F38C7B3362}"/>
          </ac:spMkLst>
        </pc:spChg>
        <pc:spChg chg="add mod">
          <ac:chgData name="Aude Van de WIELE" userId="7317e673-04dd-415c-a4d7-718682339b40" providerId="ADAL" clId="{80D4E734-020D-4C1F-A028-1B9E9B483F9A}" dt="2021-05-25T08:49:49.135" v="7894" actId="790"/>
          <ac:spMkLst>
            <pc:docMk/>
            <pc:sldMk cId="994864461" sldId="10463"/>
            <ac:spMk id="163" creationId="{26C15832-81C9-4BE1-A3CD-12515BF77ED9}"/>
          </ac:spMkLst>
        </pc:spChg>
        <pc:spChg chg="add mod">
          <ac:chgData name="Aude Van de WIELE" userId="7317e673-04dd-415c-a4d7-718682339b40" providerId="ADAL" clId="{80D4E734-020D-4C1F-A028-1B9E9B483F9A}" dt="2021-05-25T08:49:49.136" v="7895" actId="790"/>
          <ac:spMkLst>
            <pc:docMk/>
            <pc:sldMk cId="994864461" sldId="10463"/>
            <ac:spMk id="164" creationId="{D679480C-80AA-4247-B47E-1515FE438063}"/>
          </ac:spMkLst>
        </pc:spChg>
        <pc:grpChg chg="add del mod topLvl">
          <ac:chgData name="Aude Van de WIELE" userId="7317e673-04dd-415c-a4d7-718682339b40" providerId="ADAL" clId="{80D4E734-020D-4C1F-A028-1B9E9B483F9A}" dt="2021-05-24T11:24:08.104" v="2203" actId="165"/>
          <ac:grpSpMkLst>
            <pc:docMk/>
            <pc:sldMk cId="994864461" sldId="10463"/>
            <ac:grpSpMk id="3" creationId="{25B3FBA1-4DB3-4C0A-8B28-442B5F34D6C2}"/>
          </ac:grpSpMkLst>
        </pc:grpChg>
        <pc:grpChg chg="add del mod topLvl">
          <ac:chgData name="Aude Van de WIELE" userId="7317e673-04dd-415c-a4d7-718682339b40" providerId="ADAL" clId="{80D4E734-020D-4C1F-A028-1B9E9B483F9A}" dt="2021-05-24T11:24:08.104" v="2203" actId="165"/>
          <ac:grpSpMkLst>
            <pc:docMk/>
            <pc:sldMk cId="994864461" sldId="10463"/>
            <ac:grpSpMk id="4" creationId="{C54025D0-2D6A-4ECE-8ADC-1B485003DF40}"/>
          </ac:grpSpMkLst>
        </pc:grpChg>
        <pc:grpChg chg="add del mod">
          <ac:chgData name="Aude Van de WIELE" userId="7317e673-04dd-415c-a4d7-718682339b40" providerId="ADAL" clId="{80D4E734-020D-4C1F-A028-1B9E9B483F9A}" dt="2021-05-24T11:24:07.680" v="2202" actId="165"/>
          <ac:grpSpMkLst>
            <pc:docMk/>
            <pc:sldMk cId="994864461" sldId="10463"/>
            <ac:grpSpMk id="6" creationId="{62AE4AD8-28AF-41CB-8A05-8BE0C4F6D309}"/>
          </ac:grpSpMkLst>
        </pc:grpChg>
        <pc:grpChg chg="add del mod">
          <ac:chgData name="Aude Van de WIELE" userId="7317e673-04dd-415c-a4d7-718682339b40" providerId="ADAL" clId="{80D4E734-020D-4C1F-A028-1B9E9B483F9A}" dt="2021-05-24T11:32:27.560" v="2319" actId="21"/>
          <ac:grpSpMkLst>
            <pc:docMk/>
            <pc:sldMk cId="994864461" sldId="10463"/>
            <ac:grpSpMk id="9" creationId="{CC783E77-A415-42F8-A276-955A4070CC16}"/>
          </ac:grpSpMkLst>
        </pc:grpChg>
        <pc:grpChg chg="add mod">
          <ac:chgData name="Aude Van de WIELE" userId="7317e673-04dd-415c-a4d7-718682339b40" providerId="ADAL" clId="{80D4E734-020D-4C1F-A028-1B9E9B483F9A}" dt="2021-05-24T11:32:41.453" v="2326" actId="1076"/>
          <ac:grpSpMkLst>
            <pc:docMk/>
            <pc:sldMk cId="994864461" sldId="10463"/>
            <ac:grpSpMk id="10" creationId="{D48C2350-10F3-41DA-80B4-5DE242A14DDE}"/>
          </ac:grpSpMkLst>
        </pc:grpChg>
        <pc:grpChg chg="add mod">
          <ac:chgData name="Aude Van de WIELE" userId="7317e673-04dd-415c-a4d7-718682339b40" providerId="ADAL" clId="{80D4E734-020D-4C1F-A028-1B9E9B483F9A}" dt="2021-05-24T11:35:25.788" v="2356" actId="1076"/>
          <ac:grpSpMkLst>
            <pc:docMk/>
            <pc:sldMk cId="994864461" sldId="10463"/>
            <ac:grpSpMk id="153" creationId="{BE72E1B1-6A2D-493D-B6AE-EC119309DF45}"/>
          </ac:grpSpMkLst>
        </pc:grpChg>
        <pc:grpChg chg="add mod">
          <ac:chgData name="Aude Van de WIELE" userId="7317e673-04dd-415c-a4d7-718682339b40" providerId="ADAL" clId="{80D4E734-020D-4C1F-A028-1B9E9B483F9A}" dt="2021-05-24T11:35:33.492" v="2361" actId="1076"/>
          <ac:grpSpMkLst>
            <pc:docMk/>
            <pc:sldMk cId="994864461" sldId="10463"/>
            <ac:grpSpMk id="156" creationId="{2C18E8D3-5B18-49D8-8A0A-5EC5335142B5}"/>
          </ac:grpSpMkLst>
        </pc:grpChg>
        <pc:picChg chg="del">
          <ac:chgData name="Aude Van de WIELE" userId="7317e673-04dd-415c-a4d7-718682339b40" providerId="ADAL" clId="{80D4E734-020D-4C1F-A028-1B9E9B483F9A}" dt="2021-05-24T11:19:23.091" v="2007" actId="478"/>
          <ac:picMkLst>
            <pc:docMk/>
            <pc:sldMk cId="994864461" sldId="10463"/>
            <ac:picMk id="35" creationId="{F1C5DD21-C757-4A91-A85D-86702D4AEDF3}"/>
          </ac:picMkLst>
        </pc:picChg>
        <pc:picChg chg="del">
          <ac:chgData name="Aude Van de WIELE" userId="7317e673-04dd-415c-a4d7-718682339b40" providerId="ADAL" clId="{80D4E734-020D-4C1F-A028-1B9E9B483F9A}" dt="2021-05-24T11:19:23.091" v="2007" actId="478"/>
          <ac:picMkLst>
            <pc:docMk/>
            <pc:sldMk cId="994864461" sldId="10463"/>
            <ac:picMk id="36" creationId="{53508858-4042-4B07-B198-BC1D77D6B753}"/>
          </ac:picMkLst>
        </pc:picChg>
        <pc:picChg chg="del">
          <ac:chgData name="Aude Van de WIELE" userId="7317e673-04dd-415c-a4d7-718682339b40" providerId="ADAL" clId="{80D4E734-020D-4C1F-A028-1B9E9B483F9A}" dt="2021-05-24T11:19:23.091" v="2007" actId="478"/>
          <ac:picMkLst>
            <pc:docMk/>
            <pc:sldMk cId="994864461" sldId="10463"/>
            <ac:picMk id="37" creationId="{C061D5FE-31D1-4290-8481-2D13495F900E}"/>
          </ac:picMkLst>
        </pc:picChg>
        <pc:picChg chg="del">
          <ac:chgData name="Aude Van de WIELE" userId="7317e673-04dd-415c-a4d7-718682339b40" providerId="ADAL" clId="{80D4E734-020D-4C1F-A028-1B9E9B483F9A}" dt="2021-05-24T11:21:04.283" v="2086" actId="478"/>
          <ac:picMkLst>
            <pc:docMk/>
            <pc:sldMk cId="994864461" sldId="10463"/>
            <ac:picMk id="54" creationId="{FDF6ABD9-29CA-4F78-B0BF-A57F58DD58E7}"/>
          </ac:picMkLst>
        </pc:picChg>
        <pc:picChg chg="del">
          <ac:chgData name="Aude Van de WIELE" userId="7317e673-04dd-415c-a4d7-718682339b40" providerId="ADAL" clId="{80D4E734-020D-4C1F-A028-1B9E9B483F9A}" dt="2021-05-24T11:21:04.283" v="2086" actId="478"/>
          <ac:picMkLst>
            <pc:docMk/>
            <pc:sldMk cId="994864461" sldId="10463"/>
            <ac:picMk id="55" creationId="{851723BB-B1C1-43EC-ABF2-82BD2F4DF771}"/>
          </ac:picMkLst>
        </pc:picChg>
        <pc:picChg chg="del">
          <ac:chgData name="Aude Van de WIELE" userId="7317e673-04dd-415c-a4d7-718682339b40" providerId="ADAL" clId="{80D4E734-020D-4C1F-A028-1B9E9B483F9A}" dt="2021-05-24T11:21:05.057" v="2087" actId="478"/>
          <ac:picMkLst>
            <pc:docMk/>
            <pc:sldMk cId="994864461" sldId="10463"/>
            <ac:picMk id="57" creationId="{FC9B1E2E-23F9-412F-8ADA-49FE1371CC56}"/>
          </ac:picMkLst>
        </pc:picChg>
        <pc:picChg chg="del">
          <ac:chgData name="Aude Van de WIELE" userId="7317e673-04dd-415c-a4d7-718682339b40" providerId="ADAL" clId="{80D4E734-020D-4C1F-A028-1B9E9B483F9A}" dt="2021-05-24T11:21:04.283" v="2086" actId="478"/>
          <ac:picMkLst>
            <pc:docMk/>
            <pc:sldMk cId="994864461" sldId="10463"/>
            <ac:picMk id="59" creationId="{EA9E5697-A5F5-4C9F-A35C-CE734B4A7721}"/>
          </ac:picMkLst>
        </pc:picChg>
        <pc:picChg chg="add mod">
          <ac:chgData name="Aude Van de WIELE" userId="7317e673-04dd-415c-a4d7-718682339b40" providerId="ADAL" clId="{80D4E734-020D-4C1F-A028-1B9E9B483F9A}" dt="2021-05-24T15:50:58.413" v="6174" actId="1076"/>
          <ac:picMkLst>
            <pc:docMk/>
            <pc:sldMk cId="994864461" sldId="10463"/>
            <ac:picMk id="90" creationId="{32201C2F-F09F-4E32-9597-56B01DC4F618}"/>
          </ac:picMkLst>
        </pc:picChg>
        <pc:picChg chg="add mod">
          <ac:chgData name="Aude Van de WIELE" userId="7317e673-04dd-415c-a4d7-718682339b40" providerId="ADAL" clId="{80D4E734-020D-4C1F-A028-1B9E9B483F9A}" dt="2021-05-24T15:51:00.294" v="6176" actId="1076"/>
          <ac:picMkLst>
            <pc:docMk/>
            <pc:sldMk cId="994864461" sldId="10463"/>
            <ac:picMk id="91" creationId="{407676EE-CF7B-45DE-B944-47547CE40E1F}"/>
          </ac:picMkLst>
        </pc:picChg>
        <pc:picChg chg="add mod">
          <ac:chgData name="Aude Van de WIELE" userId="7317e673-04dd-415c-a4d7-718682339b40" providerId="ADAL" clId="{80D4E734-020D-4C1F-A028-1B9E9B483F9A}" dt="2021-05-24T11:26:00.869" v="2239" actId="1076"/>
          <ac:picMkLst>
            <pc:docMk/>
            <pc:sldMk cId="994864461" sldId="10463"/>
            <ac:picMk id="121" creationId="{8A0DD758-C935-4CB0-804F-FC1F0D29869E}"/>
          </ac:picMkLst>
        </pc:picChg>
        <pc:picChg chg="add mod">
          <ac:chgData name="Aude Van de WIELE" userId="7317e673-04dd-415c-a4d7-718682339b40" providerId="ADAL" clId="{80D4E734-020D-4C1F-A028-1B9E9B483F9A}" dt="2021-05-24T11:26:03.806" v="2240" actId="571"/>
          <ac:picMkLst>
            <pc:docMk/>
            <pc:sldMk cId="994864461" sldId="10463"/>
            <ac:picMk id="122" creationId="{2C588B3E-491B-46F9-9002-0325DD41570E}"/>
          </ac:picMkLst>
        </pc:picChg>
        <pc:picChg chg="add mod">
          <ac:chgData name="Aude Van de WIELE" userId="7317e673-04dd-415c-a4d7-718682339b40" providerId="ADAL" clId="{80D4E734-020D-4C1F-A028-1B9E9B483F9A}" dt="2021-05-24T11:26:08.214" v="2241" actId="571"/>
          <ac:picMkLst>
            <pc:docMk/>
            <pc:sldMk cId="994864461" sldId="10463"/>
            <ac:picMk id="123" creationId="{BD7DEDE7-92BA-48D0-9F4E-D3A41FD8ACB5}"/>
          </ac:picMkLst>
        </pc:picChg>
        <pc:picChg chg="add mod">
          <ac:chgData name="Aude Van de WIELE" userId="7317e673-04dd-415c-a4d7-718682339b40" providerId="ADAL" clId="{80D4E734-020D-4C1F-A028-1B9E9B483F9A}" dt="2021-05-24T11:26:26.293" v="2242" actId="571"/>
          <ac:picMkLst>
            <pc:docMk/>
            <pc:sldMk cId="994864461" sldId="10463"/>
            <ac:picMk id="124" creationId="{7107E9D1-DAEE-4EEC-89CA-DB793448F280}"/>
          </ac:picMkLst>
        </pc:picChg>
        <pc:picChg chg="add mod">
          <ac:chgData name="Aude Van de WIELE" userId="7317e673-04dd-415c-a4d7-718682339b40" providerId="ADAL" clId="{80D4E734-020D-4C1F-A028-1B9E9B483F9A}" dt="2021-05-24T11:26:49.701" v="2247" actId="1076"/>
          <ac:picMkLst>
            <pc:docMk/>
            <pc:sldMk cId="994864461" sldId="10463"/>
            <ac:picMk id="125" creationId="{4E916AC2-179C-4263-910F-1B834E221B48}"/>
          </ac:picMkLst>
        </pc:picChg>
        <pc:picChg chg="add mod">
          <ac:chgData name="Aude Van de WIELE" userId="7317e673-04dd-415c-a4d7-718682339b40" providerId="ADAL" clId="{80D4E734-020D-4C1F-A028-1B9E9B483F9A}" dt="2021-05-24T11:26:53.573" v="2249" actId="1076"/>
          <ac:picMkLst>
            <pc:docMk/>
            <pc:sldMk cId="994864461" sldId="10463"/>
            <ac:picMk id="126" creationId="{40059C2F-7744-4520-A42B-87E4811DFD01}"/>
          </ac:picMkLst>
        </pc:picChg>
        <pc:picChg chg="add mod">
          <ac:chgData name="Aude Van de WIELE" userId="7317e673-04dd-415c-a4d7-718682339b40" providerId="ADAL" clId="{80D4E734-020D-4C1F-A028-1B9E9B483F9A}" dt="2021-05-24T11:27:21.574" v="2252" actId="1076"/>
          <ac:picMkLst>
            <pc:docMk/>
            <pc:sldMk cId="994864461" sldId="10463"/>
            <ac:picMk id="127" creationId="{E458EC85-5CD5-4C09-877D-8F08C9298999}"/>
          </ac:picMkLst>
        </pc:picChg>
        <pc:picChg chg="add mod">
          <ac:chgData name="Aude Van de WIELE" userId="7317e673-04dd-415c-a4d7-718682339b40" providerId="ADAL" clId="{80D4E734-020D-4C1F-A028-1B9E9B483F9A}" dt="2021-05-24T11:35:32.692" v="2360" actId="1076"/>
          <ac:picMkLst>
            <pc:docMk/>
            <pc:sldMk cId="994864461" sldId="10463"/>
            <ac:picMk id="128" creationId="{CA76B483-EAEC-49E3-B54B-AB991DFC62D9}"/>
          </ac:picMkLst>
        </pc:picChg>
        <pc:picChg chg="add mod">
          <ac:chgData name="Aude Van de WIELE" userId="7317e673-04dd-415c-a4d7-718682339b40" providerId="ADAL" clId="{80D4E734-020D-4C1F-A028-1B9E9B483F9A}" dt="2021-05-24T11:38:37.988" v="2397" actId="1076"/>
          <ac:picMkLst>
            <pc:docMk/>
            <pc:sldMk cId="994864461" sldId="10463"/>
            <ac:picMk id="129" creationId="{8EE25D74-1E8D-4BE7-916C-E7AE4057A0FF}"/>
          </ac:picMkLst>
        </pc:picChg>
        <pc:picChg chg="add mod">
          <ac:chgData name="Aude Van de WIELE" userId="7317e673-04dd-415c-a4d7-718682339b40" providerId="ADAL" clId="{80D4E734-020D-4C1F-A028-1B9E9B483F9A}" dt="2021-05-24T11:38:37.228" v="2396" actId="1076"/>
          <ac:picMkLst>
            <pc:docMk/>
            <pc:sldMk cId="994864461" sldId="10463"/>
            <ac:picMk id="130" creationId="{45FD95E1-77AF-40ED-A3D9-DFF4C56FDC3A}"/>
          </ac:picMkLst>
        </pc:picChg>
        <pc:picChg chg="add mod">
          <ac:chgData name="Aude Van de WIELE" userId="7317e673-04dd-415c-a4d7-718682339b40" providerId="ADAL" clId="{80D4E734-020D-4C1F-A028-1B9E9B483F9A}" dt="2021-05-24T11:30:57.581" v="2302" actId="1076"/>
          <ac:picMkLst>
            <pc:docMk/>
            <pc:sldMk cId="994864461" sldId="10463"/>
            <ac:picMk id="131" creationId="{E0A44185-8C54-4C4D-906B-0A1ADAA307ED}"/>
          </ac:picMkLst>
        </pc:picChg>
        <pc:picChg chg="add del mod">
          <ac:chgData name="Aude Van de WIELE" userId="7317e673-04dd-415c-a4d7-718682339b40" providerId="ADAL" clId="{80D4E734-020D-4C1F-A028-1B9E9B483F9A}" dt="2021-05-24T11:30:10.504" v="2279" actId="21"/>
          <ac:picMkLst>
            <pc:docMk/>
            <pc:sldMk cId="994864461" sldId="10463"/>
            <ac:picMk id="132" creationId="{5062D683-D330-4A0E-AF49-382A038736F7}"/>
          </ac:picMkLst>
        </pc:picChg>
        <pc:picChg chg="add mod">
          <ac:chgData name="Aude Van de WIELE" userId="7317e673-04dd-415c-a4d7-718682339b40" providerId="ADAL" clId="{80D4E734-020D-4C1F-A028-1B9E9B483F9A}" dt="2021-05-24T11:30:52.636" v="2299" actId="1076"/>
          <ac:picMkLst>
            <pc:docMk/>
            <pc:sldMk cId="994864461" sldId="10463"/>
            <ac:picMk id="133" creationId="{CFE6D1AE-02BD-4ADB-9F7F-48296E63E9D1}"/>
          </ac:picMkLst>
        </pc:picChg>
        <pc:picChg chg="add del mod">
          <ac:chgData name="Aude Van de WIELE" userId="7317e673-04dd-415c-a4d7-718682339b40" providerId="ADAL" clId="{80D4E734-020D-4C1F-A028-1B9E9B483F9A}" dt="2021-05-24T11:32:18.002" v="2313" actId="21"/>
          <ac:picMkLst>
            <pc:docMk/>
            <pc:sldMk cId="994864461" sldId="10463"/>
            <ac:picMk id="134" creationId="{27733E6A-8D91-457B-97C7-4FC40AC9B877}"/>
          </ac:picMkLst>
        </pc:picChg>
        <pc:picChg chg="add mod">
          <ac:chgData name="Aude Van de WIELE" userId="7317e673-04dd-415c-a4d7-718682339b40" providerId="ADAL" clId="{80D4E734-020D-4C1F-A028-1B9E9B483F9A}" dt="2021-05-24T11:33:16.364" v="2331" actId="1076"/>
          <ac:picMkLst>
            <pc:docMk/>
            <pc:sldMk cId="994864461" sldId="10463"/>
            <ac:picMk id="135" creationId="{8ABEA862-C823-4A8B-8385-8542091F0436}"/>
          </ac:picMkLst>
        </pc:picChg>
        <pc:picChg chg="add mod">
          <ac:chgData name="Aude Van de WIELE" userId="7317e673-04dd-415c-a4d7-718682339b40" providerId="ADAL" clId="{80D4E734-020D-4C1F-A028-1B9E9B483F9A}" dt="2021-05-24T11:38:33.908" v="2394" actId="1076"/>
          <ac:picMkLst>
            <pc:docMk/>
            <pc:sldMk cId="994864461" sldId="10463"/>
            <ac:picMk id="136" creationId="{3A7BC151-A483-4EE0-A6CD-E4C8470500EC}"/>
          </ac:picMkLst>
        </pc:picChg>
        <pc:picChg chg="add del mod">
          <ac:chgData name="Aude Van de WIELE" userId="7317e673-04dd-415c-a4d7-718682339b40" providerId="ADAL" clId="{80D4E734-020D-4C1F-A028-1B9E9B483F9A}" dt="2021-05-24T11:30:23.920" v="2287" actId="21"/>
          <ac:picMkLst>
            <pc:docMk/>
            <pc:sldMk cId="994864461" sldId="10463"/>
            <ac:picMk id="137" creationId="{585BEA3F-7F21-4854-9D4C-6447541506B6}"/>
          </ac:picMkLst>
        </pc:picChg>
        <pc:picChg chg="add del mod topLvl">
          <ac:chgData name="Aude Van de WIELE" userId="7317e673-04dd-415c-a4d7-718682339b40" providerId="ADAL" clId="{80D4E734-020D-4C1F-A028-1B9E9B483F9A}" dt="2021-05-24T11:32:27.560" v="2319" actId="21"/>
          <ac:picMkLst>
            <pc:docMk/>
            <pc:sldMk cId="994864461" sldId="10463"/>
            <ac:picMk id="139" creationId="{14FC1793-B70E-45F9-9960-248CD0246DB8}"/>
          </ac:picMkLst>
        </pc:picChg>
        <pc:picChg chg="add mod">
          <ac:chgData name="Aude Van de WIELE" userId="7317e673-04dd-415c-a4d7-718682339b40" providerId="ADAL" clId="{80D4E734-020D-4C1F-A028-1B9E9B483F9A}" dt="2021-05-24T11:30:50.902" v="2298" actId="1076"/>
          <ac:picMkLst>
            <pc:docMk/>
            <pc:sldMk cId="994864461" sldId="10463"/>
            <ac:picMk id="140" creationId="{70C970D2-9BBD-419B-8996-479E19E07BBF}"/>
          </ac:picMkLst>
        </pc:picChg>
        <pc:picChg chg="add mod">
          <ac:chgData name="Aude Van de WIELE" userId="7317e673-04dd-415c-a4d7-718682339b40" providerId="ADAL" clId="{80D4E734-020D-4C1F-A028-1B9E9B483F9A}" dt="2021-05-24T11:31:52.413" v="2307" actId="1076"/>
          <ac:picMkLst>
            <pc:docMk/>
            <pc:sldMk cId="994864461" sldId="10463"/>
            <ac:picMk id="141" creationId="{31A6F0E2-D0B3-4336-B78C-F9D13C8E2B70}"/>
          </ac:picMkLst>
        </pc:picChg>
        <pc:picChg chg="add del mod">
          <ac:chgData name="Aude Van de WIELE" userId="7317e673-04dd-415c-a4d7-718682339b40" providerId="ADAL" clId="{80D4E734-020D-4C1F-A028-1B9E9B483F9A}" dt="2021-05-24T11:32:35.838" v="2322" actId="21"/>
          <ac:picMkLst>
            <pc:docMk/>
            <pc:sldMk cId="994864461" sldId="10463"/>
            <ac:picMk id="143" creationId="{9E61629D-C2DF-4A4E-8403-46DB6294EB98}"/>
          </ac:picMkLst>
        </pc:picChg>
        <pc:picChg chg="add mod">
          <ac:chgData name="Aude Van de WIELE" userId="7317e673-04dd-415c-a4d7-718682339b40" providerId="ADAL" clId="{80D4E734-020D-4C1F-A028-1B9E9B483F9A}" dt="2021-05-24T11:32:33.188" v="2321"/>
          <ac:picMkLst>
            <pc:docMk/>
            <pc:sldMk cId="994864461" sldId="10463"/>
            <ac:picMk id="145" creationId="{E4917F3E-4ABD-48D9-BEDB-574B1D2C0CF8}"/>
          </ac:picMkLst>
        </pc:picChg>
        <pc:picChg chg="add mod">
          <ac:chgData name="Aude Van de WIELE" userId="7317e673-04dd-415c-a4d7-718682339b40" providerId="ADAL" clId="{80D4E734-020D-4C1F-A028-1B9E9B483F9A}" dt="2021-05-24T11:32:41.453" v="2326" actId="1076"/>
          <ac:picMkLst>
            <pc:docMk/>
            <pc:sldMk cId="994864461" sldId="10463"/>
            <ac:picMk id="146" creationId="{FC5F98B3-3354-460F-BC0B-06E9F3407136}"/>
          </ac:picMkLst>
        </pc:picChg>
        <pc:picChg chg="add mod">
          <ac:chgData name="Aude Van de WIELE" userId="7317e673-04dd-415c-a4d7-718682339b40" providerId="ADAL" clId="{80D4E734-020D-4C1F-A028-1B9E9B483F9A}" dt="2021-05-24T11:35:34.492" v="2362" actId="1076"/>
          <ac:picMkLst>
            <pc:docMk/>
            <pc:sldMk cId="994864461" sldId="10463"/>
            <ac:picMk id="147" creationId="{6A8A5661-1ADE-4690-8361-A7C701E94B0D}"/>
          </ac:picMkLst>
        </pc:picChg>
        <pc:picChg chg="add mod">
          <ac:chgData name="Aude Van de WIELE" userId="7317e673-04dd-415c-a4d7-718682339b40" providerId="ADAL" clId="{80D4E734-020D-4C1F-A028-1B9E9B483F9A}" dt="2021-05-24T11:34:20.613" v="2337" actId="1076"/>
          <ac:picMkLst>
            <pc:docMk/>
            <pc:sldMk cId="994864461" sldId="10463"/>
            <ac:picMk id="148" creationId="{DD6A6550-2A4B-4BA9-9C9C-4844DF572B74}"/>
          </ac:picMkLst>
        </pc:picChg>
        <pc:picChg chg="add mod">
          <ac:chgData name="Aude Van de WIELE" userId="7317e673-04dd-415c-a4d7-718682339b40" providerId="ADAL" clId="{80D4E734-020D-4C1F-A028-1B9E9B483F9A}" dt="2021-05-24T11:34:17.941" v="2336" actId="1076"/>
          <ac:picMkLst>
            <pc:docMk/>
            <pc:sldMk cId="994864461" sldId="10463"/>
            <ac:picMk id="149" creationId="{90DE7118-2FA6-4921-AAE3-8510AD0B7B50}"/>
          </ac:picMkLst>
        </pc:picChg>
        <pc:picChg chg="mod">
          <ac:chgData name="Aude Van de WIELE" userId="7317e673-04dd-415c-a4d7-718682339b40" providerId="ADAL" clId="{80D4E734-020D-4C1F-A028-1B9E9B483F9A}" dt="2021-05-24T11:35:25.788" v="2356" actId="1076"/>
          <ac:picMkLst>
            <pc:docMk/>
            <pc:sldMk cId="994864461" sldId="10463"/>
            <ac:picMk id="155" creationId="{4AF40B49-8DA5-4EEF-8519-A736F8847508}"/>
          </ac:picMkLst>
        </pc:picChg>
        <pc:picChg chg="mod">
          <ac:chgData name="Aude Van de WIELE" userId="7317e673-04dd-415c-a4d7-718682339b40" providerId="ADAL" clId="{80D4E734-020D-4C1F-A028-1B9E9B483F9A}" dt="2021-05-24T11:35:33.492" v="2361" actId="1076"/>
          <ac:picMkLst>
            <pc:docMk/>
            <pc:sldMk cId="994864461" sldId="10463"/>
            <ac:picMk id="158" creationId="{FFA40C0E-5649-4873-A608-FB33FF7EFCDF}"/>
          </ac:picMkLst>
        </pc:picChg>
        <pc:picChg chg="add mod">
          <ac:chgData name="Aude Van de WIELE" userId="7317e673-04dd-415c-a4d7-718682339b40" providerId="ADAL" clId="{80D4E734-020D-4C1F-A028-1B9E9B483F9A}" dt="2021-05-24T11:38:40.836" v="2399" actId="14100"/>
          <ac:picMkLst>
            <pc:docMk/>
            <pc:sldMk cId="994864461" sldId="10463"/>
            <ac:picMk id="159" creationId="{8BDF621B-8CB3-4EFB-82E6-630277B717A8}"/>
          </ac:picMkLst>
        </pc:picChg>
        <pc:picChg chg="add mod">
          <ac:chgData name="Aude Van de WIELE" userId="7317e673-04dd-415c-a4d7-718682339b40" providerId="ADAL" clId="{80D4E734-020D-4C1F-A028-1B9E9B483F9A}" dt="2021-05-24T11:38:35.988" v="2395" actId="1076"/>
          <ac:picMkLst>
            <pc:docMk/>
            <pc:sldMk cId="994864461" sldId="10463"/>
            <ac:picMk id="160" creationId="{308EE5A9-93B9-445F-AD26-ECA6767B78D8}"/>
          </ac:picMkLst>
        </pc:picChg>
        <pc:cxnChg chg="add mod">
          <ac:chgData name="Aude Van de WIELE" userId="7317e673-04dd-415c-a4d7-718682339b40" providerId="ADAL" clId="{80D4E734-020D-4C1F-A028-1B9E9B483F9A}" dt="2021-05-24T11:30:09.196" v="2278" actId="1076"/>
          <ac:cxnSpMkLst>
            <pc:docMk/>
            <pc:sldMk cId="994864461" sldId="10463"/>
            <ac:cxnSpMk id="8" creationId="{F1E73D96-9980-4518-B2F8-CC2E30559A82}"/>
          </ac:cxnSpMkLst>
        </pc:cxnChg>
        <pc:cxnChg chg="add mod">
          <ac:chgData name="Aude Van de WIELE" userId="7317e673-04dd-415c-a4d7-718682339b40" providerId="ADAL" clId="{80D4E734-020D-4C1F-A028-1B9E9B483F9A}" dt="2021-05-24T11:32:16.269" v="2312" actId="571"/>
          <ac:cxnSpMkLst>
            <pc:docMk/>
            <pc:sldMk cId="994864461" sldId="10463"/>
            <ac:cxnSpMk id="142" creationId="{DF156528-5B03-4CCB-A09D-159123FD48B9}"/>
          </ac:cxnSpMkLst>
        </pc:cxnChg>
      </pc:sldChg>
      <pc:sldChg chg="addSp delSp modSp add mod">
        <pc:chgData name="Aude Van de WIELE" userId="7317e673-04dd-415c-a4d7-718682339b40" providerId="ADAL" clId="{80D4E734-020D-4C1F-A028-1B9E9B483F9A}" dt="2021-05-24T13:37:40.057" v="3979" actId="20577"/>
        <pc:sldMkLst>
          <pc:docMk/>
          <pc:sldMk cId="4123958613" sldId="10464"/>
        </pc:sldMkLst>
        <pc:spChg chg="mod">
          <ac:chgData name="Aude Van de WIELE" userId="7317e673-04dd-415c-a4d7-718682339b40" providerId="ADAL" clId="{80D4E734-020D-4C1F-A028-1B9E9B483F9A}" dt="2021-05-24T13:37:40.057" v="3979" actId="20577"/>
          <ac:spMkLst>
            <pc:docMk/>
            <pc:sldMk cId="4123958613" sldId="10464"/>
            <ac:spMk id="2" creationId="{6141F854-3009-40D7-9038-56590105A49E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3" creationId="{560625DF-BB9A-476B-B434-FFCE76A905DE}"/>
          </ac:spMkLst>
        </pc:spChg>
        <pc:spChg chg="del mod">
          <ac:chgData name="Aude Van de WIELE" userId="7317e673-04dd-415c-a4d7-718682339b40" providerId="ADAL" clId="{80D4E734-020D-4C1F-A028-1B9E9B483F9A}" dt="2021-05-24T12:34:39.571" v="3220"/>
          <ac:spMkLst>
            <pc:docMk/>
            <pc:sldMk cId="4123958613" sldId="10464"/>
            <ac:spMk id="8" creationId="{687BE74D-B313-4157-AAFF-F36C65985A0A}"/>
          </ac:spMkLst>
        </pc:spChg>
        <pc:spChg chg="mod">
          <ac:chgData name="Aude Van de WIELE" userId="7317e673-04dd-415c-a4d7-718682339b40" providerId="ADAL" clId="{80D4E734-020D-4C1F-A028-1B9E9B483F9A}" dt="2021-05-24T12:34:50.833" v="3223" actId="1076"/>
          <ac:spMkLst>
            <pc:docMk/>
            <pc:sldMk cId="4123958613" sldId="10464"/>
            <ac:spMk id="9" creationId="{AB007CED-DB7C-47D0-B7D6-3194607C5B90}"/>
          </ac:spMkLst>
        </pc:spChg>
        <pc:spChg chg="mod">
          <ac:chgData name="Aude Van de WIELE" userId="7317e673-04dd-415c-a4d7-718682339b40" providerId="ADAL" clId="{80D4E734-020D-4C1F-A028-1B9E9B483F9A}" dt="2021-05-24T12:34:50.833" v="3223" actId="1076"/>
          <ac:spMkLst>
            <pc:docMk/>
            <pc:sldMk cId="4123958613" sldId="10464"/>
            <ac:spMk id="10" creationId="{66036581-0015-44A7-AC90-E35426C69E7F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1" creationId="{563B210D-AA79-4D5F-ACE6-ABADF843D2FA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2" creationId="{1E623B1C-37C8-4895-B26E-15F871736A36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3" creationId="{878F2793-BE4D-4FF3-B02D-53D881283C27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4" creationId="{BF99168B-58D2-49E3-9128-C54D5771CCAF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5" creationId="{05128460-7BFC-4307-97D3-8D6BCE648098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6" creationId="{52DC22F7-50A1-4F9E-BDE2-AEB9287C6358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7" creationId="{13362563-A54C-40FC-9CE3-98BEEED7C283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8" creationId="{A0FC123E-1912-4BE1-A532-BD9FD91F6D4C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19" creationId="{53B1CD2F-0672-4E2A-A3D2-D816C1F3C13A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0" creationId="{2C72074C-EA62-427A-B807-7B4830414ADA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1" creationId="{3CAD7744-8624-4211-8642-F7A97366903A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2" creationId="{0EE64BA2-0E59-4319-86FD-6DC0E3B07DC6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3" creationId="{C50B6671-D4B5-4C43-8259-C37662E047AC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4" creationId="{6FD5383A-D90F-4793-9EE4-978E5E77E6AE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5" creationId="{E73D5AA9-9BED-4CFE-9B15-BA2CA34D3A8F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6" creationId="{1CF178C9-FA09-4B3B-8961-A7D3052DF2A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7" creationId="{D8D4D570-E556-4136-82DA-1FDC69F4B871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8" creationId="{FCC4D2C6-1441-4E66-A37F-3A76B43E83CE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29" creationId="{4EBEFE44-2A14-4F09-A3EB-58ED287D0203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30" creationId="{0D81CDD6-14AC-4542-8189-57ADD3120D86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31" creationId="{0A21BF8A-4686-4FC7-B72A-00B5F9563C97}"/>
          </ac:spMkLst>
        </pc:spChg>
        <pc:spChg chg="mod">
          <ac:chgData name="Aude Van de WIELE" userId="7317e673-04dd-415c-a4d7-718682339b40" providerId="ADAL" clId="{80D4E734-020D-4C1F-A028-1B9E9B483F9A}" dt="2021-05-24T12:35:14.149" v="3229" actId="207"/>
          <ac:spMkLst>
            <pc:docMk/>
            <pc:sldMk cId="4123958613" sldId="10464"/>
            <ac:spMk id="32" creationId="{0B4EA174-DBE6-401C-806A-3A9DC28290D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33" creationId="{6F619186-A29F-47FC-B4C9-60FE5B327007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34" creationId="{7710F13B-8FD8-4679-A9E3-0FF42D7E205D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38" creationId="{443D7E13-5E25-417A-AA2B-D37766447346}"/>
          </ac:spMkLst>
        </pc:spChg>
        <pc:spChg chg="mod">
          <ac:chgData name="Aude Van de WIELE" userId="7317e673-04dd-415c-a4d7-718682339b40" providerId="ADAL" clId="{80D4E734-020D-4C1F-A028-1B9E9B483F9A}" dt="2021-05-24T12:35:14.149" v="3229" actId="207"/>
          <ac:spMkLst>
            <pc:docMk/>
            <pc:sldMk cId="4123958613" sldId="10464"/>
            <ac:spMk id="39" creationId="{560C4695-6845-4318-AF0C-9108A8886DF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0" creationId="{951BFB89-3A96-459C-8E4A-080B28FCA297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1" creationId="{8514CDF6-D3F3-4CEC-96D8-EB94AFEB3106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2" creationId="{B14DB10B-7FE9-42ED-B303-F33106400EA9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3" creationId="{E84EA5FA-08E9-40F6-A71F-8BA8F3E3ED99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4" creationId="{F595688A-2B2A-4B18-BC8F-3E1BBE846D86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5" creationId="{7A651798-9873-484A-BCBC-F1732F254FCF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6" creationId="{54AFC57A-2292-4CA3-B567-A14B5835A6E8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7" creationId="{A14096DC-4CAE-4A32-BFA3-6DBFBDDF9334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8" creationId="{071ECFC0-1FE9-49A0-A0B0-4AFD8164EB6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49" creationId="{D81D2065-13CD-4420-A58C-E72AE87D1A4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50" creationId="{ACAAB4F1-8D2B-4B8D-A0C1-3794501DF384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51" creationId="{CCA5A507-9498-412A-8734-37E9A0CAFBC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52" creationId="{9926A3AA-BF17-44D4-8DE7-9339CF1BE6FD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53" creationId="{5E59300E-921D-44E2-90E6-C444434FE1E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56" creationId="{2FB57385-9778-4E16-88A7-927D307E97B3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58" creationId="{328B4C86-96DF-4F0B-9DF0-1048DA68F379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1" creationId="{D8946D35-831B-4FB2-9D8B-4DC903BFA94D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2" creationId="{B272D2A6-27B4-4CCB-9AAB-635DCFACB418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3" creationId="{CACC76FC-2977-4355-BF81-4E5EDB67542C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4" creationId="{E69A6A78-2AD3-4D53-8B9B-27B1B6264317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5" creationId="{B996472B-4494-4092-90D2-F9B0598EDA9B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6" creationId="{580E88D8-DB2D-4BAA-87C9-C7877E27FD4E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7" creationId="{29C19D83-CDAD-468C-B418-83C2D1E45543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8" creationId="{7BD2CCAB-CCFD-487A-BBD3-6041900F9E7C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69" creationId="{B7EBBC5A-DA14-4F74-B1F0-E98AF52DABD0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0" creationId="{3291AB25-490F-4B63-A46D-E02764883457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1" creationId="{075BD30D-D6B5-4502-AB64-F5EF3A546F22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2" creationId="{B8A5B5FA-956D-4336-94C9-315F1C4DA686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3" creationId="{BB81862D-1352-415B-9794-C265DDB814EE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4" creationId="{5013318F-F7B4-4AAF-ADC5-C66BF396BB1E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5" creationId="{CB9B43AE-1547-457C-A273-1320CA76CB3B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6" creationId="{AE904024-EA20-4D60-AB0B-C139F02FB2A9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7" creationId="{AB0D4D7A-5D70-4F9E-A762-65CCD88904AC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8" creationId="{E5C79D5F-D2B0-4680-AA6C-E73274912CD4}"/>
          </ac:spMkLst>
        </pc:spChg>
        <pc:spChg chg="mod">
          <ac:chgData name="Aude Van de WIELE" userId="7317e673-04dd-415c-a4d7-718682339b40" providerId="ADAL" clId="{80D4E734-020D-4C1F-A028-1B9E9B483F9A}" dt="2021-05-24T12:34:39.567" v="3219"/>
          <ac:spMkLst>
            <pc:docMk/>
            <pc:sldMk cId="4123958613" sldId="10464"/>
            <ac:spMk id="79" creationId="{43B23F38-045E-49AC-BFC0-E481E439ED01}"/>
          </ac:spMkLst>
        </pc:spChg>
        <pc:spChg chg="mod">
          <ac:chgData name="Aude Van de WIELE" userId="7317e673-04dd-415c-a4d7-718682339b40" providerId="ADAL" clId="{80D4E734-020D-4C1F-A028-1B9E9B483F9A}" dt="2021-05-24T12:34:52.737" v="3224" actId="571"/>
          <ac:spMkLst>
            <pc:docMk/>
            <pc:sldMk cId="4123958613" sldId="10464"/>
            <ac:spMk id="85" creationId="{9CE3DB2E-26D4-4BB1-A0A7-CED02AF6451F}"/>
          </ac:spMkLst>
        </pc:spChg>
        <pc:spChg chg="mod">
          <ac:chgData name="Aude Van de WIELE" userId="7317e673-04dd-415c-a4d7-718682339b40" providerId="ADAL" clId="{80D4E734-020D-4C1F-A028-1B9E9B483F9A}" dt="2021-05-24T12:34:52.737" v="3224" actId="571"/>
          <ac:spMkLst>
            <pc:docMk/>
            <pc:sldMk cId="4123958613" sldId="10464"/>
            <ac:spMk id="86" creationId="{128BED7C-8284-4212-908E-96C448EB27B2}"/>
          </ac:spMkLst>
        </pc:spChg>
        <pc:spChg chg="mod">
          <ac:chgData name="Aude Van de WIELE" userId="7317e673-04dd-415c-a4d7-718682339b40" providerId="ADAL" clId="{80D4E734-020D-4C1F-A028-1B9E9B483F9A}" dt="2021-05-24T12:34:55.601" v="3225" actId="571"/>
          <ac:spMkLst>
            <pc:docMk/>
            <pc:sldMk cId="4123958613" sldId="10464"/>
            <ac:spMk id="88" creationId="{195219FF-5EE4-419A-8C18-25AF1B10B984}"/>
          </ac:spMkLst>
        </pc:spChg>
        <pc:spChg chg="mod">
          <ac:chgData name="Aude Van de WIELE" userId="7317e673-04dd-415c-a4d7-718682339b40" providerId="ADAL" clId="{80D4E734-020D-4C1F-A028-1B9E9B483F9A}" dt="2021-05-24T12:34:55.601" v="3225" actId="571"/>
          <ac:spMkLst>
            <pc:docMk/>
            <pc:sldMk cId="4123958613" sldId="10464"/>
            <ac:spMk id="89" creationId="{924B0038-1535-4D37-9A1C-31378E318952}"/>
          </ac:spMkLst>
        </pc:spChg>
        <pc:spChg chg="add mod">
          <ac:chgData name="Aude Van de WIELE" userId="7317e673-04dd-415c-a4d7-718682339b40" providerId="ADAL" clId="{80D4E734-020D-4C1F-A028-1B9E9B483F9A}" dt="2021-05-24T12:35:34.417" v="3242" actId="1076"/>
          <ac:spMkLst>
            <pc:docMk/>
            <pc:sldMk cId="4123958613" sldId="10464"/>
            <ac:spMk id="90" creationId="{F0ACEE5D-E7C7-4907-B468-DDF2B6250FCD}"/>
          </ac:spMkLst>
        </pc:spChg>
        <pc:grpChg chg="mod">
          <ac:chgData name="Aude Van de WIELE" userId="7317e673-04dd-415c-a4d7-718682339b40" providerId="ADAL" clId="{80D4E734-020D-4C1F-A028-1B9E9B483F9A}" dt="2021-05-24T12:34:39.567" v="3219"/>
          <ac:grpSpMkLst>
            <pc:docMk/>
            <pc:sldMk cId="4123958613" sldId="10464"/>
            <ac:grpSpMk id="1" creationId="{00000000-0000-0000-0000-000000000000}"/>
          </ac:grpSpMkLst>
        </pc:grpChg>
        <pc:grpChg chg="mod">
          <ac:chgData name="Aude Van de WIELE" userId="7317e673-04dd-415c-a4d7-718682339b40" providerId="ADAL" clId="{80D4E734-020D-4C1F-A028-1B9E9B483F9A}" dt="2021-05-24T12:34:50.833" v="3223" actId="1076"/>
          <ac:grpSpMkLst>
            <pc:docMk/>
            <pc:sldMk cId="4123958613" sldId="10464"/>
            <ac:grpSpMk id="7" creationId="{FF7AD34D-1733-433D-BD01-2B391A6C222B}"/>
          </ac:grpSpMkLst>
        </pc:grpChg>
        <pc:grpChg chg="add mod">
          <ac:chgData name="Aude Van de WIELE" userId="7317e673-04dd-415c-a4d7-718682339b40" providerId="ADAL" clId="{80D4E734-020D-4C1F-A028-1B9E9B483F9A}" dt="2021-05-24T12:34:52.737" v="3224" actId="571"/>
          <ac:grpSpMkLst>
            <pc:docMk/>
            <pc:sldMk cId="4123958613" sldId="10464"/>
            <ac:grpSpMk id="84" creationId="{4D6EB96F-46E8-4972-BC65-EC755445BEC9}"/>
          </ac:grpSpMkLst>
        </pc:grpChg>
        <pc:grpChg chg="add mod">
          <ac:chgData name="Aude Van de WIELE" userId="7317e673-04dd-415c-a4d7-718682339b40" providerId="ADAL" clId="{80D4E734-020D-4C1F-A028-1B9E9B483F9A}" dt="2021-05-24T12:34:55.601" v="3225" actId="571"/>
          <ac:grpSpMkLst>
            <pc:docMk/>
            <pc:sldMk cId="4123958613" sldId="10464"/>
            <ac:grpSpMk id="87" creationId="{79854F44-0B50-4823-B05D-CA9DDEE35D04}"/>
          </ac:grpSpMkLst>
        </pc:grpChg>
        <pc:graphicFrameChg chg="mod">
          <ac:chgData name="Aude Van de WIELE" userId="7317e673-04dd-415c-a4d7-718682339b40" providerId="ADAL" clId="{80D4E734-020D-4C1F-A028-1B9E9B483F9A}" dt="2021-05-24T12:34:39.567" v="3219"/>
          <ac:graphicFrameMkLst>
            <pc:docMk/>
            <pc:sldMk cId="4123958613" sldId="10464"/>
            <ac:graphicFrameMk id="5" creationId="{58F89C0C-E0E8-4876-A98A-438F18CAD392}"/>
          </ac:graphicFrameMkLst>
        </pc:graphicFrameChg>
        <pc:picChg chg="add del 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6" creationId="{0E876716-132D-4012-B4D7-135E78EA950A}"/>
          </ac:picMkLst>
        </pc:picChg>
        <pc:picChg chg="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35" creationId="{F1C5DD21-C757-4A91-A85D-86702D4AEDF3}"/>
          </ac:picMkLst>
        </pc:picChg>
        <pc:picChg chg="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36" creationId="{53508858-4042-4B07-B198-BC1D77D6B753}"/>
          </ac:picMkLst>
        </pc:picChg>
        <pc:picChg chg="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37" creationId="{C061D5FE-31D1-4290-8481-2D13495F900E}"/>
          </ac:picMkLst>
        </pc:picChg>
        <pc:picChg chg="add 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80" creationId="{B3998C68-FD1F-4F52-943D-3F9941B3E442}"/>
          </ac:picMkLst>
        </pc:picChg>
        <pc:picChg chg="add 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81" creationId="{DBD887F1-DCC6-4084-8DC9-252A565D04A3}"/>
          </ac:picMkLst>
        </pc:picChg>
        <pc:picChg chg="add 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82" creationId="{012C99F1-1BBF-431C-9B4C-D8B65CEB5C25}"/>
          </ac:picMkLst>
        </pc:picChg>
        <pc:picChg chg="add mod">
          <ac:chgData name="Aude Van de WIELE" userId="7317e673-04dd-415c-a4d7-718682339b40" providerId="ADAL" clId="{80D4E734-020D-4C1F-A028-1B9E9B483F9A}" dt="2021-05-24T12:34:39.567" v="3219"/>
          <ac:picMkLst>
            <pc:docMk/>
            <pc:sldMk cId="4123958613" sldId="10464"/>
            <ac:picMk id="83" creationId="{1AF768E9-5770-4878-A694-E5B6D569AE39}"/>
          </ac:picMkLst>
        </pc:picChg>
      </pc:sldChg>
      <pc:sldChg chg="add del">
        <pc:chgData name="Aude Van de WIELE" userId="7317e673-04dd-415c-a4d7-718682339b40" providerId="ADAL" clId="{80D4E734-020D-4C1F-A028-1B9E9B483F9A}" dt="2021-05-24T11:25:52.915" v="2236"/>
        <pc:sldMkLst>
          <pc:docMk/>
          <pc:sldMk cId="1344219940" sldId="10465"/>
        </pc:sldMkLst>
      </pc:sldChg>
      <pc:sldChg chg="delSp modSp add mod">
        <pc:chgData name="Aude Van de WIELE" userId="7317e673-04dd-415c-a4d7-718682339b40" providerId="ADAL" clId="{80D4E734-020D-4C1F-A028-1B9E9B483F9A}" dt="2021-05-25T14:41:23.786" v="12794" actId="20577"/>
        <pc:sldMkLst>
          <pc:docMk/>
          <pc:sldMk cId="1519874409" sldId="10465"/>
        </pc:sldMkLst>
        <pc:spChg chg="mod">
          <ac:chgData name="Aude Van de WIELE" userId="7317e673-04dd-415c-a4d7-718682339b40" providerId="ADAL" clId="{80D4E734-020D-4C1F-A028-1B9E9B483F9A}" dt="2021-05-25T08:49:50.024" v="8705" actId="790"/>
          <ac:spMkLst>
            <pc:docMk/>
            <pc:sldMk cId="1519874409" sldId="10465"/>
            <ac:spMk id="2" creationId="{22CE637A-08CD-4B57-9E43-4D794A97D425}"/>
          </ac:spMkLst>
        </pc:spChg>
        <pc:spChg chg="mod">
          <ac:chgData name="Aude Van de WIELE" userId="7317e673-04dd-415c-a4d7-718682339b40" providerId="ADAL" clId="{80D4E734-020D-4C1F-A028-1B9E9B483F9A}" dt="2021-05-25T08:49:50.025" v="8706" actId="790"/>
          <ac:spMkLst>
            <pc:docMk/>
            <pc:sldMk cId="1519874409" sldId="10465"/>
            <ac:spMk id="17" creationId="{EAAF5B4D-73E3-453B-97EC-E705A8C01554}"/>
          </ac:spMkLst>
        </pc:spChg>
        <pc:spChg chg="mod">
          <ac:chgData name="Aude Van de WIELE" userId="7317e673-04dd-415c-a4d7-718682339b40" providerId="ADAL" clId="{80D4E734-020D-4C1F-A028-1B9E9B483F9A}" dt="2021-05-25T08:49:50.028" v="8708" actId="790"/>
          <ac:spMkLst>
            <pc:docMk/>
            <pc:sldMk cId="1519874409" sldId="10465"/>
            <ac:spMk id="18" creationId="{B77F2001-EECC-4091-A46F-B13C297AFD91}"/>
          </ac:spMkLst>
        </pc:spChg>
        <pc:spChg chg="mod">
          <ac:chgData name="Aude Van de WIELE" userId="7317e673-04dd-415c-a4d7-718682339b40" providerId="ADAL" clId="{80D4E734-020D-4C1F-A028-1B9E9B483F9A}" dt="2021-05-25T08:49:50.027" v="8707" actId="790"/>
          <ac:spMkLst>
            <pc:docMk/>
            <pc:sldMk cId="1519874409" sldId="10465"/>
            <ac:spMk id="23" creationId="{0C95EF0E-C411-407B-BF74-3CD0A42FA4B6}"/>
          </ac:spMkLst>
        </pc:spChg>
        <pc:spChg chg="mod">
          <ac:chgData name="Aude Van de WIELE" userId="7317e673-04dd-415c-a4d7-718682339b40" providerId="ADAL" clId="{80D4E734-020D-4C1F-A028-1B9E9B483F9A}" dt="2021-05-25T08:49:50.028" v="8709" actId="790"/>
          <ac:spMkLst>
            <pc:docMk/>
            <pc:sldMk cId="1519874409" sldId="10465"/>
            <ac:spMk id="26" creationId="{1467DC4C-D91B-4890-86E8-8B6B324D9380}"/>
          </ac:spMkLst>
        </pc:spChg>
        <pc:spChg chg="mod">
          <ac:chgData name="Aude Van de WIELE" userId="7317e673-04dd-415c-a4d7-718682339b40" providerId="ADAL" clId="{80D4E734-020D-4C1F-A028-1B9E9B483F9A}" dt="2021-05-25T08:49:50.029" v="8710" actId="790"/>
          <ac:spMkLst>
            <pc:docMk/>
            <pc:sldMk cId="1519874409" sldId="10465"/>
            <ac:spMk id="29" creationId="{D49177BB-F71C-42AC-9A8C-812D68405634}"/>
          </ac:spMkLst>
        </pc:spChg>
        <pc:spChg chg="mod">
          <ac:chgData name="Aude Van de WIELE" userId="7317e673-04dd-415c-a4d7-718682339b40" providerId="ADAL" clId="{80D4E734-020D-4C1F-A028-1B9E9B483F9A}" dt="2021-05-25T08:49:50.030" v="8711" actId="790"/>
          <ac:spMkLst>
            <pc:docMk/>
            <pc:sldMk cId="1519874409" sldId="10465"/>
            <ac:spMk id="30" creationId="{990B3219-5A14-48A6-A29D-258D28CA817A}"/>
          </ac:spMkLst>
        </pc:spChg>
        <pc:spChg chg="mod">
          <ac:chgData name="Aude Van de WIELE" userId="7317e673-04dd-415c-a4d7-718682339b40" providerId="ADAL" clId="{80D4E734-020D-4C1F-A028-1B9E9B483F9A}" dt="2021-05-25T08:49:50.031" v="8712" actId="790"/>
          <ac:spMkLst>
            <pc:docMk/>
            <pc:sldMk cId="1519874409" sldId="10465"/>
            <ac:spMk id="31" creationId="{98270023-57CC-4644-A288-9156D3D5FBCE}"/>
          </ac:spMkLst>
        </pc:spChg>
        <pc:spChg chg="mod">
          <ac:chgData name="Aude Van de WIELE" userId="7317e673-04dd-415c-a4d7-718682339b40" providerId="ADAL" clId="{80D4E734-020D-4C1F-A028-1B9E9B483F9A}" dt="2021-05-25T08:49:50.031" v="8713" actId="790"/>
          <ac:spMkLst>
            <pc:docMk/>
            <pc:sldMk cId="1519874409" sldId="10465"/>
            <ac:spMk id="32" creationId="{9E722F19-F936-4688-BE29-34529CE98CFB}"/>
          </ac:spMkLst>
        </pc:spChg>
        <pc:spChg chg="mod">
          <ac:chgData name="Aude Van de WIELE" userId="7317e673-04dd-415c-a4d7-718682339b40" providerId="ADAL" clId="{80D4E734-020D-4C1F-A028-1B9E9B483F9A}" dt="2021-05-25T08:49:50.032" v="8714" actId="790"/>
          <ac:spMkLst>
            <pc:docMk/>
            <pc:sldMk cId="1519874409" sldId="10465"/>
            <ac:spMk id="41" creationId="{013DFE0D-012C-4AE2-A406-883249D468BC}"/>
          </ac:spMkLst>
        </pc:spChg>
        <pc:spChg chg="mod">
          <ac:chgData name="Aude Van de WIELE" userId="7317e673-04dd-415c-a4d7-718682339b40" providerId="ADAL" clId="{80D4E734-020D-4C1F-A028-1B9E9B483F9A}" dt="2021-05-25T08:49:50.045" v="8722" actId="790"/>
          <ac:spMkLst>
            <pc:docMk/>
            <pc:sldMk cId="1519874409" sldId="10465"/>
            <ac:spMk id="44" creationId="{0B53E553-6743-45FB-AE8E-BF6F0D532CEA}"/>
          </ac:spMkLst>
        </pc:spChg>
        <pc:spChg chg="mod">
          <ac:chgData name="Aude Van de WIELE" userId="7317e673-04dd-415c-a4d7-718682339b40" providerId="ADAL" clId="{80D4E734-020D-4C1F-A028-1B9E9B483F9A}" dt="2021-05-25T08:49:50.034" v="8715" actId="790"/>
          <ac:spMkLst>
            <pc:docMk/>
            <pc:sldMk cId="1519874409" sldId="10465"/>
            <ac:spMk id="45" creationId="{81D23D10-6232-4D82-8BCF-13B9525E1855}"/>
          </ac:spMkLst>
        </pc:spChg>
        <pc:spChg chg="mod">
          <ac:chgData name="Aude Van de WIELE" userId="7317e673-04dd-415c-a4d7-718682339b40" providerId="ADAL" clId="{80D4E734-020D-4C1F-A028-1B9E9B483F9A}" dt="2021-05-25T08:49:50.035" v="8716" actId="790"/>
          <ac:spMkLst>
            <pc:docMk/>
            <pc:sldMk cId="1519874409" sldId="10465"/>
            <ac:spMk id="46" creationId="{041E4A41-5EFF-4E8D-82D0-B598CD53AEB6}"/>
          </ac:spMkLst>
        </pc:spChg>
        <pc:spChg chg="mod">
          <ac:chgData name="Aude Van de WIELE" userId="7317e673-04dd-415c-a4d7-718682339b40" providerId="ADAL" clId="{80D4E734-020D-4C1F-A028-1B9E9B483F9A}" dt="2021-05-25T08:49:50.037" v="8717" actId="790"/>
          <ac:spMkLst>
            <pc:docMk/>
            <pc:sldMk cId="1519874409" sldId="10465"/>
            <ac:spMk id="49" creationId="{9FC58EF0-5CD6-4A71-8940-F6C8C883FBD1}"/>
          </ac:spMkLst>
        </pc:spChg>
        <pc:spChg chg="mod">
          <ac:chgData name="Aude Van de WIELE" userId="7317e673-04dd-415c-a4d7-718682339b40" providerId="ADAL" clId="{80D4E734-020D-4C1F-A028-1B9E9B483F9A}" dt="2021-05-25T08:49:50.038" v="8718" actId="790"/>
          <ac:spMkLst>
            <pc:docMk/>
            <pc:sldMk cId="1519874409" sldId="10465"/>
            <ac:spMk id="50" creationId="{0B6C5844-4A3E-4824-8EAE-60D3B3E1BFF5}"/>
          </ac:spMkLst>
        </pc:spChg>
        <pc:spChg chg="mod">
          <ac:chgData name="Aude Van de WIELE" userId="7317e673-04dd-415c-a4d7-718682339b40" providerId="ADAL" clId="{80D4E734-020D-4C1F-A028-1B9E9B483F9A}" dt="2021-05-25T08:49:50.039" v="8719" actId="790"/>
          <ac:spMkLst>
            <pc:docMk/>
            <pc:sldMk cId="1519874409" sldId="10465"/>
            <ac:spMk id="51" creationId="{8F8A1894-627E-4A77-8FEF-2E5519D9FC48}"/>
          </ac:spMkLst>
        </pc:spChg>
        <pc:spChg chg="mod">
          <ac:chgData name="Aude Van de WIELE" userId="7317e673-04dd-415c-a4d7-718682339b40" providerId="ADAL" clId="{80D4E734-020D-4C1F-A028-1B9E9B483F9A}" dt="2021-05-25T08:49:50.043" v="8720" actId="790"/>
          <ac:spMkLst>
            <pc:docMk/>
            <pc:sldMk cId="1519874409" sldId="10465"/>
            <ac:spMk id="52" creationId="{76A2D6C4-57ED-451A-A7F1-033FE34AB68E}"/>
          </ac:spMkLst>
        </pc:spChg>
        <pc:spChg chg="mod">
          <ac:chgData name="Aude Van de WIELE" userId="7317e673-04dd-415c-a4d7-718682339b40" providerId="ADAL" clId="{80D4E734-020D-4C1F-A028-1B9E9B483F9A}" dt="2021-05-25T08:49:50.044" v="8721" actId="790"/>
          <ac:spMkLst>
            <pc:docMk/>
            <pc:sldMk cId="1519874409" sldId="10465"/>
            <ac:spMk id="53" creationId="{1D696651-4ADA-4682-8B2D-872B8258B7F2}"/>
          </ac:spMkLst>
        </pc:spChg>
        <pc:spChg chg="mod">
          <ac:chgData name="Aude Van de WIELE" userId="7317e673-04dd-415c-a4d7-718682339b40" providerId="ADAL" clId="{80D4E734-020D-4C1F-A028-1B9E9B483F9A}" dt="2021-05-25T08:49:50.046" v="8723" actId="790"/>
          <ac:spMkLst>
            <pc:docMk/>
            <pc:sldMk cId="1519874409" sldId="10465"/>
            <ac:spMk id="59" creationId="{3DAFC222-EE91-423E-A279-AC68BF7E5200}"/>
          </ac:spMkLst>
        </pc:spChg>
        <pc:spChg chg="del">
          <ac:chgData name="Aude Van de WIELE" userId="7317e673-04dd-415c-a4d7-718682339b40" providerId="ADAL" clId="{80D4E734-020D-4C1F-A028-1B9E9B483F9A}" dt="2021-05-24T11:28:58.711" v="2267" actId="478"/>
          <ac:spMkLst>
            <pc:docMk/>
            <pc:sldMk cId="1519874409" sldId="10465"/>
            <ac:spMk id="66" creationId="{B9F94985-511B-4593-BED8-531D9DDB34BC}"/>
          </ac:spMkLst>
        </pc:spChg>
        <pc:spChg chg="del">
          <ac:chgData name="Aude Van de WIELE" userId="7317e673-04dd-415c-a4d7-718682339b40" providerId="ADAL" clId="{80D4E734-020D-4C1F-A028-1B9E9B483F9A}" dt="2021-05-24T11:28:58.711" v="2267" actId="478"/>
          <ac:spMkLst>
            <pc:docMk/>
            <pc:sldMk cId="1519874409" sldId="10465"/>
            <ac:spMk id="69" creationId="{DA89BA4E-15F3-45D7-AC53-C7B00BDF69BA}"/>
          </ac:spMkLst>
        </pc:spChg>
        <pc:spChg chg="del">
          <ac:chgData name="Aude Van de WIELE" userId="7317e673-04dd-415c-a4d7-718682339b40" providerId="ADAL" clId="{80D4E734-020D-4C1F-A028-1B9E9B483F9A}" dt="2021-05-24T11:28:58.711" v="2267" actId="478"/>
          <ac:spMkLst>
            <pc:docMk/>
            <pc:sldMk cId="1519874409" sldId="10465"/>
            <ac:spMk id="70" creationId="{1C84C3EF-8C31-4EE7-872D-C166B49C2FF4}"/>
          </ac:spMkLst>
        </pc:spChg>
        <pc:spChg chg="del">
          <ac:chgData name="Aude Van de WIELE" userId="7317e673-04dd-415c-a4d7-718682339b40" providerId="ADAL" clId="{80D4E734-020D-4C1F-A028-1B9E9B483F9A}" dt="2021-05-24T11:28:58.711" v="2267" actId="478"/>
          <ac:spMkLst>
            <pc:docMk/>
            <pc:sldMk cId="1519874409" sldId="10465"/>
            <ac:spMk id="72" creationId="{EBB284DA-4049-4637-8581-206F535B6594}"/>
          </ac:spMkLst>
        </pc:spChg>
        <pc:spChg chg="mod">
          <ac:chgData name="Aude Van de WIELE" userId="7317e673-04dd-415c-a4d7-718682339b40" providerId="ADAL" clId="{80D4E734-020D-4C1F-A028-1B9E9B483F9A}" dt="2021-05-25T08:49:50.054" v="8727" actId="790"/>
          <ac:spMkLst>
            <pc:docMk/>
            <pc:sldMk cId="1519874409" sldId="10465"/>
            <ac:spMk id="75" creationId="{3B90C99E-5118-46A1-8F4B-BC0DCBD5F532}"/>
          </ac:spMkLst>
        </pc:spChg>
        <pc:spChg chg="mod">
          <ac:chgData name="Aude Van de WIELE" userId="7317e673-04dd-415c-a4d7-718682339b40" providerId="ADAL" clId="{80D4E734-020D-4C1F-A028-1B9E9B483F9A}" dt="2021-05-25T08:49:50.055" v="8728" actId="790"/>
          <ac:spMkLst>
            <pc:docMk/>
            <pc:sldMk cId="1519874409" sldId="10465"/>
            <ac:spMk id="78" creationId="{29A37347-61AA-4078-80BD-C960E43A81AF}"/>
          </ac:spMkLst>
        </pc:spChg>
        <pc:spChg chg="mod">
          <ac:chgData name="Aude Van de WIELE" userId="7317e673-04dd-415c-a4d7-718682339b40" providerId="ADAL" clId="{80D4E734-020D-4C1F-A028-1B9E9B483F9A}" dt="2021-05-25T08:49:50.057" v="8731" actId="790"/>
          <ac:spMkLst>
            <pc:docMk/>
            <pc:sldMk cId="1519874409" sldId="10465"/>
            <ac:spMk id="81" creationId="{21CC608C-B99A-4A42-9697-626D17010014}"/>
          </ac:spMkLst>
        </pc:spChg>
        <pc:spChg chg="mod">
          <ac:chgData name="Aude Van de WIELE" userId="7317e673-04dd-415c-a4d7-718682339b40" providerId="ADAL" clId="{80D4E734-020D-4C1F-A028-1B9E9B483F9A}" dt="2021-05-25T08:49:50.056" v="8729" actId="790"/>
          <ac:spMkLst>
            <pc:docMk/>
            <pc:sldMk cId="1519874409" sldId="10465"/>
            <ac:spMk id="87" creationId="{011A9D4A-70AD-43A5-9A8B-1BA37B50CD90}"/>
          </ac:spMkLst>
        </pc:spChg>
        <pc:spChg chg="mod">
          <ac:chgData name="Aude Van de WIELE" userId="7317e673-04dd-415c-a4d7-718682339b40" providerId="ADAL" clId="{80D4E734-020D-4C1F-A028-1B9E9B483F9A}" dt="2021-05-25T08:49:50.057" v="8730" actId="790"/>
          <ac:spMkLst>
            <pc:docMk/>
            <pc:sldMk cId="1519874409" sldId="10465"/>
            <ac:spMk id="92" creationId="{8AB39739-AED6-4791-9E02-58EE9F6AB505}"/>
          </ac:spMkLst>
        </pc:spChg>
        <pc:spChg chg="mod">
          <ac:chgData name="Aude Van de WIELE" userId="7317e673-04dd-415c-a4d7-718682339b40" providerId="ADAL" clId="{80D4E734-020D-4C1F-A028-1B9E9B483F9A}" dt="2021-05-25T08:49:50.047" v="8724" actId="790"/>
          <ac:spMkLst>
            <pc:docMk/>
            <pc:sldMk cId="1519874409" sldId="10465"/>
            <ac:spMk id="94" creationId="{BF59A564-3768-4FD0-BB89-C2C9D89D7D6F}"/>
          </ac:spMkLst>
        </pc:spChg>
        <pc:spChg chg="mod">
          <ac:chgData name="Aude Van de WIELE" userId="7317e673-04dd-415c-a4d7-718682339b40" providerId="ADAL" clId="{80D4E734-020D-4C1F-A028-1B9E9B483F9A}" dt="2021-05-25T08:49:50.058" v="8732" actId="790"/>
          <ac:spMkLst>
            <pc:docMk/>
            <pc:sldMk cId="1519874409" sldId="10465"/>
            <ac:spMk id="96" creationId="{CE4E2441-955C-4882-BD20-B9505DC3A971}"/>
          </ac:spMkLst>
        </pc:spChg>
        <pc:spChg chg="mod">
          <ac:chgData name="Aude Van de WIELE" userId="7317e673-04dd-415c-a4d7-718682339b40" providerId="ADAL" clId="{80D4E734-020D-4C1F-A028-1B9E9B483F9A}" dt="2021-05-25T14:41:23.786" v="12794" actId="20577"/>
          <ac:spMkLst>
            <pc:docMk/>
            <pc:sldMk cId="1519874409" sldId="10465"/>
            <ac:spMk id="97" creationId="{8FC70572-4538-4FAA-BEC9-F74E3EC477C1}"/>
          </ac:spMkLst>
        </pc:spChg>
        <pc:spChg chg="mod">
          <ac:chgData name="Aude Van de WIELE" userId="7317e673-04dd-415c-a4d7-718682339b40" providerId="ADAL" clId="{80D4E734-020D-4C1F-A028-1B9E9B483F9A}" dt="2021-05-25T08:49:50.052" v="8726" actId="790"/>
          <ac:spMkLst>
            <pc:docMk/>
            <pc:sldMk cId="1519874409" sldId="10465"/>
            <ac:spMk id="98" creationId="{FC1F4A9D-DB6A-4376-88B8-66395C2A5202}"/>
          </ac:spMkLst>
        </pc:spChg>
        <pc:spChg chg="mod">
          <ac:chgData name="Aude Van de WIELE" userId="7317e673-04dd-415c-a4d7-718682339b40" providerId="ADAL" clId="{80D4E734-020D-4C1F-A028-1B9E9B483F9A}" dt="2021-05-25T08:49:50.059" v="8733" actId="790"/>
          <ac:spMkLst>
            <pc:docMk/>
            <pc:sldMk cId="1519874409" sldId="10465"/>
            <ac:spMk id="99" creationId="{A3D680AA-841F-4FE7-9115-FEE6A855B5C5}"/>
          </ac:spMkLst>
        </pc:spChg>
        <pc:spChg chg="del">
          <ac:chgData name="Aude Van de WIELE" userId="7317e673-04dd-415c-a4d7-718682339b40" providerId="ADAL" clId="{80D4E734-020D-4C1F-A028-1B9E9B483F9A}" dt="2021-05-24T11:28:58.711" v="2267" actId="478"/>
          <ac:spMkLst>
            <pc:docMk/>
            <pc:sldMk cId="1519874409" sldId="10465"/>
            <ac:spMk id="100" creationId="{C3A9358C-94EE-4710-B0E3-5B8CA00D88D5}"/>
          </ac:spMkLst>
        </pc:spChg>
      </pc:sldChg>
      <pc:sldChg chg="modSp mod">
        <pc:chgData name="Aude Van de WIELE" userId="7317e673-04dd-415c-a4d7-718682339b40" providerId="ADAL" clId="{80D4E734-020D-4C1F-A028-1B9E9B483F9A}" dt="2021-05-25T07:55:52.841" v="6854" actId="114"/>
        <pc:sldMkLst>
          <pc:docMk/>
          <pc:sldMk cId="3286602149" sldId="10466"/>
        </pc:sldMkLst>
        <pc:spChg chg="mod">
          <ac:chgData name="Aude Van de WIELE" userId="7317e673-04dd-415c-a4d7-718682339b40" providerId="ADAL" clId="{80D4E734-020D-4C1F-A028-1B9E9B483F9A}" dt="2021-05-25T07:55:52.841" v="6854" actId="114"/>
          <ac:spMkLst>
            <pc:docMk/>
            <pc:sldMk cId="3286602149" sldId="10466"/>
            <ac:spMk id="73" creationId="{C04BD52F-AA2B-4CAE-B639-93262B0CFA81}"/>
          </ac:spMkLst>
        </pc:spChg>
      </pc:sldChg>
      <pc:sldChg chg="del">
        <pc:chgData name="Aude Van de WIELE" userId="7317e673-04dd-415c-a4d7-718682339b40" providerId="ADAL" clId="{80D4E734-020D-4C1F-A028-1B9E9B483F9A}" dt="2021-05-24T14:43:36.016" v="5265" actId="47"/>
        <pc:sldMkLst>
          <pc:docMk/>
          <pc:sldMk cId="2049462253" sldId="10467"/>
        </pc:sldMkLst>
      </pc:sldChg>
      <pc:sldChg chg="modSp del mod">
        <pc:chgData name="Aude Van de WIELE" userId="7317e673-04dd-415c-a4d7-718682339b40" providerId="ADAL" clId="{80D4E734-020D-4C1F-A028-1B9E9B483F9A}" dt="2021-05-24T14:43:36.016" v="5265" actId="47"/>
        <pc:sldMkLst>
          <pc:docMk/>
          <pc:sldMk cId="2750370863" sldId="10468"/>
        </pc:sldMkLst>
        <pc:spChg chg="mod">
          <ac:chgData name="Aude Van de WIELE" userId="7317e673-04dd-415c-a4d7-718682339b40" providerId="ADAL" clId="{80D4E734-020D-4C1F-A028-1B9E9B483F9A}" dt="2021-05-24T13:50:21.592" v="4268" actId="207"/>
          <ac:spMkLst>
            <pc:docMk/>
            <pc:sldMk cId="2750370863" sldId="10468"/>
            <ac:spMk id="2" creationId="{076A8F7F-F895-46CF-AE68-CFD9FFD3C71A}"/>
          </ac:spMkLst>
        </pc:spChg>
      </pc:sldChg>
      <pc:sldChg chg="modSp mod">
        <pc:chgData name="Aude Van de WIELE" userId="7317e673-04dd-415c-a4d7-718682339b40" providerId="ADAL" clId="{80D4E734-020D-4C1F-A028-1B9E9B483F9A}" dt="2021-05-25T09:29:04.383" v="9914" actId="207"/>
        <pc:sldMkLst>
          <pc:docMk/>
          <pc:sldMk cId="246696543" sldId="10470"/>
        </pc:sldMkLst>
        <pc:spChg chg="mod">
          <ac:chgData name="Aude Van de WIELE" userId="7317e673-04dd-415c-a4d7-718682339b40" providerId="ADAL" clId="{80D4E734-020D-4C1F-A028-1B9E9B483F9A}" dt="2021-05-25T08:49:51.097" v="9513" actId="790"/>
          <ac:spMkLst>
            <pc:docMk/>
            <pc:sldMk cId="246696543" sldId="10470"/>
            <ac:spMk id="2" creationId="{9BD2639D-DCC0-44D5-BA6B-7FD2B3FE6960}"/>
          </ac:spMkLst>
        </pc:spChg>
        <pc:spChg chg="mod">
          <ac:chgData name="Aude Van de WIELE" userId="7317e673-04dd-415c-a4d7-718682339b40" providerId="ADAL" clId="{80D4E734-020D-4C1F-A028-1B9E9B483F9A}" dt="2021-05-25T08:49:51.098" v="9514" actId="790"/>
          <ac:spMkLst>
            <pc:docMk/>
            <pc:sldMk cId="246696543" sldId="10470"/>
            <ac:spMk id="8" creationId="{AA3CDC90-54F7-480D-A0C8-E46C65C92BB6}"/>
          </ac:spMkLst>
        </pc:spChg>
        <pc:spChg chg="mod">
          <ac:chgData name="Aude Van de WIELE" userId="7317e673-04dd-415c-a4d7-718682339b40" providerId="ADAL" clId="{80D4E734-020D-4C1F-A028-1B9E9B483F9A}" dt="2021-05-25T08:49:51.099" v="9515" actId="790"/>
          <ac:spMkLst>
            <pc:docMk/>
            <pc:sldMk cId="246696543" sldId="10470"/>
            <ac:spMk id="9" creationId="{08DC229D-9D4E-4AD4-945F-1D13A2A073C1}"/>
          </ac:spMkLst>
        </pc:spChg>
        <pc:spChg chg="mod">
          <ac:chgData name="Aude Van de WIELE" userId="7317e673-04dd-415c-a4d7-718682339b40" providerId="ADAL" clId="{80D4E734-020D-4C1F-A028-1B9E9B483F9A}" dt="2021-05-25T08:49:51.102" v="9516" actId="790"/>
          <ac:spMkLst>
            <pc:docMk/>
            <pc:sldMk cId="246696543" sldId="10470"/>
            <ac:spMk id="29" creationId="{73115FFA-06D2-43F6-9A18-2172D29EC764}"/>
          </ac:spMkLst>
        </pc:spChg>
        <pc:spChg chg="mod">
          <ac:chgData name="Aude Van de WIELE" userId="7317e673-04dd-415c-a4d7-718682339b40" providerId="ADAL" clId="{80D4E734-020D-4C1F-A028-1B9E9B483F9A}" dt="2021-05-25T08:49:51.130" v="9533" actId="790"/>
          <ac:spMkLst>
            <pc:docMk/>
            <pc:sldMk cId="246696543" sldId="10470"/>
            <ac:spMk id="69" creationId="{6CC4A358-2A09-460F-8DE2-7FC6205936D8}"/>
          </ac:spMkLst>
        </pc:spChg>
        <pc:spChg chg="mod">
          <ac:chgData name="Aude Van de WIELE" userId="7317e673-04dd-415c-a4d7-718682339b40" providerId="ADAL" clId="{80D4E734-020D-4C1F-A028-1B9E9B483F9A}" dt="2021-05-25T08:49:51.131" v="9534" actId="790"/>
          <ac:spMkLst>
            <pc:docMk/>
            <pc:sldMk cId="246696543" sldId="10470"/>
            <ac:spMk id="70" creationId="{69512478-4F7C-4EB8-B587-69AC4EA2524C}"/>
          </ac:spMkLst>
        </pc:spChg>
        <pc:spChg chg="mod">
          <ac:chgData name="Aude Van de WIELE" userId="7317e673-04dd-415c-a4d7-718682339b40" providerId="ADAL" clId="{80D4E734-020D-4C1F-A028-1B9E9B483F9A}" dt="2021-05-25T08:49:51.103" v="9517" actId="790"/>
          <ac:spMkLst>
            <pc:docMk/>
            <pc:sldMk cId="246696543" sldId="10470"/>
            <ac:spMk id="71" creationId="{6D20AF9C-AD4E-4705-8646-82C3F902C567}"/>
          </ac:spMkLst>
        </pc:spChg>
        <pc:spChg chg="mod">
          <ac:chgData name="Aude Van de WIELE" userId="7317e673-04dd-415c-a4d7-718682339b40" providerId="ADAL" clId="{80D4E734-020D-4C1F-A028-1B9E9B483F9A}" dt="2021-05-25T08:49:51.105" v="9518" actId="790"/>
          <ac:spMkLst>
            <pc:docMk/>
            <pc:sldMk cId="246696543" sldId="10470"/>
            <ac:spMk id="74" creationId="{BFA5C3C2-52D4-4D73-B267-0DDE883B9F06}"/>
          </ac:spMkLst>
        </pc:spChg>
        <pc:spChg chg="mod">
          <ac:chgData name="Aude Van de WIELE" userId="7317e673-04dd-415c-a4d7-718682339b40" providerId="ADAL" clId="{80D4E734-020D-4C1F-A028-1B9E9B483F9A}" dt="2021-05-25T08:49:51.106" v="9519" actId="790"/>
          <ac:spMkLst>
            <pc:docMk/>
            <pc:sldMk cId="246696543" sldId="10470"/>
            <ac:spMk id="75" creationId="{FD51F5E5-2F67-4B93-A14E-0F721FD83409}"/>
          </ac:spMkLst>
        </pc:spChg>
        <pc:spChg chg="mod">
          <ac:chgData name="Aude Van de WIELE" userId="7317e673-04dd-415c-a4d7-718682339b40" providerId="ADAL" clId="{80D4E734-020D-4C1F-A028-1B9E9B483F9A}" dt="2021-05-25T08:49:51.107" v="9520" actId="790"/>
          <ac:spMkLst>
            <pc:docMk/>
            <pc:sldMk cId="246696543" sldId="10470"/>
            <ac:spMk id="76" creationId="{DC7B39B4-6883-43E3-9131-411630C9A092}"/>
          </ac:spMkLst>
        </pc:spChg>
        <pc:spChg chg="mod">
          <ac:chgData name="Aude Van de WIELE" userId="7317e673-04dd-415c-a4d7-718682339b40" providerId="ADAL" clId="{80D4E734-020D-4C1F-A028-1B9E9B483F9A}" dt="2021-05-25T08:49:51.108" v="9521" actId="790"/>
          <ac:spMkLst>
            <pc:docMk/>
            <pc:sldMk cId="246696543" sldId="10470"/>
            <ac:spMk id="77" creationId="{4A69330F-8915-4BF0-BEF4-0906E0F9C36E}"/>
          </ac:spMkLst>
        </pc:spChg>
        <pc:spChg chg="mod">
          <ac:chgData name="Aude Van de WIELE" userId="7317e673-04dd-415c-a4d7-718682339b40" providerId="ADAL" clId="{80D4E734-020D-4C1F-A028-1B9E9B483F9A}" dt="2021-05-25T08:49:51.109" v="9522" actId="790"/>
          <ac:spMkLst>
            <pc:docMk/>
            <pc:sldMk cId="246696543" sldId="10470"/>
            <ac:spMk id="79" creationId="{926410C2-A1F6-421F-BC6B-E17012BC18FC}"/>
          </ac:spMkLst>
        </pc:spChg>
        <pc:spChg chg="mod">
          <ac:chgData name="Aude Van de WIELE" userId="7317e673-04dd-415c-a4d7-718682339b40" providerId="ADAL" clId="{80D4E734-020D-4C1F-A028-1B9E9B483F9A}" dt="2021-05-25T08:49:51.111" v="9523" actId="790"/>
          <ac:spMkLst>
            <pc:docMk/>
            <pc:sldMk cId="246696543" sldId="10470"/>
            <ac:spMk id="81" creationId="{41C7D8BC-B160-452B-A653-FE8C817C0DE5}"/>
          </ac:spMkLst>
        </pc:spChg>
        <pc:spChg chg="mod">
          <ac:chgData name="Aude Van de WIELE" userId="7317e673-04dd-415c-a4d7-718682339b40" providerId="ADAL" clId="{80D4E734-020D-4C1F-A028-1B9E9B483F9A}" dt="2021-05-25T08:49:51.112" v="9524" actId="790"/>
          <ac:spMkLst>
            <pc:docMk/>
            <pc:sldMk cId="246696543" sldId="10470"/>
            <ac:spMk id="83" creationId="{092273F5-8613-4F3F-B694-87D17D60CA3A}"/>
          </ac:spMkLst>
        </pc:spChg>
        <pc:spChg chg="mod">
          <ac:chgData name="Aude Van de WIELE" userId="7317e673-04dd-415c-a4d7-718682339b40" providerId="ADAL" clId="{80D4E734-020D-4C1F-A028-1B9E9B483F9A}" dt="2021-05-25T08:49:51.113" v="9525" actId="790"/>
          <ac:spMkLst>
            <pc:docMk/>
            <pc:sldMk cId="246696543" sldId="10470"/>
            <ac:spMk id="84" creationId="{E0D6334A-71C5-4811-B3B9-4A3926681EE1}"/>
          </ac:spMkLst>
        </pc:spChg>
        <pc:spChg chg="mod">
          <ac:chgData name="Aude Van de WIELE" userId="7317e673-04dd-415c-a4d7-718682339b40" providerId="ADAL" clId="{80D4E734-020D-4C1F-A028-1B9E9B483F9A}" dt="2021-05-25T08:49:51.114" v="9526" actId="790"/>
          <ac:spMkLst>
            <pc:docMk/>
            <pc:sldMk cId="246696543" sldId="10470"/>
            <ac:spMk id="85" creationId="{8691ED70-943C-4072-BAEC-A95B12AAFE00}"/>
          </ac:spMkLst>
        </pc:spChg>
        <pc:spChg chg="mod">
          <ac:chgData name="Aude Van de WIELE" userId="7317e673-04dd-415c-a4d7-718682339b40" providerId="ADAL" clId="{80D4E734-020D-4C1F-A028-1B9E9B483F9A}" dt="2021-05-25T08:49:51.115" v="9527" actId="790"/>
          <ac:spMkLst>
            <pc:docMk/>
            <pc:sldMk cId="246696543" sldId="10470"/>
            <ac:spMk id="98" creationId="{6337AF24-4179-4310-9455-DAE4CFDCDABB}"/>
          </ac:spMkLst>
        </pc:spChg>
        <pc:spChg chg="mod">
          <ac:chgData name="Aude Van de WIELE" userId="7317e673-04dd-415c-a4d7-718682339b40" providerId="ADAL" clId="{80D4E734-020D-4C1F-A028-1B9E9B483F9A}" dt="2021-05-25T08:49:51.121" v="9528" actId="790"/>
          <ac:spMkLst>
            <pc:docMk/>
            <pc:sldMk cId="246696543" sldId="10470"/>
            <ac:spMk id="104" creationId="{306E4210-9494-45F0-BCA5-5DE31A995A05}"/>
          </ac:spMkLst>
        </pc:spChg>
        <pc:spChg chg="mod">
          <ac:chgData name="Aude Van de WIELE" userId="7317e673-04dd-415c-a4d7-718682339b40" providerId="ADAL" clId="{80D4E734-020D-4C1F-A028-1B9E9B483F9A}" dt="2021-05-25T08:49:51.122" v="9529" actId="790"/>
          <ac:spMkLst>
            <pc:docMk/>
            <pc:sldMk cId="246696543" sldId="10470"/>
            <ac:spMk id="105" creationId="{BC8E7AD7-ACE7-4907-9606-689CA2783FBF}"/>
          </ac:spMkLst>
        </pc:spChg>
        <pc:spChg chg="mod">
          <ac:chgData name="Aude Van de WIELE" userId="7317e673-04dd-415c-a4d7-718682339b40" providerId="ADAL" clId="{80D4E734-020D-4C1F-A028-1B9E9B483F9A}" dt="2021-05-25T08:49:51.123" v="9530" actId="790"/>
          <ac:spMkLst>
            <pc:docMk/>
            <pc:sldMk cId="246696543" sldId="10470"/>
            <ac:spMk id="106" creationId="{D2ED2DB6-16B9-47C7-861D-66CE6ABD6994}"/>
          </ac:spMkLst>
        </pc:spChg>
        <pc:spChg chg="mod">
          <ac:chgData name="Aude Van de WIELE" userId="7317e673-04dd-415c-a4d7-718682339b40" providerId="ADAL" clId="{80D4E734-020D-4C1F-A028-1B9E9B483F9A}" dt="2021-05-25T09:29:04.383" v="9914" actId="207"/>
          <ac:spMkLst>
            <pc:docMk/>
            <pc:sldMk cId="246696543" sldId="10470"/>
            <ac:spMk id="107" creationId="{C3FE6728-B471-4469-822F-E6CCF454F4E3}"/>
          </ac:spMkLst>
        </pc:spChg>
        <pc:spChg chg="mod">
          <ac:chgData name="Aude Van de WIELE" userId="7317e673-04dd-415c-a4d7-718682339b40" providerId="ADAL" clId="{80D4E734-020D-4C1F-A028-1B9E9B483F9A}" dt="2021-05-25T08:49:51.126" v="9532" actId="790"/>
          <ac:spMkLst>
            <pc:docMk/>
            <pc:sldMk cId="246696543" sldId="10470"/>
            <ac:spMk id="108" creationId="{74F08308-F3AF-47D3-926C-68B9BC30C142}"/>
          </ac:spMkLst>
        </pc:spChg>
        <pc:spChg chg="mod">
          <ac:chgData name="Aude Van de WIELE" userId="7317e673-04dd-415c-a4d7-718682339b40" providerId="ADAL" clId="{80D4E734-020D-4C1F-A028-1B9E9B483F9A}" dt="2021-05-25T08:49:51.132" v="9535" actId="790"/>
          <ac:spMkLst>
            <pc:docMk/>
            <pc:sldMk cId="246696543" sldId="10470"/>
            <ac:spMk id="109" creationId="{900E0DB4-63DE-411E-95D1-CDDE6BD22BEC}"/>
          </ac:spMkLst>
        </pc:spChg>
        <pc:spChg chg="mod">
          <ac:chgData name="Aude Van de WIELE" userId="7317e673-04dd-415c-a4d7-718682339b40" providerId="ADAL" clId="{80D4E734-020D-4C1F-A028-1B9E9B483F9A}" dt="2021-05-25T08:49:51.133" v="9536" actId="790"/>
          <ac:spMkLst>
            <pc:docMk/>
            <pc:sldMk cId="246696543" sldId="10470"/>
            <ac:spMk id="110" creationId="{FDC6DE17-F845-4ACC-AF9C-2831EC5B38A6}"/>
          </ac:spMkLst>
        </pc:spChg>
        <pc:spChg chg="mod">
          <ac:chgData name="Aude Van de WIELE" userId="7317e673-04dd-415c-a4d7-718682339b40" providerId="ADAL" clId="{80D4E734-020D-4C1F-A028-1B9E9B483F9A}" dt="2021-05-25T08:49:51.134" v="9537" actId="790"/>
          <ac:spMkLst>
            <pc:docMk/>
            <pc:sldMk cId="246696543" sldId="10470"/>
            <ac:spMk id="114" creationId="{D24ADC21-3DB4-48FF-9089-1AC595AD08C2}"/>
          </ac:spMkLst>
        </pc:spChg>
        <pc:spChg chg="mod">
          <ac:chgData name="Aude Van de WIELE" userId="7317e673-04dd-415c-a4d7-718682339b40" providerId="ADAL" clId="{80D4E734-020D-4C1F-A028-1B9E9B483F9A}" dt="2021-05-25T08:49:51.135" v="9538" actId="790"/>
          <ac:spMkLst>
            <pc:docMk/>
            <pc:sldMk cId="246696543" sldId="10470"/>
            <ac:spMk id="115" creationId="{89D31E51-F145-4E23-B085-988A1B42FF11}"/>
          </ac:spMkLst>
        </pc:spChg>
        <pc:spChg chg="mod">
          <ac:chgData name="Aude Van de WIELE" userId="7317e673-04dd-415c-a4d7-718682339b40" providerId="ADAL" clId="{80D4E734-020D-4C1F-A028-1B9E9B483F9A}" dt="2021-05-25T08:49:51.136" v="9539" actId="790"/>
          <ac:spMkLst>
            <pc:docMk/>
            <pc:sldMk cId="246696543" sldId="10470"/>
            <ac:spMk id="116" creationId="{D12CBC38-01FD-43CD-9717-BA62835105E9}"/>
          </ac:spMkLst>
        </pc:spChg>
        <pc:spChg chg="mod">
          <ac:chgData name="Aude Van de WIELE" userId="7317e673-04dd-415c-a4d7-718682339b40" providerId="ADAL" clId="{80D4E734-020D-4C1F-A028-1B9E9B483F9A}" dt="2021-05-25T08:49:51.139" v="9540" actId="790"/>
          <ac:spMkLst>
            <pc:docMk/>
            <pc:sldMk cId="246696543" sldId="10470"/>
            <ac:spMk id="125" creationId="{D3B4B401-D104-4A5F-B626-0FAE8929CF61}"/>
          </ac:spMkLst>
        </pc:spChg>
      </pc:sldChg>
      <pc:sldChg chg="addSp modSp mod">
        <pc:chgData name="Aude Van de WIELE" userId="7317e673-04dd-415c-a4d7-718682339b40" providerId="ADAL" clId="{80D4E734-020D-4C1F-A028-1B9E9B483F9A}" dt="2021-05-25T09:25:04.417" v="9913" actId="20577"/>
        <pc:sldMkLst>
          <pc:docMk/>
          <pc:sldMk cId="3771311343" sldId="10471"/>
        </pc:sldMkLst>
        <pc:spChg chg="mod">
          <ac:chgData name="Aude Van de WIELE" userId="7317e673-04dd-415c-a4d7-718682339b40" providerId="ADAL" clId="{80D4E734-020D-4C1F-A028-1B9E9B483F9A}" dt="2021-05-25T08:49:51.006" v="9433" actId="790"/>
          <ac:spMkLst>
            <pc:docMk/>
            <pc:sldMk cId="3771311343" sldId="10471"/>
            <ac:spMk id="3" creationId="{BF7EC08C-D333-4AEB-BF4D-1846F2A4EA5F}"/>
          </ac:spMkLst>
        </pc:spChg>
        <pc:spChg chg="mod">
          <ac:chgData name="Aude Van de WIELE" userId="7317e673-04dd-415c-a4d7-718682339b40" providerId="ADAL" clId="{80D4E734-020D-4C1F-A028-1B9E9B483F9A}" dt="2021-05-25T08:49:51.007" v="9434" actId="790"/>
          <ac:spMkLst>
            <pc:docMk/>
            <pc:sldMk cId="3771311343" sldId="10471"/>
            <ac:spMk id="4" creationId="{F56E6202-8C73-436F-ABC3-79B9E1D041C9}"/>
          </ac:spMkLst>
        </pc:spChg>
        <pc:spChg chg="mod">
          <ac:chgData name="Aude Van de WIELE" userId="7317e673-04dd-415c-a4d7-718682339b40" providerId="ADAL" clId="{80D4E734-020D-4C1F-A028-1B9E9B483F9A}" dt="2021-05-25T08:49:51.069" v="9486" actId="790"/>
          <ac:spMkLst>
            <pc:docMk/>
            <pc:sldMk cId="3771311343" sldId="10471"/>
            <ac:spMk id="5" creationId="{C8A4A222-42CB-4AE9-9CCE-1E65EEBAD3E3}"/>
          </ac:spMkLst>
        </pc:spChg>
        <pc:spChg chg="mod">
          <ac:chgData name="Aude Van de WIELE" userId="7317e673-04dd-415c-a4d7-718682339b40" providerId="ADAL" clId="{80D4E734-020D-4C1F-A028-1B9E9B483F9A}" dt="2021-05-25T09:24:56.435" v="9895" actId="20577"/>
          <ac:spMkLst>
            <pc:docMk/>
            <pc:sldMk cId="3771311343" sldId="10471"/>
            <ac:spMk id="7" creationId="{89660A66-5421-4DE8-A82F-E1A343298E85}"/>
          </ac:spMkLst>
        </pc:spChg>
        <pc:spChg chg="mod">
          <ac:chgData name="Aude Van de WIELE" userId="7317e673-04dd-415c-a4d7-718682339b40" providerId="ADAL" clId="{80D4E734-020D-4C1F-A028-1B9E9B483F9A}" dt="2021-05-25T08:49:51.009" v="9436" actId="790"/>
          <ac:spMkLst>
            <pc:docMk/>
            <pc:sldMk cId="3771311343" sldId="10471"/>
            <ac:spMk id="31" creationId="{6833583F-9417-4D83-8D65-EB5BC3514609}"/>
          </ac:spMkLst>
        </pc:spChg>
        <pc:spChg chg="mod">
          <ac:chgData name="Aude Van de WIELE" userId="7317e673-04dd-415c-a4d7-718682339b40" providerId="ADAL" clId="{80D4E734-020D-4C1F-A028-1B9E9B483F9A}" dt="2021-05-25T08:49:51.008" v="9435" actId="790"/>
          <ac:spMkLst>
            <pc:docMk/>
            <pc:sldMk cId="3771311343" sldId="10471"/>
            <ac:spMk id="61" creationId="{429B4092-7068-4B9D-A454-B1CB8E51857A}"/>
          </ac:spMkLst>
        </pc:spChg>
        <pc:spChg chg="mod">
          <ac:chgData name="Aude Van de WIELE" userId="7317e673-04dd-415c-a4d7-718682339b40" providerId="ADAL" clId="{80D4E734-020D-4C1F-A028-1B9E9B483F9A}" dt="2021-05-25T08:49:51.010" v="9437" actId="790"/>
          <ac:spMkLst>
            <pc:docMk/>
            <pc:sldMk cId="3771311343" sldId="10471"/>
            <ac:spMk id="62" creationId="{C3BC7508-A876-408E-9AA5-D060235200CF}"/>
          </ac:spMkLst>
        </pc:spChg>
        <pc:spChg chg="mod">
          <ac:chgData name="Aude Van de WIELE" userId="7317e673-04dd-415c-a4d7-718682339b40" providerId="ADAL" clId="{80D4E734-020D-4C1F-A028-1B9E9B483F9A}" dt="2021-05-25T08:49:51.011" v="9438" actId="790"/>
          <ac:spMkLst>
            <pc:docMk/>
            <pc:sldMk cId="3771311343" sldId="10471"/>
            <ac:spMk id="63" creationId="{154F5C8D-107C-461F-8E2E-5C0572ACEA23}"/>
          </ac:spMkLst>
        </pc:spChg>
        <pc:spChg chg="mod">
          <ac:chgData name="Aude Van de WIELE" userId="7317e673-04dd-415c-a4d7-718682339b40" providerId="ADAL" clId="{80D4E734-020D-4C1F-A028-1B9E9B483F9A}" dt="2021-05-25T08:49:51.012" v="9439" actId="790"/>
          <ac:spMkLst>
            <pc:docMk/>
            <pc:sldMk cId="3771311343" sldId="10471"/>
            <ac:spMk id="65" creationId="{DAEC1D80-2DE8-42A1-B27A-ED68DD00D80A}"/>
          </ac:spMkLst>
        </pc:spChg>
        <pc:spChg chg="mod">
          <ac:chgData name="Aude Van de WIELE" userId="7317e673-04dd-415c-a4d7-718682339b40" providerId="ADAL" clId="{80D4E734-020D-4C1F-A028-1B9E9B483F9A}" dt="2021-05-25T08:49:51.013" v="9440" actId="790"/>
          <ac:spMkLst>
            <pc:docMk/>
            <pc:sldMk cId="3771311343" sldId="10471"/>
            <ac:spMk id="66" creationId="{549CB0F9-0921-4F83-8BE1-33B1376C70AD}"/>
          </ac:spMkLst>
        </pc:spChg>
        <pc:spChg chg="mod">
          <ac:chgData name="Aude Van de WIELE" userId="7317e673-04dd-415c-a4d7-718682339b40" providerId="ADAL" clId="{80D4E734-020D-4C1F-A028-1B9E9B483F9A}" dt="2021-05-25T08:49:51.014" v="9441" actId="790"/>
          <ac:spMkLst>
            <pc:docMk/>
            <pc:sldMk cId="3771311343" sldId="10471"/>
            <ac:spMk id="68" creationId="{BC6C384D-6D48-4F72-9CCC-A3090247DEF3}"/>
          </ac:spMkLst>
        </pc:spChg>
        <pc:spChg chg="mod">
          <ac:chgData name="Aude Van de WIELE" userId="7317e673-04dd-415c-a4d7-718682339b40" providerId="ADAL" clId="{80D4E734-020D-4C1F-A028-1B9E9B483F9A}" dt="2021-05-25T08:49:51.015" v="9442" actId="790"/>
          <ac:spMkLst>
            <pc:docMk/>
            <pc:sldMk cId="3771311343" sldId="10471"/>
            <ac:spMk id="69" creationId="{3D97D249-03E2-45B9-9843-9C134F3CD172}"/>
          </ac:spMkLst>
        </pc:spChg>
        <pc:spChg chg="mod">
          <ac:chgData name="Aude Van de WIELE" userId="7317e673-04dd-415c-a4d7-718682339b40" providerId="ADAL" clId="{80D4E734-020D-4C1F-A028-1B9E9B483F9A}" dt="2021-05-25T08:49:51.016" v="9443" actId="790"/>
          <ac:spMkLst>
            <pc:docMk/>
            <pc:sldMk cId="3771311343" sldId="10471"/>
            <ac:spMk id="70" creationId="{ED1757FD-82F7-4472-914B-403DC08243D6}"/>
          </ac:spMkLst>
        </pc:spChg>
        <pc:spChg chg="mod">
          <ac:chgData name="Aude Van de WIELE" userId="7317e673-04dd-415c-a4d7-718682339b40" providerId="ADAL" clId="{80D4E734-020D-4C1F-A028-1B9E9B483F9A}" dt="2021-05-25T08:49:51.016" v="9444" actId="790"/>
          <ac:spMkLst>
            <pc:docMk/>
            <pc:sldMk cId="3771311343" sldId="10471"/>
            <ac:spMk id="71" creationId="{97222C63-D3F5-4F71-B21E-5ADF2F49728A}"/>
          </ac:spMkLst>
        </pc:spChg>
        <pc:spChg chg="mod">
          <ac:chgData name="Aude Van de WIELE" userId="7317e673-04dd-415c-a4d7-718682339b40" providerId="ADAL" clId="{80D4E734-020D-4C1F-A028-1B9E9B483F9A}" dt="2021-05-25T08:49:51.017" v="9445" actId="790"/>
          <ac:spMkLst>
            <pc:docMk/>
            <pc:sldMk cId="3771311343" sldId="10471"/>
            <ac:spMk id="74" creationId="{07A4452F-EC98-4B4B-AF01-D6E89D1240D3}"/>
          </ac:spMkLst>
        </pc:spChg>
        <pc:spChg chg="mod">
          <ac:chgData name="Aude Van de WIELE" userId="7317e673-04dd-415c-a4d7-718682339b40" providerId="ADAL" clId="{80D4E734-020D-4C1F-A028-1B9E9B483F9A}" dt="2021-05-25T08:49:51.055" v="9480" actId="790"/>
          <ac:spMkLst>
            <pc:docMk/>
            <pc:sldMk cId="3771311343" sldId="10471"/>
            <ac:spMk id="82" creationId="{F4E4B764-4651-4F52-BF5F-76CA304A2CB1}"/>
          </ac:spMkLst>
        </pc:spChg>
        <pc:spChg chg="mod">
          <ac:chgData name="Aude Van de WIELE" userId="7317e673-04dd-415c-a4d7-718682339b40" providerId="ADAL" clId="{80D4E734-020D-4C1F-A028-1B9E9B483F9A}" dt="2021-05-25T08:49:51.057" v="9481" actId="790"/>
          <ac:spMkLst>
            <pc:docMk/>
            <pc:sldMk cId="3771311343" sldId="10471"/>
            <ac:spMk id="83" creationId="{D51A1D5E-455C-4169-8151-BC965C55A728}"/>
          </ac:spMkLst>
        </pc:spChg>
        <pc:spChg chg="mod">
          <ac:chgData name="Aude Van de WIELE" userId="7317e673-04dd-415c-a4d7-718682339b40" providerId="ADAL" clId="{80D4E734-020D-4C1F-A028-1B9E9B483F9A}" dt="2021-05-25T08:49:51.058" v="9482" actId="790"/>
          <ac:spMkLst>
            <pc:docMk/>
            <pc:sldMk cId="3771311343" sldId="10471"/>
            <ac:spMk id="85" creationId="{D05E3B6F-2AF2-44E5-9A62-A145B4EF039C}"/>
          </ac:spMkLst>
        </pc:spChg>
        <pc:spChg chg="mod">
          <ac:chgData name="Aude Van de WIELE" userId="7317e673-04dd-415c-a4d7-718682339b40" providerId="ADAL" clId="{80D4E734-020D-4C1F-A028-1B9E9B483F9A}" dt="2021-05-25T08:49:51.060" v="9483" actId="790"/>
          <ac:spMkLst>
            <pc:docMk/>
            <pc:sldMk cId="3771311343" sldId="10471"/>
            <ac:spMk id="86" creationId="{70006939-4845-44E0-8FFF-B0057E2B3972}"/>
          </ac:spMkLst>
        </pc:spChg>
        <pc:spChg chg="mod">
          <ac:chgData name="Aude Van de WIELE" userId="7317e673-04dd-415c-a4d7-718682339b40" providerId="ADAL" clId="{80D4E734-020D-4C1F-A028-1B9E9B483F9A}" dt="2021-05-25T09:17:37.157" v="9888" actId="20577"/>
          <ac:spMkLst>
            <pc:docMk/>
            <pc:sldMk cId="3771311343" sldId="10471"/>
            <ac:spMk id="87" creationId="{470D8735-5753-40CE-B606-8B4E451A1A36}"/>
          </ac:spMkLst>
        </pc:spChg>
        <pc:spChg chg="mod">
          <ac:chgData name="Aude Van de WIELE" userId="7317e673-04dd-415c-a4d7-718682339b40" providerId="ADAL" clId="{80D4E734-020D-4C1F-A028-1B9E9B483F9A}" dt="2021-05-25T08:49:51.063" v="9485" actId="790"/>
          <ac:spMkLst>
            <pc:docMk/>
            <pc:sldMk cId="3771311343" sldId="10471"/>
            <ac:spMk id="88" creationId="{413CE789-E0ED-4212-82D0-2EAD3CD13AD7}"/>
          </ac:spMkLst>
        </pc:spChg>
        <pc:spChg chg="mod">
          <ac:chgData name="Aude Van de WIELE" userId="7317e673-04dd-415c-a4d7-718682339b40" providerId="ADAL" clId="{80D4E734-020D-4C1F-A028-1B9E9B483F9A}" dt="2021-05-25T08:49:51.070" v="9487" actId="790"/>
          <ac:spMkLst>
            <pc:docMk/>
            <pc:sldMk cId="3771311343" sldId="10471"/>
            <ac:spMk id="89" creationId="{28AF8B66-2A65-4362-87E5-B0E235F35B9D}"/>
          </ac:spMkLst>
        </pc:spChg>
        <pc:spChg chg="mod">
          <ac:chgData name="Aude Van de WIELE" userId="7317e673-04dd-415c-a4d7-718682339b40" providerId="ADAL" clId="{80D4E734-020D-4C1F-A028-1B9E9B483F9A}" dt="2021-05-25T08:49:51.018" v="9446" actId="790"/>
          <ac:spMkLst>
            <pc:docMk/>
            <pc:sldMk cId="3771311343" sldId="10471"/>
            <ac:spMk id="90" creationId="{41881290-9A30-4E7A-9BC1-876CB1F8A385}"/>
          </ac:spMkLst>
        </pc:spChg>
        <pc:spChg chg="mod">
          <ac:chgData name="Aude Van de WIELE" userId="7317e673-04dd-415c-a4d7-718682339b40" providerId="ADAL" clId="{80D4E734-020D-4C1F-A028-1B9E9B483F9A}" dt="2021-05-25T08:49:51.019" v="9447" actId="790"/>
          <ac:spMkLst>
            <pc:docMk/>
            <pc:sldMk cId="3771311343" sldId="10471"/>
            <ac:spMk id="91" creationId="{B12DC479-034F-454F-AAA8-8EF5CFD02807}"/>
          </ac:spMkLst>
        </pc:spChg>
        <pc:spChg chg="mod">
          <ac:chgData name="Aude Van de WIELE" userId="7317e673-04dd-415c-a4d7-718682339b40" providerId="ADAL" clId="{80D4E734-020D-4C1F-A028-1B9E9B483F9A}" dt="2021-05-25T08:49:51.019" v="9448" actId="790"/>
          <ac:spMkLst>
            <pc:docMk/>
            <pc:sldMk cId="3771311343" sldId="10471"/>
            <ac:spMk id="92" creationId="{76A58873-F028-44AD-B036-6014AFE98DAC}"/>
          </ac:spMkLst>
        </pc:spChg>
        <pc:spChg chg="mod">
          <ac:chgData name="Aude Van de WIELE" userId="7317e673-04dd-415c-a4d7-718682339b40" providerId="ADAL" clId="{80D4E734-020D-4C1F-A028-1B9E9B483F9A}" dt="2021-05-25T08:49:51.021" v="9449" actId="790"/>
          <ac:spMkLst>
            <pc:docMk/>
            <pc:sldMk cId="3771311343" sldId="10471"/>
            <ac:spMk id="93" creationId="{3B9743A1-5ED2-4F4C-BB6D-275074013264}"/>
          </ac:spMkLst>
        </pc:spChg>
        <pc:spChg chg="mod">
          <ac:chgData name="Aude Van de WIELE" userId="7317e673-04dd-415c-a4d7-718682339b40" providerId="ADAL" clId="{80D4E734-020D-4C1F-A028-1B9E9B483F9A}" dt="2021-05-25T08:49:51.082" v="9501" actId="790"/>
          <ac:spMkLst>
            <pc:docMk/>
            <pc:sldMk cId="3771311343" sldId="10471"/>
            <ac:spMk id="94" creationId="{97DE17B6-9FE7-4223-89B2-30E2BE4EF922}"/>
          </ac:spMkLst>
        </pc:spChg>
        <pc:spChg chg="mod">
          <ac:chgData name="Aude Van de WIELE" userId="7317e673-04dd-415c-a4d7-718682339b40" providerId="ADAL" clId="{80D4E734-020D-4C1F-A028-1B9E9B483F9A}" dt="2021-05-25T08:49:51.083" v="9502" actId="790"/>
          <ac:spMkLst>
            <pc:docMk/>
            <pc:sldMk cId="3771311343" sldId="10471"/>
            <ac:spMk id="95" creationId="{0D1D9248-8345-479A-BED0-F9B1DDFA7876}"/>
          </ac:spMkLst>
        </pc:spChg>
        <pc:spChg chg="mod">
          <ac:chgData name="Aude Van de WIELE" userId="7317e673-04dd-415c-a4d7-718682339b40" providerId="ADAL" clId="{80D4E734-020D-4C1F-A028-1B9E9B483F9A}" dt="2021-05-25T08:49:51.023" v="9450" actId="790"/>
          <ac:spMkLst>
            <pc:docMk/>
            <pc:sldMk cId="3771311343" sldId="10471"/>
            <ac:spMk id="96" creationId="{D2C43358-406F-4E70-BACB-F67E0A6CC3F2}"/>
          </ac:spMkLst>
        </pc:spChg>
        <pc:spChg chg="mod">
          <ac:chgData name="Aude Van de WIELE" userId="7317e673-04dd-415c-a4d7-718682339b40" providerId="ADAL" clId="{80D4E734-020D-4C1F-A028-1B9E9B483F9A}" dt="2021-05-25T08:49:51.085" v="9503" actId="790"/>
          <ac:spMkLst>
            <pc:docMk/>
            <pc:sldMk cId="3771311343" sldId="10471"/>
            <ac:spMk id="97" creationId="{E3203FCA-9AD2-4A9C-BEC4-FD7951EE5137}"/>
          </ac:spMkLst>
        </pc:spChg>
        <pc:spChg chg="add mod">
          <ac:chgData name="Aude Van de WIELE" userId="7317e673-04dd-415c-a4d7-718682339b40" providerId="ADAL" clId="{80D4E734-020D-4C1F-A028-1B9E9B483F9A}" dt="2021-05-25T08:49:51.086" v="9504" actId="790"/>
          <ac:spMkLst>
            <pc:docMk/>
            <pc:sldMk cId="3771311343" sldId="10471"/>
            <ac:spMk id="98" creationId="{0A9027CD-D049-4F63-918A-3F35757DCF8F}"/>
          </ac:spMkLst>
        </pc:spChg>
        <pc:spChg chg="add mod">
          <ac:chgData name="Aude Van de WIELE" userId="7317e673-04dd-415c-a4d7-718682339b40" providerId="ADAL" clId="{80D4E734-020D-4C1F-A028-1B9E9B483F9A}" dt="2021-05-25T08:49:51.087" v="9505" actId="790"/>
          <ac:spMkLst>
            <pc:docMk/>
            <pc:sldMk cId="3771311343" sldId="10471"/>
            <ac:spMk id="99" creationId="{A62C4207-2FD6-43C0-BB9D-9372AE0C04D4}"/>
          </ac:spMkLst>
        </pc:spChg>
        <pc:spChg chg="add mod">
          <ac:chgData name="Aude Van de WIELE" userId="7317e673-04dd-415c-a4d7-718682339b40" providerId="ADAL" clId="{80D4E734-020D-4C1F-A028-1B9E9B483F9A}" dt="2021-05-25T08:49:51.088" v="9506" actId="790"/>
          <ac:spMkLst>
            <pc:docMk/>
            <pc:sldMk cId="3771311343" sldId="10471"/>
            <ac:spMk id="100" creationId="{6A60BFB2-776E-4EC4-83C9-BD1F32C2E8F2}"/>
          </ac:spMkLst>
        </pc:spChg>
        <pc:spChg chg="mod">
          <ac:chgData name="Aude Van de WIELE" userId="7317e673-04dd-415c-a4d7-718682339b40" providerId="ADAL" clId="{80D4E734-020D-4C1F-A028-1B9E9B483F9A}" dt="2021-05-25T08:49:51.025" v="9451" actId="790"/>
          <ac:spMkLst>
            <pc:docMk/>
            <pc:sldMk cId="3771311343" sldId="10471"/>
            <ac:spMk id="101" creationId="{DFEE41A0-0ABE-4979-86BF-6CBC2EF8B814}"/>
          </ac:spMkLst>
        </pc:spChg>
        <pc:spChg chg="mod">
          <ac:chgData name="Aude Van de WIELE" userId="7317e673-04dd-415c-a4d7-718682339b40" providerId="ADAL" clId="{80D4E734-020D-4C1F-A028-1B9E9B483F9A}" dt="2021-05-25T08:49:51.026" v="9452" actId="790"/>
          <ac:spMkLst>
            <pc:docMk/>
            <pc:sldMk cId="3771311343" sldId="10471"/>
            <ac:spMk id="102" creationId="{25D9139B-5EFF-4CE0-B69B-AAFD2CC83680}"/>
          </ac:spMkLst>
        </pc:spChg>
        <pc:spChg chg="mod">
          <ac:chgData name="Aude Van de WIELE" userId="7317e673-04dd-415c-a4d7-718682339b40" providerId="ADAL" clId="{80D4E734-020D-4C1F-A028-1B9E9B483F9A}" dt="2021-05-25T08:49:51.026" v="9453" actId="790"/>
          <ac:spMkLst>
            <pc:docMk/>
            <pc:sldMk cId="3771311343" sldId="10471"/>
            <ac:spMk id="103" creationId="{051E8E28-1C73-41A4-954F-28FCC69F8B3D}"/>
          </ac:spMkLst>
        </pc:spChg>
        <pc:spChg chg="mod">
          <ac:chgData name="Aude Van de WIELE" userId="7317e673-04dd-415c-a4d7-718682339b40" providerId="ADAL" clId="{80D4E734-020D-4C1F-A028-1B9E9B483F9A}" dt="2021-05-25T08:49:51.027" v="9454" actId="790"/>
          <ac:spMkLst>
            <pc:docMk/>
            <pc:sldMk cId="3771311343" sldId="10471"/>
            <ac:spMk id="104" creationId="{BB921A20-15A9-4775-AA42-653C9967308F}"/>
          </ac:spMkLst>
        </pc:spChg>
        <pc:spChg chg="mod">
          <ac:chgData name="Aude Van de WIELE" userId="7317e673-04dd-415c-a4d7-718682339b40" providerId="ADAL" clId="{80D4E734-020D-4C1F-A028-1B9E9B483F9A}" dt="2021-05-25T08:49:51.029" v="9455" actId="790"/>
          <ac:spMkLst>
            <pc:docMk/>
            <pc:sldMk cId="3771311343" sldId="10471"/>
            <ac:spMk id="105" creationId="{0B19B62A-017B-4A18-ACD3-C52265D63A61}"/>
          </ac:spMkLst>
        </pc:spChg>
        <pc:spChg chg="add mod">
          <ac:chgData name="Aude Van de WIELE" userId="7317e673-04dd-415c-a4d7-718682339b40" providerId="ADAL" clId="{80D4E734-020D-4C1F-A028-1B9E9B483F9A}" dt="2021-05-25T08:49:51.089" v="9507" actId="790"/>
          <ac:spMkLst>
            <pc:docMk/>
            <pc:sldMk cId="3771311343" sldId="10471"/>
            <ac:spMk id="106" creationId="{BB2AB1E2-CF8B-48E7-A2C2-65481A28DBB7}"/>
          </ac:spMkLst>
        </pc:spChg>
        <pc:spChg chg="add mod">
          <ac:chgData name="Aude Van de WIELE" userId="7317e673-04dd-415c-a4d7-718682339b40" providerId="ADAL" clId="{80D4E734-020D-4C1F-A028-1B9E9B483F9A}" dt="2021-05-25T08:49:51.090" v="9508" actId="790"/>
          <ac:spMkLst>
            <pc:docMk/>
            <pc:sldMk cId="3771311343" sldId="10471"/>
            <ac:spMk id="107" creationId="{72BA097B-6EA1-4418-9369-93584BAD5E27}"/>
          </ac:spMkLst>
        </pc:spChg>
        <pc:spChg chg="mod">
          <ac:chgData name="Aude Van de WIELE" userId="7317e673-04dd-415c-a4d7-718682339b40" providerId="ADAL" clId="{80D4E734-020D-4C1F-A028-1B9E9B483F9A}" dt="2021-05-25T08:49:51.031" v="9456" actId="790"/>
          <ac:spMkLst>
            <pc:docMk/>
            <pc:sldMk cId="3771311343" sldId="10471"/>
            <ac:spMk id="108" creationId="{5E56E817-AA0F-401E-9C9B-444BDB6B1C9C}"/>
          </ac:spMkLst>
        </pc:spChg>
        <pc:spChg chg="add mod">
          <ac:chgData name="Aude Van de WIELE" userId="7317e673-04dd-415c-a4d7-718682339b40" providerId="ADAL" clId="{80D4E734-020D-4C1F-A028-1B9E9B483F9A}" dt="2021-05-25T08:49:51.092" v="9509" actId="790"/>
          <ac:spMkLst>
            <pc:docMk/>
            <pc:sldMk cId="3771311343" sldId="10471"/>
            <ac:spMk id="109" creationId="{E4D25694-5E5B-4557-AC9E-1B7A9ACCA52C}"/>
          </ac:spMkLst>
        </pc:spChg>
        <pc:spChg chg="mod">
          <ac:chgData name="Aude Van de WIELE" userId="7317e673-04dd-415c-a4d7-718682339b40" providerId="ADAL" clId="{80D4E734-020D-4C1F-A028-1B9E9B483F9A}" dt="2021-05-25T08:49:51.032" v="9457" actId="790"/>
          <ac:spMkLst>
            <pc:docMk/>
            <pc:sldMk cId="3771311343" sldId="10471"/>
            <ac:spMk id="110" creationId="{A67ACEC3-8B8F-41CF-AA05-D23034EAEB75}"/>
          </ac:spMkLst>
        </pc:spChg>
        <pc:spChg chg="mod">
          <ac:chgData name="Aude Van de WIELE" userId="7317e673-04dd-415c-a4d7-718682339b40" providerId="ADAL" clId="{80D4E734-020D-4C1F-A028-1B9E9B483F9A}" dt="2021-05-25T08:49:51.032" v="9458" actId="790"/>
          <ac:spMkLst>
            <pc:docMk/>
            <pc:sldMk cId="3771311343" sldId="10471"/>
            <ac:spMk id="111" creationId="{5C027790-24EA-487D-9B0D-C10E82E897F7}"/>
          </ac:spMkLst>
        </pc:spChg>
        <pc:spChg chg="mod">
          <ac:chgData name="Aude Van de WIELE" userId="7317e673-04dd-415c-a4d7-718682339b40" providerId="ADAL" clId="{80D4E734-020D-4C1F-A028-1B9E9B483F9A}" dt="2021-05-25T08:49:51.033" v="9459" actId="790"/>
          <ac:spMkLst>
            <pc:docMk/>
            <pc:sldMk cId="3771311343" sldId="10471"/>
            <ac:spMk id="112" creationId="{9A8D8EC5-6AF6-4041-8DFB-9583B8307259}"/>
          </ac:spMkLst>
        </pc:spChg>
        <pc:spChg chg="mod">
          <ac:chgData name="Aude Van de WIELE" userId="7317e673-04dd-415c-a4d7-718682339b40" providerId="ADAL" clId="{80D4E734-020D-4C1F-A028-1B9E9B483F9A}" dt="2021-05-25T08:49:51.035" v="9460" actId="790"/>
          <ac:spMkLst>
            <pc:docMk/>
            <pc:sldMk cId="3771311343" sldId="10471"/>
            <ac:spMk id="113" creationId="{44652165-FC6B-4F97-AC0D-133BB7D1BAD2}"/>
          </ac:spMkLst>
        </pc:spChg>
        <pc:spChg chg="mod">
          <ac:chgData name="Aude Van de WIELE" userId="7317e673-04dd-415c-a4d7-718682339b40" providerId="ADAL" clId="{80D4E734-020D-4C1F-A028-1B9E9B483F9A}" dt="2021-05-25T08:49:51.036" v="9461" actId="790"/>
          <ac:spMkLst>
            <pc:docMk/>
            <pc:sldMk cId="3771311343" sldId="10471"/>
            <ac:spMk id="114" creationId="{E20A28FF-CC3B-46E1-8EAA-A16BF3535DFD}"/>
          </ac:spMkLst>
        </pc:spChg>
        <pc:spChg chg="mod">
          <ac:chgData name="Aude Van de WIELE" userId="7317e673-04dd-415c-a4d7-718682339b40" providerId="ADAL" clId="{80D4E734-020D-4C1F-A028-1B9E9B483F9A}" dt="2021-05-25T08:49:51.037" v="9462" actId="790"/>
          <ac:spMkLst>
            <pc:docMk/>
            <pc:sldMk cId="3771311343" sldId="10471"/>
            <ac:spMk id="115" creationId="{B79490B9-35E9-4A2B-9078-72C34907B6FE}"/>
          </ac:spMkLst>
        </pc:spChg>
        <pc:spChg chg="mod">
          <ac:chgData name="Aude Van de WIELE" userId="7317e673-04dd-415c-a4d7-718682339b40" providerId="ADAL" clId="{80D4E734-020D-4C1F-A028-1B9E9B483F9A}" dt="2021-05-25T08:49:51.037" v="9463" actId="790"/>
          <ac:spMkLst>
            <pc:docMk/>
            <pc:sldMk cId="3771311343" sldId="10471"/>
            <ac:spMk id="116" creationId="{456E1467-5C50-4A06-9522-0AD12C48A016}"/>
          </ac:spMkLst>
        </pc:spChg>
        <pc:spChg chg="mod">
          <ac:chgData name="Aude Van de WIELE" userId="7317e673-04dd-415c-a4d7-718682339b40" providerId="ADAL" clId="{80D4E734-020D-4C1F-A028-1B9E9B483F9A}" dt="2021-05-25T08:49:51.038" v="9464" actId="790"/>
          <ac:spMkLst>
            <pc:docMk/>
            <pc:sldMk cId="3771311343" sldId="10471"/>
            <ac:spMk id="117" creationId="{F380ABA6-5B66-49D3-81BB-ACD662A765E6}"/>
          </ac:spMkLst>
        </pc:spChg>
        <pc:spChg chg="mod">
          <ac:chgData name="Aude Van de WIELE" userId="7317e673-04dd-415c-a4d7-718682339b40" providerId="ADAL" clId="{80D4E734-020D-4C1F-A028-1B9E9B483F9A}" dt="2021-05-25T08:49:51.040" v="9465" actId="790"/>
          <ac:spMkLst>
            <pc:docMk/>
            <pc:sldMk cId="3771311343" sldId="10471"/>
            <ac:spMk id="118" creationId="{B9380990-3943-4657-BAAF-0D744F9FD78D}"/>
          </ac:spMkLst>
        </pc:spChg>
        <pc:spChg chg="mod">
          <ac:chgData name="Aude Van de WIELE" userId="7317e673-04dd-415c-a4d7-718682339b40" providerId="ADAL" clId="{80D4E734-020D-4C1F-A028-1B9E9B483F9A}" dt="2021-05-25T08:49:51.041" v="9466" actId="790"/>
          <ac:spMkLst>
            <pc:docMk/>
            <pc:sldMk cId="3771311343" sldId="10471"/>
            <ac:spMk id="119" creationId="{9B267A34-A156-4106-9533-D8215EE2663E}"/>
          </ac:spMkLst>
        </pc:spChg>
        <pc:spChg chg="mod">
          <ac:chgData name="Aude Van de WIELE" userId="7317e673-04dd-415c-a4d7-718682339b40" providerId="ADAL" clId="{80D4E734-020D-4C1F-A028-1B9E9B483F9A}" dt="2021-05-25T08:49:51.042" v="9467" actId="790"/>
          <ac:spMkLst>
            <pc:docMk/>
            <pc:sldMk cId="3771311343" sldId="10471"/>
            <ac:spMk id="120" creationId="{CB01490A-3973-40DC-AEB1-2D6EA6E1A0A4}"/>
          </ac:spMkLst>
        </pc:spChg>
        <pc:spChg chg="mod">
          <ac:chgData name="Aude Van de WIELE" userId="7317e673-04dd-415c-a4d7-718682339b40" providerId="ADAL" clId="{80D4E734-020D-4C1F-A028-1B9E9B483F9A}" dt="2021-05-25T08:49:51.044" v="9468" actId="790"/>
          <ac:spMkLst>
            <pc:docMk/>
            <pc:sldMk cId="3771311343" sldId="10471"/>
            <ac:spMk id="121" creationId="{C2D7FB70-A462-48A0-89B9-CB4E2533177E}"/>
          </ac:spMkLst>
        </pc:spChg>
        <pc:spChg chg="mod">
          <ac:chgData name="Aude Van de WIELE" userId="7317e673-04dd-415c-a4d7-718682339b40" providerId="ADAL" clId="{80D4E734-020D-4C1F-A028-1B9E9B483F9A}" dt="2021-05-25T08:49:51.045" v="9469" actId="790"/>
          <ac:spMkLst>
            <pc:docMk/>
            <pc:sldMk cId="3771311343" sldId="10471"/>
            <ac:spMk id="122" creationId="{C36B3BB3-0A10-4D0E-A0BA-E1DE98A30CB6}"/>
          </ac:spMkLst>
        </pc:spChg>
        <pc:spChg chg="add mod">
          <ac:chgData name="Aude Van de WIELE" userId="7317e673-04dd-415c-a4d7-718682339b40" providerId="ADAL" clId="{80D4E734-020D-4C1F-A028-1B9E9B483F9A}" dt="2021-05-25T08:49:51.093" v="9510" actId="790"/>
          <ac:spMkLst>
            <pc:docMk/>
            <pc:sldMk cId="3771311343" sldId="10471"/>
            <ac:spMk id="123" creationId="{CC0FCEDD-7A24-41D2-A7AA-F04D90F856B2}"/>
          </ac:spMkLst>
        </pc:spChg>
        <pc:spChg chg="add mod">
          <ac:chgData name="Aude Van de WIELE" userId="7317e673-04dd-415c-a4d7-718682339b40" providerId="ADAL" clId="{80D4E734-020D-4C1F-A028-1B9E9B483F9A}" dt="2021-05-25T08:49:51.094" v="9511" actId="790"/>
          <ac:spMkLst>
            <pc:docMk/>
            <pc:sldMk cId="3771311343" sldId="10471"/>
            <ac:spMk id="124" creationId="{5F9F77D4-A53B-42F9-AAAF-F3415D60A350}"/>
          </ac:spMkLst>
        </pc:spChg>
        <pc:spChg chg="add mod">
          <ac:chgData name="Aude Van de WIELE" userId="7317e673-04dd-415c-a4d7-718682339b40" providerId="ADAL" clId="{80D4E734-020D-4C1F-A028-1B9E9B483F9A}" dt="2021-05-25T08:49:51.096" v="9512" actId="790"/>
          <ac:spMkLst>
            <pc:docMk/>
            <pc:sldMk cId="3771311343" sldId="10471"/>
            <ac:spMk id="125" creationId="{199319C2-2220-458D-A1EF-3333A023E1E5}"/>
          </ac:spMkLst>
        </pc:spChg>
        <pc:spChg chg="mod">
          <ac:chgData name="Aude Van de WIELE" userId="7317e673-04dd-415c-a4d7-718682339b40" providerId="ADAL" clId="{80D4E734-020D-4C1F-A028-1B9E9B483F9A}" dt="2021-05-25T08:49:51.046" v="9470" actId="790"/>
          <ac:spMkLst>
            <pc:docMk/>
            <pc:sldMk cId="3771311343" sldId="10471"/>
            <ac:spMk id="126" creationId="{6A4E3728-6F76-4F5C-AD55-F21D91F17917}"/>
          </ac:spMkLst>
        </pc:spChg>
        <pc:spChg chg="mod">
          <ac:chgData name="Aude Van de WIELE" userId="7317e673-04dd-415c-a4d7-718682339b40" providerId="ADAL" clId="{80D4E734-020D-4C1F-A028-1B9E9B483F9A}" dt="2021-05-25T08:49:51.047" v="9471" actId="790"/>
          <ac:spMkLst>
            <pc:docMk/>
            <pc:sldMk cId="3771311343" sldId="10471"/>
            <ac:spMk id="127" creationId="{EFED5C9C-72CB-4E63-A6AD-2C07271EAE9B}"/>
          </ac:spMkLst>
        </pc:spChg>
        <pc:spChg chg="mod">
          <ac:chgData name="Aude Van de WIELE" userId="7317e673-04dd-415c-a4d7-718682339b40" providerId="ADAL" clId="{80D4E734-020D-4C1F-A028-1B9E9B483F9A}" dt="2021-05-25T08:49:51.049" v="9472" actId="790"/>
          <ac:spMkLst>
            <pc:docMk/>
            <pc:sldMk cId="3771311343" sldId="10471"/>
            <ac:spMk id="128" creationId="{000C42A2-058A-4BC7-8070-8DB64E2E0DF1}"/>
          </ac:spMkLst>
        </pc:spChg>
        <pc:spChg chg="mod">
          <ac:chgData name="Aude Van de WIELE" userId="7317e673-04dd-415c-a4d7-718682339b40" providerId="ADAL" clId="{80D4E734-020D-4C1F-A028-1B9E9B483F9A}" dt="2021-05-25T08:49:51.050" v="9473" actId="790"/>
          <ac:spMkLst>
            <pc:docMk/>
            <pc:sldMk cId="3771311343" sldId="10471"/>
            <ac:spMk id="129" creationId="{704628AA-B675-421B-B2CD-4D9F22E8AF2A}"/>
          </ac:spMkLst>
        </pc:spChg>
        <pc:spChg chg="mod">
          <ac:chgData name="Aude Van de WIELE" userId="7317e673-04dd-415c-a4d7-718682339b40" providerId="ADAL" clId="{80D4E734-020D-4C1F-A028-1B9E9B483F9A}" dt="2021-05-25T08:49:51.050" v="9474" actId="790"/>
          <ac:spMkLst>
            <pc:docMk/>
            <pc:sldMk cId="3771311343" sldId="10471"/>
            <ac:spMk id="130" creationId="{8EC55234-29CE-40E6-8E6D-5C76C8A3D812}"/>
          </ac:spMkLst>
        </pc:spChg>
        <pc:spChg chg="mod">
          <ac:chgData name="Aude Van de WIELE" userId="7317e673-04dd-415c-a4d7-718682339b40" providerId="ADAL" clId="{80D4E734-020D-4C1F-A028-1B9E9B483F9A}" dt="2021-05-25T08:49:51.054" v="9478" actId="790"/>
          <ac:spMkLst>
            <pc:docMk/>
            <pc:sldMk cId="3771311343" sldId="10471"/>
            <ac:spMk id="131" creationId="{E92B0E66-09CA-4148-9FF3-26C30D1439DA}"/>
          </ac:spMkLst>
        </pc:spChg>
        <pc:spChg chg="mod">
          <ac:chgData name="Aude Van de WIELE" userId="7317e673-04dd-415c-a4d7-718682339b40" providerId="ADAL" clId="{80D4E734-020D-4C1F-A028-1B9E9B483F9A}" dt="2021-05-25T08:49:51.052" v="9476" actId="790"/>
          <ac:spMkLst>
            <pc:docMk/>
            <pc:sldMk cId="3771311343" sldId="10471"/>
            <ac:spMk id="132" creationId="{0083CCC6-F42B-4EAF-B9BA-BBC3E950AE97}"/>
          </ac:spMkLst>
        </pc:spChg>
        <pc:spChg chg="mod">
          <ac:chgData name="Aude Van de WIELE" userId="7317e673-04dd-415c-a4d7-718682339b40" providerId="ADAL" clId="{80D4E734-020D-4C1F-A028-1B9E9B483F9A}" dt="2021-05-25T09:25:00.653" v="9902" actId="20577"/>
          <ac:spMkLst>
            <pc:docMk/>
            <pc:sldMk cId="3771311343" sldId="10471"/>
            <ac:spMk id="133" creationId="{916B3D0F-3F4E-49CE-9220-552D32AE6CCA}"/>
          </ac:spMkLst>
        </pc:spChg>
        <pc:spChg chg="mod">
          <ac:chgData name="Aude Van de WIELE" userId="7317e673-04dd-415c-a4d7-718682339b40" providerId="ADAL" clId="{80D4E734-020D-4C1F-A028-1B9E9B483F9A}" dt="2021-05-25T09:25:04.417" v="9913" actId="20577"/>
          <ac:spMkLst>
            <pc:docMk/>
            <pc:sldMk cId="3771311343" sldId="10471"/>
            <ac:spMk id="134" creationId="{0E8FFEA0-725C-4183-B61D-99E0F0909086}"/>
          </ac:spMkLst>
        </pc:spChg>
        <pc:spChg chg="mod">
          <ac:chgData name="Aude Van de WIELE" userId="7317e673-04dd-415c-a4d7-718682339b40" providerId="ADAL" clId="{80D4E734-020D-4C1F-A028-1B9E9B483F9A}" dt="2021-05-25T08:49:51.070" v="9488" actId="790"/>
          <ac:spMkLst>
            <pc:docMk/>
            <pc:sldMk cId="3771311343" sldId="10471"/>
            <ac:spMk id="135" creationId="{36579EE9-8F47-497C-8CC1-4A19EB98C2FB}"/>
          </ac:spMkLst>
        </pc:spChg>
        <pc:spChg chg="mod">
          <ac:chgData name="Aude Van de WIELE" userId="7317e673-04dd-415c-a4d7-718682339b40" providerId="ADAL" clId="{80D4E734-020D-4C1F-A028-1B9E9B483F9A}" dt="2021-05-25T08:49:51.071" v="9489" actId="790"/>
          <ac:spMkLst>
            <pc:docMk/>
            <pc:sldMk cId="3771311343" sldId="10471"/>
            <ac:spMk id="140" creationId="{6248663C-319E-444C-8525-B5087AF9CE29}"/>
          </ac:spMkLst>
        </pc:spChg>
        <pc:spChg chg="mod">
          <ac:chgData name="Aude Van de WIELE" userId="7317e673-04dd-415c-a4d7-718682339b40" providerId="ADAL" clId="{80D4E734-020D-4C1F-A028-1B9E9B483F9A}" dt="2021-05-25T08:49:51.072" v="9490" actId="790"/>
          <ac:spMkLst>
            <pc:docMk/>
            <pc:sldMk cId="3771311343" sldId="10471"/>
            <ac:spMk id="141" creationId="{85F111E8-5870-49AB-B728-7209C09AEC6E}"/>
          </ac:spMkLst>
        </pc:spChg>
        <pc:spChg chg="mod">
          <ac:chgData name="Aude Van de WIELE" userId="7317e673-04dd-415c-a4d7-718682339b40" providerId="ADAL" clId="{80D4E734-020D-4C1F-A028-1B9E9B483F9A}" dt="2021-05-25T08:49:51.073" v="9491" actId="790"/>
          <ac:spMkLst>
            <pc:docMk/>
            <pc:sldMk cId="3771311343" sldId="10471"/>
            <ac:spMk id="143" creationId="{54B0EB5C-F61A-43AD-A123-55E4C90CB3B3}"/>
          </ac:spMkLst>
        </pc:spChg>
        <pc:spChg chg="mod">
          <ac:chgData name="Aude Van de WIELE" userId="7317e673-04dd-415c-a4d7-718682339b40" providerId="ADAL" clId="{80D4E734-020D-4C1F-A028-1B9E9B483F9A}" dt="2021-05-25T08:49:51.074" v="9492" actId="790"/>
          <ac:spMkLst>
            <pc:docMk/>
            <pc:sldMk cId="3771311343" sldId="10471"/>
            <ac:spMk id="144" creationId="{EF655E77-DB9D-448E-A6D5-39E94417F17D}"/>
          </ac:spMkLst>
        </pc:spChg>
        <pc:spChg chg="mod">
          <ac:chgData name="Aude Van de WIELE" userId="7317e673-04dd-415c-a4d7-718682339b40" providerId="ADAL" clId="{80D4E734-020D-4C1F-A028-1B9E9B483F9A}" dt="2021-05-25T08:49:51.075" v="9493" actId="790"/>
          <ac:spMkLst>
            <pc:docMk/>
            <pc:sldMk cId="3771311343" sldId="10471"/>
            <ac:spMk id="146" creationId="{693373D8-8E49-488D-BDCA-F1956724483D}"/>
          </ac:spMkLst>
        </pc:spChg>
        <pc:spChg chg="mod">
          <ac:chgData name="Aude Van de WIELE" userId="7317e673-04dd-415c-a4d7-718682339b40" providerId="ADAL" clId="{80D4E734-020D-4C1F-A028-1B9E9B483F9A}" dt="2021-05-25T08:49:51.076" v="9494" actId="790"/>
          <ac:spMkLst>
            <pc:docMk/>
            <pc:sldMk cId="3771311343" sldId="10471"/>
            <ac:spMk id="147" creationId="{672B69A2-3519-46C9-96A5-3BBF955EECEF}"/>
          </ac:spMkLst>
        </pc:spChg>
        <pc:spChg chg="mod">
          <ac:chgData name="Aude Van de WIELE" userId="7317e673-04dd-415c-a4d7-718682339b40" providerId="ADAL" clId="{80D4E734-020D-4C1F-A028-1B9E9B483F9A}" dt="2021-05-25T08:49:51.077" v="9495" actId="790"/>
          <ac:spMkLst>
            <pc:docMk/>
            <pc:sldMk cId="3771311343" sldId="10471"/>
            <ac:spMk id="149" creationId="{315A35B9-D3F4-4C97-B176-4798F54179D7}"/>
          </ac:spMkLst>
        </pc:spChg>
        <pc:spChg chg="mod">
          <ac:chgData name="Aude Van de WIELE" userId="7317e673-04dd-415c-a4d7-718682339b40" providerId="ADAL" clId="{80D4E734-020D-4C1F-A028-1B9E9B483F9A}" dt="2021-05-25T08:49:51.077" v="9496" actId="790"/>
          <ac:spMkLst>
            <pc:docMk/>
            <pc:sldMk cId="3771311343" sldId="10471"/>
            <ac:spMk id="150" creationId="{5209417A-CD5F-4652-90C2-C3F7635829D9}"/>
          </ac:spMkLst>
        </pc:spChg>
        <pc:spChg chg="mod">
          <ac:chgData name="Aude Van de WIELE" userId="7317e673-04dd-415c-a4d7-718682339b40" providerId="ADAL" clId="{80D4E734-020D-4C1F-A028-1B9E9B483F9A}" dt="2021-05-25T08:49:51.078" v="9497" actId="790"/>
          <ac:spMkLst>
            <pc:docMk/>
            <pc:sldMk cId="3771311343" sldId="10471"/>
            <ac:spMk id="151" creationId="{D2B036C2-8693-454B-B4F2-18AB2236FD3C}"/>
          </ac:spMkLst>
        </pc:spChg>
        <pc:spChg chg="mod">
          <ac:chgData name="Aude Van de WIELE" userId="7317e673-04dd-415c-a4d7-718682339b40" providerId="ADAL" clId="{80D4E734-020D-4C1F-A028-1B9E9B483F9A}" dt="2021-05-25T08:49:51.079" v="9498" actId="790"/>
          <ac:spMkLst>
            <pc:docMk/>
            <pc:sldMk cId="3771311343" sldId="10471"/>
            <ac:spMk id="152" creationId="{CE1DAE80-D63E-4412-9269-9A18EAF38626}"/>
          </ac:spMkLst>
        </pc:spChg>
        <pc:spChg chg="mod">
          <ac:chgData name="Aude Van de WIELE" userId="7317e673-04dd-415c-a4d7-718682339b40" providerId="ADAL" clId="{80D4E734-020D-4C1F-A028-1B9E9B483F9A}" dt="2021-05-25T08:49:51.080" v="9499" actId="790"/>
          <ac:spMkLst>
            <pc:docMk/>
            <pc:sldMk cId="3771311343" sldId="10471"/>
            <ac:spMk id="153" creationId="{D1862418-9E31-4865-A029-3E571F1DE652}"/>
          </ac:spMkLst>
        </pc:spChg>
        <pc:spChg chg="mod">
          <ac:chgData name="Aude Van de WIELE" userId="7317e673-04dd-415c-a4d7-718682339b40" providerId="ADAL" clId="{80D4E734-020D-4C1F-A028-1B9E9B483F9A}" dt="2021-05-25T08:49:51.080" v="9500" actId="790"/>
          <ac:spMkLst>
            <pc:docMk/>
            <pc:sldMk cId="3771311343" sldId="10471"/>
            <ac:spMk id="154" creationId="{B19F0202-21BD-46E5-90DA-AC056F04674D}"/>
          </ac:spMkLst>
        </pc:spChg>
      </pc:sldChg>
      <pc:sldChg chg="addSp modSp del mod">
        <pc:chgData name="Aude Van de WIELE" userId="7317e673-04dd-415c-a4d7-718682339b40" providerId="ADAL" clId="{80D4E734-020D-4C1F-A028-1B9E9B483F9A}" dt="2021-05-25T09:49:51.264" v="9981" actId="47"/>
        <pc:sldMkLst>
          <pc:docMk/>
          <pc:sldMk cId="923224959" sldId="10472"/>
        </pc:sldMkLst>
        <pc:spChg chg="mod">
          <ac:chgData name="Aude Van de WIELE" userId="7317e673-04dd-415c-a4d7-718682339b40" providerId="ADAL" clId="{80D4E734-020D-4C1F-A028-1B9E9B483F9A}" dt="2021-05-25T08:49:48.146" v="7058" actId="790"/>
          <ac:spMkLst>
            <pc:docMk/>
            <pc:sldMk cId="923224959" sldId="10472"/>
            <ac:spMk id="2" creationId="{5D79E977-AA1E-485B-8A01-E93F32111B97}"/>
          </ac:spMkLst>
        </pc:spChg>
        <pc:spChg chg="mod">
          <ac:chgData name="Aude Van de WIELE" userId="7317e673-04dd-415c-a4d7-718682339b40" providerId="ADAL" clId="{80D4E734-020D-4C1F-A028-1B9E9B483F9A}" dt="2021-05-24T14:17:17.493" v="4637" actId="207"/>
          <ac:spMkLst>
            <pc:docMk/>
            <pc:sldMk cId="923224959" sldId="10472"/>
            <ac:spMk id="4" creationId="{CF43FFDF-1514-417B-8DD3-055802931621}"/>
          </ac:spMkLst>
        </pc:spChg>
        <pc:spChg chg="mod">
          <ac:chgData name="Aude Van de WIELE" userId="7317e673-04dd-415c-a4d7-718682339b40" providerId="ADAL" clId="{80D4E734-020D-4C1F-A028-1B9E9B483F9A}" dt="2021-05-24T14:16:40.563" v="4632" actId="207"/>
          <ac:spMkLst>
            <pc:docMk/>
            <pc:sldMk cId="923224959" sldId="10472"/>
            <ac:spMk id="6" creationId="{3CBA4C50-DBB5-4C5E-A8E6-B2C4564C2D94}"/>
          </ac:spMkLst>
        </pc:spChg>
        <pc:spChg chg="mod">
          <ac:chgData name="Aude Van de WIELE" userId="7317e673-04dd-415c-a4d7-718682339b40" providerId="ADAL" clId="{80D4E734-020D-4C1F-A028-1B9E9B483F9A}" dt="2021-05-25T08:49:48.159" v="7067" actId="790"/>
          <ac:spMkLst>
            <pc:docMk/>
            <pc:sldMk cId="923224959" sldId="10472"/>
            <ac:spMk id="8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52" v="7064" actId="790"/>
          <ac:spMkLst>
            <pc:docMk/>
            <pc:sldMk cId="923224959" sldId="10472"/>
            <ac:spMk id="9" creationId="{02B09B86-63EB-478A-A1B9-73EB0B102213}"/>
          </ac:spMkLst>
        </pc:spChg>
        <pc:spChg chg="mod">
          <ac:chgData name="Aude Van de WIELE" userId="7317e673-04dd-415c-a4d7-718682339b40" providerId="ADAL" clId="{80D4E734-020D-4C1F-A028-1B9E9B483F9A}" dt="2021-05-25T08:49:48.147" v="7059" actId="790"/>
          <ac:spMkLst>
            <pc:docMk/>
            <pc:sldMk cId="923224959" sldId="10472"/>
            <ac:spMk id="10" creationId="{35E020ED-F5CE-43BF-B644-9BAA4063B2A4}"/>
          </ac:spMkLst>
        </pc:spChg>
        <pc:spChg chg="mod">
          <ac:chgData name="Aude Van de WIELE" userId="7317e673-04dd-415c-a4d7-718682339b40" providerId="ADAL" clId="{80D4E734-020D-4C1F-A028-1B9E9B483F9A}" dt="2021-05-25T08:49:48.148" v="7060" actId="790"/>
          <ac:spMkLst>
            <pc:docMk/>
            <pc:sldMk cId="923224959" sldId="10472"/>
            <ac:spMk id="12" creationId="{17ACB834-4B29-46A1-8305-C573136B1B39}"/>
          </ac:spMkLst>
        </pc:spChg>
        <pc:spChg chg="mod">
          <ac:chgData name="Aude Van de WIELE" userId="7317e673-04dd-415c-a4d7-718682339b40" providerId="ADAL" clId="{80D4E734-020D-4C1F-A028-1B9E9B483F9A}" dt="2021-05-25T08:49:48.160" v="7068" actId="790"/>
          <ac:spMkLst>
            <pc:docMk/>
            <pc:sldMk cId="923224959" sldId="10472"/>
            <ac:spMk id="13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49" v="7061" actId="790"/>
          <ac:spMkLst>
            <pc:docMk/>
            <pc:sldMk cId="923224959" sldId="10472"/>
            <ac:spMk id="14" creationId="{1033C433-7522-4EDA-9187-702F506345A0}"/>
          </ac:spMkLst>
        </pc:spChg>
        <pc:spChg chg="mod">
          <ac:chgData name="Aude Van de WIELE" userId="7317e673-04dd-415c-a4d7-718682339b40" providerId="ADAL" clId="{80D4E734-020D-4C1F-A028-1B9E9B483F9A}" dt="2021-05-25T08:49:48.150" v="7062" actId="790"/>
          <ac:spMkLst>
            <pc:docMk/>
            <pc:sldMk cId="923224959" sldId="10472"/>
            <ac:spMk id="15" creationId="{CEFA4725-CB21-4B2C-A186-C70732A4705C}"/>
          </ac:spMkLst>
        </pc:spChg>
        <pc:spChg chg="mod">
          <ac:chgData name="Aude Van de WIELE" userId="7317e673-04dd-415c-a4d7-718682339b40" providerId="ADAL" clId="{80D4E734-020D-4C1F-A028-1B9E9B483F9A}" dt="2021-05-25T08:49:48.151" v="7063" actId="790"/>
          <ac:spMkLst>
            <pc:docMk/>
            <pc:sldMk cId="923224959" sldId="10472"/>
            <ac:spMk id="16" creationId="{6546156D-9B65-4AC1-8D80-88505BD08537}"/>
          </ac:spMkLst>
        </pc:spChg>
        <pc:spChg chg="mod">
          <ac:chgData name="Aude Van de WIELE" userId="7317e673-04dd-415c-a4d7-718682339b40" providerId="ADAL" clId="{80D4E734-020D-4C1F-A028-1B9E9B483F9A}" dt="2021-05-25T08:49:48.140" v="7056" actId="790"/>
          <ac:spMkLst>
            <pc:docMk/>
            <pc:sldMk cId="923224959" sldId="10472"/>
            <ac:spMk id="17" creationId="{93C43DF0-5B80-4873-976E-9DCC9459DEE9}"/>
          </ac:spMkLst>
        </pc:spChg>
        <pc:spChg chg="mod">
          <ac:chgData name="Aude Van de WIELE" userId="7317e673-04dd-415c-a4d7-718682339b40" providerId="ADAL" clId="{80D4E734-020D-4C1F-A028-1B9E9B483F9A}" dt="2021-05-25T08:49:48.145" v="7057" actId="790"/>
          <ac:spMkLst>
            <pc:docMk/>
            <pc:sldMk cId="923224959" sldId="10472"/>
            <ac:spMk id="19" creationId="{34792A96-E177-45FE-8A1C-54080EF644FD}"/>
          </ac:spMkLst>
        </pc:spChg>
        <pc:spChg chg="mod">
          <ac:chgData name="Aude Van de WIELE" userId="7317e673-04dd-415c-a4d7-718682339b40" providerId="ADAL" clId="{80D4E734-020D-4C1F-A028-1B9E9B483F9A}" dt="2021-05-25T08:49:48.168" v="7076" actId="790"/>
          <ac:spMkLst>
            <pc:docMk/>
            <pc:sldMk cId="923224959" sldId="10472"/>
            <ac:spMk id="20" creationId="{CF43FFDF-1514-417B-8DD3-055802931621}"/>
          </ac:spMkLst>
        </pc:spChg>
        <pc:spChg chg="mod">
          <ac:chgData name="Aude Van de WIELE" userId="7317e673-04dd-415c-a4d7-718682339b40" providerId="ADAL" clId="{80D4E734-020D-4C1F-A028-1B9E9B483F9A}" dt="2021-05-25T08:49:48.175" v="7077" actId="790"/>
          <ac:spMkLst>
            <pc:docMk/>
            <pc:sldMk cId="923224959" sldId="10472"/>
            <ac:spMk id="21" creationId="{3CBA4C50-DBB5-4C5E-A8E6-B2C4564C2D94}"/>
          </ac:spMkLst>
        </pc:spChg>
        <pc:spChg chg="mod">
          <ac:chgData name="Aude Van de WIELE" userId="7317e673-04dd-415c-a4d7-718682339b40" providerId="ADAL" clId="{80D4E734-020D-4C1F-A028-1B9E9B483F9A}" dt="2021-05-25T08:49:48.176" v="7078" actId="790"/>
          <ac:spMkLst>
            <pc:docMk/>
            <pc:sldMk cId="923224959" sldId="10472"/>
            <ac:spMk id="22" creationId="{43822D74-25F7-4476-8B1E-2346DA56E4D6}"/>
          </ac:spMkLst>
        </pc:spChg>
        <pc:spChg chg="mod">
          <ac:chgData name="Aude Van de WIELE" userId="7317e673-04dd-415c-a4d7-718682339b40" providerId="ADAL" clId="{80D4E734-020D-4C1F-A028-1B9E9B483F9A}" dt="2021-05-25T08:49:48.153" v="7065" actId="790"/>
          <ac:spMkLst>
            <pc:docMk/>
            <pc:sldMk cId="923224959" sldId="10472"/>
            <ac:spMk id="25" creationId="{5146D732-EFA5-477C-B0A6-85AD09BD0B4D}"/>
          </ac:spMkLst>
        </pc:spChg>
        <pc:spChg chg="mod">
          <ac:chgData name="Aude Van de WIELE" userId="7317e673-04dd-415c-a4d7-718682339b40" providerId="ADAL" clId="{80D4E734-020D-4C1F-A028-1B9E9B483F9A}" dt="2021-05-25T08:49:48.138" v="7055" actId="790"/>
          <ac:spMkLst>
            <pc:docMk/>
            <pc:sldMk cId="923224959" sldId="10472"/>
            <ac:spMk id="26" creationId="{141BDBD6-FC39-484B-80B4-A5A00C8A001E}"/>
          </ac:spMkLst>
        </pc:spChg>
        <pc:spChg chg="mod">
          <ac:chgData name="Aude Van de WIELE" userId="7317e673-04dd-415c-a4d7-718682339b40" providerId="ADAL" clId="{80D4E734-020D-4C1F-A028-1B9E9B483F9A}" dt="2021-05-25T08:49:48.160" v="7069" actId="790"/>
          <ac:spMkLst>
            <pc:docMk/>
            <pc:sldMk cId="923224959" sldId="10472"/>
            <ac:spMk id="27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61" v="7070" actId="790"/>
          <ac:spMkLst>
            <pc:docMk/>
            <pc:sldMk cId="923224959" sldId="10472"/>
            <ac:spMk id="28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58" v="7066" actId="790"/>
          <ac:spMkLst>
            <pc:docMk/>
            <pc:sldMk cId="923224959" sldId="10472"/>
            <ac:spMk id="34" creationId="{504918DD-5AAF-4442-83FD-97BE3D7438E6}"/>
          </ac:spMkLst>
        </pc:spChg>
        <pc:spChg chg="mod">
          <ac:chgData name="Aude Van de WIELE" userId="7317e673-04dd-415c-a4d7-718682339b40" providerId="ADAL" clId="{80D4E734-020D-4C1F-A028-1B9E9B483F9A}" dt="2021-05-25T08:49:48.162" v="7071" actId="790"/>
          <ac:spMkLst>
            <pc:docMk/>
            <pc:sldMk cId="923224959" sldId="10472"/>
            <ac:spMk id="36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62" v="7072" actId="790"/>
          <ac:spMkLst>
            <pc:docMk/>
            <pc:sldMk cId="923224959" sldId="10472"/>
            <ac:spMk id="37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63" v="7073" actId="790"/>
          <ac:spMkLst>
            <pc:docMk/>
            <pc:sldMk cId="923224959" sldId="10472"/>
            <ac:spMk id="38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63" v="7074" actId="790"/>
          <ac:spMkLst>
            <pc:docMk/>
            <pc:sldMk cId="923224959" sldId="10472"/>
            <ac:spMk id="39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64" v="7075" actId="790"/>
          <ac:spMkLst>
            <pc:docMk/>
            <pc:sldMk cId="923224959" sldId="10472"/>
            <ac:spMk id="40" creationId="{724BFDF7-9689-4C00-8E86-336E333DE596}"/>
          </ac:spMkLst>
        </pc:spChg>
        <pc:spChg chg="mod">
          <ac:chgData name="Aude Van de WIELE" userId="7317e673-04dd-415c-a4d7-718682339b40" providerId="ADAL" clId="{80D4E734-020D-4C1F-A028-1B9E9B483F9A}" dt="2021-05-25T08:49:48.176" v="7079" actId="790"/>
          <ac:spMkLst>
            <pc:docMk/>
            <pc:sldMk cId="923224959" sldId="10472"/>
            <ac:spMk id="46" creationId="{9A1AD0E4-A534-4497-962F-4FBC4ED2C72B}"/>
          </ac:spMkLst>
        </pc:spChg>
        <pc:spChg chg="add mod">
          <ac:chgData name="Aude Van de WIELE" userId="7317e673-04dd-415c-a4d7-718682339b40" providerId="ADAL" clId="{80D4E734-020D-4C1F-A028-1B9E9B483F9A}" dt="2021-05-25T08:59:52.558" v="9874" actId="20577"/>
          <ac:spMkLst>
            <pc:docMk/>
            <pc:sldMk cId="923224959" sldId="10472"/>
            <ac:spMk id="52" creationId="{81CED96B-F5F9-4745-A09C-2949BD177A48}"/>
          </ac:spMkLst>
        </pc:spChg>
      </pc:sldChg>
      <pc:sldChg chg="add del mod modShow">
        <pc:chgData name="Aude Van de WIELE" userId="7317e673-04dd-415c-a4d7-718682339b40" providerId="ADAL" clId="{80D4E734-020D-4C1F-A028-1B9E9B483F9A}" dt="2021-05-24T13:40:38.416" v="4129" actId="2696"/>
        <pc:sldMkLst>
          <pc:docMk/>
          <pc:sldMk cId="3800479679" sldId="10473"/>
        </pc:sldMkLst>
      </pc:sldChg>
      <pc:sldChg chg="add del">
        <pc:chgData name="Aude Van de WIELE" userId="7317e673-04dd-415c-a4d7-718682339b40" providerId="ADAL" clId="{80D4E734-020D-4C1F-A028-1B9E9B483F9A}" dt="2021-05-24T13:56:13.489" v="4364" actId="18676"/>
        <pc:sldMkLst>
          <pc:docMk/>
          <pc:sldMk cId="4210262057" sldId="10473"/>
        </pc:sldMkLst>
      </pc:sldChg>
      <pc:sldChg chg="addSp delSp modSp add mod ord">
        <pc:chgData name="Aude Van de WIELE" userId="7317e673-04dd-415c-a4d7-718682339b40" providerId="ADAL" clId="{80D4E734-020D-4C1F-A028-1B9E9B483F9A}" dt="2021-05-25T08:49:48.982" v="7771" actId="790"/>
        <pc:sldMkLst>
          <pc:docMk/>
          <pc:sldMk cId="2505788154" sldId="10474"/>
        </pc:sldMkLst>
        <pc:spChg chg="mod">
          <ac:chgData name="Aude Van de WIELE" userId="7317e673-04dd-415c-a4d7-718682339b40" providerId="ADAL" clId="{80D4E734-020D-4C1F-A028-1B9E9B483F9A}" dt="2021-05-25T08:49:48.929" v="7734" actId="790"/>
          <ac:spMkLst>
            <pc:docMk/>
            <pc:sldMk cId="2505788154" sldId="10474"/>
            <ac:spMk id="2" creationId="{BA3E4240-1B8B-4AAA-9DCA-9FE236464846}"/>
          </ac:spMkLst>
        </pc:spChg>
        <pc:spChg chg="del">
          <ac:chgData name="Aude Van de WIELE" userId="7317e673-04dd-415c-a4d7-718682339b40" providerId="ADAL" clId="{80D4E734-020D-4C1F-A028-1B9E9B483F9A}" dt="2021-05-24T16:12:39.573" v="6216" actId="478"/>
          <ac:spMkLst>
            <pc:docMk/>
            <pc:sldMk cId="2505788154" sldId="10474"/>
            <ac:spMk id="9" creationId="{8EBE87B3-F04E-491F-82E3-AD5C42A920E2}"/>
          </ac:spMkLst>
        </pc:spChg>
        <pc:spChg chg="mod">
          <ac:chgData name="Aude Van de WIELE" userId="7317e673-04dd-415c-a4d7-718682339b40" providerId="ADAL" clId="{80D4E734-020D-4C1F-A028-1B9E9B483F9A}" dt="2021-05-25T08:49:48.933" v="7736" actId="790"/>
          <ac:spMkLst>
            <pc:docMk/>
            <pc:sldMk cId="2505788154" sldId="10474"/>
            <ac:spMk id="10" creationId="{8B80541E-0CB8-4F46-AA31-1D2CE8ECE50F}"/>
          </ac:spMkLst>
        </pc:spChg>
        <pc:spChg chg="mod">
          <ac:chgData name="Aude Van de WIELE" userId="7317e673-04dd-415c-a4d7-718682339b40" providerId="ADAL" clId="{80D4E734-020D-4C1F-A028-1B9E9B483F9A}" dt="2021-05-25T08:49:48.932" v="7735" actId="790"/>
          <ac:spMkLst>
            <pc:docMk/>
            <pc:sldMk cId="2505788154" sldId="10474"/>
            <ac:spMk id="12" creationId="{5632CA9B-96AD-46F9-9A8A-B6E6800443DD}"/>
          </ac:spMkLst>
        </pc:spChg>
        <pc:spChg chg="del">
          <ac:chgData name="Aude Van de WIELE" userId="7317e673-04dd-415c-a4d7-718682339b40" providerId="ADAL" clId="{80D4E734-020D-4C1F-A028-1B9E9B483F9A}" dt="2021-05-24T13:02:05.809" v="3865" actId="478"/>
          <ac:spMkLst>
            <pc:docMk/>
            <pc:sldMk cId="2505788154" sldId="10474"/>
            <ac:spMk id="13" creationId="{8A47A578-76B7-48A6-B910-8A54E9BC3C53}"/>
          </ac:spMkLst>
        </pc:spChg>
        <pc:spChg chg="del">
          <ac:chgData name="Aude Van de WIELE" userId="7317e673-04dd-415c-a4d7-718682339b40" providerId="ADAL" clId="{80D4E734-020D-4C1F-A028-1B9E9B483F9A}" dt="2021-05-24T13:02:05.809" v="3865" actId="478"/>
          <ac:spMkLst>
            <pc:docMk/>
            <pc:sldMk cId="2505788154" sldId="10474"/>
            <ac:spMk id="16" creationId="{4FCCDEAF-F1D6-472C-8877-BCF7D817DF4C}"/>
          </ac:spMkLst>
        </pc:spChg>
        <pc:spChg chg="del">
          <ac:chgData name="Aude Van de WIELE" userId="7317e673-04dd-415c-a4d7-718682339b40" providerId="ADAL" clId="{80D4E734-020D-4C1F-A028-1B9E9B483F9A}" dt="2021-05-24T13:02:05.809" v="3865" actId="478"/>
          <ac:spMkLst>
            <pc:docMk/>
            <pc:sldMk cId="2505788154" sldId="10474"/>
            <ac:spMk id="21" creationId="{58337BA2-B7F0-4432-B9BF-C085B3E8B7D0}"/>
          </ac:spMkLst>
        </pc:spChg>
        <pc:spChg chg="del">
          <ac:chgData name="Aude Van de WIELE" userId="7317e673-04dd-415c-a4d7-718682339b40" providerId="ADAL" clId="{80D4E734-020D-4C1F-A028-1B9E9B483F9A}" dt="2021-05-24T13:02:05.809" v="3865" actId="478"/>
          <ac:spMkLst>
            <pc:docMk/>
            <pc:sldMk cId="2505788154" sldId="10474"/>
            <ac:spMk id="23" creationId="{CAB7DE97-987C-4E1B-AC28-72D620F2E2AC}"/>
          </ac:spMkLst>
        </pc:spChg>
        <pc:spChg chg="del">
          <ac:chgData name="Aude Van de WIELE" userId="7317e673-04dd-415c-a4d7-718682339b40" providerId="ADAL" clId="{80D4E734-020D-4C1F-A028-1B9E9B483F9A}" dt="2021-05-24T13:02:12.587" v="3867" actId="478"/>
          <ac:spMkLst>
            <pc:docMk/>
            <pc:sldMk cId="2505788154" sldId="10474"/>
            <ac:spMk id="50" creationId="{3D11D9AD-56B2-4FD0-998A-C3C17321490E}"/>
          </ac:spMkLst>
        </pc:spChg>
        <pc:spChg chg="del">
          <ac:chgData name="Aude Van de WIELE" userId="7317e673-04dd-415c-a4d7-718682339b40" providerId="ADAL" clId="{80D4E734-020D-4C1F-A028-1B9E9B483F9A}" dt="2021-05-24T13:02:12.587" v="3867" actId="478"/>
          <ac:spMkLst>
            <pc:docMk/>
            <pc:sldMk cId="2505788154" sldId="10474"/>
            <ac:spMk id="51" creationId="{ABA09096-B3E8-4754-A77D-65D350688B5B}"/>
          </ac:spMkLst>
        </pc:spChg>
        <pc:spChg chg="del">
          <ac:chgData name="Aude Van de WIELE" userId="7317e673-04dd-415c-a4d7-718682339b40" providerId="ADAL" clId="{80D4E734-020D-4C1F-A028-1B9E9B483F9A}" dt="2021-05-24T13:02:12.587" v="3867" actId="478"/>
          <ac:spMkLst>
            <pc:docMk/>
            <pc:sldMk cId="2505788154" sldId="10474"/>
            <ac:spMk id="52" creationId="{269DE5CB-BABB-4CE5-BFC8-CA5EE268E23C}"/>
          </ac:spMkLst>
        </pc:spChg>
        <pc:spChg chg="mod">
          <ac:chgData name="Aude Van de WIELE" userId="7317e673-04dd-415c-a4d7-718682339b40" providerId="ADAL" clId="{80D4E734-020D-4C1F-A028-1B9E9B483F9A}" dt="2021-05-25T08:49:48.934" v="7737" actId="790"/>
          <ac:spMkLst>
            <pc:docMk/>
            <pc:sldMk cId="2505788154" sldId="10474"/>
            <ac:spMk id="54" creationId="{A1ED7959-6972-4CA1-87DE-4A9E265D1EE1}"/>
          </ac:spMkLst>
        </pc:spChg>
        <pc:spChg chg="mod">
          <ac:chgData name="Aude Van de WIELE" userId="7317e673-04dd-415c-a4d7-718682339b40" providerId="ADAL" clId="{80D4E734-020D-4C1F-A028-1B9E9B483F9A}" dt="2021-05-25T08:49:48.936" v="7738" actId="790"/>
          <ac:spMkLst>
            <pc:docMk/>
            <pc:sldMk cId="2505788154" sldId="10474"/>
            <ac:spMk id="61" creationId="{0CCFF1A2-CE09-4311-BD82-2FC01C7F8607}"/>
          </ac:spMkLst>
        </pc:spChg>
        <pc:spChg chg="add mod">
          <ac:chgData name="Aude Van de WIELE" userId="7317e673-04dd-415c-a4d7-718682339b40" providerId="ADAL" clId="{80D4E734-020D-4C1F-A028-1B9E9B483F9A}" dt="2021-05-25T08:49:48.977" v="7768" actId="790"/>
          <ac:spMkLst>
            <pc:docMk/>
            <pc:sldMk cId="2505788154" sldId="10474"/>
            <ac:spMk id="64" creationId="{715DCA8A-86D5-45FB-9BFD-4D1110B6C7FB}"/>
          </ac:spMkLst>
        </pc:spChg>
        <pc:spChg chg="add mod">
          <ac:chgData name="Aude Van de WIELE" userId="7317e673-04dd-415c-a4d7-718682339b40" providerId="ADAL" clId="{80D4E734-020D-4C1F-A028-1B9E9B483F9A}" dt="2021-05-25T08:49:48.939" v="7741" actId="790"/>
          <ac:spMkLst>
            <pc:docMk/>
            <pc:sldMk cId="2505788154" sldId="10474"/>
            <ac:spMk id="65" creationId="{621ABA10-DB52-4BB0-BAFC-8BE5CFD23B9F}"/>
          </ac:spMkLst>
        </pc:spChg>
        <pc:spChg chg="add mod">
          <ac:chgData name="Aude Van de WIELE" userId="7317e673-04dd-415c-a4d7-718682339b40" providerId="ADAL" clId="{80D4E734-020D-4C1F-A028-1B9E9B483F9A}" dt="2021-05-25T08:49:48.940" v="7742" actId="790"/>
          <ac:spMkLst>
            <pc:docMk/>
            <pc:sldMk cId="2505788154" sldId="10474"/>
            <ac:spMk id="66" creationId="{A3EC114C-5251-4558-8979-7A09B9BD87E8}"/>
          </ac:spMkLst>
        </pc:spChg>
        <pc:spChg chg="add mod">
          <ac:chgData name="Aude Van de WIELE" userId="7317e673-04dd-415c-a4d7-718682339b40" providerId="ADAL" clId="{80D4E734-020D-4C1F-A028-1B9E9B483F9A}" dt="2021-05-25T08:49:48.940" v="7743" actId="790"/>
          <ac:spMkLst>
            <pc:docMk/>
            <pc:sldMk cId="2505788154" sldId="10474"/>
            <ac:spMk id="67" creationId="{44209A18-064E-4D98-A20A-566CF9E8375A}"/>
          </ac:spMkLst>
        </pc:spChg>
        <pc:spChg chg="mod">
          <ac:chgData name="Aude Van de WIELE" userId="7317e673-04dd-415c-a4d7-718682339b40" providerId="ADAL" clId="{80D4E734-020D-4C1F-A028-1B9E9B483F9A}" dt="2021-05-25T08:49:48.937" v="7739" actId="790"/>
          <ac:spMkLst>
            <pc:docMk/>
            <pc:sldMk cId="2505788154" sldId="10474"/>
            <ac:spMk id="68" creationId="{A5346155-53F6-4492-8069-514F081C33B9}"/>
          </ac:spMkLst>
        </pc:spChg>
        <pc:spChg chg="add mod">
          <ac:chgData name="Aude Van de WIELE" userId="7317e673-04dd-415c-a4d7-718682339b40" providerId="ADAL" clId="{80D4E734-020D-4C1F-A028-1B9E9B483F9A}" dt="2021-05-25T08:49:48.942" v="7744" actId="790"/>
          <ac:spMkLst>
            <pc:docMk/>
            <pc:sldMk cId="2505788154" sldId="10474"/>
            <ac:spMk id="72" creationId="{C5BAE9F3-F0CE-4E5D-A59F-809FDD7B37E5}"/>
          </ac:spMkLst>
        </pc:spChg>
        <pc:spChg chg="mod">
          <ac:chgData name="Aude Van de WIELE" userId="7317e673-04dd-415c-a4d7-718682339b40" providerId="ADAL" clId="{80D4E734-020D-4C1F-A028-1B9E9B483F9A}" dt="2021-05-25T08:49:48.938" v="7740" actId="790"/>
          <ac:spMkLst>
            <pc:docMk/>
            <pc:sldMk cId="2505788154" sldId="10474"/>
            <ac:spMk id="73" creationId="{98DD9878-7EFD-4EE3-8563-0AB6CA847BCD}"/>
          </ac:spMkLst>
        </pc:spChg>
        <pc:spChg chg="add mod">
          <ac:chgData name="Aude Van de WIELE" userId="7317e673-04dd-415c-a4d7-718682339b40" providerId="ADAL" clId="{80D4E734-020D-4C1F-A028-1B9E9B483F9A}" dt="2021-05-25T08:49:48.944" v="7745" actId="790"/>
          <ac:spMkLst>
            <pc:docMk/>
            <pc:sldMk cId="2505788154" sldId="10474"/>
            <ac:spMk id="74" creationId="{E5DAF6B5-73B5-4F99-AC68-3AF9C1E72B1A}"/>
          </ac:spMkLst>
        </pc:spChg>
        <pc:spChg chg="add mod">
          <ac:chgData name="Aude Van de WIELE" userId="7317e673-04dd-415c-a4d7-718682339b40" providerId="ADAL" clId="{80D4E734-020D-4C1F-A028-1B9E9B483F9A}" dt="2021-05-25T08:49:48.946" v="7746" actId="790"/>
          <ac:spMkLst>
            <pc:docMk/>
            <pc:sldMk cId="2505788154" sldId="10474"/>
            <ac:spMk id="75" creationId="{FC4FB322-02D4-4E5C-B006-A484E3CA441A}"/>
          </ac:spMkLst>
        </pc:spChg>
        <pc:spChg chg="add mod">
          <ac:chgData name="Aude Van de WIELE" userId="7317e673-04dd-415c-a4d7-718682339b40" providerId="ADAL" clId="{80D4E734-020D-4C1F-A028-1B9E9B483F9A}" dt="2021-05-25T08:49:48.946" v="7747" actId="790"/>
          <ac:spMkLst>
            <pc:docMk/>
            <pc:sldMk cId="2505788154" sldId="10474"/>
            <ac:spMk id="76" creationId="{38973F65-37ED-4CDC-9A45-5183BBDA5DB7}"/>
          </ac:spMkLst>
        </pc:spChg>
        <pc:spChg chg="add mod">
          <ac:chgData name="Aude Van de WIELE" userId="7317e673-04dd-415c-a4d7-718682339b40" providerId="ADAL" clId="{80D4E734-020D-4C1F-A028-1B9E9B483F9A}" dt="2021-05-25T08:49:48.949" v="7748" actId="790"/>
          <ac:spMkLst>
            <pc:docMk/>
            <pc:sldMk cId="2505788154" sldId="10474"/>
            <ac:spMk id="77" creationId="{C58DFF13-F614-467C-A649-5174336B1430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78" creationId="{5112757C-9BF4-4BA1-9498-541BF2906FB2}"/>
          </ac:spMkLst>
        </pc:spChg>
        <pc:spChg chg="mod">
          <ac:chgData name="Aude Van de WIELE" userId="7317e673-04dd-415c-a4d7-718682339b40" providerId="ADAL" clId="{80D4E734-020D-4C1F-A028-1B9E9B483F9A}" dt="2021-05-25T08:49:48.971" v="7761" actId="790"/>
          <ac:spMkLst>
            <pc:docMk/>
            <pc:sldMk cId="2505788154" sldId="10474"/>
            <ac:spMk id="78" creationId="{BE2FB5DD-C34E-41C9-91E9-F7910227B253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79" creationId="{03A27743-6F0C-44CB-A476-520C8741EAE9}"/>
          </ac:spMkLst>
        </pc:spChg>
        <pc:spChg chg="mod">
          <ac:chgData name="Aude Van de WIELE" userId="7317e673-04dd-415c-a4d7-718682339b40" providerId="ADAL" clId="{80D4E734-020D-4C1F-A028-1B9E9B483F9A}" dt="2021-05-25T08:49:48.972" v="7762" actId="790"/>
          <ac:spMkLst>
            <pc:docMk/>
            <pc:sldMk cId="2505788154" sldId="10474"/>
            <ac:spMk id="79" creationId="{987E3A29-35FB-44D0-830C-98224FE5939E}"/>
          </ac:spMkLst>
        </pc:spChg>
        <pc:spChg chg="mod">
          <ac:chgData name="Aude Van de WIELE" userId="7317e673-04dd-415c-a4d7-718682339b40" providerId="ADAL" clId="{80D4E734-020D-4C1F-A028-1B9E9B483F9A}" dt="2021-05-25T08:49:48.973" v="7763" actId="790"/>
          <ac:spMkLst>
            <pc:docMk/>
            <pc:sldMk cId="2505788154" sldId="10474"/>
            <ac:spMk id="80" creationId="{9E159D94-53AC-4543-A7C1-B2F625D77A92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80" creationId="{E399A358-1215-4FA3-8339-9689B70175BF}"/>
          </ac:spMkLst>
        </pc:spChg>
        <pc:spChg chg="mod">
          <ac:chgData name="Aude Van de WIELE" userId="7317e673-04dd-415c-a4d7-718682339b40" providerId="ADAL" clId="{80D4E734-020D-4C1F-A028-1B9E9B483F9A}" dt="2021-05-25T08:49:48.974" v="7764" actId="790"/>
          <ac:spMkLst>
            <pc:docMk/>
            <pc:sldMk cId="2505788154" sldId="10474"/>
            <ac:spMk id="81" creationId="{3F40900F-5E10-47C1-9B77-8A4BAB96ECE8}"/>
          </ac:spMkLst>
        </pc:spChg>
        <pc:spChg chg="del">
          <ac:chgData name="Aude Van de WIELE" userId="7317e673-04dd-415c-a4d7-718682339b40" providerId="ADAL" clId="{80D4E734-020D-4C1F-A028-1B9E9B483F9A}" dt="2021-05-24T13:02:05.809" v="3865" actId="478"/>
          <ac:spMkLst>
            <pc:docMk/>
            <pc:sldMk cId="2505788154" sldId="10474"/>
            <ac:spMk id="81" creationId="{60F8FC4C-7305-426C-8523-F98FB2B728B2}"/>
          </ac:spMkLst>
        </pc:spChg>
        <pc:spChg chg="mod">
          <ac:chgData name="Aude Van de WIELE" userId="7317e673-04dd-415c-a4d7-718682339b40" providerId="ADAL" clId="{80D4E734-020D-4C1F-A028-1B9E9B483F9A}" dt="2021-05-25T08:49:48.974" v="7765" actId="790"/>
          <ac:spMkLst>
            <pc:docMk/>
            <pc:sldMk cId="2505788154" sldId="10474"/>
            <ac:spMk id="82" creationId="{0E1D3493-1D0F-4215-B036-5EE85B79166D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82" creationId="{378DC2D4-4EBE-4118-8C40-86863555C037}"/>
          </ac:spMkLst>
        </pc:spChg>
        <pc:spChg chg="add mod">
          <ac:chgData name="Aude Van de WIELE" userId="7317e673-04dd-415c-a4d7-718682339b40" providerId="ADAL" clId="{80D4E734-020D-4C1F-A028-1B9E9B483F9A}" dt="2021-05-25T08:49:48.952" v="7749" actId="790"/>
          <ac:spMkLst>
            <pc:docMk/>
            <pc:sldMk cId="2505788154" sldId="10474"/>
            <ac:spMk id="83" creationId="{F3D9AFF7-1D4F-497C-9EBC-5196256BD28B}"/>
          </ac:spMkLst>
        </pc:spChg>
        <pc:spChg chg="mod">
          <ac:chgData name="Aude Van de WIELE" userId="7317e673-04dd-415c-a4d7-718682339b40" providerId="ADAL" clId="{80D4E734-020D-4C1F-A028-1B9E9B483F9A}" dt="2021-05-25T08:49:48.975" v="7766" actId="790"/>
          <ac:spMkLst>
            <pc:docMk/>
            <pc:sldMk cId="2505788154" sldId="10474"/>
            <ac:spMk id="84" creationId="{82EBBB7A-5471-454F-9E18-48C0BA42145C}"/>
          </ac:spMkLst>
        </pc:spChg>
        <pc:spChg chg="mod">
          <ac:chgData name="Aude Van de WIELE" userId="7317e673-04dd-415c-a4d7-718682339b40" providerId="ADAL" clId="{80D4E734-020D-4C1F-A028-1B9E9B483F9A}" dt="2021-05-25T08:49:48.976" v="7767" actId="790"/>
          <ac:spMkLst>
            <pc:docMk/>
            <pc:sldMk cId="2505788154" sldId="10474"/>
            <ac:spMk id="85" creationId="{C45D6D08-8894-42EA-8C23-28E2C27E9226}"/>
          </ac:spMkLst>
        </pc:spChg>
        <pc:spChg chg="del">
          <ac:chgData name="Aude Van de WIELE" userId="7317e673-04dd-415c-a4d7-718682339b40" providerId="ADAL" clId="{80D4E734-020D-4C1F-A028-1B9E9B483F9A}" dt="2021-05-24T13:02:05.809" v="3865" actId="478"/>
          <ac:spMkLst>
            <pc:docMk/>
            <pc:sldMk cId="2505788154" sldId="10474"/>
            <ac:spMk id="86" creationId="{5426AF42-AB87-4AFB-94AB-DD1D8EF561A6}"/>
          </ac:spMkLst>
        </pc:spChg>
        <pc:spChg chg="add mod">
          <ac:chgData name="Aude Van de WIELE" userId="7317e673-04dd-415c-a4d7-718682339b40" providerId="ADAL" clId="{80D4E734-020D-4C1F-A028-1B9E9B483F9A}" dt="2021-05-25T08:49:48.954" v="7750" actId="790"/>
          <ac:spMkLst>
            <pc:docMk/>
            <pc:sldMk cId="2505788154" sldId="10474"/>
            <ac:spMk id="87" creationId="{7BB8F9F8-E10F-4E64-9187-C6D2D1422ACE}"/>
          </ac:spMkLst>
        </pc:spChg>
        <pc:spChg chg="mod">
          <ac:chgData name="Aude Van de WIELE" userId="7317e673-04dd-415c-a4d7-718682339b40" providerId="ADAL" clId="{80D4E734-020D-4C1F-A028-1B9E9B483F9A}" dt="2021-05-25T08:49:48.978" v="7769" actId="790"/>
          <ac:spMkLst>
            <pc:docMk/>
            <pc:sldMk cId="2505788154" sldId="10474"/>
            <ac:spMk id="103" creationId="{D1ADF058-49F0-46BE-A5B0-D41C2897BE51}"/>
          </ac:spMkLst>
        </pc:spChg>
        <pc:spChg chg="add mod">
          <ac:chgData name="Aude Van de WIELE" userId="7317e673-04dd-415c-a4d7-718682339b40" providerId="ADAL" clId="{80D4E734-020D-4C1F-A028-1B9E9B483F9A}" dt="2021-05-25T08:49:48.956" v="7751" actId="790"/>
          <ac:spMkLst>
            <pc:docMk/>
            <pc:sldMk cId="2505788154" sldId="10474"/>
            <ac:spMk id="104" creationId="{849ECA68-F6D3-4283-B6B3-B59566FC1F6D}"/>
          </ac:spMkLst>
        </pc:spChg>
        <pc:spChg chg="add mod">
          <ac:chgData name="Aude Van de WIELE" userId="7317e673-04dd-415c-a4d7-718682339b40" providerId="ADAL" clId="{80D4E734-020D-4C1F-A028-1B9E9B483F9A}" dt="2021-05-25T08:49:48.956" v="7752" actId="790"/>
          <ac:spMkLst>
            <pc:docMk/>
            <pc:sldMk cId="2505788154" sldId="10474"/>
            <ac:spMk id="105" creationId="{EEE2C96C-B2B1-48D8-9332-E30827E4B0D0}"/>
          </ac:spMkLst>
        </pc:spChg>
        <pc:spChg chg="add mod">
          <ac:chgData name="Aude Van de WIELE" userId="7317e673-04dd-415c-a4d7-718682339b40" providerId="ADAL" clId="{80D4E734-020D-4C1F-A028-1B9E9B483F9A}" dt="2021-05-25T08:49:48.959" v="7753" actId="790"/>
          <ac:spMkLst>
            <pc:docMk/>
            <pc:sldMk cId="2505788154" sldId="10474"/>
            <ac:spMk id="106" creationId="{0CE85CB8-7C7A-49B2-A57F-88CBBDC8A596}"/>
          </ac:spMkLst>
        </pc:spChg>
        <pc:spChg chg="add mod">
          <ac:chgData name="Aude Van de WIELE" userId="7317e673-04dd-415c-a4d7-718682339b40" providerId="ADAL" clId="{80D4E734-020D-4C1F-A028-1B9E9B483F9A}" dt="2021-05-25T08:49:48.959" v="7754" actId="790"/>
          <ac:spMkLst>
            <pc:docMk/>
            <pc:sldMk cId="2505788154" sldId="10474"/>
            <ac:spMk id="107" creationId="{E85C8784-F071-4729-9033-22C4CE869084}"/>
          </ac:spMkLst>
        </pc:spChg>
        <pc:spChg chg="add mod">
          <ac:chgData name="Aude Van de WIELE" userId="7317e673-04dd-415c-a4d7-718682339b40" providerId="ADAL" clId="{80D4E734-020D-4C1F-A028-1B9E9B483F9A}" dt="2021-05-25T08:49:48.962" v="7755" actId="790"/>
          <ac:spMkLst>
            <pc:docMk/>
            <pc:sldMk cId="2505788154" sldId="10474"/>
            <ac:spMk id="108" creationId="{718E7AB5-E818-4750-AA50-CF34925A2446}"/>
          </ac:spMkLst>
        </pc:spChg>
        <pc:spChg chg="mod">
          <ac:chgData name="Aude Van de WIELE" userId="7317e673-04dd-415c-a4d7-718682339b40" providerId="ADAL" clId="{80D4E734-020D-4C1F-A028-1B9E9B483F9A}" dt="2021-05-25T08:49:48.980" v="7770" actId="790"/>
          <ac:spMkLst>
            <pc:docMk/>
            <pc:sldMk cId="2505788154" sldId="10474"/>
            <ac:spMk id="109" creationId="{BBAA2621-CEE3-45B9-A27A-5E3B01CCE547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109" creationId="{E8BE3BCE-A832-4D22-9958-D819266EA290}"/>
          </ac:spMkLst>
        </pc:spChg>
        <pc:spChg chg="add mod">
          <ac:chgData name="Aude Van de WIELE" userId="7317e673-04dd-415c-a4d7-718682339b40" providerId="ADAL" clId="{80D4E734-020D-4C1F-A028-1B9E9B483F9A}" dt="2021-05-25T08:49:48.962" v="7756" actId="790"/>
          <ac:spMkLst>
            <pc:docMk/>
            <pc:sldMk cId="2505788154" sldId="10474"/>
            <ac:spMk id="110" creationId="{F5CF73F8-DE8B-4531-8E6F-66A5B1437B68}"/>
          </ac:spMkLst>
        </pc:spChg>
        <pc:spChg chg="add mod">
          <ac:chgData name="Aude Van de WIELE" userId="7317e673-04dd-415c-a4d7-718682339b40" providerId="ADAL" clId="{80D4E734-020D-4C1F-A028-1B9E9B483F9A}" dt="2021-05-25T08:49:48.963" v="7757" actId="790"/>
          <ac:spMkLst>
            <pc:docMk/>
            <pc:sldMk cId="2505788154" sldId="10474"/>
            <ac:spMk id="112" creationId="{F1E7BD5C-F003-4784-B812-A952EED452E0}"/>
          </ac:spMkLst>
        </pc:spChg>
        <pc:spChg chg="add mod">
          <ac:chgData name="Aude Van de WIELE" userId="7317e673-04dd-415c-a4d7-718682339b40" providerId="ADAL" clId="{80D4E734-020D-4C1F-A028-1B9E9B483F9A}" dt="2021-05-25T08:49:48.964" v="7758" actId="790"/>
          <ac:spMkLst>
            <pc:docMk/>
            <pc:sldMk cId="2505788154" sldId="10474"/>
            <ac:spMk id="113" creationId="{34780B37-667B-46AD-A90A-2E9A04B51827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114" creationId="{EF7E7272-A5E8-48AE-AF6F-C99EB6336D02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115" creationId="{E4406749-7A4A-41F0-A850-CE3465C20F17}"/>
          </ac:spMkLst>
        </pc:spChg>
        <pc:spChg chg="del">
          <ac:chgData name="Aude Van de WIELE" userId="7317e673-04dd-415c-a4d7-718682339b40" providerId="ADAL" clId="{80D4E734-020D-4C1F-A028-1B9E9B483F9A}" dt="2021-05-24T13:02:16.456" v="3868" actId="478"/>
          <ac:spMkLst>
            <pc:docMk/>
            <pc:sldMk cId="2505788154" sldId="10474"/>
            <ac:spMk id="116" creationId="{2806627C-A398-4592-B3EB-4C56D0420050}"/>
          </ac:spMkLst>
        </pc:spChg>
        <pc:spChg chg="mod">
          <ac:chgData name="Aude Van de WIELE" userId="7317e673-04dd-415c-a4d7-718682339b40" providerId="ADAL" clId="{80D4E734-020D-4C1F-A028-1B9E9B483F9A}" dt="2021-05-24T13:06:37.318" v="3950" actId="1076"/>
          <ac:spMkLst>
            <pc:docMk/>
            <pc:sldMk cId="2505788154" sldId="10474"/>
            <ac:spMk id="118" creationId="{FE0472EE-49C3-4CE2-A375-6C6AE74F0C1C}"/>
          </ac:spMkLst>
        </pc:spChg>
        <pc:spChg chg="mod">
          <ac:chgData name="Aude Van de WIELE" userId="7317e673-04dd-415c-a4d7-718682339b40" providerId="ADAL" clId="{80D4E734-020D-4C1F-A028-1B9E9B483F9A}" dt="2021-05-24T13:06:37.318" v="3950" actId="1076"/>
          <ac:spMkLst>
            <pc:docMk/>
            <pc:sldMk cId="2505788154" sldId="10474"/>
            <ac:spMk id="119" creationId="{64762B4E-7948-41DE-9CFB-D9645965441E}"/>
          </ac:spMkLst>
        </pc:spChg>
        <pc:spChg chg="mod">
          <ac:chgData name="Aude Van de WIELE" userId="7317e673-04dd-415c-a4d7-718682339b40" providerId="ADAL" clId="{80D4E734-020D-4C1F-A028-1B9E9B483F9A}" dt="2021-05-24T13:06:38.678" v="3951" actId="1076"/>
          <ac:spMkLst>
            <pc:docMk/>
            <pc:sldMk cId="2505788154" sldId="10474"/>
            <ac:spMk id="121" creationId="{B3D74C9A-F9FC-4552-B06E-DB2622B4F2A2}"/>
          </ac:spMkLst>
        </pc:spChg>
        <pc:spChg chg="mod">
          <ac:chgData name="Aude Van de WIELE" userId="7317e673-04dd-415c-a4d7-718682339b40" providerId="ADAL" clId="{80D4E734-020D-4C1F-A028-1B9E9B483F9A}" dt="2021-05-24T13:06:38.678" v="3951" actId="1076"/>
          <ac:spMkLst>
            <pc:docMk/>
            <pc:sldMk cId="2505788154" sldId="10474"/>
            <ac:spMk id="122" creationId="{79C67B36-70F9-4CAC-853D-F2E50C96F1C7}"/>
          </ac:spMkLst>
        </pc:spChg>
        <pc:spChg chg="mod">
          <ac:chgData name="Aude Van de WIELE" userId="7317e673-04dd-415c-a4d7-718682339b40" providerId="ADAL" clId="{80D4E734-020D-4C1F-A028-1B9E9B483F9A}" dt="2021-05-24T13:06:42.031" v="3952" actId="1076"/>
          <ac:spMkLst>
            <pc:docMk/>
            <pc:sldMk cId="2505788154" sldId="10474"/>
            <ac:spMk id="124" creationId="{1F0BA65E-ABAB-4F7D-A1C9-036AEF81130A}"/>
          </ac:spMkLst>
        </pc:spChg>
        <pc:spChg chg="mod">
          <ac:chgData name="Aude Van de WIELE" userId="7317e673-04dd-415c-a4d7-718682339b40" providerId="ADAL" clId="{80D4E734-020D-4C1F-A028-1B9E9B483F9A}" dt="2021-05-24T13:06:42.031" v="3952" actId="1076"/>
          <ac:spMkLst>
            <pc:docMk/>
            <pc:sldMk cId="2505788154" sldId="10474"/>
            <ac:spMk id="125" creationId="{957142BE-40DE-408C-AE23-2738DCAD96A0}"/>
          </ac:spMkLst>
        </pc:spChg>
        <pc:spChg chg="mod">
          <ac:chgData name="Aude Van de WIELE" userId="7317e673-04dd-415c-a4d7-718682339b40" providerId="ADAL" clId="{80D4E734-020D-4C1F-A028-1B9E9B483F9A}" dt="2021-05-24T13:06:43.695" v="3953" actId="1076"/>
          <ac:spMkLst>
            <pc:docMk/>
            <pc:sldMk cId="2505788154" sldId="10474"/>
            <ac:spMk id="127" creationId="{7C98CE62-68ED-4EF5-B29F-BB791918EB46}"/>
          </ac:spMkLst>
        </pc:spChg>
        <pc:spChg chg="mod">
          <ac:chgData name="Aude Van de WIELE" userId="7317e673-04dd-415c-a4d7-718682339b40" providerId="ADAL" clId="{80D4E734-020D-4C1F-A028-1B9E9B483F9A}" dt="2021-05-24T13:06:43.695" v="3953" actId="1076"/>
          <ac:spMkLst>
            <pc:docMk/>
            <pc:sldMk cId="2505788154" sldId="10474"/>
            <ac:spMk id="128" creationId="{3347CFEF-C1B7-4BA6-B6D0-B6771946B65E}"/>
          </ac:spMkLst>
        </pc:spChg>
        <pc:spChg chg="add mod ord">
          <ac:chgData name="Aude Van de WIELE" userId="7317e673-04dd-415c-a4d7-718682339b40" providerId="ADAL" clId="{80D4E734-020D-4C1F-A028-1B9E9B483F9A}" dt="2021-05-25T08:49:48.925" v="7730" actId="790"/>
          <ac:spMkLst>
            <pc:docMk/>
            <pc:sldMk cId="2505788154" sldId="10474"/>
            <ac:spMk id="129" creationId="{D71975E8-6EB4-4EA3-B34C-4F9196C4ABBE}"/>
          </ac:spMkLst>
        </pc:spChg>
        <pc:spChg chg="mod">
          <ac:chgData name="Aude Van de WIELE" userId="7317e673-04dd-415c-a4d7-718682339b40" providerId="ADAL" clId="{80D4E734-020D-4C1F-A028-1B9E9B483F9A}" dt="2021-05-24T13:06:59.313" v="3954" actId="1076"/>
          <ac:spMkLst>
            <pc:docMk/>
            <pc:sldMk cId="2505788154" sldId="10474"/>
            <ac:spMk id="131" creationId="{F3F20DED-087B-461D-94FE-62841E6C87A8}"/>
          </ac:spMkLst>
        </pc:spChg>
        <pc:spChg chg="mod">
          <ac:chgData name="Aude Van de WIELE" userId="7317e673-04dd-415c-a4d7-718682339b40" providerId="ADAL" clId="{80D4E734-020D-4C1F-A028-1B9E9B483F9A}" dt="2021-05-24T13:06:59.313" v="3954" actId="1076"/>
          <ac:spMkLst>
            <pc:docMk/>
            <pc:sldMk cId="2505788154" sldId="10474"/>
            <ac:spMk id="132" creationId="{FB5274ED-8255-417D-AE12-A8E6AEC2841C}"/>
          </ac:spMkLst>
        </pc:spChg>
        <pc:spChg chg="add mod ord">
          <ac:chgData name="Aude Van de WIELE" userId="7317e673-04dd-415c-a4d7-718682339b40" providerId="ADAL" clId="{80D4E734-020D-4C1F-A028-1B9E9B483F9A}" dt="2021-05-25T08:49:48.925" v="7731" actId="790"/>
          <ac:spMkLst>
            <pc:docMk/>
            <pc:sldMk cId="2505788154" sldId="10474"/>
            <ac:spMk id="133" creationId="{A342E216-A2F2-4FE4-89F9-E0010C3D7924}"/>
          </ac:spMkLst>
        </pc:spChg>
        <pc:spChg chg="add mod ord">
          <ac:chgData name="Aude Van de WIELE" userId="7317e673-04dd-415c-a4d7-718682339b40" providerId="ADAL" clId="{80D4E734-020D-4C1F-A028-1B9E9B483F9A}" dt="2021-05-25T08:49:48.926" v="7732" actId="790"/>
          <ac:spMkLst>
            <pc:docMk/>
            <pc:sldMk cId="2505788154" sldId="10474"/>
            <ac:spMk id="134" creationId="{70FE3725-42CC-4172-9F8D-F2B05517B173}"/>
          </ac:spMkLst>
        </pc:spChg>
        <pc:spChg chg="add mod ord">
          <ac:chgData name="Aude Van de WIELE" userId="7317e673-04dd-415c-a4d7-718682339b40" providerId="ADAL" clId="{80D4E734-020D-4C1F-A028-1B9E9B483F9A}" dt="2021-05-25T08:49:48.927" v="7733" actId="790"/>
          <ac:spMkLst>
            <pc:docMk/>
            <pc:sldMk cId="2505788154" sldId="10474"/>
            <ac:spMk id="135" creationId="{E9E47757-74E5-4C3A-8349-4DF9BC11DA26}"/>
          </ac:spMkLst>
        </pc:spChg>
        <pc:spChg chg="add mod">
          <ac:chgData name="Aude Van de WIELE" userId="7317e673-04dd-415c-a4d7-718682339b40" providerId="ADAL" clId="{80D4E734-020D-4C1F-A028-1B9E9B483F9A}" dt="2021-05-25T08:49:48.969" v="7759" actId="790"/>
          <ac:spMkLst>
            <pc:docMk/>
            <pc:sldMk cId="2505788154" sldId="10474"/>
            <ac:spMk id="136" creationId="{F5655A12-1321-41AD-A021-A3F6072E401C}"/>
          </ac:spMkLst>
        </pc:spChg>
        <pc:spChg chg="add mod">
          <ac:chgData name="Aude Van de WIELE" userId="7317e673-04dd-415c-a4d7-718682339b40" providerId="ADAL" clId="{80D4E734-020D-4C1F-A028-1B9E9B483F9A}" dt="2021-05-25T08:49:48.970" v="7760" actId="790"/>
          <ac:spMkLst>
            <pc:docMk/>
            <pc:sldMk cId="2505788154" sldId="10474"/>
            <ac:spMk id="137" creationId="{06AB971E-2F11-4688-B19E-8FA8645680CD}"/>
          </ac:spMkLst>
        </pc:spChg>
        <pc:spChg chg="add del mod">
          <ac:chgData name="Aude Van de WIELE" userId="7317e673-04dd-415c-a4d7-718682339b40" providerId="ADAL" clId="{80D4E734-020D-4C1F-A028-1B9E9B483F9A}" dt="2021-05-24T13:42:41.264" v="4144" actId="478"/>
          <ac:spMkLst>
            <pc:docMk/>
            <pc:sldMk cId="2505788154" sldId="10474"/>
            <ac:spMk id="138" creationId="{C36BE0A3-A0D8-49A3-B509-03131E1E3721}"/>
          </ac:spMkLst>
        </pc:spChg>
        <pc:spChg chg="mod">
          <ac:chgData name="Aude Van de WIELE" userId="7317e673-04dd-415c-a4d7-718682339b40" providerId="ADAL" clId="{80D4E734-020D-4C1F-A028-1B9E9B483F9A}" dt="2021-05-25T08:49:48.982" v="7771" actId="790"/>
          <ac:spMkLst>
            <pc:docMk/>
            <pc:sldMk cId="2505788154" sldId="10474"/>
            <ac:spMk id="139" creationId="{8DA1D49F-7219-4276-AD3C-AD0D21AF958D}"/>
          </ac:spMkLst>
        </pc:spChg>
        <pc:grpChg chg="del">
          <ac:chgData name="Aude Van de WIELE" userId="7317e673-04dd-415c-a4d7-718682339b40" providerId="ADAL" clId="{80D4E734-020D-4C1F-A028-1B9E9B483F9A}" dt="2021-05-24T13:02:16.456" v="3868" actId="478"/>
          <ac:grpSpMkLst>
            <pc:docMk/>
            <pc:sldMk cId="2505788154" sldId="10474"/>
            <ac:grpSpMk id="45" creationId="{014FDE40-AF87-4398-AF77-3BDA3430198D}"/>
          </ac:grpSpMkLst>
        </pc:grpChg>
        <pc:grpChg chg="add mod">
          <ac:chgData name="Aude Van de WIELE" userId="7317e673-04dd-415c-a4d7-718682339b40" providerId="ADAL" clId="{80D4E734-020D-4C1F-A028-1B9E9B483F9A}" dt="2021-05-24T13:06:37.318" v="3950" actId="1076"/>
          <ac:grpSpMkLst>
            <pc:docMk/>
            <pc:sldMk cId="2505788154" sldId="10474"/>
            <ac:grpSpMk id="117" creationId="{C1A6053F-1EE1-478D-B8D5-E37BD970B069}"/>
          </ac:grpSpMkLst>
        </pc:grpChg>
        <pc:grpChg chg="add mod">
          <ac:chgData name="Aude Van de WIELE" userId="7317e673-04dd-415c-a4d7-718682339b40" providerId="ADAL" clId="{80D4E734-020D-4C1F-A028-1B9E9B483F9A}" dt="2021-05-24T13:06:38.678" v="3951" actId="1076"/>
          <ac:grpSpMkLst>
            <pc:docMk/>
            <pc:sldMk cId="2505788154" sldId="10474"/>
            <ac:grpSpMk id="120" creationId="{836067BF-A926-4C0B-AB18-2D08FCA9200A}"/>
          </ac:grpSpMkLst>
        </pc:grpChg>
        <pc:grpChg chg="add mod">
          <ac:chgData name="Aude Van de WIELE" userId="7317e673-04dd-415c-a4d7-718682339b40" providerId="ADAL" clId="{80D4E734-020D-4C1F-A028-1B9E9B483F9A}" dt="2021-05-24T13:06:42.031" v="3952" actId="1076"/>
          <ac:grpSpMkLst>
            <pc:docMk/>
            <pc:sldMk cId="2505788154" sldId="10474"/>
            <ac:grpSpMk id="123" creationId="{7D8E6618-2876-4C35-932F-43E19ED46C1E}"/>
          </ac:grpSpMkLst>
        </pc:grpChg>
        <pc:grpChg chg="add mod">
          <ac:chgData name="Aude Van de WIELE" userId="7317e673-04dd-415c-a4d7-718682339b40" providerId="ADAL" clId="{80D4E734-020D-4C1F-A028-1B9E9B483F9A}" dt="2021-05-24T13:06:43.695" v="3953" actId="1076"/>
          <ac:grpSpMkLst>
            <pc:docMk/>
            <pc:sldMk cId="2505788154" sldId="10474"/>
            <ac:grpSpMk id="126" creationId="{A6B80790-D3E4-48E1-9CE6-2C2ABD766657}"/>
          </ac:grpSpMkLst>
        </pc:grpChg>
        <pc:grpChg chg="add mod">
          <ac:chgData name="Aude Van de WIELE" userId="7317e673-04dd-415c-a4d7-718682339b40" providerId="ADAL" clId="{80D4E734-020D-4C1F-A028-1B9E9B483F9A}" dt="2021-05-24T13:06:59.313" v="3954" actId="1076"/>
          <ac:grpSpMkLst>
            <pc:docMk/>
            <pc:sldMk cId="2505788154" sldId="10474"/>
            <ac:grpSpMk id="130" creationId="{75179E26-F910-4980-8F76-E1AB885C1BA1}"/>
          </ac:grpSpMkLst>
        </pc:grpChg>
        <pc:picChg chg="del">
          <ac:chgData name="Aude Van de WIELE" userId="7317e673-04dd-415c-a4d7-718682339b40" providerId="ADAL" clId="{80D4E734-020D-4C1F-A028-1B9E9B483F9A}" dt="2021-05-24T13:02:05.809" v="3865" actId="478"/>
          <ac:picMkLst>
            <pc:docMk/>
            <pc:sldMk cId="2505788154" sldId="10474"/>
            <ac:picMk id="15" creationId="{935E79BD-263C-469E-9BC7-F35F98D47CCF}"/>
          </ac:picMkLst>
        </pc:picChg>
        <pc:picChg chg="del">
          <ac:chgData name="Aude Van de WIELE" userId="7317e673-04dd-415c-a4d7-718682339b40" providerId="ADAL" clId="{80D4E734-020D-4C1F-A028-1B9E9B483F9A}" dt="2021-05-24T13:02:05.809" v="3865" actId="478"/>
          <ac:picMkLst>
            <pc:docMk/>
            <pc:sldMk cId="2505788154" sldId="10474"/>
            <ac:picMk id="29" creationId="{BED356B1-5299-4B02-9B34-333246151A62}"/>
          </ac:picMkLst>
        </pc:picChg>
        <pc:picChg chg="del">
          <ac:chgData name="Aude Van de WIELE" userId="7317e673-04dd-415c-a4d7-718682339b40" providerId="ADAL" clId="{80D4E734-020D-4C1F-A028-1B9E9B483F9A}" dt="2021-05-24T13:02:05.809" v="3865" actId="478"/>
          <ac:picMkLst>
            <pc:docMk/>
            <pc:sldMk cId="2505788154" sldId="10474"/>
            <ac:picMk id="47" creationId="{A8AD543B-38C9-44F4-BE59-CEE06D9FC367}"/>
          </ac:picMkLst>
        </pc:picChg>
        <pc:picChg chg="add mod">
          <ac:chgData name="Aude Van de WIELE" userId="7317e673-04dd-415c-a4d7-718682339b40" providerId="ADAL" clId="{80D4E734-020D-4C1F-A028-1B9E9B483F9A}" dt="2021-05-24T13:06:59.313" v="3954" actId="1076"/>
          <ac:picMkLst>
            <pc:docMk/>
            <pc:sldMk cId="2505788154" sldId="10474"/>
            <ac:picMk id="69" creationId="{4E738C09-39D3-4E6E-9EEA-BA8828CB11DA}"/>
          </ac:picMkLst>
        </pc:picChg>
        <pc:picChg chg="add mod">
          <ac:chgData name="Aude Van de WIELE" userId="7317e673-04dd-415c-a4d7-718682339b40" providerId="ADAL" clId="{80D4E734-020D-4C1F-A028-1B9E9B483F9A}" dt="2021-05-24T13:06:59.313" v="3954" actId="1076"/>
          <ac:picMkLst>
            <pc:docMk/>
            <pc:sldMk cId="2505788154" sldId="10474"/>
            <ac:picMk id="70" creationId="{AAC5393B-BE2C-4077-89C2-3AEDA0020F41}"/>
          </ac:picMkLst>
        </pc:picChg>
        <pc:picChg chg="add mod">
          <ac:chgData name="Aude Van de WIELE" userId="7317e673-04dd-415c-a4d7-718682339b40" providerId="ADAL" clId="{80D4E734-020D-4C1F-A028-1B9E9B483F9A}" dt="2021-05-24T13:06:59.313" v="3954" actId="1076"/>
          <ac:picMkLst>
            <pc:docMk/>
            <pc:sldMk cId="2505788154" sldId="10474"/>
            <ac:picMk id="71" creationId="{60D5A66A-AADF-4F9A-876E-DFE4685862BC}"/>
          </ac:picMkLst>
        </pc:picChg>
        <pc:picChg chg="add mod">
          <ac:chgData name="Aude Van de WIELE" userId="7317e673-04dd-415c-a4d7-718682339b40" providerId="ADAL" clId="{80D4E734-020D-4C1F-A028-1B9E9B483F9A}" dt="2021-05-24T13:04:21.447" v="3895"/>
          <ac:picMkLst>
            <pc:docMk/>
            <pc:sldMk cId="2505788154" sldId="10474"/>
            <ac:picMk id="111" creationId="{AC861DF0-7E2D-4B78-BB3E-D4CD11EB6BC7}"/>
          </ac:picMkLst>
        </pc:picChg>
      </pc:sldChg>
      <pc:sldChg chg="add del">
        <pc:chgData name="Aude Van de WIELE" userId="7317e673-04dd-415c-a4d7-718682339b40" providerId="ADAL" clId="{80D4E734-020D-4C1F-A028-1B9E9B483F9A}" dt="2021-05-25T08:02:59.420" v="6939" actId="47"/>
        <pc:sldMkLst>
          <pc:docMk/>
          <pc:sldMk cId="2085535939" sldId="10475"/>
        </pc:sldMkLst>
      </pc:sldChg>
      <pc:sldChg chg="add del">
        <pc:chgData name="Aude Van de WIELE" userId="7317e673-04dd-415c-a4d7-718682339b40" providerId="ADAL" clId="{80D4E734-020D-4C1F-A028-1B9E9B483F9A}" dt="2021-05-25T08:03:00.144" v="6940" actId="47"/>
        <pc:sldMkLst>
          <pc:docMk/>
          <pc:sldMk cId="2421576044" sldId="10476"/>
        </pc:sldMkLst>
      </pc:sldChg>
      <pc:sldChg chg="addSp modSp mod">
        <pc:chgData name="Aude Van de WIELE" userId="7317e673-04dd-415c-a4d7-718682339b40" providerId="ADAL" clId="{80D4E734-020D-4C1F-A028-1B9E9B483F9A}" dt="2021-05-25T09:29:24.154" v="9915" actId="313"/>
        <pc:sldMkLst>
          <pc:docMk/>
          <pc:sldMk cId="334705468" sldId="10477"/>
        </pc:sldMkLst>
        <pc:spChg chg="mod">
          <ac:chgData name="Aude Van de WIELE" userId="7317e673-04dd-415c-a4d7-718682339b40" providerId="ADAL" clId="{80D4E734-020D-4C1F-A028-1B9E9B483F9A}" dt="2021-05-25T09:29:24.154" v="9915" actId="313"/>
          <ac:spMkLst>
            <pc:docMk/>
            <pc:sldMk cId="334705468" sldId="10477"/>
            <ac:spMk id="2" creationId="{EF803D54-FFD7-419D-904B-922F49CD2917}"/>
          </ac:spMkLst>
        </pc:spChg>
        <pc:spChg chg="mod">
          <ac:chgData name="Aude Van de WIELE" userId="7317e673-04dd-415c-a4d7-718682339b40" providerId="ADAL" clId="{80D4E734-020D-4C1F-A028-1B9E9B483F9A}" dt="2021-05-25T08:49:51.143" v="9542" actId="790"/>
          <ac:spMkLst>
            <pc:docMk/>
            <pc:sldMk cId="334705468" sldId="10477"/>
            <ac:spMk id="3" creationId="{2A6E30E2-FDCF-4E7D-8476-BAB65F50C885}"/>
          </ac:spMkLst>
        </pc:spChg>
        <pc:spChg chg="mod">
          <ac:chgData name="Aude Van de WIELE" userId="7317e673-04dd-415c-a4d7-718682339b40" providerId="ADAL" clId="{80D4E734-020D-4C1F-A028-1B9E9B483F9A}" dt="2021-05-25T08:49:51.144" v="9543" actId="790"/>
          <ac:spMkLst>
            <pc:docMk/>
            <pc:sldMk cId="334705468" sldId="10477"/>
            <ac:spMk id="4" creationId="{FBFA45FE-6078-4B3A-B961-35E498E9E5D3}"/>
          </ac:spMkLst>
        </pc:spChg>
        <pc:spChg chg="mod">
          <ac:chgData name="Aude Van de WIELE" userId="7317e673-04dd-415c-a4d7-718682339b40" providerId="ADAL" clId="{80D4E734-020D-4C1F-A028-1B9E9B483F9A}" dt="2021-05-25T08:49:51.145" v="9544" actId="790"/>
          <ac:spMkLst>
            <pc:docMk/>
            <pc:sldMk cId="334705468" sldId="10477"/>
            <ac:spMk id="5" creationId="{BD728580-58BC-437C-9489-75F07B3629B7}"/>
          </ac:spMkLst>
        </pc:spChg>
        <pc:spChg chg="mod">
          <ac:chgData name="Aude Van de WIELE" userId="7317e673-04dd-415c-a4d7-718682339b40" providerId="ADAL" clId="{80D4E734-020D-4C1F-A028-1B9E9B483F9A}" dt="2021-05-25T08:49:51.146" v="9545" actId="790"/>
          <ac:spMkLst>
            <pc:docMk/>
            <pc:sldMk cId="334705468" sldId="10477"/>
            <ac:spMk id="6" creationId="{0D71B3A7-C6C6-4652-87AB-E37A79AE81E6}"/>
          </ac:spMkLst>
        </pc:spChg>
        <pc:spChg chg="mod">
          <ac:chgData name="Aude Van de WIELE" userId="7317e673-04dd-415c-a4d7-718682339b40" providerId="ADAL" clId="{80D4E734-020D-4C1F-A028-1B9E9B483F9A}" dt="2021-05-25T08:49:51.147" v="9546" actId="790"/>
          <ac:spMkLst>
            <pc:docMk/>
            <pc:sldMk cId="334705468" sldId="10477"/>
            <ac:spMk id="10" creationId="{CF9EF04D-A8DA-430C-8FE6-73B9D52438D8}"/>
          </ac:spMkLst>
        </pc:spChg>
        <pc:spChg chg="mod">
          <ac:chgData name="Aude Van de WIELE" userId="7317e673-04dd-415c-a4d7-718682339b40" providerId="ADAL" clId="{80D4E734-020D-4C1F-A028-1B9E9B483F9A}" dt="2021-05-25T08:49:51.148" v="9547" actId="790"/>
          <ac:spMkLst>
            <pc:docMk/>
            <pc:sldMk cId="334705468" sldId="10477"/>
            <ac:spMk id="13" creationId="{033DC122-AC82-47EE-870C-AD69707CBF04}"/>
          </ac:spMkLst>
        </pc:spChg>
        <pc:spChg chg="mod">
          <ac:chgData name="Aude Van de WIELE" userId="7317e673-04dd-415c-a4d7-718682339b40" providerId="ADAL" clId="{80D4E734-020D-4C1F-A028-1B9E9B483F9A}" dt="2021-05-25T08:49:51.149" v="9548" actId="790"/>
          <ac:spMkLst>
            <pc:docMk/>
            <pc:sldMk cId="334705468" sldId="10477"/>
            <ac:spMk id="16" creationId="{BA25FE13-8A4A-4C62-8AAF-9FD70412153E}"/>
          </ac:spMkLst>
        </pc:spChg>
        <pc:spChg chg="mod">
          <ac:chgData name="Aude Van de WIELE" userId="7317e673-04dd-415c-a4d7-718682339b40" providerId="ADAL" clId="{80D4E734-020D-4C1F-A028-1B9E9B483F9A}" dt="2021-05-25T08:49:51.150" v="9549" actId="790"/>
          <ac:spMkLst>
            <pc:docMk/>
            <pc:sldMk cId="334705468" sldId="10477"/>
            <ac:spMk id="17" creationId="{C95AA0A5-D344-4A89-8DED-5C9C7D2C8476}"/>
          </ac:spMkLst>
        </pc:spChg>
        <pc:spChg chg="mod">
          <ac:chgData name="Aude Van de WIELE" userId="7317e673-04dd-415c-a4d7-718682339b40" providerId="ADAL" clId="{80D4E734-020D-4C1F-A028-1B9E9B483F9A}" dt="2021-05-25T08:49:51.151" v="9550" actId="790"/>
          <ac:spMkLst>
            <pc:docMk/>
            <pc:sldMk cId="334705468" sldId="10477"/>
            <ac:spMk id="18" creationId="{1E38532B-2BB5-4511-A5A4-2ADA00937150}"/>
          </ac:spMkLst>
        </pc:spChg>
        <pc:spChg chg="mod">
          <ac:chgData name="Aude Van de WIELE" userId="7317e673-04dd-415c-a4d7-718682339b40" providerId="ADAL" clId="{80D4E734-020D-4C1F-A028-1B9E9B483F9A}" dt="2021-05-25T08:49:51.152" v="9551" actId="790"/>
          <ac:spMkLst>
            <pc:docMk/>
            <pc:sldMk cId="334705468" sldId="10477"/>
            <ac:spMk id="20" creationId="{D3E8F46A-1282-4F9D-BA95-A76BD3832A8E}"/>
          </ac:spMkLst>
        </pc:spChg>
        <pc:spChg chg="mod">
          <ac:chgData name="Aude Van de WIELE" userId="7317e673-04dd-415c-a4d7-718682339b40" providerId="ADAL" clId="{80D4E734-020D-4C1F-A028-1B9E9B483F9A}" dt="2021-05-25T08:49:51.154" v="9552" actId="790"/>
          <ac:spMkLst>
            <pc:docMk/>
            <pc:sldMk cId="334705468" sldId="10477"/>
            <ac:spMk id="22" creationId="{D535997E-8335-4695-94AA-DF0C785AF086}"/>
          </ac:spMkLst>
        </pc:spChg>
        <pc:spChg chg="mod">
          <ac:chgData name="Aude Van de WIELE" userId="7317e673-04dd-415c-a4d7-718682339b40" providerId="ADAL" clId="{80D4E734-020D-4C1F-A028-1B9E9B483F9A}" dt="2021-05-25T08:49:51.155" v="9553" actId="790"/>
          <ac:spMkLst>
            <pc:docMk/>
            <pc:sldMk cId="334705468" sldId="10477"/>
            <ac:spMk id="26" creationId="{66C73AF3-2F81-48F3-9356-49C96219ED98}"/>
          </ac:spMkLst>
        </pc:spChg>
        <pc:spChg chg="mod">
          <ac:chgData name="Aude Van de WIELE" userId="7317e673-04dd-415c-a4d7-718682339b40" providerId="ADAL" clId="{80D4E734-020D-4C1F-A028-1B9E9B483F9A}" dt="2021-05-25T08:49:51.156" v="9554" actId="790"/>
          <ac:spMkLst>
            <pc:docMk/>
            <pc:sldMk cId="334705468" sldId="10477"/>
            <ac:spMk id="28" creationId="{11F45C7E-D600-4FC3-A415-594AC03D2F45}"/>
          </ac:spMkLst>
        </pc:spChg>
        <pc:spChg chg="mod">
          <ac:chgData name="Aude Van de WIELE" userId="7317e673-04dd-415c-a4d7-718682339b40" providerId="ADAL" clId="{80D4E734-020D-4C1F-A028-1B9E9B483F9A}" dt="2021-05-25T08:49:51.156" v="9555" actId="790"/>
          <ac:spMkLst>
            <pc:docMk/>
            <pc:sldMk cId="334705468" sldId="10477"/>
            <ac:spMk id="29" creationId="{5365F92F-0931-4875-B2EB-848E9F83E6CC}"/>
          </ac:spMkLst>
        </pc:spChg>
        <pc:spChg chg="mod">
          <ac:chgData name="Aude Van de WIELE" userId="7317e673-04dd-415c-a4d7-718682339b40" providerId="ADAL" clId="{80D4E734-020D-4C1F-A028-1B9E9B483F9A}" dt="2021-05-25T08:49:51.157" v="9556" actId="790"/>
          <ac:spMkLst>
            <pc:docMk/>
            <pc:sldMk cId="334705468" sldId="10477"/>
            <ac:spMk id="30" creationId="{5CF58670-FDBC-4498-AA19-361A784C51E5}"/>
          </ac:spMkLst>
        </pc:spChg>
        <pc:spChg chg="mod">
          <ac:chgData name="Aude Van de WIELE" userId="7317e673-04dd-415c-a4d7-718682339b40" providerId="ADAL" clId="{80D4E734-020D-4C1F-A028-1B9E9B483F9A}" dt="2021-05-25T08:49:51.158" v="9557" actId="790"/>
          <ac:spMkLst>
            <pc:docMk/>
            <pc:sldMk cId="334705468" sldId="10477"/>
            <ac:spMk id="31" creationId="{AFB7D9E8-12F8-4137-9C99-6BE03780E318}"/>
          </ac:spMkLst>
        </pc:spChg>
        <pc:spChg chg="mod">
          <ac:chgData name="Aude Van de WIELE" userId="7317e673-04dd-415c-a4d7-718682339b40" providerId="ADAL" clId="{80D4E734-020D-4C1F-A028-1B9E9B483F9A}" dt="2021-05-25T08:49:51.159" v="9558" actId="790"/>
          <ac:spMkLst>
            <pc:docMk/>
            <pc:sldMk cId="334705468" sldId="10477"/>
            <ac:spMk id="34" creationId="{D51C10A5-1BAD-439D-A50A-11F2CFA0F6BE}"/>
          </ac:spMkLst>
        </pc:spChg>
        <pc:spChg chg="mod">
          <ac:chgData name="Aude Van de WIELE" userId="7317e673-04dd-415c-a4d7-718682339b40" providerId="ADAL" clId="{80D4E734-020D-4C1F-A028-1B9E9B483F9A}" dt="2021-05-25T08:49:51.160" v="9559" actId="790"/>
          <ac:spMkLst>
            <pc:docMk/>
            <pc:sldMk cId="334705468" sldId="10477"/>
            <ac:spMk id="55" creationId="{A655C1A1-F1BC-4E0A-8733-FE9304D5DF11}"/>
          </ac:spMkLst>
        </pc:spChg>
        <pc:spChg chg="mod">
          <ac:chgData name="Aude Van de WIELE" userId="7317e673-04dd-415c-a4d7-718682339b40" providerId="ADAL" clId="{80D4E734-020D-4C1F-A028-1B9E9B483F9A}" dt="2021-05-25T08:49:51.165" v="9560" actId="790"/>
          <ac:spMkLst>
            <pc:docMk/>
            <pc:sldMk cId="334705468" sldId="10477"/>
            <ac:spMk id="56" creationId="{677E9C9C-EFC6-41AC-96D5-37F781C64C68}"/>
          </ac:spMkLst>
        </pc:spChg>
        <pc:spChg chg="mod">
          <ac:chgData name="Aude Van de WIELE" userId="7317e673-04dd-415c-a4d7-718682339b40" providerId="ADAL" clId="{80D4E734-020D-4C1F-A028-1B9E9B483F9A}" dt="2021-05-25T08:49:51.166" v="9561" actId="790"/>
          <ac:spMkLst>
            <pc:docMk/>
            <pc:sldMk cId="334705468" sldId="10477"/>
            <ac:spMk id="57" creationId="{8C686930-14F3-4E4F-ACF7-741C5C0CBA0E}"/>
          </ac:spMkLst>
        </pc:spChg>
        <pc:spChg chg="mod">
          <ac:chgData name="Aude Van de WIELE" userId="7317e673-04dd-415c-a4d7-718682339b40" providerId="ADAL" clId="{80D4E734-020D-4C1F-A028-1B9E9B483F9A}" dt="2021-05-25T08:49:51.166" v="9562" actId="790"/>
          <ac:spMkLst>
            <pc:docMk/>
            <pc:sldMk cId="334705468" sldId="10477"/>
            <ac:spMk id="58" creationId="{7D9AD63F-1A86-4E94-836B-E191B19B627C}"/>
          </ac:spMkLst>
        </pc:spChg>
        <pc:spChg chg="mod">
          <ac:chgData name="Aude Van de WIELE" userId="7317e673-04dd-415c-a4d7-718682339b40" providerId="ADAL" clId="{80D4E734-020D-4C1F-A028-1B9E9B483F9A}" dt="2021-05-25T08:49:51.167" v="9563" actId="790"/>
          <ac:spMkLst>
            <pc:docMk/>
            <pc:sldMk cId="334705468" sldId="10477"/>
            <ac:spMk id="59" creationId="{041C200D-085E-4D71-9F95-528827DD5908}"/>
          </ac:spMkLst>
        </pc:spChg>
        <pc:spChg chg="add mod">
          <ac:chgData name="Aude Van de WIELE" userId="7317e673-04dd-415c-a4d7-718682339b40" providerId="ADAL" clId="{80D4E734-020D-4C1F-A028-1B9E9B483F9A}" dt="2021-05-25T08:49:51.180" v="9576" actId="790"/>
          <ac:spMkLst>
            <pc:docMk/>
            <pc:sldMk cId="334705468" sldId="10477"/>
            <ac:spMk id="61" creationId="{B633ECD0-04B9-472D-9A5F-152B0B507B32}"/>
          </ac:spMkLst>
        </pc:spChg>
        <pc:spChg chg="mod">
          <ac:chgData name="Aude Van de WIELE" userId="7317e673-04dd-415c-a4d7-718682339b40" providerId="ADAL" clId="{80D4E734-020D-4C1F-A028-1B9E9B483F9A}" dt="2021-05-25T08:49:51.169" v="9564" actId="790"/>
          <ac:spMkLst>
            <pc:docMk/>
            <pc:sldMk cId="334705468" sldId="10477"/>
            <ac:spMk id="62" creationId="{DACD3A10-EDCD-4394-8682-3E21BEBD94B9}"/>
          </ac:spMkLst>
        </pc:spChg>
        <pc:spChg chg="mod">
          <ac:chgData name="Aude Van de WIELE" userId="7317e673-04dd-415c-a4d7-718682339b40" providerId="ADAL" clId="{80D4E734-020D-4C1F-A028-1B9E9B483F9A}" dt="2021-05-25T08:49:51.170" v="9565" actId="790"/>
          <ac:spMkLst>
            <pc:docMk/>
            <pc:sldMk cId="334705468" sldId="10477"/>
            <ac:spMk id="63" creationId="{5293ED27-83B1-4596-AF8C-8E4ED5F56B2A}"/>
          </ac:spMkLst>
        </pc:spChg>
        <pc:spChg chg="add mod">
          <ac:chgData name="Aude Van de WIELE" userId="7317e673-04dd-415c-a4d7-718682339b40" providerId="ADAL" clId="{80D4E734-020D-4C1F-A028-1B9E9B483F9A}" dt="2021-05-25T08:49:51.181" v="9577" actId="790"/>
          <ac:spMkLst>
            <pc:docMk/>
            <pc:sldMk cId="334705468" sldId="10477"/>
            <ac:spMk id="64" creationId="{6A8845BC-191A-4A90-984C-74D167193E75}"/>
          </ac:spMkLst>
        </pc:spChg>
        <pc:spChg chg="add mod">
          <ac:chgData name="Aude Van de WIELE" userId="7317e673-04dd-415c-a4d7-718682339b40" providerId="ADAL" clId="{80D4E734-020D-4C1F-A028-1B9E9B483F9A}" dt="2021-05-25T08:49:51.182" v="9578" actId="790"/>
          <ac:spMkLst>
            <pc:docMk/>
            <pc:sldMk cId="334705468" sldId="10477"/>
            <ac:spMk id="67" creationId="{614BE8AA-D3AD-4E4A-9623-B0FFCCE65E21}"/>
          </ac:spMkLst>
        </pc:spChg>
        <pc:spChg chg="add mod">
          <ac:chgData name="Aude Van de WIELE" userId="7317e673-04dd-415c-a4d7-718682339b40" providerId="ADAL" clId="{80D4E734-020D-4C1F-A028-1B9E9B483F9A}" dt="2021-05-25T08:49:51.183" v="9579" actId="790"/>
          <ac:spMkLst>
            <pc:docMk/>
            <pc:sldMk cId="334705468" sldId="10477"/>
            <ac:spMk id="69" creationId="{6A80616E-3AD0-4486-BEAE-B0B76CD8542C}"/>
          </ac:spMkLst>
        </pc:spChg>
        <pc:spChg chg="mod">
          <ac:chgData name="Aude Van de WIELE" userId="7317e673-04dd-415c-a4d7-718682339b40" providerId="ADAL" clId="{80D4E734-020D-4C1F-A028-1B9E9B483F9A}" dt="2021-05-25T08:49:51.171" v="9566" actId="790"/>
          <ac:spMkLst>
            <pc:docMk/>
            <pc:sldMk cId="334705468" sldId="10477"/>
            <ac:spMk id="70" creationId="{113E5341-4F28-4188-8C4A-3DE28CB9566A}"/>
          </ac:spMkLst>
        </pc:spChg>
        <pc:spChg chg="mod">
          <ac:chgData name="Aude Van de WIELE" userId="7317e673-04dd-415c-a4d7-718682339b40" providerId="ADAL" clId="{80D4E734-020D-4C1F-A028-1B9E9B483F9A}" dt="2021-05-25T08:49:51.172" v="9567" actId="790"/>
          <ac:spMkLst>
            <pc:docMk/>
            <pc:sldMk cId="334705468" sldId="10477"/>
            <ac:spMk id="71" creationId="{3592CACF-8BA8-4665-B2A9-12172F995CEC}"/>
          </ac:spMkLst>
        </pc:spChg>
        <pc:spChg chg="mod">
          <ac:chgData name="Aude Van de WIELE" userId="7317e673-04dd-415c-a4d7-718682339b40" providerId="ADAL" clId="{80D4E734-020D-4C1F-A028-1B9E9B483F9A}" dt="2021-05-25T08:49:51.172" v="9568" actId="790"/>
          <ac:spMkLst>
            <pc:docMk/>
            <pc:sldMk cId="334705468" sldId="10477"/>
            <ac:spMk id="72" creationId="{F58111E3-E56D-4B61-BEB0-20F5DAD06446}"/>
          </ac:spMkLst>
        </pc:spChg>
        <pc:spChg chg="add mod">
          <ac:chgData name="Aude Van de WIELE" userId="7317e673-04dd-415c-a4d7-718682339b40" providerId="ADAL" clId="{80D4E734-020D-4C1F-A028-1B9E9B483F9A}" dt="2021-05-25T08:49:51.184" v="9580" actId="790"/>
          <ac:spMkLst>
            <pc:docMk/>
            <pc:sldMk cId="334705468" sldId="10477"/>
            <ac:spMk id="73" creationId="{77F836DF-7403-4093-8AC4-970799AA8CFC}"/>
          </ac:spMkLst>
        </pc:spChg>
        <pc:spChg chg="add mod">
          <ac:chgData name="Aude Van de WIELE" userId="7317e673-04dd-415c-a4d7-718682339b40" providerId="ADAL" clId="{80D4E734-020D-4C1F-A028-1B9E9B483F9A}" dt="2021-05-25T08:49:51.185" v="9581" actId="790"/>
          <ac:spMkLst>
            <pc:docMk/>
            <pc:sldMk cId="334705468" sldId="10477"/>
            <ac:spMk id="74" creationId="{362E7172-AD5F-4C32-9C30-62F8207A2E99}"/>
          </ac:spMkLst>
        </pc:spChg>
        <pc:spChg chg="add mod">
          <ac:chgData name="Aude Van de WIELE" userId="7317e673-04dd-415c-a4d7-718682339b40" providerId="ADAL" clId="{80D4E734-020D-4C1F-A028-1B9E9B483F9A}" dt="2021-05-25T08:49:51.187" v="9582" actId="790"/>
          <ac:spMkLst>
            <pc:docMk/>
            <pc:sldMk cId="334705468" sldId="10477"/>
            <ac:spMk id="75" creationId="{48C73108-0FE1-4040-BD98-E59414ED71E6}"/>
          </ac:spMkLst>
        </pc:spChg>
        <pc:spChg chg="add mod">
          <ac:chgData name="Aude Van de WIELE" userId="7317e673-04dd-415c-a4d7-718682339b40" providerId="ADAL" clId="{80D4E734-020D-4C1F-A028-1B9E9B483F9A}" dt="2021-05-25T08:49:51.188" v="9583" actId="790"/>
          <ac:spMkLst>
            <pc:docMk/>
            <pc:sldMk cId="334705468" sldId="10477"/>
            <ac:spMk id="76" creationId="{C44503AE-7116-4D84-B3CB-D664E7E52F7F}"/>
          </ac:spMkLst>
        </pc:spChg>
        <pc:spChg chg="add mod">
          <ac:chgData name="Aude Van de WIELE" userId="7317e673-04dd-415c-a4d7-718682339b40" providerId="ADAL" clId="{80D4E734-020D-4C1F-A028-1B9E9B483F9A}" dt="2021-05-25T08:49:51.190" v="9584" actId="790"/>
          <ac:spMkLst>
            <pc:docMk/>
            <pc:sldMk cId="334705468" sldId="10477"/>
            <ac:spMk id="77" creationId="{1AACD203-4F63-46B5-B9FA-BD8F18B75D33}"/>
          </ac:spMkLst>
        </pc:spChg>
        <pc:spChg chg="mod">
          <ac:chgData name="Aude Van de WIELE" userId="7317e673-04dd-415c-a4d7-718682339b40" providerId="ADAL" clId="{80D4E734-020D-4C1F-A028-1B9E9B483F9A}" dt="2021-05-25T08:49:51.173" v="9569" actId="790"/>
          <ac:spMkLst>
            <pc:docMk/>
            <pc:sldMk cId="334705468" sldId="10477"/>
            <ac:spMk id="85" creationId="{68001F5E-6947-4E7D-975E-31B3E2A94A1A}"/>
          </ac:spMkLst>
        </pc:spChg>
        <pc:spChg chg="mod">
          <ac:chgData name="Aude Van de WIELE" userId="7317e673-04dd-415c-a4d7-718682339b40" providerId="ADAL" clId="{80D4E734-020D-4C1F-A028-1B9E9B483F9A}" dt="2021-05-25T08:49:51.174" v="9570" actId="790"/>
          <ac:spMkLst>
            <pc:docMk/>
            <pc:sldMk cId="334705468" sldId="10477"/>
            <ac:spMk id="86" creationId="{820AFBE1-61ED-4FFA-946D-2E783059BBBE}"/>
          </ac:spMkLst>
        </pc:spChg>
        <pc:spChg chg="mod">
          <ac:chgData name="Aude Van de WIELE" userId="7317e673-04dd-415c-a4d7-718682339b40" providerId="ADAL" clId="{80D4E734-020D-4C1F-A028-1B9E9B483F9A}" dt="2021-05-25T08:49:51.175" v="9571" actId="790"/>
          <ac:spMkLst>
            <pc:docMk/>
            <pc:sldMk cId="334705468" sldId="10477"/>
            <ac:spMk id="87" creationId="{7FBDB10B-1BA5-42DA-A513-C61789A1AF1C}"/>
          </ac:spMkLst>
        </pc:spChg>
        <pc:spChg chg="mod">
          <ac:chgData name="Aude Van de WIELE" userId="7317e673-04dd-415c-a4d7-718682339b40" providerId="ADAL" clId="{80D4E734-020D-4C1F-A028-1B9E9B483F9A}" dt="2021-05-25T08:49:51.177" v="9572" actId="790"/>
          <ac:spMkLst>
            <pc:docMk/>
            <pc:sldMk cId="334705468" sldId="10477"/>
            <ac:spMk id="88" creationId="{29183D46-5420-483E-87FD-D9321C8095A3}"/>
          </ac:spMkLst>
        </pc:spChg>
        <pc:spChg chg="mod">
          <ac:chgData name="Aude Van de WIELE" userId="7317e673-04dd-415c-a4d7-718682339b40" providerId="ADAL" clId="{80D4E734-020D-4C1F-A028-1B9E9B483F9A}" dt="2021-05-25T08:49:51.178" v="9573" actId="790"/>
          <ac:spMkLst>
            <pc:docMk/>
            <pc:sldMk cId="334705468" sldId="10477"/>
            <ac:spMk id="89" creationId="{EC8EA891-9074-42C7-909C-A4254666A874}"/>
          </ac:spMkLst>
        </pc:spChg>
        <pc:spChg chg="mod">
          <ac:chgData name="Aude Van de WIELE" userId="7317e673-04dd-415c-a4d7-718682339b40" providerId="ADAL" clId="{80D4E734-020D-4C1F-A028-1B9E9B483F9A}" dt="2021-05-25T08:49:51.178" v="9574" actId="790"/>
          <ac:spMkLst>
            <pc:docMk/>
            <pc:sldMk cId="334705468" sldId="10477"/>
            <ac:spMk id="90" creationId="{508AA679-5CA1-4AF0-8C4D-3DAD14C5E05B}"/>
          </ac:spMkLst>
        </pc:spChg>
        <pc:spChg chg="mod">
          <ac:chgData name="Aude Van de WIELE" userId="7317e673-04dd-415c-a4d7-718682339b40" providerId="ADAL" clId="{80D4E734-020D-4C1F-A028-1B9E9B483F9A}" dt="2021-05-25T08:49:51.179" v="9575" actId="790"/>
          <ac:spMkLst>
            <pc:docMk/>
            <pc:sldMk cId="334705468" sldId="10477"/>
            <ac:spMk id="91" creationId="{587FB1B6-ABB0-4EF1-8100-2CF2CD97B6D7}"/>
          </ac:spMkLst>
        </pc:spChg>
      </pc:sldChg>
      <pc:sldChg chg="modSp mod">
        <pc:chgData name="Aude Van de WIELE" userId="7317e673-04dd-415c-a4d7-718682339b40" providerId="ADAL" clId="{80D4E734-020D-4C1F-A028-1B9E9B483F9A}" dt="2021-05-25T08:49:51.415" v="9737" actId="790"/>
        <pc:sldMkLst>
          <pc:docMk/>
          <pc:sldMk cId="736967352" sldId="10478"/>
        </pc:sldMkLst>
        <pc:spChg chg="mod">
          <ac:chgData name="Aude Van de WIELE" userId="7317e673-04dd-415c-a4d7-718682339b40" providerId="ADAL" clId="{80D4E734-020D-4C1F-A028-1B9E9B483F9A}" dt="2021-05-25T08:49:51.412" v="9735" actId="790"/>
          <ac:spMkLst>
            <pc:docMk/>
            <pc:sldMk cId="736967352" sldId="10478"/>
            <ac:spMk id="6" creationId="{94FCAA59-3122-4D3E-BB92-89E8DDA4E673}"/>
          </ac:spMkLst>
        </pc:spChg>
        <pc:spChg chg="mod">
          <ac:chgData name="Aude Van de WIELE" userId="7317e673-04dd-415c-a4d7-718682339b40" providerId="ADAL" clId="{80D4E734-020D-4C1F-A028-1B9E9B483F9A}" dt="2021-05-25T08:49:51.414" v="9736" actId="790"/>
          <ac:spMkLst>
            <pc:docMk/>
            <pc:sldMk cId="736967352" sldId="10478"/>
            <ac:spMk id="19" creationId="{4D7AAE71-D4C6-4985-9DEC-118E6DC22C57}"/>
          </ac:spMkLst>
        </pc:spChg>
        <pc:spChg chg="mod">
          <ac:chgData name="Aude Van de WIELE" userId="7317e673-04dd-415c-a4d7-718682339b40" providerId="ADAL" clId="{80D4E734-020D-4C1F-A028-1B9E9B483F9A}" dt="2021-05-25T08:49:51.415" v="9737" actId="790"/>
          <ac:spMkLst>
            <pc:docMk/>
            <pc:sldMk cId="736967352" sldId="10478"/>
            <ac:spMk id="22" creationId="{B9BD5E20-F2DD-4137-92F4-7D7F45ED8514}"/>
          </ac:spMkLst>
        </pc:spChg>
      </pc:sldChg>
      <pc:sldChg chg="delSp modSp add mod">
        <pc:chgData name="Aude Van de WIELE" userId="7317e673-04dd-415c-a4d7-718682339b40" providerId="ADAL" clId="{80D4E734-020D-4C1F-A028-1B9E9B483F9A}" dt="2021-05-25T11:17:01.698" v="10766" actId="122"/>
        <pc:sldMkLst>
          <pc:docMk/>
          <pc:sldMk cId="588134585" sldId="10479"/>
        </pc:sldMkLst>
        <pc:spChg chg="mod">
          <ac:chgData name="Aude Van de WIELE" userId="7317e673-04dd-415c-a4d7-718682339b40" providerId="ADAL" clId="{80D4E734-020D-4C1F-A028-1B9E9B483F9A}" dt="2021-05-25T08:49:51.205" v="9593" actId="790"/>
          <ac:spMkLst>
            <pc:docMk/>
            <pc:sldMk cId="588134585" sldId="10479"/>
            <ac:spMk id="2" creationId="{BA3E4240-1B8B-4AAA-9DCA-9FE236464846}"/>
          </ac:spMkLst>
        </pc:spChg>
        <pc:spChg chg="mod">
          <ac:chgData name="Aude Van de WIELE" userId="7317e673-04dd-415c-a4d7-718682339b40" providerId="ADAL" clId="{80D4E734-020D-4C1F-A028-1B9E9B483F9A}" dt="2021-05-25T08:49:51.216" v="9601" actId="790"/>
          <ac:spMkLst>
            <pc:docMk/>
            <pc:sldMk cId="588134585" sldId="10479"/>
            <ac:spMk id="10" creationId="{8B80541E-0CB8-4F46-AA31-1D2CE8ECE50F}"/>
          </ac:spMkLst>
        </pc:spChg>
        <pc:spChg chg="mod">
          <ac:chgData name="Aude Van de WIELE" userId="7317e673-04dd-415c-a4d7-718682339b40" providerId="ADAL" clId="{80D4E734-020D-4C1F-A028-1B9E9B483F9A}" dt="2021-05-25T08:49:51.206" v="9594" actId="790"/>
          <ac:spMkLst>
            <pc:docMk/>
            <pc:sldMk cId="588134585" sldId="10479"/>
            <ac:spMk id="12" creationId="{5632CA9B-96AD-46F9-9A8A-B6E6800443DD}"/>
          </ac:spMkLst>
        </pc:spChg>
        <pc:spChg chg="mod">
          <ac:chgData name="Aude Van de WIELE" userId="7317e673-04dd-415c-a4d7-718682339b40" providerId="ADAL" clId="{80D4E734-020D-4C1F-A028-1B9E9B483F9A}" dt="2021-05-25T08:49:51.207" v="9595" actId="790"/>
          <ac:spMkLst>
            <pc:docMk/>
            <pc:sldMk cId="588134585" sldId="10479"/>
            <ac:spMk id="13" creationId="{8A47A578-76B7-48A6-B910-8A54E9BC3C53}"/>
          </ac:spMkLst>
        </pc:spChg>
        <pc:spChg chg="mod">
          <ac:chgData name="Aude Van de WIELE" userId="7317e673-04dd-415c-a4d7-718682339b40" providerId="ADAL" clId="{80D4E734-020D-4C1F-A028-1B9E9B483F9A}" dt="2021-05-25T08:49:51.208" v="9596" actId="790"/>
          <ac:spMkLst>
            <pc:docMk/>
            <pc:sldMk cId="588134585" sldId="10479"/>
            <ac:spMk id="16" creationId="{4FCCDEAF-F1D6-472C-8877-BCF7D817DF4C}"/>
          </ac:spMkLst>
        </pc:spChg>
        <pc:spChg chg="mod">
          <ac:chgData name="Aude Van de WIELE" userId="7317e673-04dd-415c-a4d7-718682339b40" providerId="ADAL" clId="{80D4E734-020D-4C1F-A028-1B9E9B483F9A}" dt="2021-05-25T08:49:51.238" v="9615" actId="790"/>
          <ac:spMkLst>
            <pc:docMk/>
            <pc:sldMk cId="588134585" sldId="10479"/>
            <ac:spMk id="21" creationId="{58337BA2-B7F0-4432-B9BF-C085B3E8B7D0}"/>
          </ac:spMkLst>
        </pc:spChg>
        <pc:spChg chg="mod">
          <ac:chgData name="Aude Van de WIELE" userId="7317e673-04dd-415c-a4d7-718682339b40" providerId="ADAL" clId="{80D4E734-020D-4C1F-A028-1B9E9B483F9A}" dt="2021-05-25T08:49:51.239" v="9616" actId="790"/>
          <ac:spMkLst>
            <pc:docMk/>
            <pc:sldMk cId="588134585" sldId="10479"/>
            <ac:spMk id="23" creationId="{CAB7DE97-987C-4E1B-AC28-72D620F2E2AC}"/>
          </ac:spMkLst>
        </pc:spChg>
        <pc:spChg chg="mod">
          <ac:chgData name="Aude Van de WIELE" userId="7317e673-04dd-415c-a4d7-718682339b40" providerId="ADAL" clId="{80D4E734-020D-4C1F-A028-1B9E9B483F9A}" dt="2021-05-25T08:49:51.211" v="9598" actId="790"/>
          <ac:spMkLst>
            <pc:docMk/>
            <pc:sldMk cId="588134585" sldId="10479"/>
            <ac:spMk id="50" creationId="{3D11D9AD-56B2-4FD0-998A-C3C17321490E}"/>
          </ac:spMkLst>
        </pc:spChg>
        <pc:spChg chg="mod">
          <ac:chgData name="Aude Van de WIELE" userId="7317e673-04dd-415c-a4d7-718682339b40" providerId="ADAL" clId="{80D4E734-020D-4C1F-A028-1B9E9B483F9A}" dt="2021-05-25T08:49:51.212" v="9599" actId="790"/>
          <ac:spMkLst>
            <pc:docMk/>
            <pc:sldMk cId="588134585" sldId="10479"/>
            <ac:spMk id="51" creationId="{ABA09096-B3E8-4754-A77D-65D350688B5B}"/>
          </ac:spMkLst>
        </pc:spChg>
        <pc:spChg chg="mod">
          <ac:chgData name="Aude Van de WIELE" userId="7317e673-04dd-415c-a4d7-718682339b40" providerId="ADAL" clId="{80D4E734-020D-4C1F-A028-1B9E9B483F9A}" dt="2021-05-25T08:49:51.215" v="9600" actId="790"/>
          <ac:spMkLst>
            <pc:docMk/>
            <pc:sldMk cId="588134585" sldId="10479"/>
            <ac:spMk id="52" creationId="{269DE5CB-BABB-4CE5-BFC8-CA5EE268E23C}"/>
          </ac:spMkLst>
        </pc:spChg>
        <pc:spChg chg="mod">
          <ac:chgData name="Aude Van de WIELE" userId="7317e673-04dd-415c-a4d7-718682339b40" providerId="ADAL" clId="{80D4E734-020D-4C1F-A028-1B9E9B483F9A}" dt="2021-05-25T08:49:51.249" v="9624" actId="790"/>
          <ac:spMkLst>
            <pc:docMk/>
            <pc:sldMk cId="588134585" sldId="10479"/>
            <ac:spMk id="53" creationId="{E78B608F-6BB5-42D9-B674-E79A1AA2E5CC}"/>
          </ac:spMkLst>
        </pc:spChg>
        <pc:spChg chg="mod">
          <ac:chgData name="Aude Van de WIELE" userId="7317e673-04dd-415c-a4d7-718682339b40" providerId="ADAL" clId="{80D4E734-020D-4C1F-A028-1B9E9B483F9A}" dt="2021-05-25T08:49:51.217" v="9602" actId="790"/>
          <ac:spMkLst>
            <pc:docMk/>
            <pc:sldMk cId="588134585" sldId="10479"/>
            <ac:spMk id="54" creationId="{A1ED7959-6972-4CA1-87DE-4A9E265D1EE1}"/>
          </ac:spMkLst>
        </pc:spChg>
        <pc:spChg chg="mod">
          <ac:chgData name="Aude Van de WIELE" userId="7317e673-04dd-415c-a4d7-718682339b40" providerId="ADAL" clId="{80D4E734-020D-4C1F-A028-1B9E9B483F9A}" dt="2021-05-25T08:49:51.218" v="9603" actId="790"/>
          <ac:spMkLst>
            <pc:docMk/>
            <pc:sldMk cId="588134585" sldId="10479"/>
            <ac:spMk id="61" creationId="{0CCFF1A2-CE09-4311-BD82-2FC01C7F8607}"/>
          </ac:spMkLst>
        </pc:spChg>
        <pc:spChg chg="mod">
          <ac:chgData name="Aude Van de WIELE" userId="7317e673-04dd-415c-a4d7-718682339b40" providerId="ADAL" clId="{80D4E734-020D-4C1F-A028-1B9E9B483F9A}" dt="2021-05-25T08:49:51.220" v="9604" actId="790"/>
          <ac:spMkLst>
            <pc:docMk/>
            <pc:sldMk cId="588134585" sldId="10479"/>
            <ac:spMk id="68" creationId="{A5346155-53F6-4492-8069-514F081C33B9}"/>
          </ac:spMkLst>
        </pc:spChg>
        <pc:spChg chg="mod">
          <ac:chgData name="Aude Van de WIELE" userId="7317e673-04dd-415c-a4d7-718682339b40" providerId="ADAL" clId="{80D4E734-020D-4C1F-A028-1B9E9B483F9A}" dt="2021-05-25T08:49:51.221" v="9605" actId="790"/>
          <ac:spMkLst>
            <pc:docMk/>
            <pc:sldMk cId="588134585" sldId="10479"/>
            <ac:spMk id="73" creationId="{98DD9878-7EFD-4EE3-8563-0AB6CA847BCD}"/>
          </ac:spMkLst>
        </pc:spChg>
        <pc:spChg chg="mod">
          <ac:chgData name="Aude Van de WIELE" userId="7317e673-04dd-415c-a4d7-718682339b40" providerId="ADAL" clId="{80D4E734-020D-4C1F-A028-1B9E9B483F9A}" dt="2021-05-25T08:49:51.224" v="9606" actId="790"/>
          <ac:spMkLst>
            <pc:docMk/>
            <pc:sldMk cId="588134585" sldId="10479"/>
            <ac:spMk id="78" creationId="{5112757C-9BF4-4BA1-9498-541BF2906FB2}"/>
          </ac:spMkLst>
        </pc:spChg>
        <pc:spChg chg="mod">
          <ac:chgData name="Aude Van de WIELE" userId="7317e673-04dd-415c-a4d7-718682339b40" providerId="ADAL" clId="{80D4E734-020D-4C1F-A028-1B9E9B483F9A}" dt="2021-05-25T08:49:51.226" v="9607" actId="790"/>
          <ac:spMkLst>
            <pc:docMk/>
            <pc:sldMk cId="588134585" sldId="10479"/>
            <ac:spMk id="79" creationId="{03A27743-6F0C-44CB-A476-520C8741EAE9}"/>
          </ac:spMkLst>
        </pc:spChg>
        <pc:spChg chg="mod">
          <ac:chgData name="Aude Van de WIELE" userId="7317e673-04dd-415c-a4d7-718682339b40" providerId="ADAL" clId="{80D4E734-020D-4C1F-A028-1B9E9B483F9A}" dt="2021-05-25T08:49:51.230" v="9608" actId="790"/>
          <ac:spMkLst>
            <pc:docMk/>
            <pc:sldMk cId="588134585" sldId="10479"/>
            <ac:spMk id="80" creationId="{E399A358-1215-4FA3-8339-9689B70175BF}"/>
          </ac:spMkLst>
        </pc:spChg>
        <pc:spChg chg="mod">
          <ac:chgData name="Aude Van de WIELE" userId="7317e673-04dd-415c-a4d7-718682339b40" providerId="ADAL" clId="{80D4E734-020D-4C1F-A028-1B9E9B483F9A}" dt="2021-05-25T08:49:51.240" v="9617" actId="790"/>
          <ac:spMkLst>
            <pc:docMk/>
            <pc:sldMk cId="588134585" sldId="10479"/>
            <ac:spMk id="81" creationId="{60F8FC4C-7305-426C-8523-F98FB2B728B2}"/>
          </ac:spMkLst>
        </pc:spChg>
        <pc:spChg chg="mod">
          <ac:chgData name="Aude Van de WIELE" userId="7317e673-04dd-415c-a4d7-718682339b40" providerId="ADAL" clId="{80D4E734-020D-4C1F-A028-1B9E9B483F9A}" dt="2021-05-25T08:49:51.232" v="9609" actId="790"/>
          <ac:spMkLst>
            <pc:docMk/>
            <pc:sldMk cId="588134585" sldId="10479"/>
            <ac:spMk id="82" creationId="{378DC2D4-4EBE-4118-8C40-86863555C037}"/>
          </ac:spMkLst>
        </pc:spChg>
        <pc:spChg chg="mod">
          <ac:chgData name="Aude Van de WIELE" userId="7317e673-04dd-415c-a4d7-718682339b40" providerId="ADAL" clId="{80D4E734-020D-4C1F-A028-1B9E9B483F9A}" dt="2021-05-25T11:17:01.698" v="10766" actId="122"/>
          <ac:spMkLst>
            <pc:docMk/>
            <pc:sldMk cId="588134585" sldId="10479"/>
            <ac:spMk id="84" creationId="{3C53EFB8-8D77-4743-B5E2-D02A8132C2B0}"/>
          </ac:spMkLst>
        </pc:spChg>
        <pc:spChg chg="mod">
          <ac:chgData name="Aude Van de WIELE" userId="7317e673-04dd-415c-a4d7-718682339b40" providerId="ADAL" clId="{80D4E734-020D-4C1F-A028-1B9E9B483F9A}" dt="2021-05-25T08:49:51.241" v="9618" actId="790"/>
          <ac:spMkLst>
            <pc:docMk/>
            <pc:sldMk cId="588134585" sldId="10479"/>
            <ac:spMk id="86" creationId="{5426AF42-AB87-4AFB-94AB-DD1D8EF561A6}"/>
          </ac:spMkLst>
        </pc:spChg>
        <pc:spChg chg="mod">
          <ac:chgData name="Aude Van de WIELE" userId="7317e673-04dd-415c-a4d7-718682339b40" providerId="ADAL" clId="{80D4E734-020D-4C1F-A028-1B9E9B483F9A}" dt="2021-05-25T11:16:57.595" v="10758" actId="478"/>
          <ac:spMkLst>
            <pc:docMk/>
            <pc:sldMk cId="588134585" sldId="10479"/>
            <ac:spMk id="92" creationId="{58B5811A-7C8F-45CF-9D3B-9676978FB9CF}"/>
          </ac:spMkLst>
        </pc:spChg>
        <pc:spChg chg="mod">
          <ac:chgData name="Aude Van de WIELE" userId="7317e673-04dd-415c-a4d7-718682339b40" providerId="ADAL" clId="{80D4E734-020D-4C1F-A028-1B9E9B483F9A}" dt="2021-05-25T11:16:57.595" v="10758" actId="478"/>
          <ac:spMkLst>
            <pc:docMk/>
            <pc:sldMk cId="588134585" sldId="10479"/>
            <ac:spMk id="98" creationId="{E7E824A9-0075-4DB7-94CB-07C41244E4EF}"/>
          </ac:spMkLst>
        </pc:spChg>
        <pc:spChg chg="mod">
          <ac:chgData name="Aude Van de WIELE" userId="7317e673-04dd-415c-a4d7-718682339b40" providerId="ADAL" clId="{80D4E734-020D-4C1F-A028-1B9E9B483F9A}" dt="2021-05-25T11:16:57.595" v="10758" actId="478"/>
          <ac:spMkLst>
            <pc:docMk/>
            <pc:sldMk cId="588134585" sldId="10479"/>
            <ac:spMk id="99" creationId="{9F13D4F4-DACE-4D56-AD46-7369D3A8494C}"/>
          </ac:spMkLst>
        </pc:spChg>
        <pc:spChg chg="mod">
          <ac:chgData name="Aude Van de WIELE" userId="7317e673-04dd-415c-a4d7-718682339b40" providerId="ADAL" clId="{80D4E734-020D-4C1F-A028-1B9E9B483F9A}" dt="2021-05-25T08:49:51.248" v="9622" actId="790"/>
          <ac:spMkLst>
            <pc:docMk/>
            <pc:sldMk cId="588134585" sldId="10479"/>
            <ac:spMk id="104" creationId="{84D904D1-6FD7-411F-9055-7BDDD6F8D510}"/>
          </ac:spMkLst>
        </pc:spChg>
        <pc:spChg chg="mod">
          <ac:chgData name="Aude Van de WIELE" userId="7317e673-04dd-415c-a4d7-718682339b40" providerId="ADAL" clId="{80D4E734-020D-4C1F-A028-1B9E9B483F9A}" dt="2021-05-25T08:49:51.248" v="9623" actId="790"/>
          <ac:spMkLst>
            <pc:docMk/>
            <pc:sldMk cId="588134585" sldId="10479"/>
            <ac:spMk id="107" creationId="{E4B14101-5119-4FB2-BCD9-4C0E7BEAF957}"/>
          </ac:spMkLst>
        </pc:spChg>
        <pc:spChg chg="mod">
          <ac:chgData name="Aude Van de WIELE" userId="7317e673-04dd-415c-a4d7-718682339b40" providerId="ADAL" clId="{80D4E734-020D-4C1F-A028-1B9E9B483F9A}" dt="2021-05-25T08:49:51.238" v="9614" actId="790"/>
          <ac:spMkLst>
            <pc:docMk/>
            <pc:sldMk cId="588134585" sldId="10479"/>
            <ac:spMk id="109" creationId="{E8BE3BCE-A832-4D22-9958-D819266EA290}"/>
          </ac:spMkLst>
        </pc:spChg>
        <pc:spChg chg="mod">
          <ac:chgData name="Aude Van de WIELE" userId="7317e673-04dd-415c-a4d7-718682339b40" providerId="ADAL" clId="{80D4E734-020D-4C1F-A028-1B9E9B483F9A}" dt="2021-05-25T08:49:51.244" v="9619" actId="790"/>
          <ac:spMkLst>
            <pc:docMk/>
            <pc:sldMk cId="588134585" sldId="10479"/>
            <ac:spMk id="114" creationId="{EF7E7272-A5E8-48AE-AF6F-C99EB6336D02}"/>
          </ac:spMkLst>
        </pc:spChg>
        <pc:spChg chg="mod">
          <ac:chgData name="Aude Van de WIELE" userId="7317e673-04dd-415c-a4d7-718682339b40" providerId="ADAL" clId="{80D4E734-020D-4C1F-A028-1B9E9B483F9A}" dt="2021-05-25T08:49:51.245" v="9620" actId="790"/>
          <ac:spMkLst>
            <pc:docMk/>
            <pc:sldMk cId="588134585" sldId="10479"/>
            <ac:spMk id="115" creationId="{E4406749-7A4A-41F0-A850-CE3465C20F17}"/>
          </ac:spMkLst>
        </pc:spChg>
        <pc:spChg chg="mod">
          <ac:chgData name="Aude Van de WIELE" userId="7317e673-04dd-415c-a4d7-718682339b40" providerId="ADAL" clId="{80D4E734-020D-4C1F-A028-1B9E9B483F9A}" dt="2021-05-25T08:49:51.247" v="9621" actId="790"/>
          <ac:spMkLst>
            <pc:docMk/>
            <pc:sldMk cId="588134585" sldId="10479"/>
            <ac:spMk id="116" creationId="{2806627C-A398-4592-B3EB-4C56D0420050}"/>
          </ac:spMkLst>
        </pc:spChg>
        <pc:spChg chg="mod">
          <ac:chgData name="Aude Van de WIELE" userId="7317e673-04dd-415c-a4d7-718682339b40" providerId="ADAL" clId="{80D4E734-020D-4C1F-A028-1B9E9B483F9A}" dt="2021-05-25T08:49:51.210" v="9597" actId="790"/>
          <ac:spMkLst>
            <pc:docMk/>
            <pc:sldMk cId="588134585" sldId="10479"/>
            <ac:spMk id="152" creationId="{FD7ED2BD-3A04-423A-8563-A638727F3B40}"/>
          </ac:spMkLst>
        </pc:spChg>
        <pc:spChg chg="del">
          <ac:chgData name="Aude Van de WIELE" userId="7317e673-04dd-415c-a4d7-718682339b40" providerId="ADAL" clId="{80D4E734-020D-4C1F-A028-1B9E9B483F9A}" dt="2021-05-25T08:02:54.345" v="6937" actId="478"/>
          <ac:spMkLst>
            <pc:docMk/>
            <pc:sldMk cId="588134585" sldId="10479"/>
            <ac:spMk id="154" creationId="{D35DD235-AAB8-4F6B-B3B1-D38983ADA0CA}"/>
          </ac:spMkLst>
        </pc:spChg>
        <pc:spChg chg="del">
          <ac:chgData name="Aude Van de WIELE" userId="7317e673-04dd-415c-a4d7-718682339b40" providerId="ADAL" clId="{80D4E734-020D-4C1F-A028-1B9E9B483F9A}" dt="2021-05-25T08:02:54.345" v="6937" actId="478"/>
          <ac:spMkLst>
            <pc:docMk/>
            <pc:sldMk cId="588134585" sldId="10479"/>
            <ac:spMk id="155" creationId="{45677D6E-1074-44F0-A972-E8300AB3680D}"/>
          </ac:spMkLst>
        </pc:spChg>
        <pc:spChg chg="del">
          <ac:chgData name="Aude Van de WIELE" userId="7317e673-04dd-415c-a4d7-718682339b40" providerId="ADAL" clId="{80D4E734-020D-4C1F-A028-1B9E9B483F9A}" dt="2021-05-25T08:02:54.345" v="6937" actId="478"/>
          <ac:spMkLst>
            <pc:docMk/>
            <pc:sldMk cId="588134585" sldId="10479"/>
            <ac:spMk id="156" creationId="{29678C34-BE61-4AD4-863B-FD79AC636B57}"/>
          </ac:spMkLst>
        </pc:spChg>
        <pc:spChg chg="del">
          <ac:chgData name="Aude Van de WIELE" userId="7317e673-04dd-415c-a4d7-718682339b40" providerId="ADAL" clId="{80D4E734-020D-4C1F-A028-1B9E9B483F9A}" dt="2021-05-25T08:02:54.345" v="6937" actId="478"/>
          <ac:spMkLst>
            <pc:docMk/>
            <pc:sldMk cId="588134585" sldId="10479"/>
            <ac:spMk id="157" creationId="{FC79914C-612B-461D-BE51-7D1309D6DFE0}"/>
          </ac:spMkLst>
        </pc:spChg>
        <pc:spChg chg="del">
          <ac:chgData name="Aude Van de WIELE" userId="7317e673-04dd-415c-a4d7-718682339b40" providerId="ADAL" clId="{80D4E734-020D-4C1F-A028-1B9E9B483F9A}" dt="2021-05-25T08:02:54.345" v="6937" actId="478"/>
          <ac:spMkLst>
            <pc:docMk/>
            <pc:sldMk cId="588134585" sldId="10479"/>
            <ac:spMk id="158" creationId="{2D81ABC9-682E-4CC0-995F-B4C6876BBBA5}"/>
          </ac:spMkLst>
        </pc:spChg>
        <pc:spChg chg="del">
          <ac:chgData name="Aude Van de WIELE" userId="7317e673-04dd-415c-a4d7-718682339b40" providerId="ADAL" clId="{80D4E734-020D-4C1F-A028-1B9E9B483F9A}" dt="2021-05-25T08:02:54.345" v="6937" actId="478"/>
          <ac:spMkLst>
            <pc:docMk/>
            <pc:sldMk cId="588134585" sldId="10479"/>
            <ac:spMk id="159" creationId="{B9492A56-4112-40F4-9483-056AE30973C3}"/>
          </ac:spMkLst>
        </pc:spChg>
        <pc:spChg chg="del">
          <ac:chgData name="Aude Van de WIELE" userId="7317e673-04dd-415c-a4d7-718682339b40" providerId="ADAL" clId="{80D4E734-020D-4C1F-A028-1B9E9B483F9A}" dt="2021-05-25T08:02:54.345" v="6937" actId="478"/>
          <ac:spMkLst>
            <pc:docMk/>
            <pc:sldMk cId="588134585" sldId="10479"/>
            <ac:spMk id="160" creationId="{DF39C3C0-CF28-40E8-9508-1DBF262C4F4D}"/>
          </ac:spMkLst>
        </pc:spChg>
        <pc:grpChg chg="mod">
          <ac:chgData name="Aude Van de WIELE" userId="7317e673-04dd-415c-a4d7-718682339b40" providerId="ADAL" clId="{80D4E734-020D-4C1F-A028-1B9E9B483F9A}" dt="2021-05-25T11:16:57.595" v="10758" actId="478"/>
          <ac:grpSpMkLst>
            <pc:docMk/>
            <pc:sldMk cId="588134585" sldId="10479"/>
            <ac:grpSpMk id="45" creationId="{014FDE40-AF87-4398-AF77-3BDA3430198D}"/>
          </ac:grpSpMkLst>
        </pc:grpChg>
        <pc:picChg chg="del">
          <ac:chgData name="Aude Van de WIELE" userId="7317e673-04dd-415c-a4d7-718682339b40" providerId="ADAL" clId="{80D4E734-020D-4C1F-A028-1B9E9B483F9A}" dt="2021-05-25T11:16:57.595" v="10758" actId="478"/>
          <ac:picMkLst>
            <pc:docMk/>
            <pc:sldMk cId="588134585" sldId="10479"/>
            <ac:picMk id="85" creationId="{35965997-C020-4AF1-B4C3-0235EDB19652}"/>
          </ac:picMkLst>
        </pc:picChg>
        <pc:picChg chg="mod">
          <ac:chgData name="Aude Van de WIELE" userId="7317e673-04dd-415c-a4d7-718682339b40" providerId="ADAL" clId="{80D4E734-020D-4C1F-A028-1B9E9B483F9A}" dt="2021-05-25T11:16:57.595" v="10758" actId="478"/>
          <ac:picMkLst>
            <pc:docMk/>
            <pc:sldMk cId="588134585" sldId="10479"/>
            <ac:picMk id="100" creationId="{5D5E7F3F-7B4B-4CD7-9FC1-026A2940C5BD}"/>
          </ac:picMkLst>
        </pc:picChg>
        <pc:cxnChg chg="mod">
          <ac:chgData name="Aude Van de WIELE" userId="7317e673-04dd-415c-a4d7-718682339b40" providerId="ADAL" clId="{80D4E734-020D-4C1F-A028-1B9E9B483F9A}" dt="2021-05-25T11:16:57.595" v="10758" actId="478"/>
          <ac:cxnSpMkLst>
            <pc:docMk/>
            <pc:sldMk cId="588134585" sldId="10479"/>
            <ac:cxnSpMk id="101" creationId="{AA90C460-6CF1-4DB5-8C11-E122F31BD388}"/>
          </ac:cxnSpMkLst>
        </pc:cxnChg>
        <pc:cxnChg chg="mod">
          <ac:chgData name="Aude Van de WIELE" userId="7317e673-04dd-415c-a4d7-718682339b40" providerId="ADAL" clId="{80D4E734-020D-4C1F-A028-1B9E9B483F9A}" dt="2021-05-25T11:16:57.595" v="10758" actId="478"/>
          <ac:cxnSpMkLst>
            <pc:docMk/>
            <pc:sldMk cId="588134585" sldId="10479"/>
            <ac:cxnSpMk id="102" creationId="{1199AD81-7087-4482-8DDE-CE8EA7086463}"/>
          </ac:cxnSpMkLst>
        </pc:cxnChg>
        <pc:cxnChg chg="mod">
          <ac:chgData name="Aude Van de WIELE" userId="7317e673-04dd-415c-a4d7-718682339b40" providerId="ADAL" clId="{80D4E734-020D-4C1F-A028-1B9E9B483F9A}" dt="2021-05-25T11:16:57.595" v="10758" actId="478"/>
          <ac:cxnSpMkLst>
            <pc:docMk/>
            <pc:sldMk cId="588134585" sldId="10479"/>
            <ac:cxnSpMk id="103" creationId="{97BB649C-848C-44F9-BF97-A33A71CB7403}"/>
          </ac:cxnSpMkLst>
        </pc:cxnChg>
      </pc:sldChg>
      <pc:sldChg chg="delSp modSp add mod">
        <pc:chgData name="Aude Van de WIELE" userId="7317e673-04dd-415c-a4d7-718682339b40" providerId="ADAL" clId="{80D4E734-020D-4C1F-A028-1B9E9B483F9A}" dt="2021-05-25T08:49:51.306" v="9659" actId="790"/>
        <pc:sldMkLst>
          <pc:docMk/>
          <pc:sldMk cId="4202809596" sldId="10480"/>
        </pc:sldMkLst>
        <pc:spChg chg="mod">
          <ac:chgData name="Aude Van de WIELE" userId="7317e673-04dd-415c-a4d7-718682339b40" providerId="ADAL" clId="{80D4E734-020D-4C1F-A028-1B9E9B483F9A}" dt="2021-05-25T08:49:51.255" v="9629" actId="790"/>
          <ac:spMkLst>
            <pc:docMk/>
            <pc:sldMk cId="4202809596" sldId="10480"/>
            <ac:spMk id="2" creationId="{BA3E4240-1B8B-4AAA-9DCA-9FE236464846}"/>
          </ac:spMkLst>
        </pc:spChg>
        <pc:spChg chg="mod">
          <ac:chgData name="Aude Van de WIELE" userId="7317e673-04dd-415c-a4d7-718682339b40" providerId="ADAL" clId="{80D4E734-020D-4C1F-A028-1B9E9B483F9A}" dt="2021-05-25T08:49:51.256" v="9631" actId="790"/>
          <ac:spMkLst>
            <pc:docMk/>
            <pc:sldMk cId="4202809596" sldId="10480"/>
            <ac:spMk id="10" creationId="{8B80541E-0CB8-4F46-AA31-1D2CE8ECE50F}"/>
          </ac:spMkLst>
        </pc:spChg>
        <pc:spChg chg="mod">
          <ac:chgData name="Aude Van de WIELE" userId="7317e673-04dd-415c-a4d7-718682339b40" providerId="ADAL" clId="{80D4E734-020D-4C1F-A028-1B9E9B483F9A}" dt="2021-05-25T08:49:51.255" v="9630" actId="790"/>
          <ac:spMkLst>
            <pc:docMk/>
            <pc:sldMk cId="4202809596" sldId="10480"/>
            <ac:spMk id="12" creationId="{5632CA9B-96AD-46F9-9A8A-B6E6800443DD}"/>
          </ac:spMkLst>
        </pc:spChg>
        <pc:spChg chg="mod">
          <ac:chgData name="Aude Van de WIELE" userId="7317e673-04dd-415c-a4d7-718682339b40" providerId="ADAL" clId="{80D4E734-020D-4C1F-A028-1B9E9B483F9A}" dt="2021-05-25T08:49:51.258" v="9632" actId="790"/>
          <ac:spMkLst>
            <pc:docMk/>
            <pc:sldMk cId="4202809596" sldId="10480"/>
            <ac:spMk id="54" creationId="{A1ED7959-6972-4CA1-87DE-4A9E265D1EE1}"/>
          </ac:spMkLst>
        </pc:spChg>
        <pc:spChg chg="mod">
          <ac:chgData name="Aude Van de WIELE" userId="7317e673-04dd-415c-a4d7-718682339b40" providerId="ADAL" clId="{80D4E734-020D-4C1F-A028-1B9E9B483F9A}" dt="2021-05-25T08:49:51.259" v="9633" actId="790"/>
          <ac:spMkLst>
            <pc:docMk/>
            <pc:sldMk cId="4202809596" sldId="10480"/>
            <ac:spMk id="61" creationId="{0CCFF1A2-CE09-4311-BD82-2FC01C7F8607}"/>
          </ac:spMkLst>
        </pc:spChg>
        <pc:spChg chg="mod">
          <ac:chgData name="Aude Van de WIELE" userId="7317e673-04dd-415c-a4d7-718682339b40" providerId="ADAL" clId="{80D4E734-020D-4C1F-A028-1B9E9B483F9A}" dt="2021-05-25T08:49:51.301" v="9656" actId="790"/>
          <ac:spMkLst>
            <pc:docMk/>
            <pc:sldMk cId="4202809596" sldId="10480"/>
            <ac:spMk id="64" creationId="{715DCA8A-86D5-45FB-9BFD-4D1110B6C7FB}"/>
          </ac:spMkLst>
        </pc:spChg>
        <pc:spChg chg="mod">
          <ac:chgData name="Aude Van de WIELE" userId="7317e673-04dd-415c-a4d7-718682339b40" providerId="ADAL" clId="{80D4E734-020D-4C1F-A028-1B9E9B483F9A}" dt="2021-05-25T08:49:51.262" v="9636" actId="790"/>
          <ac:spMkLst>
            <pc:docMk/>
            <pc:sldMk cId="4202809596" sldId="10480"/>
            <ac:spMk id="65" creationId="{621ABA10-DB52-4BB0-BAFC-8BE5CFD23B9F}"/>
          </ac:spMkLst>
        </pc:spChg>
        <pc:spChg chg="mod">
          <ac:chgData name="Aude Van de WIELE" userId="7317e673-04dd-415c-a4d7-718682339b40" providerId="ADAL" clId="{80D4E734-020D-4C1F-A028-1B9E9B483F9A}" dt="2021-05-25T08:49:51.263" v="9637" actId="790"/>
          <ac:spMkLst>
            <pc:docMk/>
            <pc:sldMk cId="4202809596" sldId="10480"/>
            <ac:spMk id="66" creationId="{A3EC114C-5251-4558-8979-7A09B9BD87E8}"/>
          </ac:spMkLst>
        </pc:spChg>
        <pc:spChg chg="mod">
          <ac:chgData name="Aude Van de WIELE" userId="7317e673-04dd-415c-a4d7-718682339b40" providerId="ADAL" clId="{80D4E734-020D-4C1F-A028-1B9E9B483F9A}" dt="2021-05-25T08:49:51.264" v="9638" actId="790"/>
          <ac:spMkLst>
            <pc:docMk/>
            <pc:sldMk cId="4202809596" sldId="10480"/>
            <ac:spMk id="67" creationId="{44209A18-064E-4D98-A20A-566CF9E8375A}"/>
          </ac:spMkLst>
        </pc:spChg>
        <pc:spChg chg="mod">
          <ac:chgData name="Aude Van de WIELE" userId="7317e673-04dd-415c-a4d7-718682339b40" providerId="ADAL" clId="{80D4E734-020D-4C1F-A028-1B9E9B483F9A}" dt="2021-05-25T08:49:51.260" v="9634" actId="790"/>
          <ac:spMkLst>
            <pc:docMk/>
            <pc:sldMk cId="4202809596" sldId="10480"/>
            <ac:spMk id="68" creationId="{A5346155-53F6-4492-8069-514F081C33B9}"/>
          </ac:spMkLst>
        </pc:spChg>
        <pc:spChg chg="mod">
          <ac:chgData name="Aude Van de WIELE" userId="7317e673-04dd-415c-a4d7-718682339b40" providerId="ADAL" clId="{80D4E734-020D-4C1F-A028-1B9E9B483F9A}" dt="2021-05-25T08:49:51.266" v="9639" actId="790"/>
          <ac:spMkLst>
            <pc:docMk/>
            <pc:sldMk cId="4202809596" sldId="10480"/>
            <ac:spMk id="72" creationId="{C5BAE9F3-F0CE-4E5D-A59F-809FDD7B37E5}"/>
          </ac:spMkLst>
        </pc:spChg>
        <pc:spChg chg="mod">
          <ac:chgData name="Aude Van de WIELE" userId="7317e673-04dd-415c-a4d7-718682339b40" providerId="ADAL" clId="{80D4E734-020D-4C1F-A028-1B9E9B483F9A}" dt="2021-05-25T08:49:51.261" v="9635" actId="790"/>
          <ac:spMkLst>
            <pc:docMk/>
            <pc:sldMk cId="4202809596" sldId="10480"/>
            <ac:spMk id="73" creationId="{98DD9878-7EFD-4EE3-8563-0AB6CA847BCD}"/>
          </ac:spMkLst>
        </pc:spChg>
        <pc:spChg chg="mod">
          <ac:chgData name="Aude Van de WIELE" userId="7317e673-04dd-415c-a4d7-718682339b40" providerId="ADAL" clId="{80D4E734-020D-4C1F-A028-1B9E9B483F9A}" dt="2021-05-25T08:49:51.269" v="9640" actId="790"/>
          <ac:spMkLst>
            <pc:docMk/>
            <pc:sldMk cId="4202809596" sldId="10480"/>
            <ac:spMk id="74" creationId="{E5DAF6B5-73B5-4F99-AC68-3AF9C1E72B1A}"/>
          </ac:spMkLst>
        </pc:spChg>
        <pc:spChg chg="mod">
          <ac:chgData name="Aude Van de WIELE" userId="7317e673-04dd-415c-a4d7-718682339b40" providerId="ADAL" clId="{80D4E734-020D-4C1F-A028-1B9E9B483F9A}" dt="2021-05-25T08:49:51.270" v="9641" actId="790"/>
          <ac:spMkLst>
            <pc:docMk/>
            <pc:sldMk cId="4202809596" sldId="10480"/>
            <ac:spMk id="75" creationId="{FC4FB322-02D4-4E5C-B006-A484E3CA441A}"/>
          </ac:spMkLst>
        </pc:spChg>
        <pc:spChg chg="mod">
          <ac:chgData name="Aude Van de WIELE" userId="7317e673-04dd-415c-a4d7-718682339b40" providerId="ADAL" clId="{80D4E734-020D-4C1F-A028-1B9E9B483F9A}" dt="2021-05-25T08:49:51.271" v="9642" actId="790"/>
          <ac:spMkLst>
            <pc:docMk/>
            <pc:sldMk cId="4202809596" sldId="10480"/>
            <ac:spMk id="76" creationId="{38973F65-37ED-4CDC-9A45-5183BBDA5DB7}"/>
          </ac:spMkLst>
        </pc:spChg>
        <pc:spChg chg="mod">
          <ac:chgData name="Aude Van de WIELE" userId="7317e673-04dd-415c-a4d7-718682339b40" providerId="ADAL" clId="{80D4E734-020D-4C1F-A028-1B9E9B483F9A}" dt="2021-05-25T08:49:51.273" v="9643" actId="790"/>
          <ac:spMkLst>
            <pc:docMk/>
            <pc:sldMk cId="4202809596" sldId="10480"/>
            <ac:spMk id="77" creationId="{C58DFF13-F614-467C-A649-5174336B1430}"/>
          </ac:spMkLst>
        </pc:spChg>
        <pc:spChg chg="del">
          <ac:chgData name="Aude Van de WIELE" userId="7317e673-04dd-415c-a4d7-718682339b40" providerId="ADAL" clId="{80D4E734-020D-4C1F-A028-1B9E9B483F9A}" dt="2021-05-25T08:02:56.064" v="6938" actId="478"/>
          <ac:spMkLst>
            <pc:docMk/>
            <pc:sldMk cId="4202809596" sldId="10480"/>
            <ac:spMk id="78" creationId="{BE2FB5DD-C34E-41C9-91E9-F7910227B253}"/>
          </ac:spMkLst>
        </pc:spChg>
        <pc:spChg chg="del">
          <ac:chgData name="Aude Van de WIELE" userId="7317e673-04dd-415c-a4d7-718682339b40" providerId="ADAL" clId="{80D4E734-020D-4C1F-A028-1B9E9B483F9A}" dt="2021-05-25T08:02:56.064" v="6938" actId="478"/>
          <ac:spMkLst>
            <pc:docMk/>
            <pc:sldMk cId="4202809596" sldId="10480"/>
            <ac:spMk id="79" creationId="{987E3A29-35FB-44D0-830C-98224FE5939E}"/>
          </ac:spMkLst>
        </pc:spChg>
        <pc:spChg chg="del">
          <ac:chgData name="Aude Van de WIELE" userId="7317e673-04dd-415c-a4d7-718682339b40" providerId="ADAL" clId="{80D4E734-020D-4C1F-A028-1B9E9B483F9A}" dt="2021-05-25T08:02:56.064" v="6938" actId="478"/>
          <ac:spMkLst>
            <pc:docMk/>
            <pc:sldMk cId="4202809596" sldId="10480"/>
            <ac:spMk id="80" creationId="{9E159D94-53AC-4543-A7C1-B2F625D77A92}"/>
          </ac:spMkLst>
        </pc:spChg>
        <pc:spChg chg="del">
          <ac:chgData name="Aude Van de WIELE" userId="7317e673-04dd-415c-a4d7-718682339b40" providerId="ADAL" clId="{80D4E734-020D-4C1F-A028-1B9E9B483F9A}" dt="2021-05-25T08:02:56.064" v="6938" actId="478"/>
          <ac:spMkLst>
            <pc:docMk/>
            <pc:sldMk cId="4202809596" sldId="10480"/>
            <ac:spMk id="81" creationId="{3F40900F-5E10-47C1-9B77-8A4BAB96ECE8}"/>
          </ac:spMkLst>
        </pc:spChg>
        <pc:spChg chg="del">
          <ac:chgData name="Aude Van de WIELE" userId="7317e673-04dd-415c-a4d7-718682339b40" providerId="ADAL" clId="{80D4E734-020D-4C1F-A028-1B9E9B483F9A}" dt="2021-05-25T08:02:56.064" v="6938" actId="478"/>
          <ac:spMkLst>
            <pc:docMk/>
            <pc:sldMk cId="4202809596" sldId="10480"/>
            <ac:spMk id="82" creationId="{0E1D3493-1D0F-4215-B036-5EE85B79166D}"/>
          </ac:spMkLst>
        </pc:spChg>
        <pc:spChg chg="mod">
          <ac:chgData name="Aude Van de WIELE" userId="7317e673-04dd-415c-a4d7-718682339b40" providerId="ADAL" clId="{80D4E734-020D-4C1F-A028-1B9E9B483F9A}" dt="2021-05-25T08:49:51.276" v="9644" actId="790"/>
          <ac:spMkLst>
            <pc:docMk/>
            <pc:sldMk cId="4202809596" sldId="10480"/>
            <ac:spMk id="83" creationId="{F3D9AFF7-1D4F-497C-9EBC-5196256BD28B}"/>
          </ac:spMkLst>
        </pc:spChg>
        <pc:spChg chg="del">
          <ac:chgData name="Aude Van de WIELE" userId="7317e673-04dd-415c-a4d7-718682339b40" providerId="ADAL" clId="{80D4E734-020D-4C1F-A028-1B9E9B483F9A}" dt="2021-05-25T08:02:56.064" v="6938" actId="478"/>
          <ac:spMkLst>
            <pc:docMk/>
            <pc:sldMk cId="4202809596" sldId="10480"/>
            <ac:spMk id="84" creationId="{82EBBB7A-5471-454F-9E18-48C0BA42145C}"/>
          </ac:spMkLst>
        </pc:spChg>
        <pc:spChg chg="del">
          <ac:chgData name="Aude Van de WIELE" userId="7317e673-04dd-415c-a4d7-718682339b40" providerId="ADAL" clId="{80D4E734-020D-4C1F-A028-1B9E9B483F9A}" dt="2021-05-25T08:02:56.064" v="6938" actId="478"/>
          <ac:spMkLst>
            <pc:docMk/>
            <pc:sldMk cId="4202809596" sldId="10480"/>
            <ac:spMk id="85" creationId="{C45D6D08-8894-42EA-8C23-28E2C27E9226}"/>
          </ac:spMkLst>
        </pc:spChg>
        <pc:spChg chg="mod">
          <ac:chgData name="Aude Van de WIELE" userId="7317e673-04dd-415c-a4d7-718682339b40" providerId="ADAL" clId="{80D4E734-020D-4C1F-A028-1B9E9B483F9A}" dt="2021-05-25T08:49:51.280" v="9645" actId="790"/>
          <ac:spMkLst>
            <pc:docMk/>
            <pc:sldMk cId="4202809596" sldId="10480"/>
            <ac:spMk id="87" creationId="{7BB8F9F8-E10F-4E64-9187-C6D2D1422ACE}"/>
          </ac:spMkLst>
        </pc:spChg>
        <pc:spChg chg="mod">
          <ac:chgData name="Aude Van de WIELE" userId="7317e673-04dd-415c-a4d7-718682339b40" providerId="ADAL" clId="{80D4E734-020D-4C1F-A028-1B9E9B483F9A}" dt="2021-05-25T08:49:51.303" v="9657" actId="790"/>
          <ac:spMkLst>
            <pc:docMk/>
            <pc:sldMk cId="4202809596" sldId="10480"/>
            <ac:spMk id="103" creationId="{D1ADF058-49F0-46BE-A5B0-D41C2897BE51}"/>
          </ac:spMkLst>
        </pc:spChg>
        <pc:spChg chg="mod">
          <ac:chgData name="Aude Van de WIELE" userId="7317e673-04dd-415c-a4d7-718682339b40" providerId="ADAL" clId="{80D4E734-020D-4C1F-A028-1B9E9B483F9A}" dt="2021-05-25T08:49:51.282" v="9646" actId="790"/>
          <ac:spMkLst>
            <pc:docMk/>
            <pc:sldMk cId="4202809596" sldId="10480"/>
            <ac:spMk id="104" creationId="{849ECA68-F6D3-4283-B6B3-B59566FC1F6D}"/>
          </ac:spMkLst>
        </pc:spChg>
        <pc:spChg chg="mod">
          <ac:chgData name="Aude Van de WIELE" userId="7317e673-04dd-415c-a4d7-718682339b40" providerId="ADAL" clId="{80D4E734-020D-4C1F-A028-1B9E9B483F9A}" dt="2021-05-25T08:49:51.283" v="9647" actId="790"/>
          <ac:spMkLst>
            <pc:docMk/>
            <pc:sldMk cId="4202809596" sldId="10480"/>
            <ac:spMk id="105" creationId="{EEE2C96C-B2B1-48D8-9332-E30827E4B0D0}"/>
          </ac:spMkLst>
        </pc:spChg>
        <pc:spChg chg="mod">
          <ac:chgData name="Aude Van de WIELE" userId="7317e673-04dd-415c-a4d7-718682339b40" providerId="ADAL" clId="{80D4E734-020D-4C1F-A028-1B9E9B483F9A}" dt="2021-05-25T08:49:51.285" v="9648" actId="790"/>
          <ac:spMkLst>
            <pc:docMk/>
            <pc:sldMk cId="4202809596" sldId="10480"/>
            <ac:spMk id="106" creationId="{0CE85CB8-7C7A-49B2-A57F-88CBBDC8A596}"/>
          </ac:spMkLst>
        </pc:spChg>
        <pc:spChg chg="mod">
          <ac:chgData name="Aude Van de WIELE" userId="7317e673-04dd-415c-a4d7-718682339b40" providerId="ADAL" clId="{80D4E734-020D-4C1F-A028-1B9E9B483F9A}" dt="2021-05-25T08:49:51.286" v="9649" actId="790"/>
          <ac:spMkLst>
            <pc:docMk/>
            <pc:sldMk cId="4202809596" sldId="10480"/>
            <ac:spMk id="107" creationId="{E85C8784-F071-4729-9033-22C4CE869084}"/>
          </ac:spMkLst>
        </pc:spChg>
        <pc:spChg chg="mod">
          <ac:chgData name="Aude Van de WIELE" userId="7317e673-04dd-415c-a4d7-718682339b40" providerId="ADAL" clId="{80D4E734-020D-4C1F-A028-1B9E9B483F9A}" dt="2021-05-25T08:49:51.288" v="9650" actId="790"/>
          <ac:spMkLst>
            <pc:docMk/>
            <pc:sldMk cId="4202809596" sldId="10480"/>
            <ac:spMk id="108" creationId="{718E7AB5-E818-4750-AA50-CF34925A2446}"/>
          </ac:spMkLst>
        </pc:spChg>
        <pc:spChg chg="mod">
          <ac:chgData name="Aude Van de WIELE" userId="7317e673-04dd-415c-a4d7-718682339b40" providerId="ADAL" clId="{80D4E734-020D-4C1F-A028-1B9E9B483F9A}" dt="2021-05-25T08:49:51.304" v="9658" actId="790"/>
          <ac:spMkLst>
            <pc:docMk/>
            <pc:sldMk cId="4202809596" sldId="10480"/>
            <ac:spMk id="109" creationId="{BBAA2621-CEE3-45B9-A27A-5E3B01CCE547}"/>
          </ac:spMkLst>
        </pc:spChg>
        <pc:spChg chg="mod">
          <ac:chgData name="Aude Van de WIELE" userId="7317e673-04dd-415c-a4d7-718682339b40" providerId="ADAL" clId="{80D4E734-020D-4C1F-A028-1B9E9B483F9A}" dt="2021-05-25T08:49:51.289" v="9651" actId="790"/>
          <ac:spMkLst>
            <pc:docMk/>
            <pc:sldMk cId="4202809596" sldId="10480"/>
            <ac:spMk id="110" creationId="{F5CF73F8-DE8B-4531-8E6F-66A5B1437B68}"/>
          </ac:spMkLst>
        </pc:spChg>
        <pc:spChg chg="mod">
          <ac:chgData name="Aude Van de WIELE" userId="7317e673-04dd-415c-a4d7-718682339b40" providerId="ADAL" clId="{80D4E734-020D-4C1F-A028-1B9E9B483F9A}" dt="2021-05-25T08:49:51.290" v="9652" actId="790"/>
          <ac:spMkLst>
            <pc:docMk/>
            <pc:sldMk cId="4202809596" sldId="10480"/>
            <ac:spMk id="112" creationId="{F1E7BD5C-F003-4784-B812-A952EED452E0}"/>
          </ac:spMkLst>
        </pc:spChg>
        <pc:spChg chg="mod">
          <ac:chgData name="Aude Van de WIELE" userId="7317e673-04dd-415c-a4d7-718682339b40" providerId="ADAL" clId="{80D4E734-020D-4C1F-A028-1B9E9B483F9A}" dt="2021-05-25T08:49:51.291" v="9653" actId="790"/>
          <ac:spMkLst>
            <pc:docMk/>
            <pc:sldMk cId="4202809596" sldId="10480"/>
            <ac:spMk id="113" creationId="{34780B37-667B-46AD-A90A-2E9A04B51827}"/>
          </ac:spMkLst>
        </pc:spChg>
        <pc:spChg chg="mod">
          <ac:chgData name="Aude Van de WIELE" userId="7317e673-04dd-415c-a4d7-718682339b40" providerId="ADAL" clId="{80D4E734-020D-4C1F-A028-1B9E9B483F9A}" dt="2021-05-25T08:49:51.250" v="9625" actId="790"/>
          <ac:spMkLst>
            <pc:docMk/>
            <pc:sldMk cId="4202809596" sldId="10480"/>
            <ac:spMk id="129" creationId="{D71975E8-6EB4-4EA3-B34C-4F9196C4ABBE}"/>
          </ac:spMkLst>
        </pc:spChg>
        <pc:spChg chg="mod">
          <ac:chgData name="Aude Van de WIELE" userId="7317e673-04dd-415c-a4d7-718682339b40" providerId="ADAL" clId="{80D4E734-020D-4C1F-A028-1B9E9B483F9A}" dt="2021-05-25T08:49:51.251" v="9626" actId="790"/>
          <ac:spMkLst>
            <pc:docMk/>
            <pc:sldMk cId="4202809596" sldId="10480"/>
            <ac:spMk id="133" creationId="{A342E216-A2F2-4FE4-89F9-E0010C3D7924}"/>
          </ac:spMkLst>
        </pc:spChg>
        <pc:spChg chg="mod">
          <ac:chgData name="Aude Van de WIELE" userId="7317e673-04dd-415c-a4d7-718682339b40" providerId="ADAL" clId="{80D4E734-020D-4C1F-A028-1B9E9B483F9A}" dt="2021-05-25T08:49:51.252" v="9627" actId="790"/>
          <ac:spMkLst>
            <pc:docMk/>
            <pc:sldMk cId="4202809596" sldId="10480"/>
            <ac:spMk id="134" creationId="{70FE3725-42CC-4172-9F8D-F2B05517B173}"/>
          </ac:spMkLst>
        </pc:spChg>
        <pc:spChg chg="mod">
          <ac:chgData name="Aude Van de WIELE" userId="7317e673-04dd-415c-a4d7-718682339b40" providerId="ADAL" clId="{80D4E734-020D-4C1F-A028-1B9E9B483F9A}" dt="2021-05-25T08:49:51.253" v="9628" actId="790"/>
          <ac:spMkLst>
            <pc:docMk/>
            <pc:sldMk cId="4202809596" sldId="10480"/>
            <ac:spMk id="135" creationId="{E9E47757-74E5-4C3A-8349-4DF9BC11DA26}"/>
          </ac:spMkLst>
        </pc:spChg>
        <pc:spChg chg="mod">
          <ac:chgData name="Aude Van de WIELE" userId="7317e673-04dd-415c-a4d7-718682339b40" providerId="ADAL" clId="{80D4E734-020D-4C1F-A028-1B9E9B483F9A}" dt="2021-05-25T08:49:51.298" v="9654" actId="790"/>
          <ac:spMkLst>
            <pc:docMk/>
            <pc:sldMk cId="4202809596" sldId="10480"/>
            <ac:spMk id="136" creationId="{F5655A12-1321-41AD-A021-A3F6072E401C}"/>
          </ac:spMkLst>
        </pc:spChg>
        <pc:spChg chg="mod">
          <ac:chgData name="Aude Van de WIELE" userId="7317e673-04dd-415c-a4d7-718682339b40" providerId="ADAL" clId="{80D4E734-020D-4C1F-A028-1B9E9B483F9A}" dt="2021-05-25T08:49:51.299" v="9655" actId="790"/>
          <ac:spMkLst>
            <pc:docMk/>
            <pc:sldMk cId="4202809596" sldId="10480"/>
            <ac:spMk id="137" creationId="{06AB971E-2F11-4688-B19E-8FA8645680CD}"/>
          </ac:spMkLst>
        </pc:spChg>
        <pc:spChg chg="mod">
          <ac:chgData name="Aude Van de WIELE" userId="7317e673-04dd-415c-a4d7-718682339b40" providerId="ADAL" clId="{80D4E734-020D-4C1F-A028-1B9E9B483F9A}" dt="2021-05-25T08:49:51.306" v="9659" actId="790"/>
          <ac:spMkLst>
            <pc:docMk/>
            <pc:sldMk cId="4202809596" sldId="10480"/>
            <ac:spMk id="139" creationId="{8DA1D49F-7219-4276-AD3C-AD0D21AF958D}"/>
          </ac:spMkLst>
        </pc:spChg>
      </pc:sldChg>
      <pc:sldChg chg="addSp delSp modSp mod">
        <pc:chgData name="Aude Van de WIELE" userId="7317e673-04dd-415c-a4d7-718682339b40" providerId="ADAL" clId="{80D4E734-020D-4C1F-A028-1B9E9B483F9A}" dt="2021-05-25T12:18:10.550" v="11496" actId="478"/>
        <pc:sldMkLst>
          <pc:docMk/>
          <pc:sldMk cId="1314566602" sldId="10481"/>
        </pc:sldMkLst>
        <pc:spChg chg="mod">
          <ac:chgData name="Aude Van de WIELE" userId="7317e673-04dd-415c-a4d7-718682339b40" providerId="ADAL" clId="{80D4E734-020D-4C1F-A028-1B9E9B483F9A}" dt="2021-05-25T08:49:48.995" v="7780" actId="790"/>
          <ac:spMkLst>
            <pc:docMk/>
            <pc:sldMk cId="1314566602" sldId="10481"/>
            <ac:spMk id="2" creationId="{6141F854-3009-40D7-9038-56590105A49E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3" creationId="{560625DF-BB9A-476B-B434-FFCE76A905DE}"/>
          </ac:spMkLst>
        </pc:spChg>
        <pc:spChg chg="add del mod">
          <ac:chgData name="Aude Van de WIELE" userId="7317e673-04dd-415c-a4d7-718682339b40" providerId="ADAL" clId="{80D4E734-020D-4C1F-A028-1B9E9B483F9A}" dt="2021-05-25T12:17:27.141" v="11475" actId="478"/>
          <ac:spMkLst>
            <pc:docMk/>
            <pc:sldMk cId="1314566602" sldId="10481"/>
            <ac:spMk id="14" creationId="{BF99168B-58D2-49E3-9128-C54D5771CCAF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15" creationId="{05128460-7BFC-4307-97D3-8D6BCE648098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16" creationId="{52DC22F7-50A1-4F9E-BDE2-AEB9287C6358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17" creationId="{13362563-A54C-40FC-9CE3-98BEEED7C283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18" creationId="{A0FC123E-1912-4BE1-A532-BD9FD91F6D4C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19" creationId="{53B1CD2F-0672-4E2A-A3D2-D816C1F3C13A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0" creationId="{2C72074C-EA62-427A-B807-7B4830414ADA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1" creationId="{3CAD7744-8624-4211-8642-F7A97366903A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2" creationId="{0EE64BA2-0E59-4319-86FD-6DC0E3B07DC6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3" creationId="{C50B6671-D4B5-4C43-8259-C37662E047AC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4" creationId="{6FD5383A-D90F-4793-9EE4-978E5E77E6AE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5" creationId="{E73D5AA9-9BED-4CFE-9B15-BA2CA34D3A8F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6" creationId="{1CF178C9-FA09-4B3B-8961-A7D3052DF2A2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29" creationId="{4EBEFE44-2A14-4F09-A3EB-58ED287D0203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30" creationId="{0D81CDD6-14AC-4542-8189-57ADD3120D86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31" creationId="{0A21BF8A-4686-4FC7-B72A-00B5F9563C97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33" creationId="{6F619186-A29F-47FC-B4C9-60FE5B327007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34" creationId="{7710F13B-8FD8-4679-A9E3-0FF42D7E205D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38" creationId="{443D7E13-5E25-417A-AA2B-D37766447346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0" creationId="{951BFB89-3A96-459C-8E4A-080B28FCA297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1" creationId="{8514CDF6-D3F3-4CEC-96D8-EB94AFEB3106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2" creationId="{B14DB10B-7FE9-42ED-B303-F33106400EA9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3" creationId="{E84EA5FA-08E9-40F6-A71F-8BA8F3E3ED99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4" creationId="{F595688A-2B2A-4B18-BC8F-3E1BBE846D86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5" creationId="{7A651798-9873-484A-BCBC-F1732F254FCF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6" creationId="{54AFC57A-2292-4CA3-B567-A14B5835A6E8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7" creationId="{A14096DC-4CAE-4A32-BFA3-6DBFBDDF9334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48" creationId="{071ECFC0-1FE9-49A0-A0B0-4AFD8164EB62}"/>
          </ac:spMkLst>
        </pc:spChg>
        <pc:spChg chg="mod">
          <ac:chgData name="Aude Van de WIELE" userId="7317e673-04dd-415c-a4d7-718682339b40" providerId="ADAL" clId="{80D4E734-020D-4C1F-A028-1B9E9B483F9A}" dt="2021-05-25T08:49:49.024" v="7809" actId="790"/>
          <ac:spMkLst>
            <pc:docMk/>
            <pc:sldMk cId="1314566602" sldId="10481"/>
            <ac:spMk id="49" creationId="{D81D2065-13CD-4420-A58C-E72AE87D1A42}"/>
          </ac:spMkLst>
        </pc:spChg>
        <pc:spChg chg="mod">
          <ac:chgData name="Aude Van de WIELE" userId="7317e673-04dd-415c-a4d7-718682339b40" providerId="ADAL" clId="{80D4E734-020D-4C1F-A028-1B9E9B483F9A}" dt="2021-05-25T08:49:49.025" v="7810" actId="790"/>
          <ac:spMkLst>
            <pc:docMk/>
            <pc:sldMk cId="1314566602" sldId="10481"/>
            <ac:spMk id="50" creationId="{ACAAB4F1-8D2B-4B8D-A0C1-3794501DF384}"/>
          </ac:spMkLst>
        </pc:spChg>
        <pc:spChg chg="mod">
          <ac:chgData name="Aude Van de WIELE" userId="7317e673-04dd-415c-a4d7-718682339b40" providerId="ADAL" clId="{80D4E734-020D-4C1F-A028-1B9E9B483F9A}" dt="2021-05-25T08:49:49.026" v="7811" actId="790"/>
          <ac:spMkLst>
            <pc:docMk/>
            <pc:sldMk cId="1314566602" sldId="10481"/>
            <ac:spMk id="51" creationId="{CCA5A507-9498-412A-8734-37E9A0CAFBC2}"/>
          </ac:spMkLst>
        </pc:spChg>
        <pc:spChg chg="mod">
          <ac:chgData name="Aude Van de WIELE" userId="7317e673-04dd-415c-a4d7-718682339b40" providerId="ADAL" clId="{80D4E734-020D-4C1F-A028-1B9E9B483F9A}" dt="2021-05-25T08:49:49.027" v="7812" actId="790"/>
          <ac:spMkLst>
            <pc:docMk/>
            <pc:sldMk cId="1314566602" sldId="10481"/>
            <ac:spMk id="52" creationId="{9926A3AA-BF17-44D4-8DE7-9339CF1BE6FD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58" creationId="{328B4C86-96DF-4F0B-9DF0-1048DA68F379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63" creationId="{CACC76FC-2977-4355-BF81-4E5EDB67542C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64" creationId="{E69A6A78-2AD3-4D53-8B9B-27B1B6264317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65" creationId="{B996472B-4494-4092-90D2-F9B0598EDA9B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66" creationId="{580E88D8-DB2D-4BAA-87C9-C7877E27FD4E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67" creationId="{29C19D83-CDAD-468C-B418-83C2D1E45543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68" creationId="{7BD2CCAB-CCFD-487A-BBD3-6041900F9E7C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69" creationId="{B7EBBC5A-DA14-4F74-B1F0-E98AF52DABD0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70" creationId="{3291AB25-490F-4B63-A46D-E02764883457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71" creationId="{075BD30D-D6B5-4502-AB64-F5EF3A546F22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72" creationId="{B8A5B5FA-956D-4336-94C9-315F1C4DA686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73" creationId="{BB81862D-1352-415B-9794-C265DDB814EE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74" creationId="{5013318F-F7B4-4AAF-ADC5-C66BF396BB1E}"/>
          </ac:spMkLst>
        </pc:spChg>
        <pc:spChg chg="mod">
          <ac:chgData name="Aude Van de WIELE" userId="7317e673-04dd-415c-a4d7-718682339b40" providerId="ADAL" clId="{80D4E734-020D-4C1F-A028-1B9E9B483F9A}" dt="2021-05-25T08:49:49.039" v="7827" actId="790"/>
          <ac:spMkLst>
            <pc:docMk/>
            <pc:sldMk cId="1314566602" sldId="10481"/>
            <ac:spMk id="83" creationId="{B022D544-F72E-4747-A8CA-168E2A57EA0D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85" creationId="{C88CFD24-A3E1-478D-B34C-1E0ECF85A40D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86" creationId="{6CB430ED-F66D-45D4-8301-C9F93105C4D1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87" creationId="{C2862B83-240F-4A1D-B35E-91B2A481B969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88" creationId="{7FB8AE25-3C90-4AC1-A2A5-ADD97D79DB6C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89" creationId="{7889FD5A-6C5A-4272-B1C1-B8A724F2B10F}"/>
          </ac:spMkLst>
        </pc:spChg>
        <pc:spChg chg="add del mod">
          <ac:chgData name="Aude Van de WIELE" userId="7317e673-04dd-415c-a4d7-718682339b40" providerId="ADAL" clId="{80D4E734-020D-4C1F-A028-1B9E9B483F9A}" dt="2021-05-25T12:17:27.141" v="11475" actId="478"/>
          <ac:spMkLst>
            <pc:docMk/>
            <pc:sldMk cId="1314566602" sldId="10481"/>
            <ac:spMk id="90" creationId="{77F48DB9-7925-4FD7-8D0B-8F07F8491523}"/>
          </ac:spMkLst>
        </pc:spChg>
        <pc:spChg chg="add del mod">
          <ac:chgData name="Aude Van de WIELE" userId="7317e673-04dd-415c-a4d7-718682339b40" providerId="ADAL" clId="{80D4E734-020D-4C1F-A028-1B9E9B483F9A}" dt="2021-05-25T12:17:27.141" v="11475" actId="478"/>
          <ac:spMkLst>
            <pc:docMk/>
            <pc:sldMk cId="1314566602" sldId="10481"/>
            <ac:spMk id="94" creationId="{0F4F10F5-977E-4EB0-91A1-B96246179616}"/>
          </ac:spMkLst>
        </pc:spChg>
        <pc:spChg chg="add del mod">
          <ac:chgData name="Aude Van de WIELE" userId="7317e673-04dd-415c-a4d7-718682339b40" providerId="ADAL" clId="{80D4E734-020D-4C1F-A028-1B9E9B483F9A}" dt="2021-05-25T12:17:27.141" v="11475" actId="478"/>
          <ac:spMkLst>
            <pc:docMk/>
            <pc:sldMk cId="1314566602" sldId="10481"/>
            <ac:spMk id="111" creationId="{AAE2193E-2CF1-466B-885D-77842A9A9102}"/>
          </ac:spMkLst>
        </pc:spChg>
        <pc:spChg chg="add del mod">
          <ac:chgData name="Aude Van de WIELE" userId="7317e673-04dd-415c-a4d7-718682339b40" providerId="ADAL" clId="{80D4E734-020D-4C1F-A028-1B9E9B483F9A}" dt="2021-05-25T12:17:31.923" v="11476" actId="478"/>
          <ac:spMkLst>
            <pc:docMk/>
            <pc:sldMk cId="1314566602" sldId="10481"/>
            <ac:spMk id="112" creationId="{58F1BE0C-A14B-42E1-B182-64C59CD08680}"/>
          </ac:spMkLst>
        </pc:spChg>
        <pc:spChg chg="mod">
          <ac:chgData name="Aude Van de WIELE" userId="7317e673-04dd-415c-a4d7-718682339b40" providerId="ADAL" clId="{80D4E734-020D-4C1F-A028-1B9E9B483F9A}" dt="2021-05-25T08:49:49.050" v="7837" actId="790"/>
          <ac:spMkLst>
            <pc:docMk/>
            <pc:sldMk cId="1314566602" sldId="10481"/>
            <ac:spMk id="115" creationId="{4C8FA9C8-0FBF-4037-96F3-8EFAF86EDF43}"/>
          </ac:spMkLst>
        </pc:spChg>
        <pc:spChg chg="mod">
          <ac:chgData name="Aude Van de WIELE" userId="7317e673-04dd-415c-a4d7-718682339b40" providerId="ADAL" clId="{80D4E734-020D-4C1F-A028-1B9E9B483F9A}" dt="2021-05-25T08:49:49.052" v="7838" actId="790"/>
          <ac:spMkLst>
            <pc:docMk/>
            <pc:sldMk cId="1314566602" sldId="10481"/>
            <ac:spMk id="160" creationId="{4520D56D-3B79-43CB-B84B-E057C5EA703B}"/>
          </ac:spMkLst>
        </pc:spChg>
        <pc:spChg chg="mod">
          <ac:chgData name="Aude Van de WIELE" userId="7317e673-04dd-415c-a4d7-718682339b40" providerId="ADAL" clId="{80D4E734-020D-4C1F-A028-1B9E9B483F9A}" dt="2021-05-25T12:17:54.756" v="11491" actId="1076"/>
          <ac:spMkLst>
            <pc:docMk/>
            <pc:sldMk cId="1314566602" sldId="10481"/>
            <ac:spMk id="185" creationId="{6F25F2BB-2FDF-43CE-BC50-E1296B1B280C}"/>
          </ac:spMkLst>
        </pc:spChg>
        <pc:spChg chg="mod">
          <ac:chgData name="Aude Van de WIELE" userId="7317e673-04dd-415c-a4d7-718682339b40" providerId="ADAL" clId="{80D4E734-020D-4C1F-A028-1B9E9B483F9A}" dt="2021-05-25T12:17:54.756" v="11491" actId="1076"/>
          <ac:spMkLst>
            <pc:docMk/>
            <pc:sldMk cId="1314566602" sldId="10481"/>
            <ac:spMk id="186" creationId="{DF4CE9DF-289E-4A17-B09D-3FA5A5FA474F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87" creationId="{60864EFD-ED2E-42CD-A609-45011ABF3E77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88" creationId="{8B1B245E-E239-445B-9BE3-80EA481ED6C2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89" creationId="{6CC62B18-500C-47FA-8B31-1D0935D475F6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0" creationId="{F06673D7-6C3C-40A6-9210-5A1293455289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1" creationId="{0AD8DDEB-2E14-462F-9C49-520771F2157F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2" creationId="{C21981E8-5B65-4696-82ED-BB54D6C831C6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3" creationId="{38C79317-CC3B-4666-828F-E0F60ACF3E35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4" creationId="{D4E7D80B-F520-4B09-98DF-66CA06AD1860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5" creationId="{CE74709F-C87A-4F95-87C2-DDFC43A1D356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6" creationId="{499E6D38-C22C-4FEE-96DA-13AAE6FCF5CE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7" creationId="{6DD7CB1D-AAE9-442F-B340-F43294D78E4C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8" creationId="{D838D8A9-0C49-4700-B297-8BA2A20F58AC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199" creationId="{66813085-694F-41FA-99DC-4B835AE42269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0" creationId="{6D07D3DB-8DCD-4A7C-95D2-F7E6C4264A51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1" creationId="{6C8E0E60-E7AE-4337-9B7D-B86F97C1A5AA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2" creationId="{08E41AA9-7A7E-4B92-9602-52F2DF89EF6F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3" creationId="{43506D21-8C6E-465B-BC30-3666D64CE57F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4" creationId="{20620BD1-90F9-483E-B182-798D997E2CF5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5" creationId="{9188728E-54ED-4269-A497-61D67A71071C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6" creationId="{2FC6A2A6-A1EB-4D16-A180-EC80090B0F6E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7" creationId="{37FA1920-0733-439A-94E4-47FD0A4A114A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8" creationId="{722D4619-E8C9-415C-ACCD-D4D849ED91D5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09" creationId="{19B89EA3-E636-4936-845F-BDF3BC642DA7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0" creationId="{BF98AD20-8741-4791-A33D-6850F0274002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1" creationId="{0D90855C-4943-485C-8082-10C70377E08A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2" creationId="{7A52BEB1-BBA4-4205-AA7D-CCDBCFF07D42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3" creationId="{C7770184-4D81-4F2A-BB74-C3AAB0B34C2B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4" creationId="{859373D4-0AA1-43ED-AEFA-8585FFB66E06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5" creationId="{900940C9-9864-46FC-B536-FCD35C7ED1D5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6" creationId="{AF53D746-D511-4CD7-B167-79469BE34452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7" creationId="{834A9E67-3A87-40E1-B528-40B666D2C6D7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8" creationId="{A6005F13-F5C3-414F-9737-928CAC4ABF5E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19" creationId="{4ADA345D-069F-42C2-9BC6-DE3711E352A2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0" creationId="{E17E879F-DAFE-4766-9062-47F6FA03D676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1" creationId="{CC246B93-5776-4170-84E0-0CD0D13A5CD4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2" creationId="{75355B20-8A61-4106-9605-FE0D040EA349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3" creationId="{03E82FA6-6627-4AED-B27B-AD43A2233B4E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4" creationId="{CAF473B4-BF4D-46C2-AB84-E3C4888B8A7D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5" creationId="{4841CB22-65A7-4339-8832-FF8229E36689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6" creationId="{07ADCC88-693D-4ED9-9487-88C4A0C5EC61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7" creationId="{2058446E-4821-4FE9-842E-4BB2C1702854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8" creationId="{07308E55-5F99-4C46-9EE9-B86160498598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29" creationId="{C04C851E-53B8-4735-87EE-9117AAA24722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30" creationId="{968FDDDF-87E5-4CE1-9898-AA5995B23D7E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31" creationId="{8FB049D7-561E-4290-B523-70483A6938EC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32" creationId="{290791FD-246B-4E21-9909-C2099682D790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36" creationId="{9F249134-D30F-4497-A93D-AAA2D60198AE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73" creationId="{29DF02F8-D2E3-425C-9F9E-E0F739052272}"/>
          </ac:spMkLst>
        </pc:spChg>
        <pc:spChg chg="add del mod">
          <ac:chgData name="Aude Van de WIELE" userId="7317e673-04dd-415c-a4d7-718682339b40" providerId="ADAL" clId="{80D4E734-020D-4C1F-A028-1B9E9B483F9A}" dt="2021-05-25T12:17:26.159" v="11473"/>
          <ac:spMkLst>
            <pc:docMk/>
            <pc:sldMk cId="1314566602" sldId="10481"/>
            <ac:spMk id="274" creationId="{C28F1AE9-AA7C-4BA4-A087-4117BDF05EF2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75" creationId="{FD9BF8F0-D809-4A11-A391-DB0DCEBD126D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76" creationId="{4581A1AA-BB5F-4AE3-BDEF-6CB8B57F141A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77" creationId="{AE4CC329-DE12-4CA2-8E98-5F380F47ADF9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78" creationId="{080FE173-EAE4-4EAD-9D69-A84C54DE81F3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79" creationId="{07D1BC48-0BAD-4607-BA5B-6598EC5C3DCE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0" creationId="{0F1684B6-6CFF-434C-9FC6-B4B51B130522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1" creationId="{6D299742-8801-4CF4-AEBC-B62B64C07488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2" creationId="{FF6CEE9B-8393-46F6-BB6B-696BEEAB110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3" creationId="{F6B5B61D-1965-4BCA-BE28-900040680AF7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4" creationId="{4DE9C0EC-0BB6-45CC-AE3C-CE2B1BD3D492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5" creationId="{DB9CB582-8DE6-4BB5-95E3-4BEA0319D339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6" creationId="{EBFC3B77-40FC-4403-A10D-25981B35CB71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7" creationId="{EEF106E6-E0FD-41BC-A9D9-3808B7E0C3F1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8" creationId="{A4950CE2-9D38-484A-B256-CBB6434A6A30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89" creationId="{A75668D4-B7A3-467D-A331-ACDF8179EB86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0" creationId="{D86D6B79-51F9-4028-8225-69A96231B298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1" creationId="{35738E99-33BD-4328-BF24-B2473864A7A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2" creationId="{5CF1079B-2B57-4D5E-A9AA-084BE755C891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3" creationId="{0F7A6D2F-15F2-4C00-B486-35DCBAD4AC3D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4" creationId="{C484BD7D-4B0C-4736-8E4E-DDCA983C9352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5" creationId="{6D1ADF19-A682-40E2-9547-B6E657AF48C8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6" creationId="{8203A510-58F7-4FCB-9BA0-6D333BB9FEE4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7" creationId="{4B41C860-1A5D-491E-832B-09FC27E0BADB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8" creationId="{5C26F740-E7E3-4ADF-8D43-74253085F6C0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299" creationId="{5C623E5F-8C15-4923-8B9D-FE28FE40FA9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0" creationId="{4D53F02D-9EE7-4E3B-A2DB-C64C2DFF136D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1" creationId="{E31435EA-9A31-49AF-A03E-4946D27F426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2" creationId="{D22F21A4-4D70-4CA1-9316-95F70BEA8389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3" creationId="{3E8A9F57-7224-4A95-B17D-CBB32BB502BA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4" creationId="{2B2521DF-E028-4266-AE4A-DE243649B43E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5" creationId="{57DA589C-5FCA-470A-ABFD-B0D7787C8788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6" creationId="{CF73EF0A-D8D6-4653-A904-F2B923B2E797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7" creationId="{B9142784-9999-496A-9EEA-1C2F5577CE2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8" creationId="{A436F680-6FE6-43B7-B18A-73BDF051D322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09" creationId="{3382437C-A425-47CA-A86E-47D91A821FE3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0" creationId="{656AD013-0B06-4C9B-96E0-5CD1AD682950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1" creationId="{C74F8C39-AD27-4E1F-B268-794981BC35AB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2" creationId="{F5C063E5-C8EB-41AB-A764-FF92DC17B94A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3" creationId="{8BADA9B7-42C7-4B68-8A90-6BF9A5DFE021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4" creationId="{1F1F5B35-80A6-4278-A337-A61375A9DC1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5" creationId="{8E00E735-8DFD-4AD1-B064-8AE96348A3F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6" creationId="{92DCA149-59B4-4307-872F-4A7B468A0D8A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7" creationId="{6F53F34D-B131-41FE-A896-D7BED807C3DC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8" creationId="{65D92844-99B0-4BC4-9B12-86B2B2E22B6D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19" creationId="{3FEFF01A-AFD8-4A2C-80FB-422102ADE7D9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20" creationId="{F2423A02-2C69-4DE0-B334-E222CE977383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24" creationId="{31D5E117-F90C-49BB-9C46-529E3AE94807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61" creationId="{242ECC0D-CB66-430F-AB2E-A9E6237E4671}"/>
          </ac:spMkLst>
        </pc:spChg>
        <pc:spChg chg="add mod">
          <ac:chgData name="Aude Van de WIELE" userId="7317e673-04dd-415c-a4d7-718682339b40" providerId="ADAL" clId="{80D4E734-020D-4C1F-A028-1B9E9B483F9A}" dt="2021-05-25T12:17:32.316" v="11477"/>
          <ac:spMkLst>
            <pc:docMk/>
            <pc:sldMk cId="1314566602" sldId="10481"/>
            <ac:spMk id="362" creationId="{4CFCFD6C-739B-4CAE-BDA3-FCC4DB97E885}"/>
          </ac:spMkLst>
        </pc:spChg>
        <pc:spChg chg="mod">
          <ac:chgData name="Aude Van de WIELE" userId="7317e673-04dd-415c-a4d7-718682339b40" providerId="ADAL" clId="{80D4E734-020D-4C1F-A028-1B9E9B483F9A}" dt="2021-05-25T12:17:58.483" v="11494" actId="1076"/>
          <ac:spMkLst>
            <pc:docMk/>
            <pc:sldMk cId="1314566602" sldId="10481"/>
            <ac:spMk id="368" creationId="{2F035C14-DA8F-4CF9-928F-93338C875F9C}"/>
          </ac:spMkLst>
        </pc:spChg>
        <pc:spChg chg="mod">
          <ac:chgData name="Aude Van de WIELE" userId="7317e673-04dd-415c-a4d7-718682339b40" providerId="ADAL" clId="{80D4E734-020D-4C1F-A028-1B9E9B483F9A}" dt="2021-05-25T12:17:58.483" v="11494" actId="1076"/>
          <ac:spMkLst>
            <pc:docMk/>
            <pc:sldMk cId="1314566602" sldId="10481"/>
            <ac:spMk id="369" creationId="{FD390621-4099-4457-BBE0-9E680E4F88BD}"/>
          </ac:spMkLst>
        </pc:spChg>
        <pc:spChg chg="mod">
          <ac:chgData name="Aude Van de WIELE" userId="7317e673-04dd-415c-a4d7-718682339b40" providerId="ADAL" clId="{80D4E734-020D-4C1F-A028-1B9E9B483F9A}" dt="2021-05-25T12:18:00.110" v="11495" actId="571"/>
          <ac:spMkLst>
            <pc:docMk/>
            <pc:sldMk cId="1314566602" sldId="10481"/>
            <ac:spMk id="371" creationId="{92639375-85A7-42C7-9845-D53C97CCEAF8}"/>
          </ac:spMkLst>
        </pc:spChg>
        <pc:spChg chg="mod">
          <ac:chgData name="Aude Van de WIELE" userId="7317e673-04dd-415c-a4d7-718682339b40" providerId="ADAL" clId="{80D4E734-020D-4C1F-A028-1B9E9B483F9A}" dt="2021-05-25T12:18:00.110" v="11495" actId="571"/>
          <ac:spMkLst>
            <pc:docMk/>
            <pc:sldMk cId="1314566602" sldId="10481"/>
            <ac:spMk id="372" creationId="{CC3569C4-6056-4A5A-A1EF-ED4CDB7AD29C}"/>
          </ac:spMkLst>
        </pc:spChg>
        <pc:grpChg chg="add del">
          <ac:chgData name="Aude Van de WIELE" userId="7317e673-04dd-415c-a4d7-718682339b40" providerId="ADAL" clId="{80D4E734-020D-4C1F-A028-1B9E9B483F9A}" dt="2021-05-25T12:17:31.923" v="11476" actId="478"/>
          <ac:grpSpMkLst>
            <pc:docMk/>
            <pc:sldMk cId="1314566602" sldId="10481"/>
            <ac:grpSpMk id="178" creationId="{0B741655-DC83-4BC8-9993-788D8196C12A}"/>
          </ac:grpSpMkLst>
        </pc:grpChg>
        <pc:grpChg chg="add del">
          <ac:chgData name="Aude Van de WIELE" userId="7317e673-04dd-415c-a4d7-718682339b40" providerId="ADAL" clId="{80D4E734-020D-4C1F-A028-1B9E9B483F9A}" dt="2021-05-25T12:17:31.923" v="11476" actId="478"/>
          <ac:grpSpMkLst>
            <pc:docMk/>
            <pc:sldMk cId="1314566602" sldId="10481"/>
            <ac:grpSpMk id="181" creationId="{DE368F07-60A4-4B01-8809-990CAFB202A4}"/>
          </ac:grpSpMkLst>
        </pc:grpChg>
        <pc:grpChg chg="del mod">
          <ac:chgData name="Aude Van de WIELE" userId="7317e673-04dd-415c-a4d7-718682339b40" providerId="ADAL" clId="{80D4E734-020D-4C1F-A028-1B9E9B483F9A}" dt="2021-05-25T12:17:54.875" v="11492" actId="21"/>
          <ac:grpSpMkLst>
            <pc:docMk/>
            <pc:sldMk cId="1314566602" sldId="10481"/>
            <ac:grpSpMk id="184" creationId="{EF67C566-396D-40DD-9DF0-EA1A6FE656FE}"/>
          </ac:grpSpMkLst>
        </pc:grpChg>
        <pc:grpChg chg="add mod">
          <ac:chgData name="Aude Van de WIELE" userId="7317e673-04dd-415c-a4d7-718682339b40" providerId="ADAL" clId="{80D4E734-020D-4C1F-A028-1B9E9B483F9A}" dt="2021-05-25T12:17:58.483" v="11494" actId="1076"/>
          <ac:grpSpMkLst>
            <pc:docMk/>
            <pc:sldMk cId="1314566602" sldId="10481"/>
            <ac:grpSpMk id="367" creationId="{C4FE26B1-4814-41DD-A8B6-95D2751FD80B}"/>
          </ac:grpSpMkLst>
        </pc:grpChg>
        <pc:grpChg chg="add mod">
          <ac:chgData name="Aude Van de WIELE" userId="7317e673-04dd-415c-a4d7-718682339b40" providerId="ADAL" clId="{80D4E734-020D-4C1F-A028-1B9E9B483F9A}" dt="2021-05-25T12:18:00.110" v="11495" actId="571"/>
          <ac:grpSpMkLst>
            <pc:docMk/>
            <pc:sldMk cId="1314566602" sldId="10481"/>
            <ac:grpSpMk id="370" creationId="{4EA2D565-D219-4BCB-8637-1F0C15C9CBC4}"/>
          </ac:grpSpMkLst>
        </pc:grp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91" creationId="{76662782-376E-4BA5-8214-A7251DCECFC8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92" creationId="{1ECE2B24-81F5-40BD-AE19-39BC10E4A568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93" creationId="{E5A016FB-8830-4F33-BDDF-18B283A47984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24" creationId="{3572F95A-8749-44FD-9591-EEF9D337D609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25" creationId="{62717F0B-84D6-4B67-BA87-AFC1372E115A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26" creationId="{6A53BC93-02E1-4EF8-8585-5B6033A02798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27" creationId="{5AF6010B-FBFA-435B-A147-F270D16C0E58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28" creationId="{4D25401D-4EC4-4ACF-948E-EACD17F2F096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29" creationId="{5CDD1128-6516-4EF0-873D-BACD93A7A01A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0" creationId="{881AB8E9-A35D-4724-BBD5-8F7EB198FD72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1" creationId="{739705FF-D323-4D9D-B1A0-89411307D8A4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2" creationId="{D0D56E5F-FEFD-4677-8EBF-C5CF6E5444E5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3" creationId="{EA03ECFB-3CEF-4C8A-BF55-050C45414D2B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4" creationId="{7EFF7DCD-75EB-41EB-98B4-77DB49AE054D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5" creationId="{68849F3C-6098-48C5-93E2-98EA9C1EB1E9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6" creationId="{4D1D3612-ED5F-4B34-8798-C6AF872923D1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7" creationId="{E40FE92C-D6F1-4586-B1C0-89EDD367F9F2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8" creationId="{654714C0-7FAA-471A-ADA2-54F13B7F1C40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39" creationId="{74733073-BDEF-4604-B2D0-B6E9A6263071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0" creationId="{803043B7-34F7-4ABF-94A2-11EDB7165E73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1" creationId="{042158D2-D54C-47EA-9247-A617FCD6A40C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2" creationId="{40CC04C2-4B3F-4FD0-B32C-65C76A303EDB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3" creationId="{E2B9354A-4AB8-4528-897B-4BED78BF0E50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4" creationId="{2FD45A53-5121-4FF0-AF71-ADB095359BE0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5" creationId="{61521F4C-F61A-4112-867A-A3DA881D9B40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6" creationId="{E3D1FEEA-E5D8-4FC4-9869-3DCAE8DB7122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7" creationId="{7818EC20-F4B9-476C-B105-1FA9DAD47F8B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8" creationId="{2975E2E5-5197-4717-84D2-D1F88B2C6E0D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49" creationId="{D3C86416-6F10-4BDA-8333-909F3640E1EA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0" creationId="{46387771-B71B-49FA-8F30-E02BB73C0236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1" creationId="{518AB09D-8C1C-4CA6-95DD-644823830A00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2" creationId="{8099AC2E-4448-4675-9AC4-E240F352D603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3" creationId="{2E553736-8EB1-458D-A042-71649967F999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4" creationId="{14C03036-7D21-4B7E-8018-293F5BD9099F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5" creationId="{67C95FD4-7D39-4145-8C44-C279B1FADCD7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6" creationId="{573FAE15-F1F1-4DFA-A918-F47E70F91FC2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7" creationId="{C262A318-FA22-4B99-BDA6-272EF6707D29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8" creationId="{5BC39710-E85E-419A-A856-F3E0213C1771}"/>
          </ac:picMkLst>
        </pc:picChg>
        <pc:picChg chg="add del">
          <ac:chgData name="Aude Van de WIELE" userId="7317e673-04dd-415c-a4d7-718682339b40" providerId="ADAL" clId="{80D4E734-020D-4C1F-A028-1B9E9B483F9A}" dt="2021-05-25T12:17:31.923" v="11476" actId="478"/>
          <ac:picMkLst>
            <pc:docMk/>
            <pc:sldMk cId="1314566602" sldId="10481"/>
            <ac:picMk id="159" creationId="{9308B296-0D91-4EA3-9D21-88F24882D5D9}"/>
          </ac:picMkLst>
        </pc:picChg>
        <pc:picChg chg="del mod">
          <ac:chgData name="Aude Van de WIELE" userId="7317e673-04dd-415c-a4d7-718682339b40" providerId="ADAL" clId="{80D4E734-020D-4C1F-A028-1B9E9B483F9A}" dt="2021-05-25T12:17:35.718" v="11479" actId="21"/>
          <ac:picMkLst>
            <pc:docMk/>
            <pc:sldMk cId="1314566602" sldId="10481"/>
            <ac:picMk id="174" creationId="{A4CB206B-54F4-40B2-BE43-A51056154E53}"/>
          </ac:picMkLst>
        </pc:picChg>
        <pc:picChg chg="del mod">
          <ac:chgData name="Aude Van de WIELE" userId="7317e673-04dd-415c-a4d7-718682339b40" providerId="ADAL" clId="{80D4E734-020D-4C1F-A028-1B9E9B483F9A}" dt="2021-05-25T12:18:10.550" v="11496" actId="478"/>
          <ac:picMkLst>
            <pc:docMk/>
            <pc:sldMk cId="1314566602" sldId="10481"/>
            <ac:picMk id="175" creationId="{B08800B7-07EC-42F8-8F1C-FFF64DCADD66}"/>
          </ac:picMkLst>
        </pc:picChg>
        <pc:picChg chg="del mod">
          <ac:chgData name="Aude Van de WIELE" userId="7317e673-04dd-415c-a4d7-718682339b40" providerId="ADAL" clId="{80D4E734-020D-4C1F-A028-1B9E9B483F9A}" dt="2021-05-25T12:18:10.550" v="11496" actId="478"/>
          <ac:picMkLst>
            <pc:docMk/>
            <pc:sldMk cId="1314566602" sldId="10481"/>
            <ac:picMk id="176" creationId="{4D4A7EB1-1788-47E0-8FD5-03989A6A64E6}"/>
          </ac:picMkLst>
        </pc:picChg>
        <pc:picChg chg="del mod">
          <ac:chgData name="Aude Van de WIELE" userId="7317e673-04dd-415c-a4d7-718682339b40" providerId="ADAL" clId="{80D4E734-020D-4C1F-A028-1B9E9B483F9A}" dt="2021-05-25T12:17:44.206" v="11484" actId="21"/>
          <ac:picMkLst>
            <pc:docMk/>
            <pc:sldMk cId="1314566602" sldId="10481"/>
            <ac:picMk id="177" creationId="{0DDF5916-C4FD-4AD0-B043-6FB8360718EC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33" creationId="{1E779A53-524F-4C69-BD85-14421538FC2C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34" creationId="{C529CF06-F9E7-424A-BC05-4580E65B4933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35" creationId="{4C1C1C7E-8EB4-4BD8-A40C-74C9073DEB76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37" creationId="{14A7B246-1A6D-4457-95DD-97B9A7A79D33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38" creationId="{9CEFF1CD-BBB2-43BD-A24B-0FD84A3BE975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39" creationId="{4B29570A-3D71-44F7-9FA5-82FB10739EAC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0" creationId="{E02880F3-711D-4A88-AB09-2AAF3AC6FDBF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1" creationId="{7F586F5D-AC2B-4750-82E1-EFBAD8DB93EA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2" creationId="{D4B8B799-796C-417C-BE6F-17D86227AC9B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3" creationId="{9F8BD898-916C-4399-97E8-AE97F96AAD9B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4" creationId="{65AB3F27-CB55-442B-90A2-4B8D5B38A48C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5" creationId="{D4055DD7-E77B-44C8-AC3B-6FE528D8AE72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6" creationId="{F47197A0-2510-4D55-B67B-A9F3F334ABBB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7" creationId="{7668DA67-80B1-48ED-94F0-DCAC662C4587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8" creationId="{EC0830C0-6577-4AAE-B818-9B2BEBBADF3E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49" creationId="{853598C6-4BB8-48D0-A463-0214F05B2D34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0" creationId="{F5BA8D16-AE47-481E-B843-6488A0D6E652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1" creationId="{018E22E9-977A-4800-9170-6B16E34BDEC8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2" creationId="{EF65BE16-FEC6-426F-B8C1-4A4DCC652530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3" creationId="{65C3123A-0B93-435B-B0C0-9D746A593566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4" creationId="{F9ADD20E-CF67-49E3-B24B-000A8560EFE8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5" creationId="{658D5FA4-02A8-49EC-A97F-1A7868CF326A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6" creationId="{3125EAB2-3F6B-48B7-A9F5-55AD2433BFEB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7" creationId="{6861C73B-A21B-4B4A-A04C-4CBFF9B83A04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8" creationId="{A9F82DC0-236A-4AB3-92F6-87B2BAEA564E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59" creationId="{1FB052FD-B025-4BDC-8CCF-7D0EFB8C1979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0" creationId="{265FA7C2-61AA-49A9-8B23-A4701F66A0F3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1" creationId="{B1EC7925-9F80-4579-963F-BA3548C4E01B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2" creationId="{16851929-8BB8-4932-9374-38BE30A665E9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3" creationId="{4C118495-E8FA-4B32-B9DE-F2B0C89F2217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4" creationId="{93CD10FD-942C-4C8F-A9A1-B7BA017D7F15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5" creationId="{EF77BA4F-E2CC-46CE-B1FB-0FCE34604BAE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6" creationId="{26AEA5E4-7DD8-49CB-8E83-E4A85CE12C1F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7" creationId="{EC3F6E25-811D-4480-8F4C-A1563F9EBCDA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8" creationId="{A5919D10-E395-4030-A765-C69F82C5FBEB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69" creationId="{272FBD5A-66D0-451C-B9D0-3C0FED063FA2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70" creationId="{362328AB-3A41-41D5-810C-5FA58E1FBDF2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71" creationId="{C0B68E13-C468-48D7-A542-E9AD3F3DFD10}"/>
          </ac:picMkLst>
        </pc:picChg>
        <pc:picChg chg="add del mod">
          <ac:chgData name="Aude Van de WIELE" userId="7317e673-04dd-415c-a4d7-718682339b40" providerId="ADAL" clId="{80D4E734-020D-4C1F-A028-1B9E9B483F9A}" dt="2021-05-25T12:17:26.159" v="11473"/>
          <ac:picMkLst>
            <pc:docMk/>
            <pc:sldMk cId="1314566602" sldId="10481"/>
            <ac:picMk id="272" creationId="{1DC9C615-453A-45B8-B6EB-610DCDB80AC8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1" creationId="{53BF22E8-D1BD-4D76-B16C-2A5317DD209B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2" creationId="{1D0878A1-64F4-49E5-BF00-5D17530C8835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3" creationId="{05CF3393-734B-43B0-8CDE-062910F36FEE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5" creationId="{AE05FD84-E5C9-418E-B0E4-2B0B98B5453F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6" creationId="{0354065E-41F5-4219-8318-967E77DED27E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7" creationId="{76CFE892-ABDB-466F-8E7A-B03D7AE30DBA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8" creationId="{B9C3477A-D875-4223-89D7-1E8642836B28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29" creationId="{B6CE5CF0-1C9B-4826-9574-308D486ECA83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0" creationId="{83DA950A-37C4-493B-A5E9-7742869CDBA3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1" creationId="{210A5FBE-C7C6-4504-9B77-5281AF91B1DF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2" creationId="{73198402-F2C2-4C5B-9A7A-3B3FF38C4986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3" creationId="{3479884B-867C-4F07-AB31-ACF1ED644526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4" creationId="{D2333516-B1E7-424A-9DB3-89A6CF99E6D9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5" creationId="{1387E287-49F4-4CEB-9783-E2F4DEBDA737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6" creationId="{0603F447-D3D6-4DCB-B612-A72753D1BB4F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7" creationId="{9183C0DA-2BFC-4E1D-84CB-9AC552ACDA8D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8" creationId="{BC4D03F8-7B11-4FA5-9234-D4502AF467B8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39" creationId="{771AD026-7E90-48DF-ABF1-2D3A93529BFC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0" creationId="{8EDA643A-1F1E-4CAE-B62B-43886A730244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1" creationId="{6842FF54-CF40-408F-8930-186D54831599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2" creationId="{3081C738-3C92-4AD4-BE05-55AE02DB6FDA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3" creationId="{91319CA2-DD05-4A00-8B4A-2B9784B38820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4" creationId="{EC37668B-0A99-47C9-9467-56431E8A3B76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5" creationId="{0D549495-1ABB-407C-8118-387778D062E2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6" creationId="{609EF1C3-2041-48CC-AD53-519DD45209A6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7" creationId="{762DB786-4DA1-4A70-B3D7-CED43D3EA28F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8" creationId="{EB53481C-BE5E-4EA1-94C7-044F32C04F5C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49" creationId="{E628CDE4-5EF1-480E-A278-32AD2BA588F7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0" creationId="{4949B477-6974-4347-8D30-999681075858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1" creationId="{5202F6A2-66D0-4CC5-B5EB-B59848C1B0A0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2" creationId="{D51DD03C-E334-4C28-B007-870E6ED881AA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3" creationId="{7AEE7183-40AE-411E-A385-BE2FA55F102E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4" creationId="{0EC12D18-C299-400D-8A0F-BA6B82C53E01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5" creationId="{799380CB-45EC-4148-984D-B0D27B51CEB3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6" creationId="{449699CF-80D2-46DC-A24B-A678AFB8CBCD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7" creationId="{85C2CB4A-8BB8-4F8D-9C04-35648DD9BC61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8" creationId="{3DBD5BF1-1A6A-423B-9B2B-23306674D4CB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59" creationId="{2708F4EF-8A11-45C1-BDE2-99D680A75275}"/>
          </ac:picMkLst>
        </pc:picChg>
        <pc:picChg chg="add mod">
          <ac:chgData name="Aude Van de WIELE" userId="7317e673-04dd-415c-a4d7-718682339b40" providerId="ADAL" clId="{80D4E734-020D-4C1F-A028-1B9E9B483F9A}" dt="2021-05-25T12:17:32.316" v="11477"/>
          <ac:picMkLst>
            <pc:docMk/>
            <pc:sldMk cId="1314566602" sldId="10481"/>
            <ac:picMk id="360" creationId="{8FD1A577-EB31-4515-B865-96CBD59A48E1}"/>
          </ac:picMkLst>
        </pc:picChg>
        <pc:picChg chg="add mod">
          <ac:chgData name="Aude Van de WIELE" userId="7317e673-04dd-415c-a4d7-718682339b40" providerId="ADAL" clId="{80D4E734-020D-4C1F-A028-1B9E9B483F9A}" dt="2021-05-25T12:17:38.405" v="11481" actId="1076"/>
          <ac:picMkLst>
            <pc:docMk/>
            <pc:sldMk cId="1314566602" sldId="10481"/>
            <ac:picMk id="363" creationId="{AE23C02E-537D-455B-A34A-7B56AB34ECF9}"/>
          </ac:picMkLst>
        </pc:picChg>
        <pc:picChg chg="add mod">
          <ac:chgData name="Aude Van de WIELE" userId="7317e673-04dd-415c-a4d7-718682339b40" providerId="ADAL" clId="{80D4E734-020D-4C1F-A028-1B9E9B483F9A}" dt="2021-05-25T12:17:45.508" v="11486" actId="1076"/>
          <ac:picMkLst>
            <pc:docMk/>
            <pc:sldMk cId="1314566602" sldId="10481"/>
            <ac:picMk id="364" creationId="{E29775FB-B059-43ED-9E74-19DAF2A899DD}"/>
          </ac:picMkLst>
        </pc:picChg>
        <pc:picChg chg="add del mod">
          <ac:chgData name="Aude Van de WIELE" userId="7317e673-04dd-415c-a4d7-718682339b40" providerId="ADAL" clId="{80D4E734-020D-4C1F-A028-1B9E9B483F9A}" dt="2021-05-25T12:17:47.946" v="11488" actId="21"/>
          <ac:picMkLst>
            <pc:docMk/>
            <pc:sldMk cId="1314566602" sldId="10481"/>
            <ac:picMk id="365" creationId="{1EFA0117-4AEC-4AA2-AA01-F815E8C0E42C}"/>
          </ac:picMkLst>
        </pc:picChg>
        <pc:picChg chg="add mod">
          <ac:chgData name="Aude Van de WIELE" userId="7317e673-04dd-415c-a4d7-718682339b40" providerId="ADAL" clId="{80D4E734-020D-4C1F-A028-1B9E9B483F9A}" dt="2021-05-25T12:17:51.375" v="11490" actId="1076"/>
          <ac:picMkLst>
            <pc:docMk/>
            <pc:sldMk cId="1314566602" sldId="10481"/>
            <ac:picMk id="366" creationId="{2885C5DB-22D2-4831-B5F1-0E17BE93B31B}"/>
          </ac:picMkLst>
        </pc:picChg>
      </pc:sldChg>
      <pc:sldChg chg="addSp modSp mod">
        <pc:chgData name="Aude Van de WIELE" userId="7317e673-04dd-415c-a4d7-718682339b40" providerId="ADAL" clId="{80D4E734-020D-4C1F-A028-1B9E9B483F9A}" dt="2021-05-25T09:58:07.674" v="10117" actId="20577"/>
        <pc:sldMkLst>
          <pc:docMk/>
          <pc:sldMk cId="1763597230" sldId="10482"/>
        </pc:sldMkLst>
        <pc:spChg chg="mod">
          <ac:chgData name="Aude Van de WIELE" userId="7317e673-04dd-415c-a4d7-718682339b40" providerId="ADAL" clId="{80D4E734-020D-4C1F-A028-1B9E9B483F9A}" dt="2021-05-25T08:49:49.863" v="8593" actId="790"/>
          <ac:spMkLst>
            <pc:docMk/>
            <pc:sldMk cId="1763597230" sldId="10482"/>
            <ac:spMk id="2" creationId="{873006D4-BF82-4F00-B534-5D28B2DDCEF5}"/>
          </ac:spMkLst>
        </pc:spChg>
        <pc:spChg chg="mod">
          <ac:chgData name="Aude Van de WIELE" userId="7317e673-04dd-415c-a4d7-718682339b40" providerId="ADAL" clId="{80D4E734-020D-4C1F-A028-1B9E9B483F9A}" dt="2021-05-25T08:49:49.865" v="8594" actId="790"/>
          <ac:spMkLst>
            <pc:docMk/>
            <pc:sldMk cId="1763597230" sldId="10482"/>
            <ac:spMk id="3" creationId="{79D8092C-AC66-484C-9645-EEB08D4A59C6}"/>
          </ac:spMkLst>
        </pc:spChg>
        <pc:spChg chg="mod">
          <ac:chgData name="Aude Van de WIELE" userId="7317e673-04dd-415c-a4d7-718682339b40" providerId="ADAL" clId="{80D4E734-020D-4C1F-A028-1B9E9B483F9A}" dt="2021-05-25T08:49:49.866" v="8595" actId="790"/>
          <ac:spMkLst>
            <pc:docMk/>
            <pc:sldMk cId="1763597230" sldId="10482"/>
            <ac:spMk id="4" creationId="{02BD46C9-B279-482D-89B3-4956B609E15C}"/>
          </ac:spMkLst>
        </pc:spChg>
        <pc:spChg chg="mod">
          <ac:chgData name="Aude Van de WIELE" userId="7317e673-04dd-415c-a4d7-718682339b40" providerId="ADAL" clId="{80D4E734-020D-4C1F-A028-1B9E9B483F9A}" dt="2021-05-25T08:49:49.868" v="8596" actId="790"/>
          <ac:spMkLst>
            <pc:docMk/>
            <pc:sldMk cId="1763597230" sldId="10482"/>
            <ac:spMk id="5" creationId="{661F72E1-48F0-44F4-A92A-E722B8B95227}"/>
          </ac:spMkLst>
        </pc:spChg>
        <pc:spChg chg="mod">
          <ac:chgData name="Aude Van de WIELE" userId="7317e673-04dd-415c-a4d7-718682339b40" providerId="ADAL" clId="{80D4E734-020D-4C1F-A028-1B9E9B483F9A}" dt="2021-05-25T08:49:49.870" v="8598" actId="790"/>
          <ac:spMkLst>
            <pc:docMk/>
            <pc:sldMk cId="1763597230" sldId="10482"/>
            <ac:spMk id="6" creationId="{70B52D0E-DC9C-4722-916E-D6FDF79A7420}"/>
          </ac:spMkLst>
        </pc:spChg>
        <pc:spChg chg="mod">
          <ac:chgData name="Aude Van de WIELE" userId="7317e673-04dd-415c-a4d7-718682339b40" providerId="ADAL" clId="{80D4E734-020D-4C1F-A028-1B9E9B483F9A}" dt="2021-05-25T08:49:49.874" v="8603" actId="790"/>
          <ac:spMkLst>
            <pc:docMk/>
            <pc:sldMk cId="1763597230" sldId="10482"/>
            <ac:spMk id="15" creationId="{371FD0C6-BD25-4B85-8EAD-0502F14E088E}"/>
          </ac:spMkLst>
        </pc:spChg>
        <pc:spChg chg="mod">
          <ac:chgData name="Aude Van de WIELE" userId="7317e673-04dd-415c-a4d7-718682339b40" providerId="ADAL" clId="{80D4E734-020D-4C1F-A028-1B9E9B483F9A}" dt="2021-05-25T08:49:49.878" v="8608" actId="790"/>
          <ac:spMkLst>
            <pc:docMk/>
            <pc:sldMk cId="1763597230" sldId="10482"/>
            <ac:spMk id="17" creationId="{A9119019-F679-42BB-B49F-4E0DCA81AB7E}"/>
          </ac:spMkLst>
        </pc:spChg>
        <pc:spChg chg="mod">
          <ac:chgData name="Aude Van de WIELE" userId="7317e673-04dd-415c-a4d7-718682339b40" providerId="ADAL" clId="{80D4E734-020D-4C1F-A028-1B9E9B483F9A}" dt="2021-05-25T08:49:49.879" v="8609" actId="790"/>
          <ac:spMkLst>
            <pc:docMk/>
            <pc:sldMk cId="1763597230" sldId="10482"/>
            <ac:spMk id="26" creationId="{D02F1702-75A2-41D0-81F2-2BFAC3621779}"/>
          </ac:spMkLst>
        </pc:spChg>
        <pc:spChg chg="mod">
          <ac:chgData name="Aude Van de WIELE" userId="7317e673-04dd-415c-a4d7-718682339b40" providerId="ADAL" clId="{80D4E734-020D-4C1F-A028-1B9E9B483F9A}" dt="2021-05-25T08:49:49.877" v="8607" actId="790"/>
          <ac:spMkLst>
            <pc:docMk/>
            <pc:sldMk cId="1763597230" sldId="10482"/>
            <ac:spMk id="29" creationId="{89FB3B56-79F8-4EBD-967A-A373F7652C6A}"/>
          </ac:spMkLst>
        </pc:spChg>
        <pc:spChg chg="mod">
          <ac:chgData name="Aude Van de WIELE" userId="7317e673-04dd-415c-a4d7-718682339b40" providerId="ADAL" clId="{80D4E734-020D-4C1F-A028-1B9E9B483F9A}" dt="2021-05-25T08:49:49.880" v="8610" actId="790"/>
          <ac:spMkLst>
            <pc:docMk/>
            <pc:sldMk cId="1763597230" sldId="10482"/>
            <ac:spMk id="31" creationId="{A8ABB57D-9FC1-44C5-8530-23D192F77D78}"/>
          </ac:spMkLst>
        </pc:spChg>
        <pc:spChg chg="mod">
          <ac:chgData name="Aude Van de WIELE" userId="7317e673-04dd-415c-a4d7-718682339b40" providerId="ADAL" clId="{80D4E734-020D-4C1F-A028-1B9E9B483F9A}" dt="2021-05-25T08:49:49.877" v="8606" actId="790"/>
          <ac:spMkLst>
            <pc:docMk/>
            <pc:sldMk cId="1763597230" sldId="10482"/>
            <ac:spMk id="32" creationId="{9D4D3A71-F2C6-47DF-BD49-C3D7BFBF9438}"/>
          </ac:spMkLst>
        </pc:spChg>
        <pc:spChg chg="mod">
          <ac:chgData name="Aude Van de WIELE" userId="7317e673-04dd-415c-a4d7-718682339b40" providerId="ADAL" clId="{80D4E734-020D-4C1F-A028-1B9E9B483F9A}" dt="2021-05-25T08:49:49.876" v="8605" actId="790"/>
          <ac:spMkLst>
            <pc:docMk/>
            <pc:sldMk cId="1763597230" sldId="10482"/>
            <ac:spMk id="35" creationId="{6458FF84-438E-4544-91C9-92CD6839FCA3}"/>
          </ac:spMkLst>
        </pc:spChg>
        <pc:spChg chg="mod">
          <ac:chgData name="Aude Van de WIELE" userId="7317e673-04dd-415c-a4d7-718682339b40" providerId="ADAL" clId="{80D4E734-020D-4C1F-A028-1B9E9B483F9A}" dt="2021-05-25T08:49:49.869" v="8597" actId="790"/>
          <ac:spMkLst>
            <pc:docMk/>
            <pc:sldMk cId="1763597230" sldId="10482"/>
            <ac:spMk id="36" creationId="{20444DA5-5894-4095-8895-C57452F8E45B}"/>
          </ac:spMkLst>
        </pc:spChg>
        <pc:spChg chg="mod">
          <ac:chgData name="Aude Van de WIELE" userId="7317e673-04dd-415c-a4d7-718682339b40" providerId="ADAL" clId="{80D4E734-020D-4C1F-A028-1B9E9B483F9A}" dt="2021-05-25T08:49:49.881" v="8611" actId="790"/>
          <ac:spMkLst>
            <pc:docMk/>
            <pc:sldMk cId="1763597230" sldId="10482"/>
            <ac:spMk id="37" creationId="{6503BBF8-FED4-48DE-A886-460FB05439F0}"/>
          </ac:spMkLst>
        </pc:spChg>
        <pc:spChg chg="mod">
          <ac:chgData name="Aude Van de WIELE" userId="7317e673-04dd-415c-a4d7-718682339b40" providerId="ADAL" clId="{80D4E734-020D-4C1F-A028-1B9E9B483F9A}" dt="2021-05-25T08:49:49.882" v="8612" actId="790"/>
          <ac:spMkLst>
            <pc:docMk/>
            <pc:sldMk cId="1763597230" sldId="10482"/>
            <ac:spMk id="38" creationId="{3F11B4ED-9D89-44C6-97B5-84A9B88A28A0}"/>
          </ac:spMkLst>
        </pc:spChg>
        <pc:spChg chg="mod">
          <ac:chgData name="Aude Van de WIELE" userId="7317e673-04dd-415c-a4d7-718682339b40" providerId="ADAL" clId="{80D4E734-020D-4C1F-A028-1B9E9B483F9A}" dt="2021-05-25T08:49:49.883" v="8613" actId="790"/>
          <ac:spMkLst>
            <pc:docMk/>
            <pc:sldMk cId="1763597230" sldId="10482"/>
            <ac:spMk id="39" creationId="{8D6F807D-093C-4031-8B72-64CF391C111D}"/>
          </ac:spMkLst>
        </pc:spChg>
        <pc:spChg chg="mod">
          <ac:chgData name="Aude Van de WIELE" userId="7317e673-04dd-415c-a4d7-718682339b40" providerId="ADAL" clId="{80D4E734-020D-4C1F-A028-1B9E9B483F9A}" dt="2021-05-25T08:49:49.884" v="8614" actId="790"/>
          <ac:spMkLst>
            <pc:docMk/>
            <pc:sldMk cId="1763597230" sldId="10482"/>
            <ac:spMk id="40" creationId="{E671D48A-B1A4-4B26-B60F-65E19EB4D45B}"/>
          </ac:spMkLst>
        </pc:spChg>
        <pc:spChg chg="mod">
          <ac:chgData name="Aude Van de WIELE" userId="7317e673-04dd-415c-a4d7-718682339b40" providerId="ADAL" clId="{80D4E734-020D-4C1F-A028-1B9E9B483F9A}" dt="2021-05-25T08:49:49.871" v="8599" actId="790"/>
          <ac:spMkLst>
            <pc:docMk/>
            <pc:sldMk cId="1763597230" sldId="10482"/>
            <ac:spMk id="42" creationId="{1247795D-0072-40BA-AF93-9C1D019692A8}"/>
          </ac:spMkLst>
        </pc:spChg>
        <pc:spChg chg="mod">
          <ac:chgData name="Aude Van de WIELE" userId="7317e673-04dd-415c-a4d7-718682339b40" providerId="ADAL" clId="{80D4E734-020D-4C1F-A028-1B9E9B483F9A}" dt="2021-05-25T08:49:49.872" v="8600" actId="790"/>
          <ac:spMkLst>
            <pc:docMk/>
            <pc:sldMk cId="1763597230" sldId="10482"/>
            <ac:spMk id="43" creationId="{36DDE4C0-A9E6-441D-96A4-45A7DBB77394}"/>
          </ac:spMkLst>
        </pc:spChg>
        <pc:spChg chg="mod">
          <ac:chgData name="Aude Van de WIELE" userId="7317e673-04dd-415c-a4d7-718682339b40" providerId="ADAL" clId="{80D4E734-020D-4C1F-A028-1B9E9B483F9A}" dt="2021-05-25T08:49:49.872" v="8601" actId="790"/>
          <ac:spMkLst>
            <pc:docMk/>
            <pc:sldMk cId="1763597230" sldId="10482"/>
            <ac:spMk id="44" creationId="{2F8E33B2-FF7C-48A6-A801-E93B48683090}"/>
          </ac:spMkLst>
        </pc:spChg>
        <pc:spChg chg="mod">
          <ac:chgData name="Aude Van de WIELE" userId="7317e673-04dd-415c-a4d7-718682339b40" providerId="ADAL" clId="{80D4E734-020D-4C1F-A028-1B9E9B483F9A}" dt="2021-05-25T08:49:49.874" v="8602" actId="790"/>
          <ac:spMkLst>
            <pc:docMk/>
            <pc:sldMk cId="1763597230" sldId="10482"/>
            <ac:spMk id="51" creationId="{30907CB5-2327-4812-BF4E-80ADB62C119C}"/>
          </ac:spMkLst>
        </pc:spChg>
        <pc:spChg chg="mod">
          <ac:chgData name="Aude Van de WIELE" userId="7317e673-04dd-415c-a4d7-718682339b40" providerId="ADAL" clId="{80D4E734-020D-4C1F-A028-1B9E9B483F9A}" dt="2021-05-25T08:49:49.885" v="8616" actId="790"/>
          <ac:spMkLst>
            <pc:docMk/>
            <pc:sldMk cId="1763597230" sldId="10482"/>
            <ac:spMk id="61" creationId="{6AD76FA3-6E7D-4573-94F3-B77C5EE0163C}"/>
          </ac:spMkLst>
        </pc:spChg>
        <pc:spChg chg="mod">
          <ac:chgData name="Aude Van de WIELE" userId="7317e673-04dd-415c-a4d7-718682339b40" providerId="ADAL" clId="{80D4E734-020D-4C1F-A028-1B9E9B483F9A}" dt="2021-05-25T08:49:49.894" v="8623" actId="790"/>
          <ac:spMkLst>
            <pc:docMk/>
            <pc:sldMk cId="1763597230" sldId="10482"/>
            <ac:spMk id="63" creationId="{68579EF2-D9C9-42A6-9EFA-D329BA498B2D}"/>
          </ac:spMkLst>
        </pc:spChg>
        <pc:spChg chg="mod">
          <ac:chgData name="Aude Van de WIELE" userId="7317e673-04dd-415c-a4d7-718682339b40" providerId="ADAL" clId="{80D4E734-020D-4C1F-A028-1B9E9B483F9A}" dt="2021-05-25T09:57:48.298" v="10109" actId="404"/>
          <ac:spMkLst>
            <pc:docMk/>
            <pc:sldMk cId="1763597230" sldId="10482"/>
            <ac:spMk id="66" creationId="{A13FBB25-422B-4052-810F-DC13981F936C}"/>
          </ac:spMkLst>
        </pc:spChg>
        <pc:spChg chg="mod">
          <ac:chgData name="Aude Van de WIELE" userId="7317e673-04dd-415c-a4d7-718682339b40" providerId="ADAL" clId="{80D4E734-020D-4C1F-A028-1B9E9B483F9A}" dt="2021-05-25T08:49:49.893" v="8622" actId="790"/>
          <ac:spMkLst>
            <pc:docMk/>
            <pc:sldMk cId="1763597230" sldId="10482"/>
            <ac:spMk id="69" creationId="{01D1152F-DC04-47F3-B3E6-FE427477534B}"/>
          </ac:spMkLst>
        </pc:spChg>
        <pc:spChg chg="mod">
          <ac:chgData name="Aude Van de WIELE" userId="7317e673-04dd-415c-a4d7-718682339b40" providerId="ADAL" clId="{80D4E734-020D-4C1F-A028-1B9E9B483F9A}" dt="2021-05-25T09:57:54.696" v="10112" actId="20577"/>
          <ac:spMkLst>
            <pc:docMk/>
            <pc:sldMk cId="1763597230" sldId="10482"/>
            <ac:spMk id="73" creationId="{CF0BA0C8-C53D-4F2F-AD70-AD21F84AE095}"/>
          </ac:spMkLst>
        </pc:spChg>
        <pc:spChg chg="mod">
          <ac:chgData name="Aude Van de WIELE" userId="7317e673-04dd-415c-a4d7-718682339b40" providerId="ADAL" clId="{80D4E734-020D-4C1F-A028-1B9E9B483F9A}" dt="2021-05-25T08:49:49.875" v="8604" actId="790"/>
          <ac:spMkLst>
            <pc:docMk/>
            <pc:sldMk cId="1763597230" sldId="10482"/>
            <ac:spMk id="77" creationId="{34FF3F00-6BF4-4528-85CB-44C6EF344C99}"/>
          </ac:spMkLst>
        </pc:spChg>
        <pc:spChg chg="mod">
          <ac:chgData name="Aude Van de WIELE" userId="7317e673-04dd-415c-a4d7-718682339b40" providerId="ADAL" clId="{80D4E734-020D-4C1F-A028-1B9E9B483F9A}" dt="2021-05-25T09:57:57.034" v="10113" actId="20577"/>
          <ac:spMkLst>
            <pc:docMk/>
            <pc:sldMk cId="1763597230" sldId="10482"/>
            <ac:spMk id="86" creationId="{0FF6B5E6-5945-4627-AA85-55C2CBA42A6A}"/>
          </ac:spMkLst>
        </pc:spChg>
        <pc:spChg chg="mod">
          <ac:chgData name="Aude Van de WIELE" userId="7317e673-04dd-415c-a4d7-718682339b40" providerId="ADAL" clId="{80D4E734-020D-4C1F-A028-1B9E9B483F9A}" dt="2021-05-25T08:49:49.885" v="8615" actId="790"/>
          <ac:spMkLst>
            <pc:docMk/>
            <pc:sldMk cId="1763597230" sldId="10482"/>
            <ac:spMk id="87" creationId="{969B0457-9AFB-478C-83F9-279061671C83}"/>
          </ac:spMkLst>
        </pc:spChg>
        <pc:spChg chg="mod">
          <ac:chgData name="Aude Van de WIELE" userId="7317e673-04dd-415c-a4d7-718682339b40" providerId="ADAL" clId="{80D4E734-020D-4C1F-A028-1B9E9B483F9A}" dt="2021-05-25T09:58:02.267" v="10115" actId="20577"/>
          <ac:spMkLst>
            <pc:docMk/>
            <pc:sldMk cId="1763597230" sldId="10482"/>
            <ac:spMk id="90" creationId="{02DA40C7-1137-4188-B485-4E022ACCB267}"/>
          </ac:spMkLst>
        </pc:spChg>
        <pc:spChg chg="mod">
          <ac:chgData name="Aude Van de WIELE" userId="7317e673-04dd-415c-a4d7-718682339b40" providerId="ADAL" clId="{80D4E734-020D-4C1F-A028-1B9E9B483F9A}" dt="2021-05-25T09:58:07.674" v="10117" actId="20577"/>
          <ac:spMkLst>
            <pc:docMk/>
            <pc:sldMk cId="1763597230" sldId="10482"/>
            <ac:spMk id="93" creationId="{CE4C6AB6-9D3C-4D37-B7B6-46807A759A82}"/>
          </ac:spMkLst>
        </pc:spChg>
        <pc:spChg chg="mod">
          <ac:chgData name="Aude Van de WIELE" userId="7317e673-04dd-415c-a4d7-718682339b40" providerId="ADAL" clId="{80D4E734-020D-4C1F-A028-1B9E9B483F9A}" dt="2021-05-25T08:49:49.886" v="8617" actId="790"/>
          <ac:spMkLst>
            <pc:docMk/>
            <pc:sldMk cId="1763597230" sldId="10482"/>
            <ac:spMk id="102" creationId="{E0A3228D-D7F4-4A30-B4B2-A7E4D2315ACB}"/>
          </ac:spMkLst>
        </pc:spChg>
        <pc:spChg chg="mod">
          <ac:chgData name="Aude Van de WIELE" userId="7317e673-04dd-415c-a4d7-718682339b40" providerId="ADAL" clId="{80D4E734-020D-4C1F-A028-1B9E9B483F9A}" dt="2021-05-25T08:49:49.887" v="8618" actId="790"/>
          <ac:spMkLst>
            <pc:docMk/>
            <pc:sldMk cId="1763597230" sldId="10482"/>
            <ac:spMk id="103" creationId="{60955DD5-4169-4F04-B2BF-2D2A64980A04}"/>
          </ac:spMkLst>
        </pc:spChg>
        <pc:spChg chg="mod">
          <ac:chgData name="Aude Van de WIELE" userId="7317e673-04dd-415c-a4d7-718682339b40" providerId="ADAL" clId="{80D4E734-020D-4C1F-A028-1B9E9B483F9A}" dt="2021-05-25T08:49:49.889" v="8619" actId="790"/>
          <ac:spMkLst>
            <pc:docMk/>
            <pc:sldMk cId="1763597230" sldId="10482"/>
            <ac:spMk id="104" creationId="{4A968F88-0BEE-4D26-A5E9-83CB21CDAC4E}"/>
          </ac:spMkLst>
        </pc:spChg>
        <pc:spChg chg="mod">
          <ac:chgData name="Aude Van de WIELE" userId="7317e673-04dd-415c-a4d7-718682339b40" providerId="ADAL" clId="{80D4E734-020D-4C1F-A028-1B9E9B483F9A}" dt="2021-05-25T08:49:49.890" v="8620" actId="790"/>
          <ac:spMkLst>
            <pc:docMk/>
            <pc:sldMk cId="1763597230" sldId="10482"/>
            <ac:spMk id="105" creationId="{8CE0D118-0AFC-408B-A2A2-0061AEB48222}"/>
          </ac:spMkLst>
        </pc:spChg>
        <pc:spChg chg="mod">
          <ac:chgData name="Aude Van de WIELE" userId="7317e673-04dd-415c-a4d7-718682339b40" providerId="ADAL" clId="{80D4E734-020D-4C1F-A028-1B9E9B483F9A}" dt="2021-05-25T08:49:49.891" v="8621" actId="790"/>
          <ac:spMkLst>
            <pc:docMk/>
            <pc:sldMk cId="1763597230" sldId="10482"/>
            <ac:spMk id="120" creationId="{C57198B3-D8BE-4D70-B9B4-2277FF73857B}"/>
          </ac:spMkLst>
        </pc:spChg>
        <pc:grpChg chg="add mod">
          <ac:chgData name="Aude Van de WIELE" userId="7317e673-04dd-415c-a4d7-718682339b40" providerId="ADAL" clId="{80D4E734-020D-4C1F-A028-1B9E9B483F9A}" dt="2021-05-25T09:57:46.224" v="10107" actId="1076"/>
          <ac:grpSpMkLst>
            <pc:docMk/>
            <pc:sldMk cId="1763597230" sldId="10482"/>
            <ac:grpSpMk id="64" creationId="{32D1E391-C38E-451A-BE83-45491051B211}"/>
          </ac:grpSpMkLst>
        </pc:grpChg>
        <pc:grpChg chg="add mod">
          <ac:chgData name="Aude Van de WIELE" userId="7317e673-04dd-415c-a4d7-718682339b40" providerId="ADAL" clId="{80D4E734-020D-4C1F-A028-1B9E9B483F9A}" dt="2021-05-25T09:57:50.343" v="10110" actId="571"/>
          <ac:grpSpMkLst>
            <pc:docMk/>
            <pc:sldMk cId="1763597230" sldId="10482"/>
            <ac:grpSpMk id="67" creationId="{51D2C539-02A7-4E76-9401-9996A4088220}"/>
          </ac:grpSpMkLst>
        </pc:grpChg>
        <pc:grpChg chg="add mod">
          <ac:chgData name="Aude Van de WIELE" userId="7317e673-04dd-415c-a4d7-718682339b40" providerId="ADAL" clId="{80D4E734-020D-4C1F-A028-1B9E9B483F9A}" dt="2021-05-25T09:57:52.724" v="10111" actId="571"/>
          <ac:grpSpMkLst>
            <pc:docMk/>
            <pc:sldMk cId="1763597230" sldId="10482"/>
            <ac:grpSpMk id="84" creationId="{C3E7A51F-2664-40D3-AF07-48A59BEF5F5F}"/>
          </ac:grpSpMkLst>
        </pc:grpChg>
        <pc:grpChg chg="add mod">
          <ac:chgData name="Aude Van de WIELE" userId="7317e673-04dd-415c-a4d7-718682339b40" providerId="ADAL" clId="{80D4E734-020D-4C1F-A028-1B9E9B483F9A}" dt="2021-05-25T09:58:00.379" v="10114" actId="571"/>
          <ac:grpSpMkLst>
            <pc:docMk/>
            <pc:sldMk cId="1763597230" sldId="10482"/>
            <ac:grpSpMk id="88" creationId="{CCCDDDF3-55C0-4343-967D-3C9CC546CF63}"/>
          </ac:grpSpMkLst>
        </pc:grpChg>
        <pc:grpChg chg="add mod">
          <ac:chgData name="Aude Van de WIELE" userId="7317e673-04dd-415c-a4d7-718682339b40" providerId="ADAL" clId="{80D4E734-020D-4C1F-A028-1B9E9B483F9A}" dt="2021-05-25T09:58:05.772" v="10116" actId="571"/>
          <ac:grpSpMkLst>
            <pc:docMk/>
            <pc:sldMk cId="1763597230" sldId="10482"/>
            <ac:grpSpMk id="91" creationId="{2815DB90-30D9-4C7B-B067-9CA6A90CBAD4}"/>
          </ac:grpSpMkLst>
        </pc:grpChg>
        <pc:picChg chg="mod">
          <ac:chgData name="Aude Van de WIELE" userId="7317e673-04dd-415c-a4d7-718682339b40" providerId="ADAL" clId="{80D4E734-020D-4C1F-A028-1B9E9B483F9A}" dt="2021-05-25T09:57:36.594" v="10105"/>
          <ac:picMkLst>
            <pc:docMk/>
            <pc:sldMk cId="1763597230" sldId="10482"/>
            <ac:picMk id="65" creationId="{E1F92842-D6CB-4D13-8CAC-7E8C70C7DC12}"/>
          </ac:picMkLst>
        </pc:picChg>
        <pc:picChg chg="mod">
          <ac:chgData name="Aude Van de WIELE" userId="7317e673-04dd-415c-a4d7-718682339b40" providerId="ADAL" clId="{80D4E734-020D-4C1F-A028-1B9E9B483F9A}" dt="2021-05-25T09:57:50.343" v="10110" actId="571"/>
          <ac:picMkLst>
            <pc:docMk/>
            <pc:sldMk cId="1763597230" sldId="10482"/>
            <ac:picMk id="68" creationId="{718ED97D-907F-44CA-8D56-EEFF35C6C760}"/>
          </ac:picMkLst>
        </pc:picChg>
        <pc:picChg chg="mod">
          <ac:chgData name="Aude Van de WIELE" userId="7317e673-04dd-415c-a4d7-718682339b40" providerId="ADAL" clId="{80D4E734-020D-4C1F-A028-1B9E9B483F9A}" dt="2021-05-25T09:57:52.724" v="10111" actId="571"/>
          <ac:picMkLst>
            <pc:docMk/>
            <pc:sldMk cId="1763597230" sldId="10482"/>
            <ac:picMk id="85" creationId="{D6173D87-BAC5-4C62-9749-9F6FE754C93B}"/>
          </ac:picMkLst>
        </pc:picChg>
        <pc:picChg chg="mod">
          <ac:chgData name="Aude Van de WIELE" userId="7317e673-04dd-415c-a4d7-718682339b40" providerId="ADAL" clId="{80D4E734-020D-4C1F-A028-1B9E9B483F9A}" dt="2021-05-25T09:58:00.379" v="10114" actId="571"/>
          <ac:picMkLst>
            <pc:docMk/>
            <pc:sldMk cId="1763597230" sldId="10482"/>
            <ac:picMk id="89" creationId="{AFBBB4A6-DA77-4673-BC48-4CD428DD7A68}"/>
          </ac:picMkLst>
        </pc:picChg>
        <pc:picChg chg="mod">
          <ac:chgData name="Aude Van de WIELE" userId="7317e673-04dd-415c-a4d7-718682339b40" providerId="ADAL" clId="{80D4E734-020D-4C1F-A028-1B9E9B483F9A}" dt="2021-05-25T09:58:05.772" v="10116" actId="571"/>
          <ac:picMkLst>
            <pc:docMk/>
            <pc:sldMk cId="1763597230" sldId="10482"/>
            <ac:picMk id="92" creationId="{DF670529-F01A-40F6-A768-73A88B909282}"/>
          </ac:picMkLst>
        </pc:picChg>
      </pc:sldChg>
      <pc:sldChg chg="delSp modSp mod">
        <pc:chgData name="Aude Van de WIELE" userId="7317e673-04dd-415c-a4d7-718682339b40" providerId="ADAL" clId="{80D4E734-020D-4C1F-A028-1B9E9B483F9A}" dt="2021-05-25T12:50:17.113" v="12304" actId="478"/>
        <pc:sldMkLst>
          <pc:docMk/>
          <pc:sldMk cId="787967275" sldId="10483"/>
        </pc:sldMkLst>
        <pc:spChg chg="mod">
          <ac:chgData name="Aude Van de WIELE" userId="7317e673-04dd-415c-a4d7-718682339b40" providerId="ADAL" clId="{80D4E734-020D-4C1F-A028-1B9E9B483F9A}" dt="2021-05-25T08:49:48.569" v="7440" actId="790"/>
          <ac:spMkLst>
            <pc:docMk/>
            <pc:sldMk cId="787967275" sldId="10483"/>
            <ac:spMk id="2" creationId="{F603210B-1675-4AF7-9A14-5F2A22C81270}"/>
          </ac:spMkLst>
        </pc:spChg>
        <pc:spChg chg="mod">
          <ac:chgData name="Aude Van de WIELE" userId="7317e673-04dd-415c-a4d7-718682339b40" providerId="ADAL" clId="{80D4E734-020D-4C1F-A028-1B9E9B483F9A}" dt="2021-05-25T08:49:48.570" v="7441" actId="790"/>
          <ac:spMkLst>
            <pc:docMk/>
            <pc:sldMk cId="787967275" sldId="10483"/>
            <ac:spMk id="4" creationId="{74ADDBE6-49E4-4049-B7BF-EE415633C5F5}"/>
          </ac:spMkLst>
        </pc:spChg>
        <pc:spChg chg="mod">
          <ac:chgData name="Aude Van de WIELE" userId="7317e673-04dd-415c-a4d7-718682339b40" providerId="ADAL" clId="{80D4E734-020D-4C1F-A028-1B9E9B483F9A}" dt="2021-05-25T08:49:48.573" v="7442" actId="790"/>
          <ac:spMkLst>
            <pc:docMk/>
            <pc:sldMk cId="787967275" sldId="10483"/>
            <ac:spMk id="5" creationId="{B0DA252B-E0E1-4EDA-AD43-C3699C200482}"/>
          </ac:spMkLst>
        </pc:spChg>
        <pc:spChg chg="mod">
          <ac:chgData name="Aude Van de WIELE" userId="7317e673-04dd-415c-a4d7-718682339b40" providerId="ADAL" clId="{80D4E734-020D-4C1F-A028-1B9E9B483F9A}" dt="2021-05-25T08:49:48.573" v="7443" actId="790"/>
          <ac:spMkLst>
            <pc:docMk/>
            <pc:sldMk cId="787967275" sldId="10483"/>
            <ac:spMk id="6" creationId="{459DE8FF-F3A0-454B-89BD-EA7D3F0085F4}"/>
          </ac:spMkLst>
        </pc:spChg>
        <pc:spChg chg="mod">
          <ac:chgData name="Aude Van de WIELE" userId="7317e673-04dd-415c-a4d7-718682339b40" providerId="ADAL" clId="{80D4E734-020D-4C1F-A028-1B9E9B483F9A}" dt="2021-05-25T08:49:48.574" v="7444" actId="790"/>
          <ac:spMkLst>
            <pc:docMk/>
            <pc:sldMk cId="787967275" sldId="10483"/>
            <ac:spMk id="8" creationId="{A6584CFE-199B-42FA-9B02-35D30052E24D}"/>
          </ac:spMkLst>
        </pc:spChg>
        <pc:spChg chg="mod">
          <ac:chgData name="Aude Van de WIELE" userId="7317e673-04dd-415c-a4d7-718682339b40" providerId="ADAL" clId="{80D4E734-020D-4C1F-A028-1B9E9B483F9A}" dt="2021-05-25T08:49:48.575" v="7445" actId="790"/>
          <ac:spMkLst>
            <pc:docMk/>
            <pc:sldMk cId="787967275" sldId="10483"/>
            <ac:spMk id="9" creationId="{5513411E-B0D4-4A2B-B16E-9DD5102ED097}"/>
          </ac:spMkLst>
        </pc:spChg>
        <pc:spChg chg="mod">
          <ac:chgData name="Aude Van de WIELE" userId="7317e673-04dd-415c-a4d7-718682339b40" providerId="ADAL" clId="{80D4E734-020D-4C1F-A028-1B9E9B483F9A}" dt="2021-05-25T08:49:48.594" v="7461" actId="790"/>
          <ac:spMkLst>
            <pc:docMk/>
            <pc:sldMk cId="787967275" sldId="10483"/>
            <ac:spMk id="11" creationId="{E7BC247D-1E44-429A-AF83-8E39E9FFE026}"/>
          </ac:spMkLst>
        </pc:spChg>
        <pc:spChg chg="mod">
          <ac:chgData name="Aude Van de WIELE" userId="7317e673-04dd-415c-a4d7-718682339b40" providerId="ADAL" clId="{80D4E734-020D-4C1F-A028-1B9E9B483F9A}" dt="2021-05-25T08:49:48.593" v="7460" actId="790"/>
          <ac:spMkLst>
            <pc:docMk/>
            <pc:sldMk cId="787967275" sldId="10483"/>
            <ac:spMk id="12" creationId="{C7013414-76D7-4268-AAD2-A87055DAACA5}"/>
          </ac:spMkLst>
        </pc:spChg>
        <pc:spChg chg="mod">
          <ac:chgData name="Aude Van de WIELE" userId="7317e673-04dd-415c-a4d7-718682339b40" providerId="ADAL" clId="{80D4E734-020D-4C1F-A028-1B9E9B483F9A}" dt="2021-05-25T08:49:48.595" v="7462" actId="790"/>
          <ac:spMkLst>
            <pc:docMk/>
            <pc:sldMk cId="787967275" sldId="10483"/>
            <ac:spMk id="31" creationId="{97E5D4A5-0DD4-47F0-90BC-7FD43285E269}"/>
          </ac:spMkLst>
        </pc:spChg>
        <pc:spChg chg="mod">
          <ac:chgData name="Aude Van de WIELE" userId="7317e673-04dd-415c-a4d7-718682339b40" providerId="ADAL" clId="{80D4E734-020D-4C1F-A028-1B9E9B483F9A}" dt="2021-05-25T08:49:48.576" v="7446" actId="790"/>
          <ac:spMkLst>
            <pc:docMk/>
            <pc:sldMk cId="787967275" sldId="10483"/>
            <ac:spMk id="32" creationId="{72E4FA22-5F72-4B8A-966C-5EAB2962F5DE}"/>
          </ac:spMkLst>
        </pc:spChg>
        <pc:spChg chg="mod">
          <ac:chgData name="Aude Van de WIELE" userId="7317e673-04dd-415c-a4d7-718682339b40" providerId="ADAL" clId="{80D4E734-020D-4C1F-A028-1B9E9B483F9A}" dt="2021-05-25T08:49:48.580" v="7447" actId="790"/>
          <ac:spMkLst>
            <pc:docMk/>
            <pc:sldMk cId="787967275" sldId="10483"/>
            <ac:spMk id="33" creationId="{BC847A98-E385-4268-A8B8-68418B0916EB}"/>
          </ac:spMkLst>
        </pc:spChg>
        <pc:spChg chg="mod">
          <ac:chgData name="Aude Van de WIELE" userId="7317e673-04dd-415c-a4d7-718682339b40" providerId="ADAL" clId="{80D4E734-020D-4C1F-A028-1B9E9B483F9A}" dt="2021-05-25T08:49:48.581" v="7448" actId="790"/>
          <ac:spMkLst>
            <pc:docMk/>
            <pc:sldMk cId="787967275" sldId="10483"/>
            <ac:spMk id="34" creationId="{98055D65-32A6-4AE6-AA0E-584E4895BE34}"/>
          </ac:spMkLst>
        </pc:spChg>
        <pc:spChg chg="mod">
          <ac:chgData name="Aude Van de WIELE" userId="7317e673-04dd-415c-a4d7-718682339b40" providerId="ADAL" clId="{80D4E734-020D-4C1F-A028-1B9E9B483F9A}" dt="2021-05-25T08:49:48.584" v="7449" actId="790"/>
          <ac:spMkLst>
            <pc:docMk/>
            <pc:sldMk cId="787967275" sldId="10483"/>
            <ac:spMk id="35" creationId="{81BD3286-79C1-4AD5-827B-F5E96A7F940D}"/>
          </ac:spMkLst>
        </pc:spChg>
        <pc:spChg chg="mod">
          <ac:chgData name="Aude Van de WIELE" userId="7317e673-04dd-415c-a4d7-718682339b40" providerId="ADAL" clId="{80D4E734-020D-4C1F-A028-1B9E9B483F9A}" dt="2021-05-25T08:49:48.585" v="7450" actId="790"/>
          <ac:spMkLst>
            <pc:docMk/>
            <pc:sldMk cId="787967275" sldId="10483"/>
            <ac:spMk id="36" creationId="{9D0D108D-E040-46E8-9D27-8421B7B8A6B6}"/>
          </ac:spMkLst>
        </pc:spChg>
        <pc:spChg chg="mod">
          <ac:chgData name="Aude Van de WIELE" userId="7317e673-04dd-415c-a4d7-718682339b40" providerId="ADAL" clId="{80D4E734-020D-4C1F-A028-1B9E9B483F9A}" dt="2021-05-25T08:49:48.586" v="7451" actId="790"/>
          <ac:spMkLst>
            <pc:docMk/>
            <pc:sldMk cId="787967275" sldId="10483"/>
            <ac:spMk id="37" creationId="{685DD430-D135-4898-B681-DADA54449406}"/>
          </ac:spMkLst>
        </pc:spChg>
        <pc:spChg chg="mod">
          <ac:chgData name="Aude Van de WIELE" userId="7317e673-04dd-415c-a4d7-718682339b40" providerId="ADAL" clId="{80D4E734-020D-4C1F-A028-1B9E9B483F9A}" dt="2021-05-25T08:49:48.587" v="7452" actId="790"/>
          <ac:spMkLst>
            <pc:docMk/>
            <pc:sldMk cId="787967275" sldId="10483"/>
            <ac:spMk id="38" creationId="{33227BCF-594C-48FC-A668-E9496B25076E}"/>
          </ac:spMkLst>
        </pc:spChg>
        <pc:spChg chg="mod">
          <ac:chgData name="Aude Van de WIELE" userId="7317e673-04dd-415c-a4d7-718682339b40" providerId="ADAL" clId="{80D4E734-020D-4C1F-A028-1B9E9B483F9A}" dt="2021-05-25T08:49:48.587" v="7453" actId="790"/>
          <ac:spMkLst>
            <pc:docMk/>
            <pc:sldMk cId="787967275" sldId="10483"/>
            <ac:spMk id="42" creationId="{FB53C860-4349-483B-9A2E-4EA3FEEC44A4}"/>
          </ac:spMkLst>
        </pc:spChg>
        <pc:spChg chg="mod">
          <ac:chgData name="Aude Van de WIELE" userId="7317e673-04dd-415c-a4d7-718682339b40" providerId="ADAL" clId="{80D4E734-020D-4C1F-A028-1B9E9B483F9A}" dt="2021-05-25T08:49:48.588" v="7454" actId="790"/>
          <ac:spMkLst>
            <pc:docMk/>
            <pc:sldMk cId="787967275" sldId="10483"/>
            <ac:spMk id="43" creationId="{9BAD9349-B578-4C93-89B0-5E143458F95D}"/>
          </ac:spMkLst>
        </pc:spChg>
        <pc:spChg chg="mod">
          <ac:chgData name="Aude Van de WIELE" userId="7317e673-04dd-415c-a4d7-718682339b40" providerId="ADAL" clId="{80D4E734-020D-4C1F-A028-1B9E9B483F9A}" dt="2021-05-25T08:49:48.599" v="7467" actId="790"/>
          <ac:spMkLst>
            <pc:docMk/>
            <pc:sldMk cId="787967275" sldId="10483"/>
            <ac:spMk id="44" creationId="{E5EF6BB7-12AD-4BED-BE01-7621431FB3E1}"/>
          </ac:spMkLst>
        </pc:spChg>
        <pc:spChg chg="mod">
          <ac:chgData name="Aude Van de WIELE" userId="7317e673-04dd-415c-a4d7-718682339b40" providerId="ADAL" clId="{80D4E734-020D-4C1F-A028-1B9E9B483F9A}" dt="2021-05-25T08:49:48.600" v="7468" actId="790"/>
          <ac:spMkLst>
            <pc:docMk/>
            <pc:sldMk cId="787967275" sldId="10483"/>
            <ac:spMk id="45" creationId="{B755D15D-2E07-447A-958B-8658277D8637}"/>
          </ac:spMkLst>
        </pc:spChg>
        <pc:spChg chg="mod">
          <ac:chgData name="Aude Van de WIELE" userId="7317e673-04dd-415c-a4d7-718682339b40" providerId="ADAL" clId="{80D4E734-020D-4C1F-A028-1B9E9B483F9A}" dt="2021-05-25T08:49:48.601" v="7469" actId="790"/>
          <ac:spMkLst>
            <pc:docMk/>
            <pc:sldMk cId="787967275" sldId="10483"/>
            <ac:spMk id="48" creationId="{C5046202-468D-4A5E-8386-F18704E924F2}"/>
          </ac:spMkLst>
        </pc:spChg>
        <pc:spChg chg="mod">
          <ac:chgData name="Aude Van de WIELE" userId="7317e673-04dd-415c-a4d7-718682339b40" providerId="ADAL" clId="{80D4E734-020D-4C1F-A028-1B9E9B483F9A}" dt="2021-05-25T08:49:48.601" v="7470" actId="790"/>
          <ac:spMkLst>
            <pc:docMk/>
            <pc:sldMk cId="787967275" sldId="10483"/>
            <ac:spMk id="49" creationId="{AF31B007-2163-4BED-966C-AA5479949C7D}"/>
          </ac:spMkLst>
        </pc:spChg>
        <pc:spChg chg="mod">
          <ac:chgData name="Aude Van de WIELE" userId="7317e673-04dd-415c-a4d7-718682339b40" providerId="ADAL" clId="{80D4E734-020D-4C1F-A028-1B9E9B483F9A}" dt="2021-05-25T08:49:48.602" v="7471" actId="790"/>
          <ac:spMkLst>
            <pc:docMk/>
            <pc:sldMk cId="787967275" sldId="10483"/>
            <ac:spMk id="50" creationId="{4AEBB900-C5D7-4CF3-B1E0-1BF89FF22471}"/>
          </ac:spMkLst>
        </pc:spChg>
        <pc:spChg chg="mod">
          <ac:chgData name="Aude Van de WIELE" userId="7317e673-04dd-415c-a4d7-718682339b40" providerId="ADAL" clId="{80D4E734-020D-4C1F-A028-1B9E9B483F9A}" dt="2021-05-25T08:49:48.603" v="7472" actId="790"/>
          <ac:spMkLst>
            <pc:docMk/>
            <pc:sldMk cId="787967275" sldId="10483"/>
            <ac:spMk id="53" creationId="{8D1520FD-965A-438E-9421-63AB7EBB6DD7}"/>
          </ac:spMkLst>
        </pc:spChg>
        <pc:spChg chg="mod">
          <ac:chgData name="Aude Van de WIELE" userId="7317e673-04dd-415c-a4d7-718682339b40" providerId="ADAL" clId="{80D4E734-020D-4C1F-A028-1B9E9B483F9A}" dt="2021-05-25T08:49:48.604" v="7473" actId="790"/>
          <ac:spMkLst>
            <pc:docMk/>
            <pc:sldMk cId="787967275" sldId="10483"/>
            <ac:spMk id="56" creationId="{73F7607F-0010-446B-8BA1-37BD53DFF565}"/>
          </ac:spMkLst>
        </pc:spChg>
        <pc:spChg chg="mod">
          <ac:chgData name="Aude Van de WIELE" userId="7317e673-04dd-415c-a4d7-718682339b40" providerId="ADAL" clId="{80D4E734-020D-4C1F-A028-1B9E9B483F9A}" dt="2021-05-25T08:49:48.605" v="7474" actId="790"/>
          <ac:spMkLst>
            <pc:docMk/>
            <pc:sldMk cId="787967275" sldId="10483"/>
            <ac:spMk id="57" creationId="{79D8CCC9-4DBA-41A1-B5B4-D1E29A612314}"/>
          </ac:spMkLst>
        </pc:spChg>
        <pc:spChg chg="mod">
          <ac:chgData name="Aude Van de WIELE" userId="7317e673-04dd-415c-a4d7-718682339b40" providerId="ADAL" clId="{80D4E734-020D-4C1F-A028-1B9E9B483F9A}" dt="2021-05-25T08:49:48.589" v="7455" actId="790"/>
          <ac:spMkLst>
            <pc:docMk/>
            <pc:sldMk cId="787967275" sldId="10483"/>
            <ac:spMk id="58" creationId="{F3BBC108-E3A8-4285-8482-6573BB5A9BFA}"/>
          </ac:spMkLst>
        </pc:spChg>
        <pc:spChg chg="mod">
          <ac:chgData name="Aude Van de WIELE" userId="7317e673-04dd-415c-a4d7-718682339b40" providerId="ADAL" clId="{80D4E734-020D-4C1F-A028-1B9E9B483F9A}" dt="2021-05-25T08:49:48.590" v="7456" actId="790"/>
          <ac:spMkLst>
            <pc:docMk/>
            <pc:sldMk cId="787967275" sldId="10483"/>
            <ac:spMk id="60" creationId="{502A1A2A-5BE4-4CEC-87C8-F81B82FE17A0}"/>
          </ac:spMkLst>
        </pc:spChg>
        <pc:spChg chg="mod">
          <ac:chgData name="Aude Van de WIELE" userId="7317e673-04dd-415c-a4d7-718682339b40" providerId="ADAL" clId="{80D4E734-020D-4C1F-A028-1B9E9B483F9A}" dt="2021-05-25T08:49:48.591" v="7457" actId="790"/>
          <ac:spMkLst>
            <pc:docMk/>
            <pc:sldMk cId="787967275" sldId="10483"/>
            <ac:spMk id="69" creationId="{19F48430-90DF-40FF-A00A-84E93A59C005}"/>
          </ac:spMkLst>
        </pc:spChg>
        <pc:spChg chg="mod">
          <ac:chgData name="Aude Van de WIELE" userId="7317e673-04dd-415c-a4d7-718682339b40" providerId="ADAL" clId="{80D4E734-020D-4C1F-A028-1B9E9B483F9A}" dt="2021-05-25T08:49:48.592" v="7458" actId="790"/>
          <ac:spMkLst>
            <pc:docMk/>
            <pc:sldMk cId="787967275" sldId="10483"/>
            <ac:spMk id="70" creationId="{712AF8AD-F5B4-45E9-AA35-3836D1A918F9}"/>
          </ac:spMkLst>
        </pc:spChg>
        <pc:spChg chg="mod">
          <ac:chgData name="Aude Van de WIELE" userId="7317e673-04dd-415c-a4d7-718682339b40" providerId="ADAL" clId="{80D4E734-020D-4C1F-A028-1B9E9B483F9A}" dt="2021-05-25T08:49:48.593" v="7459" actId="790"/>
          <ac:spMkLst>
            <pc:docMk/>
            <pc:sldMk cId="787967275" sldId="10483"/>
            <ac:spMk id="73" creationId="{37CE42CA-0196-4A12-823E-1A27C547E4D3}"/>
          </ac:spMkLst>
        </pc:spChg>
        <pc:spChg chg="mod">
          <ac:chgData name="Aude Van de WIELE" userId="7317e673-04dd-415c-a4d7-718682339b40" providerId="ADAL" clId="{80D4E734-020D-4C1F-A028-1B9E9B483F9A}" dt="2021-05-25T08:49:48.596" v="7463" actId="790"/>
          <ac:spMkLst>
            <pc:docMk/>
            <pc:sldMk cId="787967275" sldId="10483"/>
            <ac:spMk id="78" creationId="{9A9481B5-737E-45DE-81D8-2F715985CC57}"/>
          </ac:spMkLst>
        </pc:spChg>
        <pc:spChg chg="mod">
          <ac:chgData name="Aude Van de WIELE" userId="7317e673-04dd-415c-a4d7-718682339b40" providerId="ADAL" clId="{80D4E734-020D-4C1F-A028-1B9E9B483F9A}" dt="2021-05-25T08:49:48.596" v="7464" actId="790"/>
          <ac:spMkLst>
            <pc:docMk/>
            <pc:sldMk cId="787967275" sldId="10483"/>
            <ac:spMk id="80" creationId="{53EEF4E9-317D-4996-82F1-5D806F6EA3E2}"/>
          </ac:spMkLst>
        </pc:spChg>
        <pc:spChg chg="mod">
          <ac:chgData name="Aude Van de WIELE" userId="7317e673-04dd-415c-a4d7-718682339b40" providerId="ADAL" clId="{80D4E734-020D-4C1F-A028-1B9E9B483F9A}" dt="2021-05-25T08:49:48.597" v="7465" actId="790"/>
          <ac:spMkLst>
            <pc:docMk/>
            <pc:sldMk cId="787967275" sldId="10483"/>
            <ac:spMk id="84" creationId="{4A5E7AB0-2297-4CD5-A92F-B96EE98B1D1A}"/>
          </ac:spMkLst>
        </pc:spChg>
        <pc:spChg chg="mod">
          <ac:chgData name="Aude Van de WIELE" userId="7317e673-04dd-415c-a4d7-718682339b40" providerId="ADAL" clId="{80D4E734-020D-4C1F-A028-1B9E9B483F9A}" dt="2021-05-25T08:49:48.598" v="7466" actId="790"/>
          <ac:spMkLst>
            <pc:docMk/>
            <pc:sldMk cId="787967275" sldId="10483"/>
            <ac:spMk id="85" creationId="{1A835908-83BB-404C-AE36-6D07AE32C2A9}"/>
          </ac:spMkLst>
        </pc:spChg>
        <pc:picChg chg="del">
          <ac:chgData name="Aude Van de WIELE" userId="7317e673-04dd-415c-a4d7-718682339b40" providerId="ADAL" clId="{80D4E734-020D-4C1F-A028-1B9E9B483F9A}" dt="2021-05-25T12:50:17.113" v="12304" actId="478"/>
          <ac:picMkLst>
            <pc:docMk/>
            <pc:sldMk cId="787967275" sldId="10483"/>
            <ac:picMk id="46" creationId="{F42D6C9D-C7D0-4E8B-8E73-9D110CD32A04}"/>
          </ac:picMkLst>
        </pc:picChg>
      </pc:sldChg>
      <pc:sldChg chg="addSp delSp modSp mod">
        <pc:chgData name="Aude Van de WIELE" userId="7317e673-04dd-415c-a4d7-718682339b40" providerId="ADAL" clId="{80D4E734-020D-4C1F-A028-1B9E9B483F9A}" dt="2021-05-25T11:33:16.598" v="11218" actId="1076"/>
        <pc:sldMkLst>
          <pc:docMk/>
          <pc:sldMk cId="759424876" sldId="10484"/>
        </pc:sldMkLst>
        <pc:spChg chg="mod">
          <ac:chgData name="Aude Van de WIELE" userId="7317e673-04dd-415c-a4d7-718682339b40" providerId="ADAL" clId="{80D4E734-020D-4C1F-A028-1B9E9B483F9A}" dt="2021-05-25T11:33:16.598" v="11218" actId="1076"/>
          <ac:spMkLst>
            <pc:docMk/>
            <pc:sldMk cId="759424876" sldId="10484"/>
            <ac:spMk id="13" creationId="{8A47A578-76B7-48A6-B910-8A54E9BC3C53}"/>
          </ac:spMkLst>
        </pc:spChg>
        <pc:spChg chg="add mod">
          <ac:chgData name="Aude Van de WIELE" userId="7317e673-04dd-415c-a4d7-718682339b40" providerId="ADAL" clId="{80D4E734-020D-4C1F-A028-1B9E9B483F9A}" dt="2021-05-25T11:29:55.425" v="10941"/>
          <ac:spMkLst>
            <pc:docMk/>
            <pc:sldMk cId="759424876" sldId="10484"/>
            <ac:spMk id="62" creationId="{FDDE71E8-8199-4DCE-A27D-6D3FE25C6BBB}"/>
          </ac:spMkLst>
        </pc:spChg>
        <pc:spChg chg="add mod">
          <ac:chgData name="Aude Van de WIELE" userId="7317e673-04dd-415c-a4d7-718682339b40" providerId="ADAL" clId="{80D4E734-020D-4C1F-A028-1B9E9B483F9A}" dt="2021-05-25T11:33:04.751" v="11210" actId="20577"/>
          <ac:spMkLst>
            <pc:docMk/>
            <pc:sldMk cId="759424876" sldId="10484"/>
            <ac:spMk id="64" creationId="{C95674C3-8BB6-44D2-98D4-0AF094FC0371}"/>
          </ac:spMkLst>
        </pc:spChg>
        <pc:spChg chg="add mod">
          <ac:chgData name="Aude Van de WIELE" userId="7317e673-04dd-415c-a4d7-718682339b40" providerId="ADAL" clId="{80D4E734-020D-4C1F-A028-1B9E9B483F9A}" dt="2021-05-25T11:33:09.153" v="11214" actId="20577"/>
          <ac:spMkLst>
            <pc:docMk/>
            <pc:sldMk cId="759424876" sldId="10484"/>
            <ac:spMk id="65" creationId="{D2A60E99-738E-48FF-B6C6-2F6E2F2271DE}"/>
          </ac:spMkLst>
        </pc:spChg>
        <pc:spChg chg="add mod">
          <ac:chgData name="Aude Van de WIELE" userId="7317e673-04dd-415c-a4d7-718682339b40" providerId="ADAL" clId="{80D4E734-020D-4C1F-A028-1B9E9B483F9A}" dt="2021-05-25T11:33:14.361" v="11216" actId="20577"/>
          <ac:spMkLst>
            <pc:docMk/>
            <pc:sldMk cId="759424876" sldId="10484"/>
            <ac:spMk id="66" creationId="{EA497D45-3836-486D-AC95-55683BED412E}"/>
          </ac:spMkLst>
        </pc:spChg>
        <pc:spChg chg="mod">
          <ac:chgData name="Aude Van de WIELE" userId="7317e673-04dd-415c-a4d7-718682339b40" providerId="ADAL" clId="{80D4E734-020D-4C1F-A028-1B9E9B483F9A}" dt="2021-05-25T11:32:27.473" v="11206" actId="122"/>
          <ac:spMkLst>
            <pc:docMk/>
            <pc:sldMk cId="759424876" sldId="10484"/>
            <ac:spMk id="84" creationId="{3C53EFB8-8D77-4743-B5E2-D02A8132C2B0}"/>
          </ac:spMkLst>
        </pc:spChg>
        <pc:spChg chg="mod">
          <ac:chgData name="Aude Van de WIELE" userId="7317e673-04dd-415c-a4d7-718682339b40" providerId="ADAL" clId="{80D4E734-020D-4C1F-A028-1B9E9B483F9A}" dt="2021-05-25T11:32:20.297" v="11186" actId="478"/>
          <ac:spMkLst>
            <pc:docMk/>
            <pc:sldMk cId="759424876" sldId="10484"/>
            <ac:spMk id="92" creationId="{58B5811A-7C8F-45CF-9D3B-9676978FB9CF}"/>
          </ac:spMkLst>
        </pc:spChg>
        <pc:spChg chg="mod">
          <ac:chgData name="Aude Van de WIELE" userId="7317e673-04dd-415c-a4d7-718682339b40" providerId="ADAL" clId="{80D4E734-020D-4C1F-A028-1B9E9B483F9A}" dt="2021-05-25T11:32:20.297" v="11186" actId="478"/>
          <ac:spMkLst>
            <pc:docMk/>
            <pc:sldMk cId="759424876" sldId="10484"/>
            <ac:spMk id="98" creationId="{E7E824A9-0075-4DB7-94CB-07C41244E4EF}"/>
          </ac:spMkLst>
        </pc:spChg>
        <pc:spChg chg="mod">
          <ac:chgData name="Aude Van de WIELE" userId="7317e673-04dd-415c-a4d7-718682339b40" providerId="ADAL" clId="{80D4E734-020D-4C1F-A028-1B9E9B483F9A}" dt="2021-05-25T11:32:20.297" v="11186" actId="478"/>
          <ac:spMkLst>
            <pc:docMk/>
            <pc:sldMk cId="759424876" sldId="10484"/>
            <ac:spMk id="99" creationId="{9F13D4F4-DACE-4D56-AD46-7369D3A8494C}"/>
          </ac:spMkLst>
        </pc:spChg>
        <pc:spChg chg="mod">
          <ac:chgData name="Aude Van de WIELE" userId="7317e673-04dd-415c-a4d7-718682339b40" providerId="ADAL" clId="{80D4E734-020D-4C1F-A028-1B9E9B483F9A}" dt="2021-05-25T11:32:56.501" v="11207" actId="1076"/>
          <ac:spMkLst>
            <pc:docMk/>
            <pc:sldMk cId="759424876" sldId="10484"/>
            <ac:spMk id="104" creationId="{84D904D1-6FD7-411F-9055-7BDDD6F8D510}"/>
          </ac:spMkLst>
        </pc:spChg>
        <pc:spChg chg="mod">
          <ac:chgData name="Aude Van de WIELE" userId="7317e673-04dd-415c-a4d7-718682339b40" providerId="ADAL" clId="{80D4E734-020D-4C1F-A028-1B9E9B483F9A}" dt="2021-05-25T11:33:00.949" v="11208" actId="1076"/>
          <ac:spMkLst>
            <pc:docMk/>
            <pc:sldMk cId="759424876" sldId="10484"/>
            <ac:spMk id="107" creationId="{E4B14101-5119-4FB2-BCD9-4C0E7BEAF957}"/>
          </ac:spMkLst>
        </pc:spChg>
        <pc:grpChg chg="mod">
          <ac:chgData name="Aude Van de WIELE" userId="7317e673-04dd-415c-a4d7-718682339b40" providerId="ADAL" clId="{80D4E734-020D-4C1F-A028-1B9E9B483F9A}" dt="2021-05-25T11:32:20.297" v="11186" actId="478"/>
          <ac:grpSpMkLst>
            <pc:docMk/>
            <pc:sldMk cId="759424876" sldId="10484"/>
            <ac:grpSpMk id="45" creationId="{014FDE40-AF87-4398-AF77-3BDA3430198D}"/>
          </ac:grpSpMkLst>
        </pc:grpChg>
        <pc:picChg chg="del mod">
          <ac:chgData name="Aude Van de WIELE" userId="7317e673-04dd-415c-a4d7-718682339b40" providerId="ADAL" clId="{80D4E734-020D-4C1F-A028-1B9E9B483F9A}" dt="2021-05-25T11:32:20.297" v="11186" actId="478"/>
          <ac:picMkLst>
            <pc:docMk/>
            <pc:sldMk cId="759424876" sldId="10484"/>
            <ac:picMk id="85" creationId="{35965997-C020-4AF1-B4C3-0235EDB19652}"/>
          </ac:picMkLst>
        </pc:picChg>
        <pc:picChg chg="mod">
          <ac:chgData name="Aude Van de WIELE" userId="7317e673-04dd-415c-a4d7-718682339b40" providerId="ADAL" clId="{80D4E734-020D-4C1F-A028-1B9E9B483F9A}" dt="2021-05-25T11:32:20.297" v="11186" actId="478"/>
          <ac:picMkLst>
            <pc:docMk/>
            <pc:sldMk cId="759424876" sldId="10484"/>
            <ac:picMk id="100" creationId="{5D5E7F3F-7B4B-4CD7-9FC1-026A2940C5BD}"/>
          </ac:picMkLst>
        </pc:picChg>
        <pc:cxnChg chg="mod">
          <ac:chgData name="Aude Van de WIELE" userId="7317e673-04dd-415c-a4d7-718682339b40" providerId="ADAL" clId="{80D4E734-020D-4C1F-A028-1B9E9B483F9A}" dt="2021-05-25T11:32:20.297" v="11186" actId="478"/>
          <ac:cxnSpMkLst>
            <pc:docMk/>
            <pc:sldMk cId="759424876" sldId="10484"/>
            <ac:cxnSpMk id="101" creationId="{AA90C460-6CF1-4DB5-8C11-E122F31BD388}"/>
          </ac:cxnSpMkLst>
        </pc:cxnChg>
        <pc:cxnChg chg="mod">
          <ac:chgData name="Aude Van de WIELE" userId="7317e673-04dd-415c-a4d7-718682339b40" providerId="ADAL" clId="{80D4E734-020D-4C1F-A028-1B9E9B483F9A}" dt="2021-05-25T11:32:20.297" v="11186" actId="478"/>
          <ac:cxnSpMkLst>
            <pc:docMk/>
            <pc:sldMk cId="759424876" sldId="10484"/>
            <ac:cxnSpMk id="102" creationId="{1199AD81-7087-4482-8DDE-CE8EA7086463}"/>
          </ac:cxnSpMkLst>
        </pc:cxnChg>
        <pc:cxnChg chg="mod">
          <ac:chgData name="Aude Van de WIELE" userId="7317e673-04dd-415c-a4d7-718682339b40" providerId="ADAL" clId="{80D4E734-020D-4C1F-A028-1B9E9B483F9A}" dt="2021-05-25T11:32:20.297" v="11186" actId="478"/>
          <ac:cxnSpMkLst>
            <pc:docMk/>
            <pc:sldMk cId="759424876" sldId="10484"/>
            <ac:cxnSpMk id="103" creationId="{97BB649C-848C-44F9-BF97-A33A71CB7403}"/>
          </ac:cxnSpMkLst>
        </pc:cxnChg>
      </pc:sldChg>
      <pc:sldChg chg="addSp delSp modSp mod">
        <pc:chgData name="Aude Van de WIELE" userId="7317e673-04dd-415c-a4d7-718682339b40" providerId="ADAL" clId="{80D4E734-020D-4C1F-A028-1B9E9B483F9A}" dt="2021-05-25T12:49:49.607" v="12303" actId="404"/>
        <pc:sldMkLst>
          <pc:docMk/>
          <pc:sldMk cId="85178067" sldId="10485"/>
        </pc:sldMkLst>
        <pc:spChg chg="mod">
          <ac:chgData name="Aude Van de WIELE" userId="7317e673-04dd-415c-a4d7-718682339b40" providerId="ADAL" clId="{80D4E734-020D-4C1F-A028-1B9E9B483F9A}" dt="2021-05-25T11:30:33.525" v="11067" actId="14100"/>
          <ac:spMkLst>
            <pc:docMk/>
            <pc:sldMk cId="85178067" sldId="10485"/>
            <ac:spMk id="3" creationId="{A8ADBFB1-D171-4D07-85A1-A99867969B78}"/>
          </ac:spMkLst>
        </pc:spChg>
        <pc:spChg chg="mod">
          <ac:chgData name="Aude Van de WIELE" userId="7317e673-04dd-415c-a4d7-718682339b40" providerId="ADAL" clId="{80D4E734-020D-4C1F-A028-1B9E9B483F9A}" dt="2021-05-25T11:29:15.102" v="10819" actId="571"/>
          <ac:spMkLst>
            <pc:docMk/>
            <pc:sldMk cId="85178067" sldId="10485"/>
            <ac:spMk id="111" creationId="{E512A3E3-8616-43E2-B759-BF2807E17176}"/>
          </ac:spMkLst>
        </pc:spChg>
        <pc:spChg chg="mod">
          <ac:chgData name="Aude Van de WIELE" userId="7317e673-04dd-415c-a4d7-718682339b40" providerId="ADAL" clId="{80D4E734-020D-4C1F-A028-1B9E9B483F9A}" dt="2021-05-25T11:29:15.102" v="10819" actId="571"/>
          <ac:spMkLst>
            <pc:docMk/>
            <pc:sldMk cId="85178067" sldId="10485"/>
            <ac:spMk id="112" creationId="{343507F9-F092-4A9C-AF3A-B8AB09EA097C}"/>
          </ac:spMkLst>
        </pc:spChg>
        <pc:spChg chg="mod">
          <ac:chgData name="Aude Van de WIELE" userId="7317e673-04dd-415c-a4d7-718682339b40" providerId="ADAL" clId="{80D4E734-020D-4C1F-A028-1B9E9B483F9A}" dt="2021-05-25T12:49:49.607" v="12303" actId="404"/>
          <ac:spMkLst>
            <pc:docMk/>
            <pc:sldMk cId="85178067" sldId="10485"/>
            <ac:spMk id="138" creationId="{683FE8D8-E48B-4F3C-ABFC-A1C90A49C024}"/>
          </ac:spMkLst>
        </pc:spChg>
        <pc:spChg chg="add mod">
          <ac:chgData name="Aude Van de WIELE" userId="7317e673-04dd-415c-a4d7-718682339b40" providerId="ADAL" clId="{80D4E734-020D-4C1F-A028-1B9E9B483F9A}" dt="2021-05-25T11:29:23.479" v="10868" actId="20577"/>
          <ac:spMkLst>
            <pc:docMk/>
            <pc:sldMk cId="85178067" sldId="10485"/>
            <ac:spMk id="138" creationId="{A8ADBFB1-D171-4D07-85A1-A99867969B78}"/>
          </ac:spMkLst>
        </pc:spChg>
        <pc:spChg chg="add mod">
          <ac:chgData name="Aude Van de WIELE" userId="7317e673-04dd-415c-a4d7-718682339b40" providerId="ADAL" clId="{80D4E734-020D-4C1F-A028-1B9E9B483F9A}" dt="2021-05-25T11:31:41.275" v="11185" actId="20577"/>
          <ac:spMkLst>
            <pc:docMk/>
            <pc:sldMk cId="85178067" sldId="10485"/>
            <ac:spMk id="140" creationId="{3EC6C763-EE7F-43CF-B48A-26BF985BDAEF}"/>
          </ac:spMkLst>
        </pc:spChg>
        <pc:spChg chg="add mod">
          <ac:chgData name="Aude Van de WIELE" userId="7317e673-04dd-415c-a4d7-718682339b40" providerId="ADAL" clId="{80D4E734-020D-4C1F-A028-1B9E9B483F9A}" dt="2021-05-25T11:33:29.661" v="11261" actId="20577"/>
          <ac:spMkLst>
            <pc:docMk/>
            <pc:sldMk cId="85178067" sldId="10485"/>
            <ac:spMk id="141" creationId="{DF1533BA-45C1-4D01-98BB-FABB3D60EEBB}"/>
          </ac:spMkLst>
        </pc:spChg>
        <pc:spChg chg="mod">
          <ac:chgData name="Aude Van de WIELE" userId="7317e673-04dd-415c-a4d7-718682339b40" providerId="ADAL" clId="{80D4E734-020D-4C1F-A028-1B9E9B483F9A}" dt="2021-05-25T12:49:49.607" v="12303" actId="404"/>
          <ac:spMkLst>
            <pc:docMk/>
            <pc:sldMk cId="85178067" sldId="10485"/>
            <ac:spMk id="156" creationId="{EA825694-5D20-44CA-90AC-3E6CCBEC36C1}"/>
          </ac:spMkLst>
        </pc:spChg>
        <pc:grpChg chg="add del mod">
          <ac:chgData name="Aude Van de WIELE" userId="7317e673-04dd-415c-a4d7-718682339b40" providerId="ADAL" clId="{80D4E734-020D-4C1F-A028-1B9E9B483F9A}" dt="2021-05-25T11:29:33.885" v="10869" actId="478"/>
          <ac:grpSpMkLst>
            <pc:docMk/>
            <pc:sldMk cId="85178067" sldId="10485"/>
            <ac:grpSpMk id="110" creationId="{D5DA6BFF-FDBC-45C2-98DD-D3C827E14B3F}"/>
          </ac:grpSpMkLst>
        </pc:grpChg>
      </pc:sldChg>
      <pc:sldChg chg="add mod modShow">
        <pc:chgData name="Aude Van de WIELE" userId="7317e673-04dd-415c-a4d7-718682339b40" providerId="ADAL" clId="{80D4E734-020D-4C1F-A028-1B9E9B483F9A}" dt="2021-05-25T09:38:59.793" v="9973" actId="729"/>
        <pc:sldMkLst>
          <pc:docMk/>
          <pc:sldMk cId="2970783801" sldId="10486"/>
        </pc:sldMkLst>
      </pc:sldChg>
      <pc:sldChg chg="delSp modSp mod">
        <pc:chgData name="Aude Van de WIELE" userId="7317e673-04dd-415c-a4d7-718682339b40" providerId="ADAL" clId="{80D4E734-020D-4C1F-A028-1B9E9B483F9A}" dt="2021-05-25T13:15:42.450" v="12713" actId="20577"/>
        <pc:sldMkLst>
          <pc:docMk/>
          <pc:sldMk cId="1662158175" sldId="10487"/>
        </pc:sldMkLst>
        <pc:spChg chg="mod">
          <ac:chgData name="Aude Van de WIELE" userId="7317e673-04dd-415c-a4d7-718682339b40" providerId="ADAL" clId="{80D4E734-020D-4C1F-A028-1B9E9B483F9A}" dt="2021-05-25T13:15:26.330" v="12709" actId="1076"/>
          <ac:spMkLst>
            <pc:docMk/>
            <pc:sldMk cId="1662158175" sldId="10487"/>
            <ac:spMk id="9" creationId="{02B09B86-63EB-478A-A1B9-73EB0B102213}"/>
          </ac:spMkLst>
        </pc:spChg>
        <pc:spChg chg="mod">
          <ac:chgData name="Aude Van de WIELE" userId="7317e673-04dd-415c-a4d7-718682339b40" providerId="ADAL" clId="{80D4E734-020D-4C1F-A028-1B9E9B483F9A}" dt="2021-05-25T13:15:34.506" v="12712" actId="20577"/>
          <ac:spMkLst>
            <pc:docMk/>
            <pc:sldMk cId="1662158175" sldId="10487"/>
            <ac:spMk id="12" creationId="{17ACB834-4B29-46A1-8305-C573136B1B39}"/>
          </ac:spMkLst>
        </pc:spChg>
        <pc:spChg chg="mod">
          <ac:chgData name="Aude Van de WIELE" userId="7317e673-04dd-415c-a4d7-718682339b40" providerId="ADAL" clId="{80D4E734-020D-4C1F-A028-1B9E9B483F9A}" dt="2021-05-25T09:50:08.393" v="9983" actId="20577"/>
          <ac:spMkLst>
            <pc:docMk/>
            <pc:sldMk cId="1662158175" sldId="10487"/>
            <ac:spMk id="17" creationId="{93C43DF0-5B80-4873-976E-9DCC9459DEE9}"/>
          </ac:spMkLst>
        </pc:spChg>
        <pc:spChg chg="mod">
          <ac:chgData name="Aude Van de WIELE" userId="7317e673-04dd-415c-a4d7-718682339b40" providerId="ADAL" clId="{80D4E734-020D-4C1F-A028-1B9E9B483F9A}" dt="2021-05-25T12:53:06.383" v="12416" actId="20577"/>
          <ac:spMkLst>
            <pc:docMk/>
            <pc:sldMk cId="1662158175" sldId="10487"/>
            <ac:spMk id="20" creationId="{CF43FFDF-1514-417B-8DD3-055802931621}"/>
          </ac:spMkLst>
        </pc:spChg>
        <pc:spChg chg="mod">
          <ac:chgData name="Aude Van de WIELE" userId="7317e673-04dd-415c-a4d7-718682339b40" providerId="ADAL" clId="{80D4E734-020D-4C1F-A028-1B9E9B483F9A}" dt="2021-05-25T13:15:42.450" v="12713" actId="20577"/>
          <ac:spMkLst>
            <pc:docMk/>
            <pc:sldMk cId="1662158175" sldId="10487"/>
            <ac:spMk id="26" creationId="{141BDBD6-FC39-484B-80B4-A5A00C8A001E}"/>
          </ac:spMkLst>
        </pc:spChg>
        <pc:spChg chg="del">
          <ac:chgData name="Aude Van de WIELE" userId="7317e673-04dd-415c-a4d7-718682339b40" providerId="ADAL" clId="{80D4E734-020D-4C1F-A028-1B9E9B483F9A}" dt="2021-05-25T09:50:22.219" v="9984" actId="478"/>
          <ac:spMkLst>
            <pc:docMk/>
            <pc:sldMk cId="1662158175" sldId="10487"/>
            <ac:spMk id="52" creationId="{81CED96B-F5F9-4745-A09C-2949BD177A48}"/>
          </ac:spMkLst>
        </pc:spChg>
      </pc:sldChg>
      <pc:sldChg chg="addSp modSp mod">
        <pc:chgData name="Aude Van de WIELE" userId="7317e673-04dd-415c-a4d7-718682339b40" providerId="ADAL" clId="{80D4E734-020D-4C1F-A028-1B9E9B483F9A}" dt="2021-05-25T13:18:20.489" v="12728" actId="1076"/>
        <pc:sldMkLst>
          <pc:docMk/>
          <pc:sldMk cId="304171044" sldId="10488"/>
        </pc:sldMkLst>
        <pc:spChg chg="add mod">
          <ac:chgData name="Aude Van de WIELE" userId="7317e673-04dd-415c-a4d7-718682339b40" providerId="ADAL" clId="{80D4E734-020D-4C1F-A028-1B9E9B483F9A}" dt="2021-05-25T11:36:17.893" v="11279" actId="14100"/>
          <ac:spMkLst>
            <pc:docMk/>
            <pc:sldMk cId="304171044" sldId="10488"/>
            <ac:spMk id="75" creationId="{BF048926-BF08-4F31-8C26-458582C96095}"/>
          </ac:spMkLst>
        </pc:spChg>
        <pc:spChg chg="add mod">
          <ac:chgData name="Aude Van de WIELE" userId="7317e673-04dd-415c-a4d7-718682339b40" providerId="ADAL" clId="{80D4E734-020D-4C1F-A028-1B9E9B483F9A}" dt="2021-05-25T11:36:39.405" v="11283" actId="14100"/>
          <ac:spMkLst>
            <pc:docMk/>
            <pc:sldMk cId="304171044" sldId="10488"/>
            <ac:spMk id="76" creationId="{52A62CB2-099B-45B3-821C-FD4F0C05C0E7}"/>
          </ac:spMkLst>
        </pc:spChg>
        <pc:spChg chg="mod">
          <ac:chgData name="Aude Van de WIELE" userId="7317e673-04dd-415c-a4d7-718682339b40" providerId="ADAL" clId="{80D4E734-020D-4C1F-A028-1B9E9B483F9A}" dt="2021-05-25T13:17:48.099" v="12715" actId="1076"/>
          <ac:spMkLst>
            <pc:docMk/>
            <pc:sldMk cId="304171044" sldId="10488"/>
            <ac:spMk id="101" creationId="{F1344A91-F178-4DE5-95C0-9D49230F1522}"/>
          </ac:spMkLst>
        </pc:spChg>
        <pc:spChg chg="mod">
          <ac:chgData name="Aude Van de WIELE" userId="7317e673-04dd-415c-a4d7-718682339b40" providerId="ADAL" clId="{80D4E734-020D-4C1F-A028-1B9E9B483F9A}" dt="2021-05-25T13:17:48.099" v="12715" actId="1076"/>
          <ac:spMkLst>
            <pc:docMk/>
            <pc:sldMk cId="304171044" sldId="10488"/>
            <ac:spMk id="102" creationId="{F0537D3F-CFA9-4A37-AA37-A7FB1C6628D4}"/>
          </ac:spMkLst>
        </pc:spChg>
        <pc:spChg chg="mod">
          <ac:chgData name="Aude Van de WIELE" userId="7317e673-04dd-415c-a4d7-718682339b40" providerId="ADAL" clId="{80D4E734-020D-4C1F-A028-1B9E9B483F9A}" dt="2021-05-25T13:18:20.489" v="12728" actId="1076"/>
          <ac:spMkLst>
            <pc:docMk/>
            <pc:sldMk cId="304171044" sldId="10488"/>
            <ac:spMk id="104" creationId="{75CD569D-BECE-47F4-AED3-B01CD96232A3}"/>
          </ac:spMkLst>
        </pc:spChg>
        <pc:spChg chg="mod">
          <ac:chgData name="Aude Van de WIELE" userId="7317e673-04dd-415c-a4d7-718682339b40" providerId="ADAL" clId="{80D4E734-020D-4C1F-A028-1B9E9B483F9A}" dt="2021-05-25T13:18:20.489" v="12728" actId="1076"/>
          <ac:spMkLst>
            <pc:docMk/>
            <pc:sldMk cId="304171044" sldId="10488"/>
            <ac:spMk id="105" creationId="{3E8DAA04-6406-428C-8780-97C8E3F0D86E}"/>
          </ac:spMkLst>
        </pc:spChg>
        <pc:spChg chg="add mod">
          <ac:chgData name="Aude Van de WIELE" userId="7317e673-04dd-415c-a4d7-718682339b40" providerId="ADAL" clId="{80D4E734-020D-4C1F-A028-1B9E9B483F9A}" dt="2021-05-25T13:18:11.803" v="12719" actId="1076"/>
          <ac:spMkLst>
            <pc:docMk/>
            <pc:sldMk cId="304171044" sldId="10488"/>
            <ac:spMk id="106" creationId="{2CE48A6C-F811-4EE2-A5F6-4C1AF22A5506}"/>
          </ac:spMkLst>
        </pc:spChg>
        <pc:spChg chg="add mod">
          <ac:chgData name="Aude Van de WIELE" userId="7317e673-04dd-415c-a4d7-718682339b40" providerId="ADAL" clId="{80D4E734-020D-4C1F-A028-1B9E9B483F9A}" dt="2021-05-25T13:18:20.489" v="12728" actId="1076"/>
          <ac:spMkLst>
            <pc:docMk/>
            <pc:sldMk cId="304171044" sldId="10488"/>
            <ac:spMk id="107" creationId="{AE395F6F-5447-464E-8F22-8A2FA600B410}"/>
          </ac:spMkLst>
        </pc:spChg>
        <pc:grpChg chg="add mod">
          <ac:chgData name="Aude Van de WIELE" userId="7317e673-04dd-415c-a4d7-718682339b40" providerId="ADAL" clId="{80D4E734-020D-4C1F-A028-1B9E9B483F9A}" dt="2021-05-25T13:17:48.099" v="12715" actId="1076"/>
          <ac:grpSpMkLst>
            <pc:docMk/>
            <pc:sldMk cId="304171044" sldId="10488"/>
            <ac:grpSpMk id="92" creationId="{99D06CE5-57B4-4698-BB0A-73B6E87C4506}"/>
          </ac:grpSpMkLst>
        </pc:grpChg>
        <pc:grpChg chg="add mod">
          <ac:chgData name="Aude Van de WIELE" userId="7317e673-04dd-415c-a4d7-718682339b40" providerId="ADAL" clId="{80D4E734-020D-4C1F-A028-1B9E9B483F9A}" dt="2021-05-25T13:18:20.489" v="12728" actId="1076"/>
          <ac:grpSpMkLst>
            <pc:docMk/>
            <pc:sldMk cId="304171044" sldId="10488"/>
            <ac:grpSpMk id="103" creationId="{CDA4E913-8123-460D-8893-8F1B08594827}"/>
          </ac:grpSpMkLst>
        </pc:grpChg>
      </pc:sldChg>
      <pc:sldChg chg="add del">
        <pc:chgData name="Aude Van de WIELE" userId="7317e673-04dd-415c-a4d7-718682339b40" providerId="ADAL" clId="{80D4E734-020D-4C1F-A028-1B9E9B483F9A}" dt="2021-05-25T11:36:10.619" v="11276" actId="47"/>
        <pc:sldMkLst>
          <pc:docMk/>
          <pc:sldMk cId="3919786200" sldId="10489"/>
        </pc:sldMkLst>
      </pc:sldChg>
      <pc:sldChg chg="new del">
        <pc:chgData name="Aude Van de WIELE" userId="7317e673-04dd-415c-a4d7-718682339b40" providerId="ADAL" clId="{80D4E734-020D-4C1F-A028-1B9E9B483F9A}" dt="2021-05-25T13:23:43.405" v="12744" actId="680"/>
        <pc:sldMkLst>
          <pc:docMk/>
          <pc:sldMk cId="773692677" sldId="10491"/>
        </pc:sldMkLst>
      </pc:sldChg>
    </pc:docChg>
  </pc:docChgLst>
  <pc:docChgLst>
    <pc:chgData name="Ugo MANTEL" userId="2d5b7065-31bb-4181-a7f8-a73bf0c30211" providerId="ADAL" clId="{9344D105-636D-4857-BD0F-AFC44A54BCCF}"/>
    <pc:docChg chg="undo redo custSel addSld delSld modSld sldOrd delSection modSection">
      <pc:chgData name="Ugo MANTEL" userId="2d5b7065-31bb-4181-a7f8-a73bf0c30211" providerId="ADAL" clId="{9344D105-636D-4857-BD0F-AFC44A54BCCF}" dt="2021-05-25T15:26:15.146" v="37927" actId="478"/>
      <pc:docMkLst>
        <pc:docMk/>
      </pc:docMkLst>
      <pc:sldChg chg="modSp mod">
        <pc:chgData name="Ugo MANTEL" userId="2d5b7065-31bb-4181-a7f8-a73bf0c30211" providerId="ADAL" clId="{9344D105-636D-4857-BD0F-AFC44A54BCCF}" dt="2021-05-25T14:20:10.915" v="27543" actId="790"/>
        <pc:sldMkLst>
          <pc:docMk/>
          <pc:sldMk cId="317280987" sldId="1655"/>
        </pc:sldMkLst>
        <pc:spChg chg="mod">
          <ac:chgData name="Ugo MANTEL" userId="2d5b7065-31bb-4181-a7f8-a73bf0c30211" providerId="ADAL" clId="{9344D105-636D-4857-BD0F-AFC44A54BCCF}" dt="2021-05-25T14:20:10.905" v="27542" actId="790"/>
          <ac:spMkLst>
            <pc:docMk/>
            <pc:sldMk cId="317280987" sldId="1655"/>
            <ac:spMk id="9" creationId="{A8D01A7F-CF9D-41E2-A69B-C4B89B777060}"/>
          </ac:spMkLst>
        </pc:spChg>
        <pc:spChg chg="mod">
          <ac:chgData name="Ugo MANTEL" userId="2d5b7065-31bb-4181-a7f8-a73bf0c30211" providerId="ADAL" clId="{9344D105-636D-4857-BD0F-AFC44A54BCCF}" dt="2021-05-25T14:20:10.915" v="27543" actId="790"/>
          <ac:spMkLst>
            <pc:docMk/>
            <pc:sldMk cId="317280987" sldId="1655"/>
            <ac:spMk id="10" creationId="{6E5DA166-B3B1-4EFB-8A60-B5F05F64A940}"/>
          </ac:spMkLst>
        </pc:spChg>
      </pc:sldChg>
      <pc:sldChg chg="modSp mod">
        <pc:chgData name="Ugo MANTEL" userId="2d5b7065-31bb-4181-a7f8-a73bf0c30211" providerId="ADAL" clId="{9344D105-636D-4857-BD0F-AFC44A54BCCF}" dt="2021-05-25T14:20:10.905" v="27541" actId="790"/>
        <pc:sldMkLst>
          <pc:docMk/>
          <pc:sldMk cId="1833404173" sldId="2531"/>
        </pc:sldMkLst>
        <pc:spChg chg="mod">
          <ac:chgData name="Ugo MANTEL" userId="2d5b7065-31bb-4181-a7f8-a73bf0c30211" providerId="ADAL" clId="{9344D105-636D-4857-BD0F-AFC44A54BCCF}" dt="2021-05-25T14:20:10.869" v="27492" actId="790"/>
          <ac:spMkLst>
            <pc:docMk/>
            <pc:sldMk cId="1833404173" sldId="2531"/>
            <ac:spMk id="2" creationId="{485D8258-C799-4DEB-8426-A87B09E12535}"/>
          </ac:spMkLst>
        </pc:spChg>
        <pc:spChg chg="mod">
          <ac:chgData name="Ugo MANTEL" userId="2d5b7065-31bb-4181-a7f8-a73bf0c30211" providerId="ADAL" clId="{9344D105-636D-4857-BD0F-AFC44A54BCCF}" dt="2021-05-25T14:20:10.902" v="27538" actId="790"/>
          <ac:spMkLst>
            <pc:docMk/>
            <pc:sldMk cId="1833404173" sldId="2531"/>
            <ac:spMk id="3" creationId="{5A298B37-CEE8-4A6B-A535-516B4E1DBC89}"/>
          </ac:spMkLst>
        </pc:spChg>
        <pc:spChg chg="mod">
          <ac:chgData name="Ugo MANTEL" userId="2d5b7065-31bb-4181-a7f8-a73bf0c30211" providerId="ADAL" clId="{9344D105-636D-4857-BD0F-AFC44A54BCCF}" dt="2021-05-25T14:20:10.871" v="27493" actId="790"/>
          <ac:spMkLst>
            <pc:docMk/>
            <pc:sldMk cId="1833404173" sldId="2531"/>
            <ac:spMk id="6" creationId="{FD961D00-BB87-4820-B54D-EC87367CB5D8}"/>
          </ac:spMkLst>
        </pc:spChg>
        <pc:spChg chg="mod">
          <ac:chgData name="Ugo MANTEL" userId="2d5b7065-31bb-4181-a7f8-a73bf0c30211" providerId="ADAL" clId="{9344D105-636D-4857-BD0F-AFC44A54BCCF}" dt="2021-05-25T14:20:10.872" v="27494" actId="790"/>
          <ac:spMkLst>
            <pc:docMk/>
            <pc:sldMk cId="1833404173" sldId="2531"/>
            <ac:spMk id="8" creationId="{CBFABE72-6131-464D-BAFB-D76422C2A4AB}"/>
          </ac:spMkLst>
        </pc:spChg>
        <pc:spChg chg="mod">
          <ac:chgData name="Ugo MANTEL" userId="2d5b7065-31bb-4181-a7f8-a73bf0c30211" providerId="ADAL" clId="{9344D105-636D-4857-BD0F-AFC44A54BCCF}" dt="2021-05-25T14:20:10.873" v="27495" actId="790"/>
          <ac:spMkLst>
            <pc:docMk/>
            <pc:sldMk cId="1833404173" sldId="2531"/>
            <ac:spMk id="9" creationId="{AA892EF1-BA93-4257-8E96-FCE386827377}"/>
          </ac:spMkLst>
        </pc:spChg>
        <pc:spChg chg="mod">
          <ac:chgData name="Ugo MANTEL" userId="2d5b7065-31bb-4181-a7f8-a73bf0c30211" providerId="ADAL" clId="{9344D105-636D-4857-BD0F-AFC44A54BCCF}" dt="2021-05-25T14:20:10.874" v="27496" actId="790"/>
          <ac:spMkLst>
            <pc:docMk/>
            <pc:sldMk cId="1833404173" sldId="2531"/>
            <ac:spMk id="10" creationId="{D1385551-0DEE-495D-8846-99041144B7D6}"/>
          </ac:spMkLst>
        </pc:spChg>
        <pc:spChg chg="mod">
          <ac:chgData name="Ugo MANTEL" userId="2d5b7065-31bb-4181-a7f8-a73bf0c30211" providerId="ADAL" clId="{9344D105-636D-4857-BD0F-AFC44A54BCCF}" dt="2021-05-25T14:20:10.875" v="27497" actId="790"/>
          <ac:spMkLst>
            <pc:docMk/>
            <pc:sldMk cId="1833404173" sldId="2531"/>
            <ac:spMk id="11" creationId="{95F74EDD-FC62-4AE0-B009-91BD1F0F42CD}"/>
          </ac:spMkLst>
        </pc:spChg>
        <pc:spChg chg="mod">
          <ac:chgData name="Ugo MANTEL" userId="2d5b7065-31bb-4181-a7f8-a73bf0c30211" providerId="ADAL" clId="{9344D105-636D-4857-BD0F-AFC44A54BCCF}" dt="2021-05-25T14:20:10.875" v="27498" actId="790"/>
          <ac:spMkLst>
            <pc:docMk/>
            <pc:sldMk cId="1833404173" sldId="2531"/>
            <ac:spMk id="12" creationId="{D1785210-4F58-4DEA-A9E2-D867169A909C}"/>
          </ac:spMkLst>
        </pc:spChg>
        <pc:spChg chg="mod">
          <ac:chgData name="Ugo MANTEL" userId="2d5b7065-31bb-4181-a7f8-a73bf0c30211" providerId="ADAL" clId="{9344D105-636D-4857-BD0F-AFC44A54BCCF}" dt="2021-05-25T14:20:10.876" v="27499" actId="790"/>
          <ac:spMkLst>
            <pc:docMk/>
            <pc:sldMk cId="1833404173" sldId="2531"/>
            <ac:spMk id="13" creationId="{F68747A9-0286-423B-B19B-BDD80CFD99AA}"/>
          </ac:spMkLst>
        </pc:spChg>
        <pc:spChg chg="mod">
          <ac:chgData name="Ugo MANTEL" userId="2d5b7065-31bb-4181-a7f8-a73bf0c30211" providerId="ADAL" clId="{9344D105-636D-4857-BD0F-AFC44A54BCCF}" dt="2021-05-25T14:20:10.877" v="27500" actId="790"/>
          <ac:spMkLst>
            <pc:docMk/>
            <pc:sldMk cId="1833404173" sldId="2531"/>
            <ac:spMk id="14" creationId="{1B668D90-1CA6-4BF2-A28C-A37ADF4CEC55}"/>
          </ac:spMkLst>
        </pc:spChg>
        <pc:spChg chg="mod">
          <ac:chgData name="Ugo MANTEL" userId="2d5b7065-31bb-4181-a7f8-a73bf0c30211" providerId="ADAL" clId="{9344D105-636D-4857-BD0F-AFC44A54BCCF}" dt="2021-05-25T14:20:10.878" v="27501" actId="790"/>
          <ac:spMkLst>
            <pc:docMk/>
            <pc:sldMk cId="1833404173" sldId="2531"/>
            <ac:spMk id="15" creationId="{DC368EB4-4DDD-4407-BE94-38F23DA27B16}"/>
          </ac:spMkLst>
        </pc:spChg>
        <pc:spChg chg="mod">
          <ac:chgData name="Ugo MANTEL" userId="2d5b7065-31bb-4181-a7f8-a73bf0c30211" providerId="ADAL" clId="{9344D105-636D-4857-BD0F-AFC44A54BCCF}" dt="2021-05-25T14:20:10.879" v="27502" actId="790"/>
          <ac:spMkLst>
            <pc:docMk/>
            <pc:sldMk cId="1833404173" sldId="2531"/>
            <ac:spMk id="16" creationId="{80F851B1-0B14-48BE-A51C-7881B7C8FE41}"/>
          </ac:spMkLst>
        </pc:spChg>
        <pc:spChg chg="mod">
          <ac:chgData name="Ugo MANTEL" userId="2d5b7065-31bb-4181-a7f8-a73bf0c30211" providerId="ADAL" clId="{9344D105-636D-4857-BD0F-AFC44A54BCCF}" dt="2021-05-25T14:20:10.880" v="27503" actId="790"/>
          <ac:spMkLst>
            <pc:docMk/>
            <pc:sldMk cId="1833404173" sldId="2531"/>
            <ac:spMk id="17" creationId="{7CE1AF65-B94A-4628-80BC-0D290E998B7C}"/>
          </ac:spMkLst>
        </pc:spChg>
        <pc:spChg chg="mod">
          <ac:chgData name="Ugo MANTEL" userId="2d5b7065-31bb-4181-a7f8-a73bf0c30211" providerId="ADAL" clId="{9344D105-636D-4857-BD0F-AFC44A54BCCF}" dt="2021-05-25T14:20:10.880" v="27504" actId="790"/>
          <ac:spMkLst>
            <pc:docMk/>
            <pc:sldMk cId="1833404173" sldId="2531"/>
            <ac:spMk id="18" creationId="{4D52F71B-746D-44F2-85EB-546A9C67D415}"/>
          </ac:spMkLst>
        </pc:spChg>
        <pc:spChg chg="mod">
          <ac:chgData name="Ugo MANTEL" userId="2d5b7065-31bb-4181-a7f8-a73bf0c30211" providerId="ADAL" clId="{9344D105-636D-4857-BD0F-AFC44A54BCCF}" dt="2021-05-25T14:20:10.881" v="27505" actId="790"/>
          <ac:spMkLst>
            <pc:docMk/>
            <pc:sldMk cId="1833404173" sldId="2531"/>
            <ac:spMk id="19" creationId="{7BFC3453-D5E5-4B80-95E1-53BCDB119B16}"/>
          </ac:spMkLst>
        </pc:spChg>
        <pc:spChg chg="mod">
          <ac:chgData name="Ugo MANTEL" userId="2d5b7065-31bb-4181-a7f8-a73bf0c30211" providerId="ADAL" clId="{9344D105-636D-4857-BD0F-AFC44A54BCCF}" dt="2021-05-25T14:20:10.882" v="27506" actId="790"/>
          <ac:spMkLst>
            <pc:docMk/>
            <pc:sldMk cId="1833404173" sldId="2531"/>
            <ac:spMk id="20" creationId="{ABEEDC27-82A8-46CB-8CE2-2D10293A50C9}"/>
          </ac:spMkLst>
        </pc:spChg>
        <pc:spChg chg="mod">
          <ac:chgData name="Ugo MANTEL" userId="2d5b7065-31bb-4181-a7f8-a73bf0c30211" providerId="ADAL" clId="{9344D105-636D-4857-BD0F-AFC44A54BCCF}" dt="2021-05-25T14:20:10.882" v="27507" actId="790"/>
          <ac:spMkLst>
            <pc:docMk/>
            <pc:sldMk cId="1833404173" sldId="2531"/>
            <ac:spMk id="21" creationId="{79263F93-BD89-481F-813A-6C0F901C9C08}"/>
          </ac:spMkLst>
        </pc:spChg>
        <pc:spChg chg="mod">
          <ac:chgData name="Ugo MANTEL" userId="2d5b7065-31bb-4181-a7f8-a73bf0c30211" providerId="ADAL" clId="{9344D105-636D-4857-BD0F-AFC44A54BCCF}" dt="2021-05-25T14:20:10.883" v="27508" actId="790"/>
          <ac:spMkLst>
            <pc:docMk/>
            <pc:sldMk cId="1833404173" sldId="2531"/>
            <ac:spMk id="22" creationId="{A17328B4-1579-4E16-8289-48E49F417694}"/>
          </ac:spMkLst>
        </pc:spChg>
        <pc:spChg chg="mod">
          <ac:chgData name="Ugo MANTEL" userId="2d5b7065-31bb-4181-a7f8-a73bf0c30211" providerId="ADAL" clId="{9344D105-636D-4857-BD0F-AFC44A54BCCF}" dt="2021-05-25T14:20:10.883" v="27509" actId="790"/>
          <ac:spMkLst>
            <pc:docMk/>
            <pc:sldMk cId="1833404173" sldId="2531"/>
            <ac:spMk id="23" creationId="{9FFABFA5-D560-4B57-A403-E79C1BD6BD3D}"/>
          </ac:spMkLst>
        </pc:spChg>
        <pc:spChg chg="mod">
          <ac:chgData name="Ugo MANTEL" userId="2d5b7065-31bb-4181-a7f8-a73bf0c30211" providerId="ADAL" clId="{9344D105-636D-4857-BD0F-AFC44A54BCCF}" dt="2021-05-25T14:20:10.884" v="27510" actId="790"/>
          <ac:spMkLst>
            <pc:docMk/>
            <pc:sldMk cId="1833404173" sldId="2531"/>
            <ac:spMk id="24" creationId="{C6DE36B4-63F9-49BF-9393-6D814DCD3ADB}"/>
          </ac:spMkLst>
        </pc:spChg>
        <pc:spChg chg="mod">
          <ac:chgData name="Ugo MANTEL" userId="2d5b7065-31bb-4181-a7f8-a73bf0c30211" providerId="ADAL" clId="{9344D105-636D-4857-BD0F-AFC44A54BCCF}" dt="2021-05-25T14:20:10.885" v="27511" actId="790"/>
          <ac:spMkLst>
            <pc:docMk/>
            <pc:sldMk cId="1833404173" sldId="2531"/>
            <ac:spMk id="25" creationId="{87636E38-C9EE-47F8-83D6-6504B63CFEC1}"/>
          </ac:spMkLst>
        </pc:spChg>
        <pc:spChg chg="mod">
          <ac:chgData name="Ugo MANTEL" userId="2d5b7065-31bb-4181-a7f8-a73bf0c30211" providerId="ADAL" clId="{9344D105-636D-4857-BD0F-AFC44A54BCCF}" dt="2021-05-25T14:20:10.885" v="27512" actId="790"/>
          <ac:spMkLst>
            <pc:docMk/>
            <pc:sldMk cId="1833404173" sldId="2531"/>
            <ac:spMk id="26" creationId="{5E993EC9-B819-46BE-808C-6BF87D7C6173}"/>
          </ac:spMkLst>
        </pc:spChg>
        <pc:spChg chg="mod">
          <ac:chgData name="Ugo MANTEL" userId="2d5b7065-31bb-4181-a7f8-a73bf0c30211" providerId="ADAL" clId="{9344D105-636D-4857-BD0F-AFC44A54BCCF}" dt="2021-05-25T14:20:10.886" v="27513" actId="790"/>
          <ac:spMkLst>
            <pc:docMk/>
            <pc:sldMk cId="1833404173" sldId="2531"/>
            <ac:spMk id="27" creationId="{8C4589F2-B7BC-4572-BB11-469A62A1B6C6}"/>
          </ac:spMkLst>
        </pc:spChg>
        <pc:spChg chg="mod">
          <ac:chgData name="Ugo MANTEL" userId="2d5b7065-31bb-4181-a7f8-a73bf0c30211" providerId="ADAL" clId="{9344D105-636D-4857-BD0F-AFC44A54BCCF}" dt="2021-05-25T14:20:10.887" v="27514" actId="790"/>
          <ac:spMkLst>
            <pc:docMk/>
            <pc:sldMk cId="1833404173" sldId="2531"/>
            <ac:spMk id="28" creationId="{77771E76-DFA4-4D19-B2E3-74B7FBF71D1E}"/>
          </ac:spMkLst>
        </pc:spChg>
        <pc:spChg chg="mod">
          <ac:chgData name="Ugo MANTEL" userId="2d5b7065-31bb-4181-a7f8-a73bf0c30211" providerId="ADAL" clId="{9344D105-636D-4857-BD0F-AFC44A54BCCF}" dt="2021-05-25T14:20:10.887" v="27515" actId="790"/>
          <ac:spMkLst>
            <pc:docMk/>
            <pc:sldMk cId="1833404173" sldId="2531"/>
            <ac:spMk id="29" creationId="{5E08754A-8970-4715-8A7A-F623D767FAB9}"/>
          </ac:spMkLst>
        </pc:spChg>
        <pc:spChg chg="mod">
          <ac:chgData name="Ugo MANTEL" userId="2d5b7065-31bb-4181-a7f8-a73bf0c30211" providerId="ADAL" clId="{9344D105-636D-4857-BD0F-AFC44A54BCCF}" dt="2021-05-25T14:20:10.888" v="27516" actId="790"/>
          <ac:spMkLst>
            <pc:docMk/>
            <pc:sldMk cId="1833404173" sldId="2531"/>
            <ac:spMk id="30" creationId="{16C0C029-6359-44F4-B7C0-B040B0D8942B}"/>
          </ac:spMkLst>
        </pc:spChg>
        <pc:spChg chg="mod">
          <ac:chgData name="Ugo MANTEL" userId="2d5b7065-31bb-4181-a7f8-a73bf0c30211" providerId="ADAL" clId="{9344D105-636D-4857-BD0F-AFC44A54BCCF}" dt="2021-05-25T14:20:10.888" v="27517" actId="790"/>
          <ac:spMkLst>
            <pc:docMk/>
            <pc:sldMk cId="1833404173" sldId="2531"/>
            <ac:spMk id="31" creationId="{AC0EA32D-54FE-4F9B-9CF8-4DAFEBC29666}"/>
          </ac:spMkLst>
        </pc:spChg>
        <pc:spChg chg="mod">
          <ac:chgData name="Ugo MANTEL" userId="2d5b7065-31bb-4181-a7f8-a73bf0c30211" providerId="ADAL" clId="{9344D105-636D-4857-BD0F-AFC44A54BCCF}" dt="2021-05-25T14:20:10.889" v="27518" actId="790"/>
          <ac:spMkLst>
            <pc:docMk/>
            <pc:sldMk cId="1833404173" sldId="2531"/>
            <ac:spMk id="32" creationId="{8CE27222-24DA-4462-BF94-A8D5736BB7B7}"/>
          </ac:spMkLst>
        </pc:spChg>
        <pc:spChg chg="mod">
          <ac:chgData name="Ugo MANTEL" userId="2d5b7065-31bb-4181-a7f8-a73bf0c30211" providerId="ADAL" clId="{9344D105-636D-4857-BD0F-AFC44A54BCCF}" dt="2021-05-25T14:20:10.889" v="27519" actId="790"/>
          <ac:spMkLst>
            <pc:docMk/>
            <pc:sldMk cId="1833404173" sldId="2531"/>
            <ac:spMk id="33" creationId="{7B850491-5D22-4445-B8DD-2E7DA22A1582}"/>
          </ac:spMkLst>
        </pc:spChg>
        <pc:spChg chg="mod">
          <ac:chgData name="Ugo MANTEL" userId="2d5b7065-31bb-4181-a7f8-a73bf0c30211" providerId="ADAL" clId="{9344D105-636D-4857-BD0F-AFC44A54BCCF}" dt="2021-05-25T14:20:10.890" v="27520" actId="790"/>
          <ac:spMkLst>
            <pc:docMk/>
            <pc:sldMk cId="1833404173" sldId="2531"/>
            <ac:spMk id="34" creationId="{87B245AE-748D-4766-AAA8-E79644D27CF2}"/>
          </ac:spMkLst>
        </pc:spChg>
        <pc:spChg chg="mod">
          <ac:chgData name="Ugo MANTEL" userId="2d5b7065-31bb-4181-a7f8-a73bf0c30211" providerId="ADAL" clId="{9344D105-636D-4857-BD0F-AFC44A54BCCF}" dt="2021-05-25T14:20:10.891" v="27521" actId="790"/>
          <ac:spMkLst>
            <pc:docMk/>
            <pc:sldMk cId="1833404173" sldId="2531"/>
            <ac:spMk id="35" creationId="{3B6324BE-5137-4BFE-8DA4-799A77B8D45E}"/>
          </ac:spMkLst>
        </pc:spChg>
        <pc:spChg chg="mod">
          <ac:chgData name="Ugo MANTEL" userId="2d5b7065-31bb-4181-a7f8-a73bf0c30211" providerId="ADAL" clId="{9344D105-636D-4857-BD0F-AFC44A54BCCF}" dt="2021-05-25T14:20:10.891" v="27522" actId="790"/>
          <ac:spMkLst>
            <pc:docMk/>
            <pc:sldMk cId="1833404173" sldId="2531"/>
            <ac:spMk id="36" creationId="{E6D54B53-5D24-489F-9B67-95A762E58289}"/>
          </ac:spMkLst>
        </pc:spChg>
        <pc:spChg chg="mod">
          <ac:chgData name="Ugo MANTEL" userId="2d5b7065-31bb-4181-a7f8-a73bf0c30211" providerId="ADAL" clId="{9344D105-636D-4857-BD0F-AFC44A54BCCF}" dt="2021-05-25T14:20:10.892" v="27523" actId="790"/>
          <ac:spMkLst>
            <pc:docMk/>
            <pc:sldMk cId="1833404173" sldId="2531"/>
            <ac:spMk id="37" creationId="{B1B3F98D-4D9B-442E-8C7B-A1756F2C34E5}"/>
          </ac:spMkLst>
        </pc:spChg>
        <pc:spChg chg="mod">
          <ac:chgData name="Ugo MANTEL" userId="2d5b7065-31bb-4181-a7f8-a73bf0c30211" providerId="ADAL" clId="{9344D105-636D-4857-BD0F-AFC44A54BCCF}" dt="2021-05-25T14:20:10.892" v="27524" actId="790"/>
          <ac:spMkLst>
            <pc:docMk/>
            <pc:sldMk cId="1833404173" sldId="2531"/>
            <ac:spMk id="38" creationId="{1136920C-BA8F-43C0-8C16-F1AAC39166BF}"/>
          </ac:spMkLst>
        </pc:spChg>
        <pc:spChg chg="mod">
          <ac:chgData name="Ugo MANTEL" userId="2d5b7065-31bb-4181-a7f8-a73bf0c30211" providerId="ADAL" clId="{9344D105-636D-4857-BD0F-AFC44A54BCCF}" dt="2021-05-25T14:20:10.893" v="27525" actId="790"/>
          <ac:spMkLst>
            <pc:docMk/>
            <pc:sldMk cId="1833404173" sldId="2531"/>
            <ac:spMk id="39" creationId="{EFF788FD-AC32-46E7-9D4E-4BC36F5959B9}"/>
          </ac:spMkLst>
        </pc:spChg>
        <pc:spChg chg="mod">
          <ac:chgData name="Ugo MANTEL" userId="2d5b7065-31bb-4181-a7f8-a73bf0c30211" providerId="ADAL" clId="{9344D105-636D-4857-BD0F-AFC44A54BCCF}" dt="2021-05-25T14:20:10.894" v="27526" actId="790"/>
          <ac:spMkLst>
            <pc:docMk/>
            <pc:sldMk cId="1833404173" sldId="2531"/>
            <ac:spMk id="40" creationId="{A3E8FC77-79BA-4BF6-9229-A50D8390B0B0}"/>
          </ac:spMkLst>
        </pc:spChg>
        <pc:spChg chg="mod">
          <ac:chgData name="Ugo MANTEL" userId="2d5b7065-31bb-4181-a7f8-a73bf0c30211" providerId="ADAL" clId="{9344D105-636D-4857-BD0F-AFC44A54BCCF}" dt="2021-05-25T14:20:10.895" v="27527" actId="790"/>
          <ac:spMkLst>
            <pc:docMk/>
            <pc:sldMk cId="1833404173" sldId="2531"/>
            <ac:spMk id="41" creationId="{0576C5B5-205F-4700-BDBA-CB236CF202E5}"/>
          </ac:spMkLst>
        </pc:spChg>
        <pc:spChg chg="mod">
          <ac:chgData name="Ugo MANTEL" userId="2d5b7065-31bb-4181-a7f8-a73bf0c30211" providerId="ADAL" clId="{9344D105-636D-4857-BD0F-AFC44A54BCCF}" dt="2021-05-25T14:20:10.896" v="27528" actId="790"/>
          <ac:spMkLst>
            <pc:docMk/>
            <pc:sldMk cId="1833404173" sldId="2531"/>
            <ac:spMk id="42" creationId="{10178595-DB31-448D-B26C-282499D9E2AB}"/>
          </ac:spMkLst>
        </pc:spChg>
        <pc:spChg chg="mod">
          <ac:chgData name="Ugo MANTEL" userId="2d5b7065-31bb-4181-a7f8-a73bf0c30211" providerId="ADAL" clId="{9344D105-636D-4857-BD0F-AFC44A54BCCF}" dt="2021-05-25T14:20:10.896" v="27529" actId="790"/>
          <ac:spMkLst>
            <pc:docMk/>
            <pc:sldMk cId="1833404173" sldId="2531"/>
            <ac:spMk id="43" creationId="{7A99688D-221A-4009-B9DD-DA6C7D20F69E}"/>
          </ac:spMkLst>
        </pc:spChg>
        <pc:spChg chg="mod">
          <ac:chgData name="Ugo MANTEL" userId="2d5b7065-31bb-4181-a7f8-a73bf0c30211" providerId="ADAL" clId="{9344D105-636D-4857-BD0F-AFC44A54BCCF}" dt="2021-05-25T14:20:10.897" v="27530" actId="790"/>
          <ac:spMkLst>
            <pc:docMk/>
            <pc:sldMk cId="1833404173" sldId="2531"/>
            <ac:spMk id="44" creationId="{A821D0F1-6745-4FB4-960B-A65CD44A148F}"/>
          </ac:spMkLst>
        </pc:spChg>
        <pc:spChg chg="mod">
          <ac:chgData name="Ugo MANTEL" userId="2d5b7065-31bb-4181-a7f8-a73bf0c30211" providerId="ADAL" clId="{9344D105-636D-4857-BD0F-AFC44A54BCCF}" dt="2021-05-25T14:20:10.897" v="27531" actId="790"/>
          <ac:spMkLst>
            <pc:docMk/>
            <pc:sldMk cId="1833404173" sldId="2531"/>
            <ac:spMk id="45" creationId="{94585B0F-E803-4576-9DB3-FAF173D08F43}"/>
          </ac:spMkLst>
        </pc:spChg>
        <pc:spChg chg="mod">
          <ac:chgData name="Ugo MANTEL" userId="2d5b7065-31bb-4181-a7f8-a73bf0c30211" providerId="ADAL" clId="{9344D105-636D-4857-BD0F-AFC44A54BCCF}" dt="2021-05-25T14:20:10.898" v="27532" actId="790"/>
          <ac:spMkLst>
            <pc:docMk/>
            <pc:sldMk cId="1833404173" sldId="2531"/>
            <ac:spMk id="46" creationId="{60B47F91-9ED1-4064-B0F1-0F150436DBA4}"/>
          </ac:spMkLst>
        </pc:spChg>
        <pc:spChg chg="mod">
          <ac:chgData name="Ugo MANTEL" userId="2d5b7065-31bb-4181-a7f8-a73bf0c30211" providerId="ADAL" clId="{9344D105-636D-4857-BD0F-AFC44A54BCCF}" dt="2021-05-25T14:20:10.899" v="27533" actId="790"/>
          <ac:spMkLst>
            <pc:docMk/>
            <pc:sldMk cId="1833404173" sldId="2531"/>
            <ac:spMk id="47" creationId="{17468E73-86AE-459C-946F-AFFBB7E789DD}"/>
          </ac:spMkLst>
        </pc:spChg>
        <pc:spChg chg="mod">
          <ac:chgData name="Ugo MANTEL" userId="2d5b7065-31bb-4181-a7f8-a73bf0c30211" providerId="ADAL" clId="{9344D105-636D-4857-BD0F-AFC44A54BCCF}" dt="2021-05-25T14:20:10.899" v="27534" actId="790"/>
          <ac:spMkLst>
            <pc:docMk/>
            <pc:sldMk cId="1833404173" sldId="2531"/>
            <ac:spMk id="48" creationId="{44B8897D-6B27-465B-A723-BF615C31D100}"/>
          </ac:spMkLst>
        </pc:spChg>
        <pc:spChg chg="mod">
          <ac:chgData name="Ugo MANTEL" userId="2d5b7065-31bb-4181-a7f8-a73bf0c30211" providerId="ADAL" clId="{9344D105-636D-4857-BD0F-AFC44A54BCCF}" dt="2021-05-25T14:20:10.900" v="27535" actId="790"/>
          <ac:spMkLst>
            <pc:docMk/>
            <pc:sldMk cId="1833404173" sldId="2531"/>
            <ac:spMk id="49" creationId="{3CAB94CE-464D-4A6D-BF0D-B9E076D55E68}"/>
          </ac:spMkLst>
        </pc:spChg>
        <pc:spChg chg="mod">
          <ac:chgData name="Ugo MANTEL" userId="2d5b7065-31bb-4181-a7f8-a73bf0c30211" providerId="ADAL" clId="{9344D105-636D-4857-BD0F-AFC44A54BCCF}" dt="2021-05-25T14:20:10.901" v="27536" actId="790"/>
          <ac:spMkLst>
            <pc:docMk/>
            <pc:sldMk cId="1833404173" sldId="2531"/>
            <ac:spMk id="50" creationId="{DB23E4EA-8CC3-4D51-8B49-7C52B0496041}"/>
          </ac:spMkLst>
        </pc:spChg>
        <pc:spChg chg="mod">
          <ac:chgData name="Ugo MANTEL" userId="2d5b7065-31bb-4181-a7f8-a73bf0c30211" providerId="ADAL" clId="{9344D105-636D-4857-BD0F-AFC44A54BCCF}" dt="2021-05-25T14:20:10.901" v="27537" actId="790"/>
          <ac:spMkLst>
            <pc:docMk/>
            <pc:sldMk cId="1833404173" sldId="2531"/>
            <ac:spMk id="51" creationId="{6EAF2701-A2C6-4614-9A6E-C85168C5E062}"/>
          </ac:spMkLst>
        </pc:spChg>
        <pc:spChg chg="mod">
          <ac:chgData name="Ugo MANTEL" userId="2d5b7065-31bb-4181-a7f8-a73bf0c30211" providerId="ADAL" clId="{9344D105-636D-4857-BD0F-AFC44A54BCCF}" dt="2021-05-25T14:20:10.903" v="27539" actId="790"/>
          <ac:spMkLst>
            <pc:docMk/>
            <pc:sldMk cId="1833404173" sldId="2531"/>
            <ac:spMk id="58" creationId="{0147DA22-0F0F-404A-84C1-B039C381264A}"/>
          </ac:spMkLst>
        </pc:spChg>
        <pc:spChg chg="mod">
          <ac:chgData name="Ugo MANTEL" userId="2d5b7065-31bb-4181-a7f8-a73bf0c30211" providerId="ADAL" clId="{9344D105-636D-4857-BD0F-AFC44A54BCCF}" dt="2021-05-25T14:20:10.904" v="27540" actId="790"/>
          <ac:spMkLst>
            <pc:docMk/>
            <pc:sldMk cId="1833404173" sldId="2531"/>
            <ac:spMk id="59" creationId="{0BCAB353-EF6C-4F66-AEB2-5076353D589F}"/>
          </ac:spMkLst>
        </pc:spChg>
        <pc:spChg chg="mod">
          <ac:chgData name="Ugo MANTEL" userId="2d5b7065-31bb-4181-a7f8-a73bf0c30211" providerId="ADAL" clId="{9344D105-636D-4857-BD0F-AFC44A54BCCF}" dt="2021-05-25T14:20:10.905" v="27541" actId="790"/>
          <ac:spMkLst>
            <pc:docMk/>
            <pc:sldMk cId="1833404173" sldId="2531"/>
            <ac:spMk id="60" creationId="{39F3CF3D-BE03-498B-B2BB-7B25506F7E05}"/>
          </ac:spMkLst>
        </pc:spChg>
      </pc:sldChg>
      <pc:sldChg chg="addSp modSp mod">
        <pc:chgData name="Ugo MANTEL" userId="2d5b7065-31bb-4181-a7f8-a73bf0c30211" providerId="ADAL" clId="{9344D105-636D-4857-BD0F-AFC44A54BCCF}" dt="2021-05-25T14:20:13.608" v="30314" actId="790"/>
        <pc:sldMkLst>
          <pc:docMk/>
          <pc:sldMk cId="1145535110" sldId="3258"/>
        </pc:sldMkLst>
        <pc:spChg chg="mod">
          <ac:chgData name="Ugo MANTEL" userId="2d5b7065-31bb-4181-a7f8-a73bf0c30211" providerId="ADAL" clId="{9344D105-636D-4857-BD0F-AFC44A54BCCF}" dt="2021-05-25T14:20:13.603" v="30307" actId="790"/>
          <ac:spMkLst>
            <pc:docMk/>
            <pc:sldMk cId="1145535110" sldId="3258"/>
            <ac:spMk id="18" creationId="{05A43005-14D1-49C5-B286-0CBF49EF4C9A}"/>
          </ac:spMkLst>
        </pc:spChg>
        <pc:spChg chg="add mod">
          <ac:chgData name="Ugo MANTEL" userId="2d5b7065-31bb-4181-a7f8-a73bf0c30211" providerId="ADAL" clId="{9344D105-636D-4857-BD0F-AFC44A54BCCF}" dt="2021-05-25T14:20:13.607" v="30312" actId="790"/>
          <ac:spMkLst>
            <pc:docMk/>
            <pc:sldMk cId="1145535110" sldId="3258"/>
            <ac:spMk id="19" creationId="{E5B76E7A-5B0F-4C72-9E90-D6674A382910}"/>
          </ac:spMkLst>
        </pc:spChg>
        <pc:spChg chg="mod">
          <ac:chgData name="Ugo MANTEL" userId="2d5b7065-31bb-4181-a7f8-a73bf0c30211" providerId="ADAL" clId="{9344D105-636D-4857-BD0F-AFC44A54BCCF}" dt="2021-05-25T14:20:13.607" v="30313" actId="790"/>
          <ac:spMkLst>
            <pc:docMk/>
            <pc:sldMk cId="1145535110" sldId="3258"/>
            <ac:spMk id="22" creationId="{220AD9ED-7433-4122-B1D5-4276A01119DD}"/>
          </ac:spMkLst>
        </pc:spChg>
        <pc:spChg chg="mod">
          <ac:chgData name="Ugo MANTEL" userId="2d5b7065-31bb-4181-a7f8-a73bf0c30211" providerId="ADAL" clId="{9344D105-636D-4857-BD0F-AFC44A54BCCF}" dt="2021-05-25T14:20:13.608" v="30314" actId="790"/>
          <ac:spMkLst>
            <pc:docMk/>
            <pc:sldMk cId="1145535110" sldId="3258"/>
            <ac:spMk id="23" creationId="{7C8E2774-0785-49E3-A0EB-78CE89573309}"/>
          </ac:spMkLst>
        </pc:spChg>
        <pc:spChg chg="mod">
          <ac:chgData name="Ugo MANTEL" userId="2d5b7065-31bb-4181-a7f8-a73bf0c30211" providerId="ADAL" clId="{9344D105-636D-4857-BD0F-AFC44A54BCCF}" dt="2021-05-25T14:20:13.599" v="30304" actId="790"/>
          <ac:spMkLst>
            <pc:docMk/>
            <pc:sldMk cId="1145535110" sldId="3258"/>
            <ac:spMk id="32" creationId="{D28F6C03-B18D-4E9E-86A3-41D1A65809FB}"/>
          </ac:spMkLst>
        </pc:spChg>
        <pc:spChg chg="mod">
          <ac:chgData name="Ugo MANTEL" userId="2d5b7065-31bb-4181-a7f8-a73bf0c30211" providerId="ADAL" clId="{9344D105-636D-4857-BD0F-AFC44A54BCCF}" dt="2021-05-25T14:20:13.604" v="30308" actId="790"/>
          <ac:spMkLst>
            <pc:docMk/>
            <pc:sldMk cId="1145535110" sldId="3258"/>
            <ac:spMk id="33" creationId="{35AC15E6-C7C2-4CF2-A1B8-A8E49DF23339}"/>
          </ac:spMkLst>
        </pc:spChg>
        <pc:spChg chg="mod">
          <ac:chgData name="Ugo MANTEL" userId="2d5b7065-31bb-4181-a7f8-a73bf0c30211" providerId="ADAL" clId="{9344D105-636D-4857-BD0F-AFC44A54BCCF}" dt="2021-05-25T14:20:13.604" v="30309" actId="790"/>
          <ac:spMkLst>
            <pc:docMk/>
            <pc:sldMk cId="1145535110" sldId="3258"/>
            <ac:spMk id="34" creationId="{70795E82-5EEA-4DFB-A8D1-D6552FDE0A10}"/>
          </ac:spMkLst>
        </pc:spChg>
        <pc:spChg chg="mod">
          <ac:chgData name="Ugo MANTEL" userId="2d5b7065-31bb-4181-a7f8-a73bf0c30211" providerId="ADAL" clId="{9344D105-636D-4857-BD0F-AFC44A54BCCF}" dt="2021-05-25T14:20:13.605" v="30310" actId="790"/>
          <ac:spMkLst>
            <pc:docMk/>
            <pc:sldMk cId="1145535110" sldId="3258"/>
            <ac:spMk id="35" creationId="{5D0765C0-1EFD-4AF1-BC9F-AB9F7015C9A6}"/>
          </ac:spMkLst>
        </pc:spChg>
        <pc:spChg chg="mod">
          <ac:chgData name="Ugo MANTEL" userId="2d5b7065-31bb-4181-a7f8-a73bf0c30211" providerId="ADAL" clId="{9344D105-636D-4857-BD0F-AFC44A54BCCF}" dt="2021-05-25T14:20:13.600" v="30305" actId="790"/>
          <ac:spMkLst>
            <pc:docMk/>
            <pc:sldMk cId="1145535110" sldId="3258"/>
            <ac:spMk id="36" creationId="{941C059C-05F2-4579-8A10-7E2BEF493678}"/>
          </ac:spMkLst>
        </pc:spChg>
        <pc:spChg chg="mod">
          <ac:chgData name="Ugo MANTEL" userId="2d5b7065-31bb-4181-a7f8-a73bf0c30211" providerId="ADAL" clId="{9344D105-636D-4857-BD0F-AFC44A54BCCF}" dt="2021-05-25T14:20:13.606" v="30311" actId="790"/>
          <ac:spMkLst>
            <pc:docMk/>
            <pc:sldMk cId="1145535110" sldId="3258"/>
            <ac:spMk id="37" creationId="{BD0ECFF5-0F14-4767-AF81-94BD1CC69CDF}"/>
          </ac:spMkLst>
        </pc:spChg>
        <pc:spChg chg="mod">
          <ac:chgData name="Ugo MANTEL" userId="2d5b7065-31bb-4181-a7f8-a73bf0c30211" providerId="ADAL" clId="{9344D105-636D-4857-BD0F-AFC44A54BCCF}" dt="2021-05-25T14:20:13.602" v="30306" actId="790"/>
          <ac:spMkLst>
            <pc:docMk/>
            <pc:sldMk cId="1145535110" sldId="3258"/>
            <ac:spMk id="39" creationId="{3A88A2FA-FD49-4AEB-8EDF-9D840E609CC9}"/>
          </ac:spMkLst>
        </pc:spChg>
        <pc:spChg chg="mod">
          <ac:chgData name="Ugo MANTEL" userId="2d5b7065-31bb-4181-a7f8-a73bf0c30211" providerId="ADAL" clId="{9344D105-636D-4857-BD0F-AFC44A54BCCF}" dt="2021-05-25T14:20:13.599" v="30303" actId="790"/>
          <ac:spMkLst>
            <pc:docMk/>
            <pc:sldMk cId="1145535110" sldId="3258"/>
            <ac:spMk id="47" creationId="{EBC4C7DB-908D-4F75-846A-4CC4964C350B}"/>
          </ac:spMkLst>
        </pc:spChg>
      </pc:sldChg>
      <pc:sldChg chg="addSp delSp modSp mod">
        <pc:chgData name="Ugo MANTEL" userId="2d5b7065-31bb-4181-a7f8-a73bf0c30211" providerId="ADAL" clId="{9344D105-636D-4857-BD0F-AFC44A54BCCF}" dt="2021-05-25T14:20:13.598" v="30302" actId="790"/>
        <pc:sldMkLst>
          <pc:docMk/>
          <pc:sldMk cId="3373602861" sldId="3299"/>
        </pc:sldMkLst>
        <pc:spChg chg="mod">
          <ac:chgData name="Ugo MANTEL" userId="2d5b7065-31bb-4181-a7f8-a73bf0c30211" providerId="ADAL" clId="{9344D105-636D-4857-BD0F-AFC44A54BCCF}" dt="2021-05-25T14:20:13.591" v="30294" actId="790"/>
          <ac:spMkLst>
            <pc:docMk/>
            <pc:sldMk cId="3373602861" sldId="3299"/>
            <ac:spMk id="2" creationId="{19860918-02BB-4ABE-984B-2BA0F4561729}"/>
          </ac:spMkLst>
        </pc:spChg>
        <pc:spChg chg="mod">
          <ac:chgData name="Ugo MANTEL" userId="2d5b7065-31bb-4181-a7f8-a73bf0c30211" providerId="ADAL" clId="{9344D105-636D-4857-BD0F-AFC44A54BCCF}" dt="2021-05-25T14:20:13.592" v="30295" actId="790"/>
          <ac:spMkLst>
            <pc:docMk/>
            <pc:sldMk cId="3373602861" sldId="3299"/>
            <ac:spMk id="3" creationId="{D89B1EA2-9A1E-46B5-9691-826CA66E7EB9}"/>
          </ac:spMkLst>
        </pc:spChg>
        <pc:spChg chg="del">
          <ac:chgData name="Ugo MANTEL" userId="2d5b7065-31bb-4181-a7f8-a73bf0c30211" providerId="ADAL" clId="{9344D105-636D-4857-BD0F-AFC44A54BCCF}" dt="2021-05-25T13:30:26.745" v="19796" actId="478"/>
          <ac:spMkLst>
            <pc:docMk/>
            <pc:sldMk cId="3373602861" sldId="3299"/>
            <ac:spMk id="4" creationId="{C1D09056-7E52-4647-BA75-B4AE55C6D103}"/>
          </ac:spMkLst>
        </pc:spChg>
        <pc:spChg chg="add mod">
          <ac:chgData name="Ugo MANTEL" userId="2d5b7065-31bb-4181-a7f8-a73bf0c30211" providerId="ADAL" clId="{9344D105-636D-4857-BD0F-AFC44A54BCCF}" dt="2021-05-25T14:20:13.598" v="30302" actId="790"/>
          <ac:spMkLst>
            <pc:docMk/>
            <pc:sldMk cId="3373602861" sldId="3299"/>
            <ac:spMk id="17" creationId="{3F4907E7-37BE-4491-B639-834E50ACF79E}"/>
          </ac:spMkLst>
        </pc:spChg>
        <pc:spChg chg="mod">
          <ac:chgData name="Ugo MANTEL" userId="2d5b7065-31bb-4181-a7f8-a73bf0c30211" providerId="ADAL" clId="{9344D105-636D-4857-BD0F-AFC44A54BCCF}" dt="2021-05-25T14:20:13.590" v="30293" actId="790"/>
          <ac:spMkLst>
            <pc:docMk/>
            <pc:sldMk cId="3373602861" sldId="3299"/>
            <ac:spMk id="22" creationId="{9FE15905-4FBF-4911-B6E6-69CDE2379AC8}"/>
          </ac:spMkLst>
        </pc:spChg>
        <pc:spChg chg="mod">
          <ac:chgData name="Ugo MANTEL" userId="2d5b7065-31bb-4181-a7f8-a73bf0c30211" providerId="ADAL" clId="{9344D105-636D-4857-BD0F-AFC44A54BCCF}" dt="2021-05-25T14:20:13.593" v="30296" actId="790"/>
          <ac:spMkLst>
            <pc:docMk/>
            <pc:sldMk cId="3373602861" sldId="3299"/>
            <ac:spMk id="24" creationId="{7D54FA88-D181-465E-A244-F9B65464DF26}"/>
          </ac:spMkLst>
        </pc:spChg>
        <pc:spChg chg="mod">
          <ac:chgData name="Ugo MANTEL" userId="2d5b7065-31bb-4181-a7f8-a73bf0c30211" providerId="ADAL" clId="{9344D105-636D-4857-BD0F-AFC44A54BCCF}" dt="2021-05-25T14:20:13.594" v="30297" actId="790"/>
          <ac:spMkLst>
            <pc:docMk/>
            <pc:sldMk cId="3373602861" sldId="3299"/>
            <ac:spMk id="25" creationId="{C3A7A9B0-1BCD-46E4-912A-985D51725EB7}"/>
          </ac:spMkLst>
        </pc:spChg>
        <pc:spChg chg="mod">
          <ac:chgData name="Ugo MANTEL" userId="2d5b7065-31bb-4181-a7f8-a73bf0c30211" providerId="ADAL" clId="{9344D105-636D-4857-BD0F-AFC44A54BCCF}" dt="2021-05-25T14:20:13.595" v="30298" actId="790"/>
          <ac:spMkLst>
            <pc:docMk/>
            <pc:sldMk cId="3373602861" sldId="3299"/>
            <ac:spMk id="26" creationId="{43D59B59-EF15-4D31-B688-6B9F8C2B903A}"/>
          </ac:spMkLst>
        </pc:spChg>
        <pc:spChg chg="mod">
          <ac:chgData name="Ugo MANTEL" userId="2d5b7065-31bb-4181-a7f8-a73bf0c30211" providerId="ADAL" clId="{9344D105-636D-4857-BD0F-AFC44A54BCCF}" dt="2021-05-25T14:20:13.595" v="30299" actId="790"/>
          <ac:spMkLst>
            <pc:docMk/>
            <pc:sldMk cId="3373602861" sldId="3299"/>
            <ac:spMk id="27" creationId="{BF37DA15-3A13-4D49-834C-29A4068FD25C}"/>
          </ac:spMkLst>
        </pc:spChg>
        <pc:spChg chg="mod">
          <ac:chgData name="Ugo MANTEL" userId="2d5b7065-31bb-4181-a7f8-a73bf0c30211" providerId="ADAL" clId="{9344D105-636D-4857-BD0F-AFC44A54BCCF}" dt="2021-05-25T14:20:13.596" v="30300" actId="790"/>
          <ac:spMkLst>
            <pc:docMk/>
            <pc:sldMk cId="3373602861" sldId="3299"/>
            <ac:spMk id="28" creationId="{332F554D-29A3-4032-A1DB-492350E20CB8}"/>
          </ac:spMkLst>
        </pc:spChg>
        <pc:spChg chg="mod">
          <ac:chgData name="Ugo MANTEL" userId="2d5b7065-31bb-4181-a7f8-a73bf0c30211" providerId="ADAL" clId="{9344D105-636D-4857-BD0F-AFC44A54BCCF}" dt="2021-05-25T14:20:13.597" v="30301" actId="790"/>
          <ac:spMkLst>
            <pc:docMk/>
            <pc:sldMk cId="3373602861" sldId="3299"/>
            <ac:spMk id="29" creationId="{9F302533-68A2-42B3-8D0B-4DC3B13ED3A2}"/>
          </ac:spMkLst>
        </pc:spChg>
        <pc:spChg chg="mod">
          <ac:chgData name="Ugo MANTEL" userId="2d5b7065-31bb-4181-a7f8-a73bf0c30211" providerId="ADAL" clId="{9344D105-636D-4857-BD0F-AFC44A54BCCF}" dt="2021-05-25T14:20:13.589" v="30292" actId="790"/>
          <ac:spMkLst>
            <pc:docMk/>
            <pc:sldMk cId="3373602861" sldId="3299"/>
            <ac:spMk id="47" creationId="{EBC4C7DB-908D-4F75-846A-4CC4964C350B}"/>
          </ac:spMkLst>
        </pc:spChg>
        <pc:spChg chg="mod">
          <ac:chgData name="Ugo MANTEL" userId="2d5b7065-31bb-4181-a7f8-a73bf0c30211" providerId="ADAL" clId="{9344D105-636D-4857-BD0F-AFC44A54BCCF}" dt="2021-05-25T14:20:13.588" v="30291" actId="790"/>
          <ac:spMkLst>
            <pc:docMk/>
            <pc:sldMk cId="3373602861" sldId="3299"/>
            <ac:spMk id="117" creationId="{75A5BA58-45AB-4047-9BC1-E3390F6144BC}"/>
          </ac:spMkLst>
        </pc:spChg>
      </pc:sldChg>
      <pc:sldChg chg="modSp mod">
        <pc:chgData name="Ugo MANTEL" userId="2d5b7065-31bb-4181-a7f8-a73bf0c30211" providerId="ADAL" clId="{9344D105-636D-4857-BD0F-AFC44A54BCCF}" dt="2021-05-25T14:20:11.856" v="28561" actId="790"/>
        <pc:sldMkLst>
          <pc:docMk/>
          <pc:sldMk cId="3054245272" sldId="3325"/>
        </pc:sldMkLst>
        <pc:spChg chg="mod">
          <ac:chgData name="Ugo MANTEL" userId="2d5b7065-31bb-4181-a7f8-a73bf0c30211" providerId="ADAL" clId="{9344D105-636D-4857-BD0F-AFC44A54BCCF}" dt="2021-05-25T14:20:11.853" v="28557" actId="790"/>
          <ac:spMkLst>
            <pc:docMk/>
            <pc:sldMk cId="3054245272" sldId="3325"/>
            <ac:spMk id="3" creationId="{E18A7763-3DD3-4E54-8C3B-074DC3E19FE3}"/>
          </ac:spMkLst>
        </pc:spChg>
        <pc:spChg chg="mod">
          <ac:chgData name="Ugo MANTEL" userId="2d5b7065-31bb-4181-a7f8-a73bf0c30211" providerId="ADAL" clId="{9344D105-636D-4857-BD0F-AFC44A54BCCF}" dt="2021-05-25T14:20:11.852" v="28556" actId="790"/>
          <ac:spMkLst>
            <pc:docMk/>
            <pc:sldMk cId="3054245272" sldId="3325"/>
            <ac:spMk id="13" creationId="{749F130D-16E1-4876-A365-025D47DFF6A7}"/>
          </ac:spMkLst>
        </pc:spChg>
        <pc:spChg chg="mod">
          <ac:chgData name="Ugo MANTEL" userId="2d5b7065-31bb-4181-a7f8-a73bf0c30211" providerId="ADAL" clId="{9344D105-636D-4857-BD0F-AFC44A54BCCF}" dt="2021-05-25T14:20:11.849" v="28552" actId="790"/>
          <ac:spMkLst>
            <pc:docMk/>
            <pc:sldMk cId="3054245272" sldId="3325"/>
            <ac:spMk id="15" creationId="{086B2770-5475-4364-AF85-9809947DC484}"/>
          </ac:spMkLst>
        </pc:spChg>
        <pc:spChg chg="mod">
          <ac:chgData name="Ugo MANTEL" userId="2d5b7065-31bb-4181-a7f8-a73bf0c30211" providerId="ADAL" clId="{9344D105-636D-4857-BD0F-AFC44A54BCCF}" dt="2021-05-25T14:20:11.849" v="28553" actId="790"/>
          <ac:spMkLst>
            <pc:docMk/>
            <pc:sldMk cId="3054245272" sldId="3325"/>
            <ac:spMk id="20" creationId="{1CD596D9-B723-4E7B-8916-56EF96EBB64B}"/>
          </ac:spMkLst>
        </pc:spChg>
        <pc:spChg chg="mod">
          <ac:chgData name="Ugo MANTEL" userId="2d5b7065-31bb-4181-a7f8-a73bf0c30211" providerId="ADAL" clId="{9344D105-636D-4857-BD0F-AFC44A54BCCF}" dt="2021-05-25T14:20:11.850" v="28554" actId="790"/>
          <ac:spMkLst>
            <pc:docMk/>
            <pc:sldMk cId="3054245272" sldId="3325"/>
            <ac:spMk id="21" creationId="{C5AE8029-DDC7-41B7-A974-A7618CC7F26B}"/>
          </ac:spMkLst>
        </pc:spChg>
        <pc:spChg chg="mod">
          <ac:chgData name="Ugo MANTEL" userId="2d5b7065-31bb-4181-a7f8-a73bf0c30211" providerId="ADAL" clId="{9344D105-636D-4857-BD0F-AFC44A54BCCF}" dt="2021-05-25T14:20:11.851" v="28555" actId="790"/>
          <ac:spMkLst>
            <pc:docMk/>
            <pc:sldMk cId="3054245272" sldId="3325"/>
            <ac:spMk id="22" creationId="{DF94097D-297A-4D7C-8B3C-E3C3A9C4366D}"/>
          </ac:spMkLst>
        </pc:spChg>
        <pc:spChg chg="mod">
          <ac:chgData name="Ugo MANTEL" userId="2d5b7065-31bb-4181-a7f8-a73bf0c30211" providerId="ADAL" clId="{9344D105-636D-4857-BD0F-AFC44A54BCCF}" dt="2021-05-25T14:20:11.854" v="28558" actId="790"/>
          <ac:spMkLst>
            <pc:docMk/>
            <pc:sldMk cId="3054245272" sldId="3325"/>
            <ac:spMk id="24" creationId="{563E6E46-1F87-4BDB-8C6E-C5790B0A6EFD}"/>
          </ac:spMkLst>
        </pc:spChg>
        <pc:spChg chg="mod">
          <ac:chgData name="Ugo MANTEL" userId="2d5b7065-31bb-4181-a7f8-a73bf0c30211" providerId="ADAL" clId="{9344D105-636D-4857-BD0F-AFC44A54BCCF}" dt="2021-05-25T14:20:11.847" v="28550" actId="790"/>
          <ac:spMkLst>
            <pc:docMk/>
            <pc:sldMk cId="3054245272" sldId="3325"/>
            <ac:spMk id="25" creationId="{E55CF477-BA9F-4C92-B72A-DBEBC94B279B}"/>
          </ac:spMkLst>
        </pc:spChg>
        <pc:spChg chg="mod">
          <ac:chgData name="Ugo MANTEL" userId="2d5b7065-31bb-4181-a7f8-a73bf0c30211" providerId="ADAL" clId="{9344D105-636D-4857-BD0F-AFC44A54BCCF}" dt="2021-05-25T14:20:11.854" v="28559" actId="790"/>
          <ac:spMkLst>
            <pc:docMk/>
            <pc:sldMk cId="3054245272" sldId="3325"/>
            <ac:spMk id="26" creationId="{04CB1C86-27A0-4200-A026-49D98629F33A}"/>
          </ac:spMkLst>
        </pc:spChg>
        <pc:spChg chg="mod">
          <ac:chgData name="Ugo MANTEL" userId="2d5b7065-31bb-4181-a7f8-a73bf0c30211" providerId="ADAL" clId="{9344D105-636D-4857-BD0F-AFC44A54BCCF}" dt="2021-05-25T14:20:11.855" v="28560" actId="790"/>
          <ac:spMkLst>
            <pc:docMk/>
            <pc:sldMk cId="3054245272" sldId="3325"/>
            <ac:spMk id="27" creationId="{7C19083B-2243-45AC-95E0-9D58191ECFC8}"/>
          </ac:spMkLst>
        </pc:spChg>
        <pc:spChg chg="mod">
          <ac:chgData name="Ugo MANTEL" userId="2d5b7065-31bb-4181-a7f8-a73bf0c30211" providerId="ADAL" clId="{9344D105-636D-4857-BD0F-AFC44A54BCCF}" dt="2021-05-25T14:20:11.848" v="28551" actId="790"/>
          <ac:spMkLst>
            <pc:docMk/>
            <pc:sldMk cId="3054245272" sldId="3325"/>
            <ac:spMk id="28" creationId="{83610AF3-8C67-41E4-AD1B-36F5063C2F70}"/>
          </ac:spMkLst>
        </pc:spChg>
        <pc:spChg chg="mod">
          <ac:chgData name="Ugo MANTEL" userId="2d5b7065-31bb-4181-a7f8-a73bf0c30211" providerId="ADAL" clId="{9344D105-636D-4857-BD0F-AFC44A54BCCF}" dt="2021-05-25T14:20:11.856" v="28561" actId="790"/>
          <ac:spMkLst>
            <pc:docMk/>
            <pc:sldMk cId="3054245272" sldId="3325"/>
            <ac:spMk id="29" creationId="{AC3A78AE-E179-4EE2-A1AC-0F14929D377F}"/>
          </ac:spMkLst>
        </pc:spChg>
      </pc:sldChg>
      <pc:sldChg chg="addSp modSp">
        <pc:chgData name="Ugo MANTEL" userId="2d5b7065-31bb-4181-a7f8-a73bf0c30211" providerId="ADAL" clId="{9344D105-636D-4857-BD0F-AFC44A54BCCF}" dt="2021-05-24T12:00:05.121" v="5307"/>
        <pc:sldMkLst>
          <pc:docMk/>
          <pc:sldMk cId="3032523239" sldId="3376"/>
        </pc:sldMkLst>
        <pc:spChg chg="add mod">
          <ac:chgData name="Ugo MANTEL" userId="2d5b7065-31bb-4181-a7f8-a73bf0c30211" providerId="ADAL" clId="{9344D105-636D-4857-BD0F-AFC44A54BCCF}" dt="2021-05-24T12:00:05.121" v="5307"/>
          <ac:spMkLst>
            <pc:docMk/>
            <pc:sldMk cId="3032523239" sldId="3376"/>
            <ac:spMk id="18" creationId="{EF564D1C-1969-4BF9-B9AA-B40A39E6C0AC}"/>
          </ac:spMkLst>
        </pc:spChg>
      </pc:sldChg>
      <pc:sldChg chg="modSp mod">
        <pc:chgData name="Ugo MANTEL" userId="2d5b7065-31bb-4181-a7f8-a73bf0c30211" providerId="ADAL" clId="{9344D105-636D-4857-BD0F-AFC44A54BCCF}" dt="2021-05-25T14:20:11.802" v="28501" actId="790"/>
        <pc:sldMkLst>
          <pc:docMk/>
          <pc:sldMk cId="3048354914" sldId="3451"/>
        </pc:sldMkLst>
        <pc:spChg chg="mod">
          <ac:chgData name="Ugo MANTEL" userId="2d5b7065-31bb-4181-a7f8-a73bf0c30211" providerId="ADAL" clId="{9344D105-636D-4857-BD0F-AFC44A54BCCF}" dt="2021-05-25T14:20:11.791" v="28488" actId="790"/>
          <ac:spMkLst>
            <pc:docMk/>
            <pc:sldMk cId="3048354914" sldId="3451"/>
            <ac:spMk id="2" creationId="{F3FE1D1C-DE9F-4520-BCCE-A563D9130FE3}"/>
          </ac:spMkLst>
        </pc:spChg>
        <pc:spChg chg="mod">
          <ac:chgData name="Ugo MANTEL" userId="2d5b7065-31bb-4181-a7f8-a73bf0c30211" providerId="ADAL" clId="{9344D105-636D-4857-BD0F-AFC44A54BCCF}" dt="2021-05-25T14:20:11.792" v="28489" actId="790"/>
          <ac:spMkLst>
            <pc:docMk/>
            <pc:sldMk cId="3048354914" sldId="3451"/>
            <ac:spMk id="3" creationId="{9C0D73B0-FD73-4C93-AADD-0F48F14A97D5}"/>
          </ac:spMkLst>
        </pc:spChg>
        <pc:spChg chg="mod">
          <ac:chgData name="Ugo MANTEL" userId="2d5b7065-31bb-4181-a7f8-a73bf0c30211" providerId="ADAL" clId="{9344D105-636D-4857-BD0F-AFC44A54BCCF}" dt="2021-05-25T14:20:11.793" v="28490" actId="790"/>
          <ac:spMkLst>
            <pc:docMk/>
            <pc:sldMk cId="3048354914" sldId="3451"/>
            <ac:spMk id="5" creationId="{C2211D1B-D86D-4EF5-B202-69A0FA56B98B}"/>
          </ac:spMkLst>
        </pc:spChg>
        <pc:spChg chg="mod">
          <ac:chgData name="Ugo MANTEL" userId="2d5b7065-31bb-4181-a7f8-a73bf0c30211" providerId="ADAL" clId="{9344D105-636D-4857-BD0F-AFC44A54BCCF}" dt="2021-05-25T14:20:11.796" v="28494" actId="790"/>
          <ac:spMkLst>
            <pc:docMk/>
            <pc:sldMk cId="3048354914" sldId="3451"/>
            <ac:spMk id="7" creationId="{F59BFDDC-63FF-4CDF-9FA9-5814668C648B}"/>
          </ac:spMkLst>
        </pc:spChg>
        <pc:spChg chg="mod">
          <ac:chgData name="Ugo MANTEL" userId="2d5b7065-31bb-4181-a7f8-a73bf0c30211" providerId="ADAL" clId="{9344D105-636D-4857-BD0F-AFC44A54BCCF}" dt="2021-05-25T14:20:11.795" v="28493" actId="790"/>
          <ac:spMkLst>
            <pc:docMk/>
            <pc:sldMk cId="3048354914" sldId="3451"/>
            <ac:spMk id="22" creationId="{915D1B6E-612E-40C3-AAAD-AD7DCE1807AA}"/>
          </ac:spMkLst>
        </pc:spChg>
        <pc:spChg chg="mod">
          <ac:chgData name="Ugo MANTEL" userId="2d5b7065-31bb-4181-a7f8-a73bf0c30211" providerId="ADAL" clId="{9344D105-636D-4857-BD0F-AFC44A54BCCF}" dt="2021-05-25T14:20:11.802" v="28501" actId="790"/>
          <ac:spMkLst>
            <pc:docMk/>
            <pc:sldMk cId="3048354914" sldId="3451"/>
            <ac:spMk id="28" creationId="{425177EA-D3FA-44CA-A834-8198AB30E826}"/>
          </ac:spMkLst>
        </pc:spChg>
        <pc:spChg chg="mod">
          <ac:chgData name="Ugo MANTEL" userId="2d5b7065-31bb-4181-a7f8-a73bf0c30211" providerId="ADAL" clId="{9344D105-636D-4857-BD0F-AFC44A54BCCF}" dt="2021-05-25T14:20:11.790" v="28486" actId="790"/>
          <ac:spMkLst>
            <pc:docMk/>
            <pc:sldMk cId="3048354914" sldId="3451"/>
            <ac:spMk id="32" creationId="{2C2D77D3-1465-4C84-99C0-1C33D079A79E}"/>
          </ac:spMkLst>
        </pc:spChg>
        <pc:spChg chg="mod">
          <ac:chgData name="Ugo MANTEL" userId="2d5b7065-31bb-4181-a7f8-a73bf0c30211" providerId="ADAL" clId="{9344D105-636D-4857-BD0F-AFC44A54BCCF}" dt="2021-05-25T14:20:11.791" v="28487" actId="790"/>
          <ac:spMkLst>
            <pc:docMk/>
            <pc:sldMk cId="3048354914" sldId="3451"/>
            <ac:spMk id="36" creationId="{DA7D41F2-6061-46E4-AB6E-49B571044BC4}"/>
          </ac:spMkLst>
        </pc:spChg>
        <pc:spChg chg="mod">
          <ac:chgData name="Ugo MANTEL" userId="2d5b7065-31bb-4181-a7f8-a73bf0c30211" providerId="ADAL" clId="{9344D105-636D-4857-BD0F-AFC44A54BCCF}" dt="2021-05-25T14:20:11.793" v="28491" actId="790"/>
          <ac:spMkLst>
            <pc:docMk/>
            <pc:sldMk cId="3048354914" sldId="3451"/>
            <ac:spMk id="37" creationId="{1B0F6DBA-9DDA-4219-ABBF-2A111A6DC023}"/>
          </ac:spMkLst>
        </pc:spChg>
        <pc:spChg chg="mod">
          <ac:chgData name="Ugo MANTEL" userId="2d5b7065-31bb-4181-a7f8-a73bf0c30211" providerId="ADAL" clId="{9344D105-636D-4857-BD0F-AFC44A54BCCF}" dt="2021-05-25T14:20:11.794" v="28492" actId="790"/>
          <ac:spMkLst>
            <pc:docMk/>
            <pc:sldMk cId="3048354914" sldId="3451"/>
            <ac:spMk id="39" creationId="{47BC833D-E5A8-48E7-A049-6D7BD4B70788}"/>
          </ac:spMkLst>
        </pc:spChg>
        <pc:spChg chg="mod">
          <ac:chgData name="Ugo MANTEL" userId="2d5b7065-31bb-4181-a7f8-a73bf0c30211" providerId="ADAL" clId="{9344D105-636D-4857-BD0F-AFC44A54BCCF}" dt="2021-05-25T14:20:11.797" v="28495" actId="790"/>
          <ac:spMkLst>
            <pc:docMk/>
            <pc:sldMk cId="3048354914" sldId="3451"/>
            <ac:spMk id="49" creationId="{DE97F974-0523-4C7D-870F-FDE6B73F9F62}"/>
          </ac:spMkLst>
        </pc:spChg>
        <pc:spChg chg="mod">
          <ac:chgData name="Ugo MANTEL" userId="2d5b7065-31bb-4181-a7f8-a73bf0c30211" providerId="ADAL" clId="{9344D105-636D-4857-BD0F-AFC44A54BCCF}" dt="2021-05-25T14:20:11.789" v="28485" actId="790"/>
          <ac:spMkLst>
            <pc:docMk/>
            <pc:sldMk cId="3048354914" sldId="3451"/>
            <ac:spMk id="50" creationId="{D79806CD-0EE1-44AF-A4A4-8DE1548322B3}"/>
          </ac:spMkLst>
        </pc:spChg>
        <pc:spChg chg="mod">
          <ac:chgData name="Ugo MANTEL" userId="2d5b7065-31bb-4181-a7f8-a73bf0c30211" providerId="ADAL" clId="{9344D105-636D-4857-BD0F-AFC44A54BCCF}" dt="2021-05-25T14:20:11.798" v="28496" actId="790"/>
          <ac:spMkLst>
            <pc:docMk/>
            <pc:sldMk cId="3048354914" sldId="3451"/>
            <ac:spMk id="51" creationId="{EB30D8DB-A511-42DE-B11D-108FFEA94D64}"/>
          </ac:spMkLst>
        </pc:spChg>
        <pc:spChg chg="mod">
          <ac:chgData name="Ugo MANTEL" userId="2d5b7065-31bb-4181-a7f8-a73bf0c30211" providerId="ADAL" clId="{9344D105-636D-4857-BD0F-AFC44A54BCCF}" dt="2021-05-25T14:20:11.799" v="28497" actId="790"/>
          <ac:spMkLst>
            <pc:docMk/>
            <pc:sldMk cId="3048354914" sldId="3451"/>
            <ac:spMk id="52" creationId="{C9D93F91-2B2E-4AFA-BA96-25C45E0CA12C}"/>
          </ac:spMkLst>
        </pc:spChg>
        <pc:spChg chg="mod">
          <ac:chgData name="Ugo MANTEL" userId="2d5b7065-31bb-4181-a7f8-a73bf0c30211" providerId="ADAL" clId="{9344D105-636D-4857-BD0F-AFC44A54BCCF}" dt="2021-05-25T14:20:11.799" v="28498" actId="790"/>
          <ac:spMkLst>
            <pc:docMk/>
            <pc:sldMk cId="3048354914" sldId="3451"/>
            <ac:spMk id="57" creationId="{D48142E4-6A00-4A4D-AF32-7C1E77B4F66F}"/>
          </ac:spMkLst>
        </pc:spChg>
        <pc:spChg chg="mod">
          <ac:chgData name="Ugo MANTEL" userId="2d5b7065-31bb-4181-a7f8-a73bf0c30211" providerId="ADAL" clId="{9344D105-636D-4857-BD0F-AFC44A54BCCF}" dt="2021-05-25T14:20:11.800" v="28499" actId="790"/>
          <ac:spMkLst>
            <pc:docMk/>
            <pc:sldMk cId="3048354914" sldId="3451"/>
            <ac:spMk id="58" creationId="{B8ACAE6E-CA04-407B-B7DC-AA81B7A21A60}"/>
          </ac:spMkLst>
        </pc:spChg>
        <pc:spChg chg="mod">
          <ac:chgData name="Ugo MANTEL" userId="2d5b7065-31bb-4181-a7f8-a73bf0c30211" providerId="ADAL" clId="{9344D105-636D-4857-BD0F-AFC44A54BCCF}" dt="2021-05-25T14:20:11.802" v="28500" actId="790"/>
          <ac:spMkLst>
            <pc:docMk/>
            <pc:sldMk cId="3048354914" sldId="3451"/>
            <ac:spMk id="59" creationId="{120C1439-48AB-4529-951F-D14737C54CED}"/>
          </ac:spMkLst>
        </pc:spChg>
      </pc:sldChg>
      <pc:sldChg chg="modSp mod">
        <pc:chgData name="Ugo MANTEL" userId="2d5b7065-31bb-4181-a7f8-a73bf0c30211" providerId="ADAL" clId="{9344D105-636D-4857-BD0F-AFC44A54BCCF}" dt="2021-05-25T14:20:11.820" v="28521" actId="790"/>
        <pc:sldMkLst>
          <pc:docMk/>
          <pc:sldMk cId="3243773378" sldId="3452"/>
        </pc:sldMkLst>
        <pc:spChg chg="mod">
          <ac:chgData name="Ugo MANTEL" userId="2d5b7065-31bb-4181-a7f8-a73bf0c30211" providerId="ADAL" clId="{9344D105-636D-4857-BD0F-AFC44A54BCCF}" dt="2021-05-25T14:20:11.812" v="28508" actId="790"/>
          <ac:spMkLst>
            <pc:docMk/>
            <pc:sldMk cId="3243773378" sldId="3452"/>
            <ac:spMk id="6" creationId="{8A6BC016-DE7F-4249-8E53-A6AE69FC9649}"/>
          </ac:spMkLst>
        </pc:spChg>
        <pc:spChg chg="mod">
          <ac:chgData name="Ugo MANTEL" userId="2d5b7065-31bb-4181-a7f8-a73bf0c30211" providerId="ADAL" clId="{9344D105-636D-4857-BD0F-AFC44A54BCCF}" dt="2021-05-25T14:20:11.802" v="28502" actId="790"/>
          <ac:spMkLst>
            <pc:docMk/>
            <pc:sldMk cId="3243773378" sldId="3452"/>
            <ac:spMk id="7" creationId="{43D53965-2190-4359-ADAA-D09D5859663D}"/>
          </ac:spMkLst>
        </pc:spChg>
        <pc:spChg chg="mod">
          <ac:chgData name="Ugo MANTEL" userId="2d5b7065-31bb-4181-a7f8-a73bf0c30211" providerId="ADAL" clId="{9344D105-636D-4857-BD0F-AFC44A54BCCF}" dt="2021-05-25T14:20:11.812" v="28509" actId="790"/>
          <ac:spMkLst>
            <pc:docMk/>
            <pc:sldMk cId="3243773378" sldId="3452"/>
            <ac:spMk id="8" creationId="{87650252-CCEE-456B-B996-679062FC9081}"/>
          </ac:spMkLst>
        </pc:spChg>
        <pc:spChg chg="mod">
          <ac:chgData name="Ugo MANTEL" userId="2d5b7065-31bb-4181-a7f8-a73bf0c30211" providerId="ADAL" clId="{9344D105-636D-4857-BD0F-AFC44A54BCCF}" dt="2021-05-25T14:20:11.820" v="28521" actId="790"/>
          <ac:spMkLst>
            <pc:docMk/>
            <pc:sldMk cId="3243773378" sldId="3452"/>
            <ac:spMk id="31" creationId="{AFFCB5A8-97B8-4530-A66B-C970CFCED91C}"/>
          </ac:spMkLst>
        </pc:spChg>
        <pc:spChg chg="mod">
          <ac:chgData name="Ugo MANTEL" userId="2d5b7065-31bb-4181-a7f8-a73bf0c30211" providerId="ADAL" clId="{9344D105-636D-4857-BD0F-AFC44A54BCCF}" dt="2021-05-25T14:20:11.814" v="28511" actId="790"/>
          <ac:spMkLst>
            <pc:docMk/>
            <pc:sldMk cId="3243773378" sldId="3452"/>
            <ac:spMk id="35" creationId="{A1C4625F-BE8A-4105-99AA-E997F31DE530}"/>
          </ac:spMkLst>
        </pc:spChg>
        <pc:spChg chg="mod">
          <ac:chgData name="Ugo MANTEL" userId="2d5b7065-31bb-4181-a7f8-a73bf0c30211" providerId="ADAL" clId="{9344D105-636D-4857-BD0F-AFC44A54BCCF}" dt="2021-05-25T14:20:11.814" v="28512" actId="790"/>
          <ac:spMkLst>
            <pc:docMk/>
            <pc:sldMk cId="3243773378" sldId="3452"/>
            <ac:spMk id="36" creationId="{3F6A24E4-439D-4E89-B6E8-79BB4685424A}"/>
          </ac:spMkLst>
        </pc:spChg>
        <pc:spChg chg="mod">
          <ac:chgData name="Ugo MANTEL" userId="2d5b7065-31bb-4181-a7f8-a73bf0c30211" providerId="ADAL" clId="{9344D105-636D-4857-BD0F-AFC44A54BCCF}" dt="2021-05-25T14:20:11.815" v="28513" actId="790"/>
          <ac:spMkLst>
            <pc:docMk/>
            <pc:sldMk cId="3243773378" sldId="3452"/>
            <ac:spMk id="37" creationId="{B73C09EE-9F03-40A2-9E17-7D12FA1F99BA}"/>
          </ac:spMkLst>
        </pc:spChg>
        <pc:spChg chg="mod">
          <ac:chgData name="Ugo MANTEL" userId="2d5b7065-31bb-4181-a7f8-a73bf0c30211" providerId="ADAL" clId="{9344D105-636D-4857-BD0F-AFC44A54BCCF}" dt="2021-05-25T14:20:11.816" v="28514" actId="790"/>
          <ac:spMkLst>
            <pc:docMk/>
            <pc:sldMk cId="3243773378" sldId="3452"/>
            <ac:spMk id="39" creationId="{E9624854-BD55-4DE5-A50F-27DEFD9E74D2}"/>
          </ac:spMkLst>
        </pc:spChg>
        <pc:spChg chg="mod">
          <ac:chgData name="Ugo MANTEL" userId="2d5b7065-31bb-4181-a7f8-a73bf0c30211" providerId="ADAL" clId="{9344D105-636D-4857-BD0F-AFC44A54BCCF}" dt="2021-05-25T14:20:11.805" v="28504" actId="790"/>
          <ac:spMkLst>
            <pc:docMk/>
            <pc:sldMk cId="3243773378" sldId="3452"/>
            <ac:spMk id="43" creationId="{C59098D9-0448-41A3-80B1-67607E3A176B}"/>
          </ac:spMkLst>
        </pc:spChg>
        <pc:spChg chg="mod">
          <ac:chgData name="Ugo MANTEL" userId="2d5b7065-31bb-4181-a7f8-a73bf0c30211" providerId="ADAL" clId="{9344D105-636D-4857-BD0F-AFC44A54BCCF}" dt="2021-05-25T14:20:11.806" v="28505" actId="790"/>
          <ac:spMkLst>
            <pc:docMk/>
            <pc:sldMk cId="3243773378" sldId="3452"/>
            <ac:spMk id="44" creationId="{2352FE8A-CC5D-4BE5-BB4F-07C6B7B42F70}"/>
          </ac:spMkLst>
        </pc:spChg>
        <pc:spChg chg="mod">
          <ac:chgData name="Ugo MANTEL" userId="2d5b7065-31bb-4181-a7f8-a73bf0c30211" providerId="ADAL" clId="{9344D105-636D-4857-BD0F-AFC44A54BCCF}" dt="2021-05-25T14:20:11.809" v="28506" actId="790"/>
          <ac:spMkLst>
            <pc:docMk/>
            <pc:sldMk cId="3243773378" sldId="3452"/>
            <ac:spMk id="46" creationId="{28847972-12BB-4216-89A4-DDE26B8AB081}"/>
          </ac:spMkLst>
        </pc:spChg>
        <pc:spChg chg="mod">
          <ac:chgData name="Ugo MANTEL" userId="2d5b7065-31bb-4181-a7f8-a73bf0c30211" providerId="ADAL" clId="{9344D105-636D-4857-BD0F-AFC44A54BCCF}" dt="2021-05-25T14:20:11.803" v="28503" actId="790"/>
          <ac:spMkLst>
            <pc:docMk/>
            <pc:sldMk cId="3243773378" sldId="3452"/>
            <ac:spMk id="47" creationId="{EBC4C7DB-908D-4F75-846A-4CC4964C350B}"/>
          </ac:spMkLst>
        </pc:spChg>
        <pc:spChg chg="mod">
          <ac:chgData name="Ugo MANTEL" userId="2d5b7065-31bb-4181-a7f8-a73bf0c30211" providerId="ADAL" clId="{9344D105-636D-4857-BD0F-AFC44A54BCCF}" dt="2021-05-25T14:20:11.811" v="28507" actId="790"/>
          <ac:spMkLst>
            <pc:docMk/>
            <pc:sldMk cId="3243773378" sldId="3452"/>
            <ac:spMk id="48" creationId="{E839022F-C32B-4443-BD2B-55548EDF662F}"/>
          </ac:spMkLst>
        </pc:spChg>
        <pc:spChg chg="mod">
          <ac:chgData name="Ugo MANTEL" userId="2d5b7065-31bb-4181-a7f8-a73bf0c30211" providerId="ADAL" clId="{9344D105-636D-4857-BD0F-AFC44A54BCCF}" dt="2021-05-25T14:20:11.813" v="28510" actId="790"/>
          <ac:spMkLst>
            <pc:docMk/>
            <pc:sldMk cId="3243773378" sldId="3452"/>
            <ac:spMk id="49" creationId="{C1E3E739-DB6B-4A98-9759-447C8B64A7E5}"/>
          </ac:spMkLst>
        </pc:spChg>
        <pc:spChg chg="mod">
          <ac:chgData name="Ugo MANTEL" userId="2d5b7065-31bb-4181-a7f8-a73bf0c30211" providerId="ADAL" clId="{9344D105-636D-4857-BD0F-AFC44A54BCCF}" dt="2021-05-25T14:20:11.816" v="28515" actId="790"/>
          <ac:spMkLst>
            <pc:docMk/>
            <pc:sldMk cId="3243773378" sldId="3452"/>
            <ac:spMk id="57" creationId="{00881F96-4237-4C1E-8B1A-46911928DA8D}"/>
          </ac:spMkLst>
        </pc:spChg>
        <pc:spChg chg="mod">
          <ac:chgData name="Ugo MANTEL" userId="2d5b7065-31bb-4181-a7f8-a73bf0c30211" providerId="ADAL" clId="{9344D105-636D-4857-BD0F-AFC44A54BCCF}" dt="2021-05-25T14:20:11.817" v="28516" actId="790"/>
          <ac:spMkLst>
            <pc:docMk/>
            <pc:sldMk cId="3243773378" sldId="3452"/>
            <ac:spMk id="58" creationId="{6528C45A-EA07-418C-B242-38B1E9036F50}"/>
          </ac:spMkLst>
        </pc:spChg>
        <pc:spChg chg="mod">
          <ac:chgData name="Ugo MANTEL" userId="2d5b7065-31bb-4181-a7f8-a73bf0c30211" providerId="ADAL" clId="{9344D105-636D-4857-BD0F-AFC44A54BCCF}" dt="2021-05-25T14:20:11.817" v="28517" actId="790"/>
          <ac:spMkLst>
            <pc:docMk/>
            <pc:sldMk cId="3243773378" sldId="3452"/>
            <ac:spMk id="64" creationId="{32CE2654-BC40-49A6-B953-2954D1B1DCF4}"/>
          </ac:spMkLst>
        </pc:spChg>
        <pc:spChg chg="mod">
          <ac:chgData name="Ugo MANTEL" userId="2d5b7065-31bb-4181-a7f8-a73bf0c30211" providerId="ADAL" clId="{9344D105-636D-4857-BD0F-AFC44A54BCCF}" dt="2021-05-25T14:20:11.818" v="28518" actId="790"/>
          <ac:spMkLst>
            <pc:docMk/>
            <pc:sldMk cId="3243773378" sldId="3452"/>
            <ac:spMk id="65" creationId="{34C42977-AA92-4C72-BEEA-53050A527D3B}"/>
          </ac:spMkLst>
        </pc:spChg>
        <pc:spChg chg="mod">
          <ac:chgData name="Ugo MANTEL" userId="2d5b7065-31bb-4181-a7f8-a73bf0c30211" providerId="ADAL" clId="{9344D105-636D-4857-BD0F-AFC44A54BCCF}" dt="2021-05-25T14:20:11.819" v="28519" actId="790"/>
          <ac:spMkLst>
            <pc:docMk/>
            <pc:sldMk cId="3243773378" sldId="3452"/>
            <ac:spMk id="66" creationId="{874B6B7D-D021-4EC7-B34E-8D1FCE04B9CE}"/>
          </ac:spMkLst>
        </pc:spChg>
        <pc:spChg chg="mod">
          <ac:chgData name="Ugo MANTEL" userId="2d5b7065-31bb-4181-a7f8-a73bf0c30211" providerId="ADAL" clId="{9344D105-636D-4857-BD0F-AFC44A54BCCF}" dt="2021-05-25T14:20:11.820" v="28520" actId="790"/>
          <ac:spMkLst>
            <pc:docMk/>
            <pc:sldMk cId="3243773378" sldId="3452"/>
            <ac:spMk id="67" creationId="{3CE5370D-87D7-468D-8B16-46C32D066558}"/>
          </ac:spMkLst>
        </pc:spChg>
      </pc:sldChg>
      <pc:sldChg chg="addSp modSp mod">
        <pc:chgData name="Ugo MANTEL" userId="2d5b7065-31bb-4181-a7f8-a73bf0c30211" providerId="ADAL" clId="{9344D105-636D-4857-BD0F-AFC44A54BCCF}" dt="2021-05-25T14:20:13.626" v="30331" actId="790"/>
        <pc:sldMkLst>
          <pc:docMk/>
          <pc:sldMk cId="3115212104" sldId="3453"/>
        </pc:sldMkLst>
        <pc:spChg chg="mod">
          <ac:chgData name="Ugo MANTEL" userId="2d5b7065-31bb-4181-a7f8-a73bf0c30211" providerId="ADAL" clId="{9344D105-636D-4857-BD0F-AFC44A54BCCF}" dt="2021-05-25T14:20:13.613" v="30317" actId="790"/>
          <ac:spMkLst>
            <pc:docMk/>
            <pc:sldMk cId="3115212104" sldId="3453"/>
            <ac:spMk id="7" creationId="{249ECC30-4091-4186-A7DB-11A971BDA541}"/>
          </ac:spMkLst>
        </pc:spChg>
        <pc:spChg chg="add mod">
          <ac:chgData name="Ugo MANTEL" userId="2d5b7065-31bb-4181-a7f8-a73bf0c30211" providerId="ADAL" clId="{9344D105-636D-4857-BD0F-AFC44A54BCCF}" dt="2021-05-25T14:20:13.615" v="30319" actId="790"/>
          <ac:spMkLst>
            <pc:docMk/>
            <pc:sldMk cId="3115212104" sldId="3453"/>
            <ac:spMk id="16" creationId="{B6A8ADCE-7C46-45C6-AB47-5B1FD46DEF1E}"/>
          </ac:spMkLst>
        </pc:spChg>
        <pc:spChg chg="mod">
          <ac:chgData name="Ugo MANTEL" userId="2d5b7065-31bb-4181-a7f8-a73bf0c30211" providerId="ADAL" clId="{9344D105-636D-4857-BD0F-AFC44A54BCCF}" dt="2021-05-25T14:20:13.616" v="30320" actId="790"/>
          <ac:spMkLst>
            <pc:docMk/>
            <pc:sldMk cId="3115212104" sldId="3453"/>
            <ac:spMk id="21" creationId="{E4A8A4B2-0BC6-4BE9-BCAC-768C42F3F400}"/>
          </ac:spMkLst>
        </pc:spChg>
        <pc:spChg chg="mod">
          <ac:chgData name="Ugo MANTEL" userId="2d5b7065-31bb-4181-a7f8-a73bf0c30211" providerId="ADAL" clId="{9344D105-636D-4857-BD0F-AFC44A54BCCF}" dt="2021-05-25T14:20:13.617" v="30321" actId="790"/>
          <ac:spMkLst>
            <pc:docMk/>
            <pc:sldMk cId="3115212104" sldId="3453"/>
            <ac:spMk id="23" creationId="{C1C57AEC-5D04-4707-991B-83BF7BEB6EC3}"/>
          </ac:spMkLst>
        </pc:spChg>
        <pc:spChg chg="mod">
          <ac:chgData name="Ugo MANTEL" userId="2d5b7065-31bb-4181-a7f8-a73bf0c30211" providerId="ADAL" clId="{9344D105-636D-4857-BD0F-AFC44A54BCCF}" dt="2021-05-25T14:20:13.617" v="30322" actId="790"/>
          <ac:spMkLst>
            <pc:docMk/>
            <pc:sldMk cId="3115212104" sldId="3453"/>
            <ac:spMk id="24" creationId="{EEAE2819-0901-4BB9-AC58-DCC02FFBE4E0}"/>
          </ac:spMkLst>
        </pc:spChg>
        <pc:spChg chg="mod">
          <ac:chgData name="Ugo MANTEL" userId="2d5b7065-31bb-4181-a7f8-a73bf0c30211" providerId="ADAL" clId="{9344D105-636D-4857-BD0F-AFC44A54BCCF}" dt="2021-05-25T14:20:13.618" v="30323" actId="790"/>
          <ac:spMkLst>
            <pc:docMk/>
            <pc:sldMk cId="3115212104" sldId="3453"/>
            <ac:spMk id="26" creationId="{AA844280-6FCF-4E05-AAE5-74682CF8EDAA}"/>
          </ac:spMkLst>
        </pc:spChg>
        <pc:spChg chg="mod">
          <ac:chgData name="Ugo MANTEL" userId="2d5b7065-31bb-4181-a7f8-a73bf0c30211" providerId="ADAL" clId="{9344D105-636D-4857-BD0F-AFC44A54BCCF}" dt="2021-05-25T14:20:13.619" v="30324" actId="790"/>
          <ac:spMkLst>
            <pc:docMk/>
            <pc:sldMk cId="3115212104" sldId="3453"/>
            <ac:spMk id="28" creationId="{11345072-21BD-4708-A8A5-5018D9CAEAE4}"/>
          </ac:spMkLst>
        </pc:spChg>
        <pc:spChg chg="mod">
          <ac:chgData name="Ugo MANTEL" userId="2d5b7065-31bb-4181-a7f8-a73bf0c30211" providerId="ADAL" clId="{9344D105-636D-4857-BD0F-AFC44A54BCCF}" dt="2021-05-25T14:20:13.619" v="30325" actId="790"/>
          <ac:spMkLst>
            <pc:docMk/>
            <pc:sldMk cId="3115212104" sldId="3453"/>
            <ac:spMk id="29" creationId="{4570823D-5116-4FD5-B247-628356BA0E12}"/>
          </ac:spMkLst>
        </pc:spChg>
        <pc:spChg chg="mod">
          <ac:chgData name="Ugo MANTEL" userId="2d5b7065-31bb-4181-a7f8-a73bf0c30211" providerId="ADAL" clId="{9344D105-636D-4857-BD0F-AFC44A54BCCF}" dt="2021-05-25T14:20:13.620" v="30326" actId="790"/>
          <ac:spMkLst>
            <pc:docMk/>
            <pc:sldMk cId="3115212104" sldId="3453"/>
            <ac:spMk id="34" creationId="{E4D33251-6BC8-4410-ACEB-628D9821088A}"/>
          </ac:spMkLst>
        </pc:spChg>
        <pc:spChg chg="mod">
          <ac:chgData name="Ugo MANTEL" userId="2d5b7065-31bb-4181-a7f8-a73bf0c30211" providerId="ADAL" clId="{9344D105-636D-4857-BD0F-AFC44A54BCCF}" dt="2021-05-25T14:20:13.622" v="30327" actId="790"/>
          <ac:spMkLst>
            <pc:docMk/>
            <pc:sldMk cId="3115212104" sldId="3453"/>
            <ac:spMk id="35" creationId="{C233882A-2860-4D82-8353-BEFC11AFD9F2}"/>
          </ac:spMkLst>
        </pc:spChg>
        <pc:spChg chg="mod">
          <ac:chgData name="Ugo MANTEL" userId="2d5b7065-31bb-4181-a7f8-a73bf0c30211" providerId="ADAL" clId="{9344D105-636D-4857-BD0F-AFC44A54BCCF}" dt="2021-05-25T14:20:13.623" v="30328" actId="790"/>
          <ac:spMkLst>
            <pc:docMk/>
            <pc:sldMk cId="3115212104" sldId="3453"/>
            <ac:spMk id="36" creationId="{8C0CED51-10B2-4A3A-B007-473BC1F301CE}"/>
          </ac:spMkLst>
        </pc:spChg>
        <pc:spChg chg="mod">
          <ac:chgData name="Ugo MANTEL" userId="2d5b7065-31bb-4181-a7f8-a73bf0c30211" providerId="ADAL" clId="{9344D105-636D-4857-BD0F-AFC44A54BCCF}" dt="2021-05-25T14:20:13.625" v="30329" actId="790"/>
          <ac:spMkLst>
            <pc:docMk/>
            <pc:sldMk cId="3115212104" sldId="3453"/>
            <ac:spMk id="37" creationId="{4F1A8BFB-A53A-40F2-A2DE-3899C0C22746}"/>
          </ac:spMkLst>
        </pc:spChg>
        <pc:spChg chg="mod">
          <ac:chgData name="Ugo MANTEL" userId="2d5b7065-31bb-4181-a7f8-a73bf0c30211" providerId="ADAL" clId="{9344D105-636D-4857-BD0F-AFC44A54BCCF}" dt="2021-05-25T14:20:13.626" v="30330" actId="790"/>
          <ac:spMkLst>
            <pc:docMk/>
            <pc:sldMk cId="3115212104" sldId="3453"/>
            <ac:spMk id="38" creationId="{5A142BE1-C2DD-4C6A-9B8A-0E197171F49A}"/>
          </ac:spMkLst>
        </pc:spChg>
        <pc:spChg chg="mod">
          <ac:chgData name="Ugo MANTEL" userId="2d5b7065-31bb-4181-a7f8-a73bf0c30211" providerId="ADAL" clId="{9344D105-636D-4857-BD0F-AFC44A54BCCF}" dt="2021-05-25T14:20:13.612" v="30316" actId="790"/>
          <ac:spMkLst>
            <pc:docMk/>
            <pc:sldMk cId="3115212104" sldId="3453"/>
            <ac:spMk id="39" creationId="{D1E92CC9-5E3D-498B-9A2A-EAD16D7E172E}"/>
          </ac:spMkLst>
        </pc:spChg>
        <pc:spChg chg="mod">
          <ac:chgData name="Ugo MANTEL" userId="2d5b7065-31bb-4181-a7f8-a73bf0c30211" providerId="ADAL" clId="{9344D105-636D-4857-BD0F-AFC44A54BCCF}" dt="2021-05-25T14:20:13.626" v="30331" actId="790"/>
          <ac:spMkLst>
            <pc:docMk/>
            <pc:sldMk cId="3115212104" sldId="3453"/>
            <ac:spMk id="42" creationId="{5A92A72B-854C-4D05-875A-7DD0B1E32AD0}"/>
          </ac:spMkLst>
        </pc:spChg>
        <pc:spChg chg="mod">
          <ac:chgData name="Ugo MANTEL" userId="2d5b7065-31bb-4181-a7f8-a73bf0c30211" providerId="ADAL" clId="{9344D105-636D-4857-BD0F-AFC44A54BCCF}" dt="2021-05-25T14:20:13.614" v="30318" actId="790"/>
          <ac:spMkLst>
            <pc:docMk/>
            <pc:sldMk cId="3115212104" sldId="3453"/>
            <ac:spMk id="46" creationId="{A8782A50-F7B1-478D-960D-B144BB7D57D7}"/>
          </ac:spMkLst>
        </pc:spChg>
        <pc:spChg chg="mod">
          <ac:chgData name="Ugo MANTEL" userId="2d5b7065-31bb-4181-a7f8-a73bf0c30211" providerId="ADAL" clId="{9344D105-636D-4857-BD0F-AFC44A54BCCF}" dt="2021-05-25T14:20:13.610" v="30315" actId="790"/>
          <ac:spMkLst>
            <pc:docMk/>
            <pc:sldMk cId="3115212104" sldId="3453"/>
            <ac:spMk id="47" creationId="{EBC4C7DB-908D-4F75-846A-4CC4964C350B}"/>
          </ac:spMkLst>
        </pc:spChg>
      </pc:sldChg>
      <pc:sldChg chg="addSp modSp mod">
        <pc:chgData name="Ugo MANTEL" userId="2d5b7065-31bb-4181-a7f8-a73bf0c30211" providerId="ADAL" clId="{9344D105-636D-4857-BD0F-AFC44A54BCCF}" dt="2021-05-25T14:20:11.786" v="28484" actId="790"/>
        <pc:sldMkLst>
          <pc:docMk/>
          <pc:sldMk cId="2227887028" sldId="3469"/>
        </pc:sldMkLst>
        <pc:spChg chg="mod">
          <ac:chgData name="Ugo MANTEL" userId="2d5b7065-31bb-4181-a7f8-a73bf0c30211" providerId="ADAL" clId="{9344D105-636D-4857-BD0F-AFC44A54BCCF}" dt="2021-05-25T14:20:11.776" v="28474" actId="790"/>
          <ac:spMkLst>
            <pc:docMk/>
            <pc:sldMk cId="2227887028" sldId="3469"/>
            <ac:spMk id="3" creationId="{EEAF1987-D318-4165-8539-CE9944DDE20A}"/>
          </ac:spMkLst>
        </pc:spChg>
        <pc:spChg chg="mod">
          <ac:chgData name="Ugo MANTEL" userId="2d5b7065-31bb-4181-a7f8-a73bf0c30211" providerId="ADAL" clId="{9344D105-636D-4857-BD0F-AFC44A54BCCF}" dt="2021-05-25T14:20:11.770" v="28468" actId="790"/>
          <ac:spMkLst>
            <pc:docMk/>
            <pc:sldMk cId="2227887028" sldId="3469"/>
            <ac:spMk id="5" creationId="{C2211D1B-D86D-4EF5-B202-69A0FA56B98B}"/>
          </ac:spMkLst>
        </pc:spChg>
        <pc:spChg chg="mod">
          <ac:chgData name="Ugo MANTEL" userId="2d5b7065-31bb-4181-a7f8-a73bf0c30211" providerId="ADAL" clId="{9344D105-636D-4857-BD0F-AFC44A54BCCF}" dt="2021-05-25T14:20:11.773" v="28471" actId="790"/>
          <ac:spMkLst>
            <pc:docMk/>
            <pc:sldMk cId="2227887028" sldId="3469"/>
            <ac:spMk id="7" creationId="{F59BFDDC-63FF-4CDF-9FA9-5814668C648B}"/>
          </ac:spMkLst>
        </pc:spChg>
        <pc:spChg chg="mod">
          <ac:chgData name="Ugo MANTEL" userId="2d5b7065-31bb-4181-a7f8-a73bf0c30211" providerId="ADAL" clId="{9344D105-636D-4857-BD0F-AFC44A54BCCF}" dt="2021-05-25T14:20:11.775" v="28473" actId="790"/>
          <ac:spMkLst>
            <pc:docMk/>
            <pc:sldMk cId="2227887028" sldId="3469"/>
            <ac:spMk id="20" creationId="{ED97A22C-8175-42D7-83B9-66285B255DD8}"/>
          </ac:spMkLst>
        </pc:spChg>
        <pc:spChg chg="mod">
          <ac:chgData name="Ugo MANTEL" userId="2d5b7065-31bb-4181-a7f8-a73bf0c30211" providerId="ADAL" clId="{9344D105-636D-4857-BD0F-AFC44A54BCCF}" dt="2021-05-25T14:20:11.772" v="28470" actId="790"/>
          <ac:spMkLst>
            <pc:docMk/>
            <pc:sldMk cId="2227887028" sldId="3469"/>
            <ac:spMk id="22" creationId="{915D1B6E-612E-40C3-AAAD-AD7DCE1807AA}"/>
          </ac:spMkLst>
        </pc:spChg>
        <pc:spChg chg="mod">
          <ac:chgData name="Ugo MANTEL" userId="2d5b7065-31bb-4181-a7f8-a73bf0c30211" providerId="ADAL" clId="{9344D105-636D-4857-BD0F-AFC44A54BCCF}" dt="2021-05-25T14:20:11.775" v="28472" actId="790"/>
          <ac:spMkLst>
            <pc:docMk/>
            <pc:sldMk cId="2227887028" sldId="3469"/>
            <ac:spMk id="28" creationId="{53C5A097-C478-4E2D-9FDD-BE9872004DFD}"/>
          </ac:spMkLst>
        </pc:spChg>
        <pc:spChg chg="mod">
          <ac:chgData name="Ugo MANTEL" userId="2d5b7065-31bb-4181-a7f8-a73bf0c30211" providerId="ADAL" clId="{9344D105-636D-4857-BD0F-AFC44A54BCCF}" dt="2021-05-25T14:20:11.783" v="28480" actId="790"/>
          <ac:spMkLst>
            <pc:docMk/>
            <pc:sldMk cId="2227887028" sldId="3469"/>
            <ac:spMk id="33" creationId="{6E4BAFD0-DA14-463B-95C3-E2D999701212}"/>
          </ac:spMkLst>
        </pc:spChg>
        <pc:spChg chg="add mod">
          <ac:chgData name="Ugo MANTEL" userId="2d5b7065-31bb-4181-a7f8-a73bf0c30211" providerId="ADAL" clId="{9344D105-636D-4857-BD0F-AFC44A54BCCF}" dt="2021-05-25T14:20:11.786" v="28484" actId="790"/>
          <ac:spMkLst>
            <pc:docMk/>
            <pc:sldMk cId="2227887028" sldId="3469"/>
            <ac:spMk id="34" creationId="{C1F69ECF-04FA-4CA5-B2DF-2BBDF70A24F0}"/>
          </ac:spMkLst>
        </pc:spChg>
        <pc:spChg chg="mod">
          <ac:chgData name="Ugo MANTEL" userId="2d5b7065-31bb-4181-a7f8-a73bf0c30211" providerId="ADAL" clId="{9344D105-636D-4857-BD0F-AFC44A54BCCF}" dt="2021-05-25T14:20:11.785" v="28481" actId="790"/>
          <ac:spMkLst>
            <pc:docMk/>
            <pc:sldMk cId="2227887028" sldId="3469"/>
            <ac:spMk id="36" creationId="{B79706AE-F2C0-4E63-B63C-BA29DDDA2BCD}"/>
          </ac:spMkLst>
        </pc:spChg>
        <pc:spChg chg="mod">
          <ac:chgData name="Ugo MANTEL" userId="2d5b7065-31bb-4181-a7f8-a73bf0c30211" providerId="ADAL" clId="{9344D105-636D-4857-BD0F-AFC44A54BCCF}" dt="2021-05-25T14:20:11.771" v="28469" actId="790"/>
          <ac:spMkLst>
            <pc:docMk/>
            <pc:sldMk cId="2227887028" sldId="3469"/>
            <ac:spMk id="37" creationId="{1B0F6DBA-9DDA-4219-ABBF-2A111A6DC023}"/>
          </ac:spMkLst>
        </pc:spChg>
        <pc:spChg chg="mod">
          <ac:chgData name="Ugo MANTEL" userId="2d5b7065-31bb-4181-a7f8-a73bf0c30211" providerId="ADAL" clId="{9344D105-636D-4857-BD0F-AFC44A54BCCF}" dt="2021-05-25T14:20:11.786" v="28482" actId="790"/>
          <ac:spMkLst>
            <pc:docMk/>
            <pc:sldMk cId="2227887028" sldId="3469"/>
            <ac:spMk id="38" creationId="{C89B6050-BC3B-47BC-90EC-DFC610C688B0}"/>
          </ac:spMkLst>
        </pc:spChg>
        <pc:spChg chg="mod">
          <ac:chgData name="Ugo MANTEL" userId="2d5b7065-31bb-4181-a7f8-a73bf0c30211" providerId="ADAL" clId="{9344D105-636D-4857-BD0F-AFC44A54BCCF}" dt="2021-05-25T14:20:11.777" v="28475" actId="790"/>
          <ac:spMkLst>
            <pc:docMk/>
            <pc:sldMk cId="2227887028" sldId="3469"/>
            <ac:spMk id="39" creationId="{E13A1A57-0854-4DD7-BDFE-7BC27BD1A81F}"/>
          </ac:spMkLst>
        </pc:spChg>
        <pc:spChg chg="mod">
          <ac:chgData name="Ugo MANTEL" userId="2d5b7065-31bb-4181-a7f8-a73bf0c30211" providerId="ADAL" clId="{9344D105-636D-4857-BD0F-AFC44A54BCCF}" dt="2021-05-25T14:20:11.767" v="28465" actId="790"/>
          <ac:spMkLst>
            <pc:docMk/>
            <pc:sldMk cId="2227887028" sldId="3469"/>
            <ac:spMk id="40" creationId="{60EEC324-686F-4C2B-9A86-1FD757E7F20F}"/>
          </ac:spMkLst>
        </pc:spChg>
        <pc:spChg chg="mod">
          <ac:chgData name="Ugo MANTEL" userId="2d5b7065-31bb-4181-a7f8-a73bf0c30211" providerId="ADAL" clId="{9344D105-636D-4857-BD0F-AFC44A54BCCF}" dt="2021-05-25T14:20:11.767" v="28466" actId="790"/>
          <ac:spMkLst>
            <pc:docMk/>
            <pc:sldMk cId="2227887028" sldId="3469"/>
            <ac:spMk id="41" creationId="{6D8FCCD4-2F77-45E9-9A16-B87F84493FF2}"/>
          </ac:spMkLst>
        </pc:spChg>
        <pc:spChg chg="mod">
          <ac:chgData name="Ugo MANTEL" userId="2d5b7065-31bb-4181-a7f8-a73bf0c30211" providerId="ADAL" clId="{9344D105-636D-4857-BD0F-AFC44A54BCCF}" dt="2021-05-25T14:20:11.778" v="28476" actId="790"/>
          <ac:spMkLst>
            <pc:docMk/>
            <pc:sldMk cId="2227887028" sldId="3469"/>
            <ac:spMk id="42" creationId="{82D45FD6-332C-4185-B2F7-837B5822F3BD}"/>
          </ac:spMkLst>
        </pc:spChg>
        <pc:spChg chg="mod">
          <ac:chgData name="Ugo MANTEL" userId="2d5b7065-31bb-4181-a7f8-a73bf0c30211" providerId="ADAL" clId="{9344D105-636D-4857-BD0F-AFC44A54BCCF}" dt="2021-05-25T14:20:11.778" v="28477" actId="790"/>
          <ac:spMkLst>
            <pc:docMk/>
            <pc:sldMk cId="2227887028" sldId="3469"/>
            <ac:spMk id="43" creationId="{B5DEA5C6-A53A-4FE1-ABB1-BCD9F609E8F6}"/>
          </ac:spMkLst>
        </pc:spChg>
        <pc:spChg chg="mod">
          <ac:chgData name="Ugo MANTEL" userId="2d5b7065-31bb-4181-a7f8-a73bf0c30211" providerId="ADAL" clId="{9344D105-636D-4857-BD0F-AFC44A54BCCF}" dt="2021-05-25T14:20:11.780" v="28478" actId="790"/>
          <ac:spMkLst>
            <pc:docMk/>
            <pc:sldMk cId="2227887028" sldId="3469"/>
            <ac:spMk id="44" creationId="{022EB26C-4239-4DB8-81D3-CD5199BA05D7}"/>
          </ac:spMkLst>
        </pc:spChg>
        <pc:spChg chg="mod">
          <ac:chgData name="Ugo MANTEL" userId="2d5b7065-31bb-4181-a7f8-a73bf0c30211" providerId="ADAL" clId="{9344D105-636D-4857-BD0F-AFC44A54BCCF}" dt="2021-05-25T14:20:11.781" v="28479" actId="790"/>
          <ac:spMkLst>
            <pc:docMk/>
            <pc:sldMk cId="2227887028" sldId="3469"/>
            <ac:spMk id="45" creationId="{26EC6358-FE91-4A17-BA46-6717559DBB79}"/>
          </ac:spMkLst>
        </pc:spChg>
        <pc:spChg chg="mod">
          <ac:chgData name="Ugo MANTEL" userId="2d5b7065-31bb-4181-a7f8-a73bf0c30211" providerId="ADAL" clId="{9344D105-636D-4857-BD0F-AFC44A54BCCF}" dt="2021-05-25T14:20:11.786" v="28483" actId="790"/>
          <ac:spMkLst>
            <pc:docMk/>
            <pc:sldMk cId="2227887028" sldId="3469"/>
            <ac:spMk id="46" creationId="{F8596C5D-2F1F-4896-8874-B1819ED68662}"/>
          </ac:spMkLst>
        </pc:spChg>
        <pc:spChg chg="mod">
          <ac:chgData name="Ugo MANTEL" userId="2d5b7065-31bb-4181-a7f8-a73bf0c30211" providerId="ADAL" clId="{9344D105-636D-4857-BD0F-AFC44A54BCCF}" dt="2021-05-25T14:20:11.770" v="28467" actId="790"/>
          <ac:spMkLst>
            <pc:docMk/>
            <pc:sldMk cId="2227887028" sldId="3469"/>
            <ac:spMk id="50" creationId="{D79806CD-0EE1-44AF-A4A4-8DE1548322B3}"/>
          </ac:spMkLst>
        </pc:spChg>
      </pc:sldChg>
      <pc:sldChg chg="modSp mod">
        <pc:chgData name="Ugo MANTEL" userId="2d5b7065-31bb-4181-a7f8-a73bf0c30211" providerId="ADAL" clId="{9344D105-636D-4857-BD0F-AFC44A54BCCF}" dt="2021-05-25T14:20:10.940" v="27558" actId="790"/>
        <pc:sldMkLst>
          <pc:docMk/>
          <pc:sldMk cId="3502070692" sldId="5788"/>
        </pc:sldMkLst>
        <pc:spChg chg="mod">
          <ac:chgData name="Ugo MANTEL" userId="2d5b7065-31bb-4181-a7f8-a73bf0c30211" providerId="ADAL" clId="{9344D105-636D-4857-BD0F-AFC44A54BCCF}" dt="2021-05-25T14:20:10.934" v="27551" actId="790"/>
          <ac:spMkLst>
            <pc:docMk/>
            <pc:sldMk cId="3502070692" sldId="5788"/>
            <ac:spMk id="2" creationId="{21A480E3-4FEE-438F-96CF-9DA211B8727A}"/>
          </ac:spMkLst>
        </pc:spChg>
        <pc:spChg chg="mod">
          <ac:chgData name="Ugo MANTEL" userId="2d5b7065-31bb-4181-a7f8-a73bf0c30211" providerId="ADAL" clId="{9344D105-636D-4857-BD0F-AFC44A54BCCF}" dt="2021-05-25T14:20:10.937" v="27554" actId="790"/>
          <ac:spMkLst>
            <pc:docMk/>
            <pc:sldMk cId="3502070692" sldId="5788"/>
            <ac:spMk id="4" creationId="{321D2B50-493B-4F6B-99A7-5BC785388858}"/>
          </ac:spMkLst>
        </pc:spChg>
        <pc:spChg chg="mod">
          <ac:chgData name="Ugo MANTEL" userId="2d5b7065-31bb-4181-a7f8-a73bf0c30211" providerId="ADAL" clId="{9344D105-636D-4857-BD0F-AFC44A54BCCF}" dt="2021-05-25T14:20:10.921" v="27546" actId="790"/>
          <ac:spMkLst>
            <pc:docMk/>
            <pc:sldMk cId="3502070692" sldId="5788"/>
            <ac:spMk id="14" creationId="{A6A43F86-72DB-441A-9F0E-0CBA93B92167}"/>
          </ac:spMkLst>
        </pc:spChg>
        <pc:spChg chg="mod">
          <ac:chgData name="Ugo MANTEL" userId="2d5b7065-31bb-4181-a7f8-a73bf0c30211" providerId="ADAL" clId="{9344D105-636D-4857-BD0F-AFC44A54BCCF}" dt="2021-05-25T14:20:10.916" v="27544" actId="790"/>
          <ac:spMkLst>
            <pc:docMk/>
            <pc:sldMk cId="3502070692" sldId="5788"/>
            <ac:spMk id="17" creationId="{79542B58-C0DE-407D-A96B-E1BDB505A35B}"/>
          </ac:spMkLst>
        </pc:spChg>
        <pc:spChg chg="mod">
          <ac:chgData name="Ugo MANTEL" userId="2d5b7065-31bb-4181-a7f8-a73bf0c30211" providerId="ADAL" clId="{9344D105-636D-4857-BD0F-AFC44A54BCCF}" dt="2021-05-25T14:20:10.923" v="27547" actId="790"/>
          <ac:spMkLst>
            <pc:docMk/>
            <pc:sldMk cId="3502070692" sldId="5788"/>
            <ac:spMk id="26" creationId="{0614C3AD-C954-4D83-95AB-C29332F75FE7}"/>
          </ac:spMkLst>
        </pc:spChg>
        <pc:spChg chg="mod">
          <ac:chgData name="Ugo MANTEL" userId="2d5b7065-31bb-4181-a7f8-a73bf0c30211" providerId="ADAL" clId="{9344D105-636D-4857-BD0F-AFC44A54BCCF}" dt="2021-05-25T14:20:10.924" v="27548" actId="790"/>
          <ac:spMkLst>
            <pc:docMk/>
            <pc:sldMk cId="3502070692" sldId="5788"/>
            <ac:spMk id="29" creationId="{CDC05D8C-D901-4233-8F68-F7A7ABE06031}"/>
          </ac:spMkLst>
        </pc:spChg>
        <pc:spChg chg="mod">
          <ac:chgData name="Ugo MANTEL" userId="2d5b7065-31bb-4181-a7f8-a73bf0c30211" providerId="ADAL" clId="{9344D105-636D-4857-BD0F-AFC44A54BCCF}" dt="2021-05-25T14:20:10.930" v="27549" actId="790"/>
          <ac:spMkLst>
            <pc:docMk/>
            <pc:sldMk cId="3502070692" sldId="5788"/>
            <ac:spMk id="30" creationId="{ACBF13C7-2E3B-4833-93F2-486311645719}"/>
          </ac:spMkLst>
        </pc:spChg>
        <pc:spChg chg="mod">
          <ac:chgData name="Ugo MANTEL" userId="2d5b7065-31bb-4181-a7f8-a73bf0c30211" providerId="ADAL" clId="{9344D105-636D-4857-BD0F-AFC44A54BCCF}" dt="2021-05-25T14:20:10.938" v="27555" actId="790"/>
          <ac:spMkLst>
            <pc:docMk/>
            <pc:sldMk cId="3502070692" sldId="5788"/>
            <ac:spMk id="33" creationId="{F8B23E47-A27C-47F9-930A-5F43DE9D7F88}"/>
          </ac:spMkLst>
        </pc:spChg>
        <pc:spChg chg="mod">
          <ac:chgData name="Ugo MANTEL" userId="2d5b7065-31bb-4181-a7f8-a73bf0c30211" providerId="ADAL" clId="{9344D105-636D-4857-BD0F-AFC44A54BCCF}" dt="2021-05-25T14:20:10.939" v="27556" actId="790"/>
          <ac:spMkLst>
            <pc:docMk/>
            <pc:sldMk cId="3502070692" sldId="5788"/>
            <ac:spMk id="34" creationId="{796173B8-6D70-4210-A23B-B1AB01BC4E4E}"/>
          </ac:spMkLst>
        </pc:spChg>
        <pc:spChg chg="mod">
          <ac:chgData name="Ugo MANTEL" userId="2d5b7065-31bb-4181-a7f8-a73bf0c30211" providerId="ADAL" clId="{9344D105-636D-4857-BD0F-AFC44A54BCCF}" dt="2021-05-25T14:20:10.939" v="27557" actId="790"/>
          <ac:spMkLst>
            <pc:docMk/>
            <pc:sldMk cId="3502070692" sldId="5788"/>
            <ac:spMk id="35" creationId="{F343B5A1-986B-491A-8A48-77787AC209AC}"/>
          </ac:spMkLst>
        </pc:spChg>
        <pc:spChg chg="mod">
          <ac:chgData name="Ugo MANTEL" userId="2d5b7065-31bb-4181-a7f8-a73bf0c30211" providerId="ADAL" clId="{9344D105-636D-4857-BD0F-AFC44A54BCCF}" dt="2021-05-25T14:20:10.940" v="27558" actId="790"/>
          <ac:spMkLst>
            <pc:docMk/>
            <pc:sldMk cId="3502070692" sldId="5788"/>
            <ac:spMk id="36" creationId="{0B00B2A8-C72E-4524-AA66-141863EAC8B5}"/>
          </ac:spMkLst>
        </pc:spChg>
        <pc:spChg chg="mod">
          <ac:chgData name="Ugo MANTEL" userId="2d5b7065-31bb-4181-a7f8-a73bf0c30211" providerId="ADAL" clId="{9344D105-636D-4857-BD0F-AFC44A54BCCF}" dt="2021-05-25T14:20:10.934" v="27550" actId="790"/>
          <ac:spMkLst>
            <pc:docMk/>
            <pc:sldMk cId="3502070692" sldId="5788"/>
            <ac:spMk id="43" creationId="{C0AF0BD1-EE99-4A93-881A-71BE4821E6F1}"/>
          </ac:spMkLst>
        </pc:spChg>
        <pc:spChg chg="mod">
          <ac:chgData name="Ugo MANTEL" userId="2d5b7065-31bb-4181-a7f8-a73bf0c30211" providerId="ADAL" clId="{9344D105-636D-4857-BD0F-AFC44A54BCCF}" dt="2021-05-25T14:20:10.935" v="27552" actId="790"/>
          <ac:spMkLst>
            <pc:docMk/>
            <pc:sldMk cId="3502070692" sldId="5788"/>
            <ac:spMk id="56" creationId="{3F0B14AD-FFF0-49A6-A5B2-1148C84CB7AE}"/>
          </ac:spMkLst>
        </pc:spChg>
        <pc:spChg chg="mod">
          <ac:chgData name="Ugo MANTEL" userId="2d5b7065-31bb-4181-a7f8-a73bf0c30211" providerId="ADAL" clId="{9344D105-636D-4857-BD0F-AFC44A54BCCF}" dt="2021-05-25T14:20:10.936" v="27553" actId="790"/>
          <ac:spMkLst>
            <pc:docMk/>
            <pc:sldMk cId="3502070692" sldId="5788"/>
            <ac:spMk id="58" creationId="{4F1BE529-356D-4892-8B28-CD5041A4FD8D}"/>
          </ac:spMkLst>
        </pc:spChg>
        <pc:spChg chg="mod">
          <ac:chgData name="Ugo MANTEL" userId="2d5b7065-31bb-4181-a7f8-a73bf0c30211" providerId="ADAL" clId="{9344D105-636D-4857-BD0F-AFC44A54BCCF}" dt="2021-05-25T14:20:10.920" v="27545" actId="790"/>
          <ac:spMkLst>
            <pc:docMk/>
            <pc:sldMk cId="3502070692" sldId="5788"/>
            <ac:spMk id="66" creationId="{11AC2BF9-A8AA-4D9B-A774-9622B7E27451}"/>
          </ac:spMkLst>
        </pc:spChg>
      </pc:sldChg>
      <pc:sldChg chg="addSp delSp modSp del mod ord">
        <pc:chgData name="Ugo MANTEL" userId="2d5b7065-31bb-4181-a7f8-a73bf0c30211" providerId="ADAL" clId="{9344D105-636D-4857-BD0F-AFC44A54BCCF}" dt="2021-05-25T15:08:48.111" v="37733" actId="18676"/>
        <pc:sldMkLst>
          <pc:docMk/>
          <pc:sldMk cId="1385106391" sldId="6602"/>
        </pc:sldMkLst>
        <pc:spChg chg="mod">
          <ac:chgData name="Ugo MANTEL" userId="2d5b7065-31bb-4181-a7f8-a73bf0c30211" providerId="ADAL" clId="{9344D105-636D-4857-BD0F-AFC44A54BCCF}" dt="2021-05-25T14:20:14.286" v="30454"/>
          <ac:spMkLst>
            <pc:docMk/>
            <pc:sldMk cId="1385106391" sldId="6602"/>
            <ac:spMk id="2" creationId="{EE2D2B38-049A-4F88-936E-8F374D681503}"/>
          </ac:spMkLst>
        </pc:spChg>
        <pc:spChg chg="add del mod modVis">
          <ac:chgData name="Ugo MANTEL" userId="2d5b7065-31bb-4181-a7f8-a73bf0c30211" providerId="ADAL" clId="{9344D105-636D-4857-BD0F-AFC44A54BCCF}" dt="2021-05-25T14:20:14.349" v="30494"/>
          <ac:spMkLst>
            <pc:docMk/>
            <pc:sldMk cId="1385106391" sldId="6602"/>
            <ac:spMk id="3" creationId="{D2D5A2EF-DB81-44A5-AE7E-EEB0C19925FA}"/>
          </ac:spMkLst>
        </pc:spChg>
        <pc:spChg chg="mod">
          <ac:chgData name="Ugo MANTEL" userId="2d5b7065-31bb-4181-a7f8-a73bf0c30211" providerId="ADAL" clId="{9344D105-636D-4857-BD0F-AFC44A54BCCF}" dt="2021-05-25T14:20:13.724" v="30421" actId="790"/>
          <ac:spMkLst>
            <pc:docMk/>
            <pc:sldMk cId="1385106391" sldId="6602"/>
            <ac:spMk id="5" creationId="{97D58350-3EF9-4D57-82C8-9D63297400D0}"/>
          </ac:spMkLst>
        </pc:spChg>
        <pc:spChg chg="mod">
          <ac:chgData name="Ugo MANTEL" userId="2d5b7065-31bb-4181-a7f8-a73bf0c30211" providerId="ADAL" clId="{9344D105-636D-4857-BD0F-AFC44A54BCCF}" dt="2021-05-25T14:20:13.721" v="30416" actId="790"/>
          <ac:spMkLst>
            <pc:docMk/>
            <pc:sldMk cId="1385106391" sldId="6602"/>
            <ac:spMk id="12" creationId="{FD1FE920-C1DA-4497-AB6C-B77B29B6E998}"/>
          </ac:spMkLst>
        </pc:spChg>
        <pc:spChg chg="mod">
          <ac:chgData name="Ugo MANTEL" userId="2d5b7065-31bb-4181-a7f8-a73bf0c30211" providerId="ADAL" clId="{9344D105-636D-4857-BD0F-AFC44A54BCCF}" dt="2021-05-25T14:20:13.720" v="30414" actId="790"/>
          <ac:spMkLst>
            <pc:docMk/>
            <pc:sldMk cId="1385106391" sldId="6602"/>
            <ac:spMk id="15" creationId="{9688F0B3-2A9D-4236-9EE1-D71BBA8E0A25}"/>
          </ac:spMkLst>
        </pc:spChg>
        <pc:spChg chg="mod">
          <ac:chgData name="Ugo MANTEL" userId="2d5b7065-31bb-4181-a7f8-a73bf0c30211" providerId="ADAL" clId="{9344D105-636D-4857-BD0F-AFC44A54BCCF}" dt="2021-05-25T14:20:13.706" v="30409" actId="790"/>
          <ac:spMkLst>
            <pc:docMk/>
            <pc:sldMk cId="1385106391" sldId="6602"/>
            <ac:spMk id="19" creationId="{30BDE3E0-96F9-4FE1-9CA3-CF56B7BB82C8}"/>
          </ac:spMkLst>
        </pc:spChg>
        <pc:spChg chg="mod">
          <ac:chgData name="Ugo MANTEL" userId="2d5b7065-31bb-4181-a7f8-a73bf0c30211" providerId="ADAL" clId="{9344D105-636D-4857-BD0F-AFC44A54BCCF}" dt="2021-05-25T14:20:13.710" v="30410" actId="790"/>
          <ac:spMkLst>
            <pc:docMk/>
            <pc:sldMk cId="1385106391" sldId="6602"/>
            <ac:spMk id="21" creationId="{8257AC9F-6E1F-4FE5-BB13-23A55F6EB826}"/>
          </ac:spMkLst>
        </pc:spChg>
        <pc:spChg chg="mod">
          <ac:chgData name="Ugo MANTEL" userId="2d5b7065-31bb-4181-a7f8-a73bf0c30211" providerId="ADAL" clId="{9344D105-636D-4857-BD0F-AFC44A54BCCF}" dt="2021-05-25T14:20:13.720" v="30415" actId="790"/>
          <ac:spMkLst>
            <pc:docMk/>
            <pc:sldMk cId="1385106391" sldId="6602"/>
            <ac:spMk id="25" creationId="{FB26883F-6581-44E3-87AB-C64E72449453}"/>
          </ac:spMkLst>
        </pc:spChg>
        <pc:spChg chg="mod">
          <ac:chgData name="Ugo MANTEL" userId="2d5b7065-31bb-4181-a7f8-a73bf0c30211" providerId="ADAL" clId="{9344D105-636D-4857-BD0F-AFC44A54BCCF}" dt="2021-05-25T14:20:13.722" v="30417" actId="790"/>
          <ac:spMkLst>
            <pc:docMk/>
            <pc:sldMk cId="1385106391" sldId="6602"/>
            <ac:spMk id="26" creationId="{9BA96123-FF6E-4390-B626-0A70E8D1EFF1}"/>
          </ac:spMkLst>
        </pc:spChg>
        <pc:spChg chg="mod">
          <ac:chgData name="Ugo MANTEL" userId="2d5b7065-31bb-4181-a7f8-a73bf0c30211" providerId="ADAL" clId="{9344D105-636D-4857-BD0F-AFC44A54BCCF}" dt="2021-05-25T14:20:13.725" v="30422" actId="790"/>
          <ac:spMkLst>
            <pc:docMk/>
            <pc:sldMk cId="1385106391" sldId="6602"/>
            <ac:spMk id="27" creationId="{82F19599-1F5F-4312-A784-62F0C2515FF7}"/>
          </ac:spMkLst>
        </pc:spChg>
        <pc:spChg chg="add mod">
          <ac:chgData name="Ugo MANTEL" userId="2d5b7065-31bb-4181-a7f8-a73bf0c30211" providerId="ADAL" clId="{9344D105-636D-4857-BD0F-AFC44A54BCCF}" dt="2021-05-25T14:20:13.730" v="30428" actId="790"/>
          <ac:spMkLst>
            <pc:docMk/>
            <pc:sldMk cId="1385106391" sldId="6602"/>
            <ac:spMk id="35" creationId="{D051D8B5-8E3F-45CC-9A75-F8D04ECC01E0}"/>
          </ac:spMkLst>
        </pc:spChg>
        <pc:spChg chg="mod">
          <ac:chgData name="Ugo MANTEL" userId="2d5b7065-31bb-4181-a7f8-a73bf0c30211" providerId="ADAL" clId="{9344D105-636D-4857-BD0F-AFC44A54BCCF}" dt="2021-05-25T14:20:13.726" v="30423" actId="790"/>
          <ac:spMkLst>
            <pc:docMk/>
            <pc:sldMk cId="1385106391" sldId="6602"/>
            <ac:spMk id="51" creationId="{A4290E9C-7A91-43C0-B3C4-64F3EB2596F9}"/>
          </ac:spMkLst>
        </pc:spChg>
        <pc:spChg chg="mod">
          <ac:chgData name="Ugo MANTEL" userId="2d5b7065-31bb-4181-a7f8-a73bf0c30211" providerId="ADAL" clId="{9344D105-636D-4857-BD0F-AFC44A54BCCF}" dt="2021-05-25T14:20:13.727" v="30424" actId="790"/>
          <ac:spMkLst>
            <pc:docMk/>
            <pc:sldMk cId="1385106391" sldId="6602"/>
            <ac:spMk id="62" creationId="{46EA29FE-6EE2-426C-8560-3E5CD12771B6}"/>
          </ac:spMkLst>
        </pc:spChg>
        <pc:spChg chg="mod">
          <ac:chgData name="Ugo MANTEL" userId="2d5b7065-31bb-4181-a7f8-a73bf0c30211" providerId="ADAL" clId="{9344D105-636D-4857-BD0F-AFC44A54BCCF}" dt="2021-05-25T14:20:13.728" v="30425" actId="790"/>
          <ac:spMkLst>
            <pc:docMk/>
            <pc:sldMk cId="1385106391" sldId="6602"/>
            <ac:spMk id="63" creationId="{513FF140-30F0-4237-A2EB-7DE66980D5E7}"/>
          </ac:spMkLst>
        </pc:spChg>
        <pc:spChg chg="mod">
          <ac:chgData name="Ugo MANTEL" userId="2d5b7065-31bb-4181-a7f8-a73bf0c30211" providerId="ADAL" clId="{9344D105-636D-4857-BD0F-AFC44A54BCCF}" dt="2021-05-25T14:20:13.729" v="30426" actId="790"/>
          <ac:spMkLst>
            <pc:docMk/>
            <pc:sldMk cId="1385106391" sldId="6602"/>
            <ac:spMk id="64" creationId="{954DCB81-EFB1-4D9E-9CA1-DE7CC23CED6C}"/>
          </ac:spMkLst>
        </pc:spChg>
        <pc:spChg chg="mod">
          <ac:chgData name="Ugo MANTEL" userId="2d5b7065-31bb-4181-a7f8-a73bf0c30211" providerId="ADAL" clId="{9344D105-636D-4857-BD0F-AFC44A54BCCF}" dt="2021-05-25T14:20:13.729" v="30427" actId="790"/>
          <ac:spMkLst>
            <pc:docMk/>
            <pc:sldMk cId="1385106391" sldId="6602"/>
            <ac:spMk id="65" creationId="{4E482DB8-D735-45EF-85FF-E68F08F246FE}"/>
          </ac:spMkLst>
        </pc:spChg>
        <pc:spChg chg="mod">
          <ac:chgData name="Ugo MANTEL" userId="2d5b7065-31bb-4181-a7f8-a73bf0c30211" providerId="ADAL" clId="{9344D105-636D-4857-BD0F-AFC44A54BCCF}" dt="2021-05-25T14:20:13.714" v="30411" actId="790"/>
          <ac:spMkLst>
            <pc:docMk/>
            <pc:sldMk cId="1385106391" sldId="6602"/>
            <ac:spMk id="80" creationId="{5A3D08E6-BF53-4DAE-BD91-13CB1CC966A9}"/>
          </ac:spMkLst>
        </pc:spChg>
        <pc:spChg chg="mod">
          <ac:chgData name="Ugo MANTEL" userId="2d5b7065-31bb-4181-a7f8-a73bf0c30211" providerId="ADAL" clId="{9344D105-636D-4857-BD0F-AFC44A54BCCF}" dt="2021-05-25T14:20:13.722" v="30418" actId="790"/>
          <ac:spMkLst>
            <pc:docMk/>
            <pc:sldMk cId="1385106391" sldId="6602"/>
            <ac:spMk id="81" creationId="{47B1124F-A81C-4C02-B2B0-4B385CE446C3}"/>
          </ac:spMkLst>
        </pc:spChg>
        <pc:spChg chg="mod">
          <ac:chgData name="Ugo MANTEL" userId="2d5b7065-31bb-4181-a7f8-a73bf0c30211" providerId="ADAL" clId="{9344D105-636D-4857-BD0F-AFC44A54BCCF}" dt="2021-05-25T14:20:13.723" v="30419" actId="790"/>
          <ac:spMkLst>
            <pc:docMk/>
            <pc:sldMk cId="1385106391" sldId="6602"/>
            <ac:spMk id="82" creationId="{67A6441B-01A5-48CA-B3D3-9DC5596BA08F}"/>
          </ac:spMkLst>
        </pc:spChg>
        <pc:spChg chg="mod">
          <ac:chgData name="Ugo MANTEL" userId="2d5b7065-31bb-4181-a7f8-a73bf0c30211" providerId="ADAL" clId="{9344D105-636D-4857-BD0F-AFC44A54BCCF}" dt="2021-05-25T14:20:13.724" v="30420" actId="790"/>
          <ac:spMkLst>
            <pc:docMk/>
            <pc:sldMk cId="1385106391" sldId="6602"/>
            <ac:spMk id="83" creationId="{E5812560-E835-4A8F-AFA8-8ADAF3536E85}"/>
          </ac:spMkLst>
        </pc:spChg>
        <pc:spChg chg="mod">
          <ac:chgData name="Ugo MANTEL" userId="2d5b7065-31bb-4181-a7f8-a73bf0c30211" providerId="ADAL" clId="{9344D105-636D-4857-BD0F-AFC44A54BCCF}" dt="2021-05-25T14:20:13.717" v="30412" actId="790"/>
          <ac:spMkLst>
            <pc:docMk/>
            <pc:sldMk cId="1385106391" sldId="6602"/>
            <ac:spMk id="84" creationId="{11B48DDC-87FD-474C-BDDE-06CB62817A11}"/>
          </ac:spMkLst>
        </pc:spChg>
        <pc:spChg chg="mod">
          <ac:chgData name="Ugo MANTEL" userId="2d5b7065-31bb-4181-a7f8-a73bf0c30211" providerId="ADAL" clId="{9344D105-636D-4857-BD0F-AFC44A54BCCF}" dt="2021-05-25T14:20:13.719" v="30413" actId="790"/>
          <ac:spMkLst>
            <pc:docMk/>
            <pc:sldMk cId="1385106391" sldId="6602"/>
            <ac:spMk id="87" creationId="{35825688-3C89-48FE-953E-C78DCC1D23F8}"/>
          </ac:spMkLst>
        </pc:spChg>
        <pc:graphicFrameChg chg="mod">
          <ac:chgData name="Ugo MANTEL" userId="2d5b7065-31bb-4181-a7f8-a73bf0c30211" providerId="ADAL" clId="{9344D105-636D-4857-BD0F-AFC44A54BCCF}" dt="2021-05-25T14:20:14.351" v="30496"/>
          <ac:graphicFrameMkLst>
            <pc:docMk/>
            <pc:sldMk cId="1385106391" sldId="6602"/>
            <ac:graphicFrameMk id="18" creationId="{10823951-3139-4607-99B9-A185FCB53BD6}"/>
          </ac:graphicFrameMkLst>
        </pc:graphicFrameChg>
      </pc:sldChg>
      <pc:sldChg chg="modSp add mod">
        <pc:chgData name="Ugo MANTEL" userId="2d5b7065-31bb-4181-a7f8-a73bf0c30211" providerId="ADAL" clId="{9344D105-636D-4857-BD0F-AFC44A54BCCF}" dt="2021-05-25T14:20:10.967" v="27598" actId="790"/>
        <pc:sldMkLst>
          <pc:docMk/>
          <pc:sldMk cId="990182598" sldId="6698"/>
        </pc:sldMkLst>
        <pc:spChg chg="mod">
          <ac:chgData name="Ugo MANTEL" userId="2d5b7065-31bb-4181-a7f8-a73bf0c30211" providerId="ADAL" clId="{9344D105-636D-4857-BD0F-AFC44A54BCCF}" dt="2021-05-25T14:20:10.940" v="27559" actId="790"/>
          <ac:spMkLst>
            <pc:docMk/>
            <pc:sldMk cId="990182598" sldId="6698"/>
            <ac:spMk id="2" creationId="{EF2498F5-877C-446A-880E-E1B210E69525}"/>
          </ac:spMkLst>
        </pc:spChg>
        <pc:spChg chg="mod">
          <ac:chgData name="Ugo MANTEL" userId="2d5b7065-31bb-4181-a7f8-a73bf0c30211" providerId="ADAL" clId="{9344D105-636D-4857-BD0F-AFC44A54BCCF}" dt="2021-05-24T13:48:07.194" v="7612" actId="207"/>
          <ac:spMkLst>
            <pc:docMk/>
            <pc:sldMk cId="990182598" sldId="6698"/>
            <ac:spMk id="3" creationId="{32ECC356-98C8-4CD7-8A77-D023CC5A46BE}"/>
          </ac:spMkLst>
        </pc:spChg>
        <pc:spChg chg="mod">
          <ac:chgData name="Ugo MANTEL" userId="2d5b7065-31bb-4181-a7f8-a73bf0c30211" providerId="ADAL" clId="{9344D105-636D-4857-BD0F-AFC44A54BCCF}" dt="2021-05-25T14:20:10.941" v="27560" actId="790"/>
          <ac:spMkLst>
            <pc:docMk/>
            <pc:sldMk cId="990182598" sldId="6698"/>
            <ac:spMk id="4" creationId="{CB718DB5-5559-467F-A0DA-2CF7DE37F0D1}"/>
          </ac:spMkLst>
        </pc:spChg>
        <pc:spChg chg="mod">
          <ac:chgData name="Ugo MANTEL" userId="2d5b7065-31bb-4181-a7f8-a73bf0c30211" providerId="ADAL" clId="{9344D105-636D-4857-BD0F-AFC44A54BCCF}" dt="2021-05-25T14:20:10.942" v="27561" actId="790"/>
          <ac:spMkLst>
            <pc:docMk/>
            <pc:sldMk cId="990182598" sldId="6698"/>
            <ac:spMk id="5" creationId="{66D7E5E2-F6D8-4CD1-9E4C-BA6E4832ECB1}"/>
          </ac:spMkLst>
        </pc:spChg>
        <pc:spChg chg="mod">
          <ac:chgData name="Ugo MANTEL" userId="2d5b7065-31bb-4181-a7f8-a73bf0c30211" providerId="ADAL" clId="{9344D105-636D-4857-BD0F-AFC44A54BCCF}" dt="2021-05-25T14:20:10.942" v="27562" actId="790"/>
          <ac:spMkLst>
            <pc:docMk/>
            <pc:sldMk cId="990182598" sldId="6698"/>
            <ac:spMk id="6" creationId="{8409BC71-E09A-476D-8F8B-B9C1E7F3B761}"/>
          </ac:spMkLst>
        </pc:spChg>
        <pc:spChg chg="mod">
          <ac:chgData name="Ugo MANTEL" userId="2d5b7065-31bb-4181-a7f8-a73bf0c30211" providerId="ADAL" clId="{9344D105-636D-4857-BD0F-AFC44A54BCCF}" dt="2021-05-25T14:20:10.943" v="27563" actId="790"/>
          <ac:spMkLst>
            <pc:docMk/>
            <pc:sldMk cId="990182598" sldId="6698"/>
            <ac:spMk id="8" creationId="{D66A6AF9-248B-41D6-940F-289AF3A39824}"/>
          </ac:spMkLst>
        </pc:spChg>
        <pc:spChg chg="mod">
          <ac:chgData name="Ugo MANTEL" userId="2d5b7065-31bb-4181-a7f8-a73bf0c30211" providerId="ADAL" clId="{9344D105-636D-4857-BD0F-AFC44A54BCCF}" dt="2021-05-25T14:20:10.944" v="27564" actId="790"/>
          <ac:spMkLst>
            <pc:docMk/>
            <pc:sldMk cId="990182598" sldId="6698"/>
            <ac:spMk id="9" creationId="{E538F6C0-C1A1-4303-86AF-B22F07447549}"/>
          </ac:spMkLst>
        </pc:spChg>
        <pc:spChg chg="mod">
          <ac:chgData name="Ugo MANTEL" userId="2d5b7065-31bb-4181-a7f8-a73bf0c30211" providerId="ADAL" clId="{9344D105-636D-4857-BD0F-AFC44A54BCCF}" dt="2021-05-25T14:20:10.944" v="27565" actId="790"/>
          <ac:spMkLst>
            <pc:docMk/>
            <pc:sldMk cId="990182598" sldId="6698"/>
            <ac:spMk id="10" creationId="{81259CFA-79AD-4D12-96A5-F00740341C71}"/>
          </ac:spMkLst>
        </pc:spChg>
        <pc:spChg chg="mod">
          <ac:chgData name="Ugo MANTEL" userId="2d5b7065-31bb-4181-a7f8-a73bf0c30211" providerId="ADAL" clId="{9344D105-636D-4857-BD0F-AFC44A54BCCF}" dt="2021-05-25T14:20:10.947" v="27569" actId="790"/>
          <ac:spMkLst>
            <pc:docMk/>
            <pc:sldMk cId="990182598" sldId="6698"/>
            <ac:spMk id="28" creationId="{7777DC2C-56F7-4A75-B50C-72EFED78B76E}"/>
          </ac:spMkLst>
        </pc:spChg>
        <pc:spChg chg="mod">
          <ac:chgData name="Ugo MANTEL" userId="2d5b7065-31bb-4181-a7f8-a73bf0c30211" providerId="ADAL" clId="{9344D105-636D-4857-BD0F-AFC44A54BCCF}" dt="2021-05-25T14:20:10.948" v="27570" actId="790"/>
          <ac:spMkLst>
            <pc:docMk/>
            <pc:sldMk cId="990182598" sldId="6698"/>
            <ac:spMk id="29" creationId="{15863018-612D-48F3-8E22-BBA8251E97A9}"/>
          </ac:spMkLst>
        </pc:spChg>
        <pc:spChg chg="mod">
          <ac:chgData name="Ugo MANTEL" userId="2d5b7065-31bb-4181-a7f8-a73bf0c30211" providerId="ADAL" clId="{9344D105-636D-4857-BD0F-AFC44A54BCCF}" dt="2021-05-25T14:20:10.949" v="27571" actId="790"/>
          <ac:spMkLst>
            <pc:docMk/>
            <pc:sldMk cId="990182598" sldId="6698"/>
            <ac:spMk id="30" creationId="{F8930804-5FDC-4893-8E81-C3B6EC3A8C43}"/>
          </ac:spMkLst>
        </pc:spChg>
        <pc:spChg chg="mod">
          <ac:chgData name="Ugo MANTEL" userId="2d5b7065-31bb-4181-a7f8-a73bf0c30211" providerId="ADAL" clId="{9344D105-636D-4857-BD0F-AFC44A54BCCF}" dt="2021-05-25T14:20:10.959" v="27587" actId="790"/>
          <ac:spMkLst>
            <pc:docMk/>
            <pc:sldMk cId="990182598" sldId="6698"/>
            <ac:spMk id="32" creationId="{FC59D167-E0C7-4585-BB36-34CAD478EDC3}"/>
          </ac:spMkLst>
        </pc:spChg>
        <pc:spChg chg="mod">
          <ac:chgData name="Ugo MANTEL" userId="2d5b7065-31bb-4181-a7f8-a73bf0c30211" providerId="ADAL" clId="{9344D105-636D-4857-BD0F-AFC44A54BCCF}" dt="2021-05-25T14:20:10.960" v="27588" actId="790"/>
          <ac:spMkLst>
            <pc:docMk/>
            <pc:sldMk cId="990182598" sldId="6698"/>
            <ac:spMk id="33" creationId="{5F7A1659-5F5C-4AE3-BA70-1FF90045628A}"/>
          </ac:spMkLst>
        </pc:spChg>
        <pc:spChg chg="mod">
          <ac:chgData name="Ugo MANTEL" userId="2d5b7065-31bb-4181-a7f8-a73bf0c30211" providerId="ADAL" clId="{9344D105-636D-4857-BD0F-AFC44A54BCCF}" dt="2021-05-25T14:20:10.960" v="27589" actId="790"/>
          <ac:spMkLst>
            <pc:docMk/>
            <pc:sldMk cId="990182598" sldId="6698"/>
            <ac:spMk id="34" creationId="{584D0FC5-E262-4974-A406-E202CFA26BF5}"/>
          </ac:spMkLst>
        </pc:spChg>
        <pc:spChg chg="mod">
          <ac:chgData name="Ugo MANTEL" userId="2d5b7065-31bb-4181-a7f8-a73bf0c30211" providerId="ADAL" clId="{9344D105-636D-4857-BD0F-AFC44A54BCCF}" dt="2021-05-25T14:20:10.949" v="27572" actId="790"/>
          <ac:spMkLst>
            <pc:docMk/>
            <pc:sldMk cId="990182598" sldId="6698"/>
            <ac:spMk id="36" creationId="{8CB92FE7-E5D8-41A4-B988-EF32549C8205}"/>
          </ac:spMkLst>
        </pc:spChg>
        <pc:spChg chg="mod">
          <ac:chgData name="Ugo MANTEL" userId="2d5b7065-31bb-4181-a7f8-a73bf0c30211" providerId="ADAL" clId="{9344D105-636D-4857-BD0F-AFC44A54BCCF}" dt="2021-05-25T14:20:10.950" v="27573" actId="790"/>
          <ac:spMkLst>
            <pc:docMk/>
            <pc:sldMk cId="990182598" sldId="6698"/>
            <ac:spMk id="37" creationId="{C6AEEC41-30BE-4E36-A252-6237D6B480CD}"/>
          </ac:spMkLst>
        </pc:spChg>
        <pc:spChg chg="mod">
          <ac:chgData name="Ugo MANTEL" userId="2d5b7065-31bb-4181-a7f8-a73bf0c30211" providerId="ADAL" clId="{9344D105-636D-4857-BD0F-AFC44A54BCCF}" dt="2021-05-25T14:20:10.951" v="27574" actId="790"/>
          <ac:spMkLst>
            <pc:docMk/>
            <pc:sldMk cId="990182598" sldId="6698"/>
            <ac:spMk id="38" creationId="{DEC90A7F-F3A2-47A7-97E7-3E3DC1DD4FCF}"/>
          </ac:spMkLst>
        </pc:spChg>
        <pc:spChg chg="mod">
          <ac:chgData name="Ugo MANTEL" userId="2d5b7065-31bb-4181-a7f8-a73bf0c30211" providerId="ADAL" clId="{9344D105-636D-4857-BD0F-AFC44A54BCCF}" dt="2021-05-25T14:20:10.961" v="27590" actId="790"/>
          <ac:spMkLst>
            <pc:docMk/>
            <pc:sldMk cId="990182598" sldId="6698"/>
            <ac:spMk id="41" creationId="{E7C017FF-DCB9-4DAC-9525-680162473704}"/>
          </ac:spMkLst>
        </pc:spChg>
        <pc:spChg chg="mod">
          <ac:chgData name="Ugo MANTEL" userId="2d5b7065-31bb-4181-a7f8-a73bf0c30211" providerId="ADAL" clId="{9344D105-636D-4857-BD0F-AFC44A54BCCF}" dt="2021-05-25T14:20:10.952" v="27575" actId="790"/>
          <ac:spMkLst>
            <pc:docMk/>
            <pc:sldMk cId="990182598" sldId="6698"/>
            <ac:spMk id="42" creationId="{21A10AF6-89F4-4DA8-AC44-170C6C9E5856}"/>
          </ac:spMkLst>
        </pc:spChg>
        <pc:spChg chg="mod">
          <ac:chgData name="Ugo MANTEL" userId="2d5b7065-31bb-4181-a7f8-a73bf0c30211" providerId="ADAL" clId="{9344D105-636D-4857-BD0F-AFC44A54BCCF}" dt="2021-05-25T14:20:10.952" v="27576" actId="790"/>
          <ac:spMkLst>
            <pc:docMk/>
            <pc:sldMk cId="990182598" sldId="6698"/>
            <ac:spMk id="43" creationId="{17EDA2E0-110B-442F-911F-B8D10AB63B2E}"/>
          </ac:spMkLst>
        </pc:spChg>
        <pc:spChg chg="mod">
          <ac:chgData name="Ugo MANTEL" userId="2d5b7065-31bb-4181-a7f8-a73bf0c30211" providerId="ADAL" clId="{9344D105-636D-4857-BD0F-AFC44A54BCCF}" dt="2021-05-25T14:20:10.953" v="27577" actId="790"/>
          <ac:spMkLst>
            <pc:docMk/>
            <pc:sldMk cId="990182598" sldId="6698"/>
            <ac:spMk id="44" creationId="{10A4AF48-EF50-4F85-AE20-C3B66CF088C4}"/>
          </ac:spMkLst>
        </pc:spChg>
        <pc:spChg chg="mod">
          <ac:chgData name="Ugo MANTEL" userId="2d5b7065-31bb-4181-a7f8-a73bf0c30211" providerId="ADAL" clId="{9344D105-636D-4857-BD0F-AFC44A54BCCF}" dt="2021-05-25T14:20:10.954" v="27578" actId="790"/>
          <ac:spMkLst>
            <pc:docMk/>
            <pc:sldMk cId="990182598" sldId="6698"/>
            <ac:spMk id="45" creationId="{C1D8EA0F-A684-445D-852B-345CD83FAF4A}"/>
          </ac:spMkLst>
        </pc:spChg>
        <pc:spChg chg="mod">
          <ac:chgData name="Ugo MANTEL" userId="2d5b7065-31bb-4181-a7f8-a73bf0c30211" providerId="ADAL" clId="{9344D105-636D-4857-BD0F-AFC44A54BCCF}" dt="2021-05-25T14:20:10.954" v="27579" actId="790"/>
          <ac:spMkLst>
            <pc:docMk/>
            <pc:sldMk cId="990182598" sldId="6698"/>
            <ac:spMk id="46" creationId="{CABC735E-A0E5-44B7-81CA-4F351EF9F050}"/>
          </ac:spMkLst>
        </pc:spChg>
        <pc:spChg chg="mod">
          <ac:chgData name="Ugo MANTEL" userId="2d5b7065-31bb-4181-a7f8-a73bf0c30211" providerId="ADAL" clId="{9344D105-636D-4857-BD0F-AFC44A54BCCF}" dt="2021-05-25T14:20:10.955" v="27580" actId="790"/>
          <ac:spMkLst>
            <pc:docMk/>
            <pc:sldMk cId="990182598" sldId="6698"/>
            <ac:spMk id="47" creationId="{803EE2E9-E271-4CD9-A494-FACE270F179E}"/>
          </ac:spMkLst>
        </pc:spChg>
        <pc:spChg chg="mod">
          <ac:chgData name="Ugo MANTEL" userId="2d5b7065-31bb-4181-a7f8-a73bf0c30211" providerId="ADAL" clId="{9344D105-636D-4857-BD0F-AFC44A54BCCF}" dt="2021-05-25T14:20:10.956" v="27581" actId="790"/>
          <ac:spMkLst>
            <pc:docMk/>
            <pc:sldMk cId="990182598" sldId="6698"/>
            <ac:spMk id="48" creationId="{C7C3F071-26CB-4F08-9CED-97C7698D30BF}"/>
          </ac:spMkLst>
        </pc:spChg>
        <pc:spChg chg="mod">
          <ac:chgData name="Ugo MANTEL" userId="2d5b7065-31bb-4181-a7f8-a73bf0c30211" providerId="ADAL" clId="{9344D105-636D-4857-BD0F-AFC44A54BCCF}" dt="2021-05-25T14:20:10.956" v="27582" actId="790"/>
          <ac:spMkLst>
            <pc:docMk/>
            <pc:sldMk cId="990182598" sldId="6698"/>
            <ac:spMk id="49" creationId="{073A6D66-B62C-4727-9AE2-691BDFAD7BA8}"/>
          </ac:spMkLst>
        </pc:spChg>
        <pc:spChg chg="mod">
          <ac:chgData name="Ugo MANTEL" userId="2d5b7065-31bb-4181-a7f8-a73bf0c30211" providerId="ADAL" clId="{9344D105-636D-4857-BD0F-AFC44A54BCCF}" dt="2021-05-25T14:20:10.957" v="27583" actId="790"/>
          <ac:spMkLst>
            <pc:docMk/>
            <pc:sldMk cId="990182598" sldId="6698"/>
            <ac:spMk id="50" creationId="{22FD2612-8A28-4DFD-8887-ACAC783C1714}"/>
          </ac:spMkLst>
        </pc:spChg>
        <pc:spChg chg="mod">
          <ac:chgData name="Ugo MANTEL" userId="2d5b7065-31bb-4181-a7f8-a73bf0c30211" providerId="ADAL" clId="{9344D105-636D-4857-BD0F-AFC44A54BCCF}" dt="2021-05-25T14:20:10.957" v="27584" actId="790"/>
          <ac:spMkLst>
            <pc:docMk/>
            <pc:sldMk cId="990182598" sldId="6698"/>
            <ac:spMk id="51" creationId="{20782AA8-B0B8-4114-BAE2-48FF78B565A4}"/>
          </ac:spMkLst>
        </pc:spChg>
        <pc:spChg chg="mod">
          <ac:chgData name="Ugo MANTEL" userId="2d5b7065-31bb-4181-a7f8-a73bf0c30211" providerId="ADAL" clId="{9344D105-636D-4857-BD0F-AFC44A54BCCF}" dt="2021-05-25T14:20:10.958" v="27585" actId="790"/>
          <ac:spMkLst>
            <pc:docMk/>
            <pc:sldMk cId="990182598" sldId="6698"/>
            <ac:spMk id="52" creationId="{D11A7283-E4B1-418D-83B3-3F4FD0C037B4}"/>
          </ac:spMkLst>
        </pc:spChg>
        <pc:spChg chg="mod">
          <ac:chgData name="Ugo MANTEL" userId="2d5b7065-31bb-4181-a7f8-a73bf0c30211" providerId="ADAL" clId="{9344D105-636D-4857-BD0F-AFC44A54BCCF}" dt="2021-05-25T14:20:10.959" v="27586" actId="790"/>
          <ac:spMkLst>
            <pc:docMk/>
            <pc:sldMk cId="990182598" sldId="6698"/>
            <ac:spMk id="53" creationId="{EDA30FC2-7439-417B-92CB-BD69D883C8BB}"/>
          </ac:spMkLst>
        </pc:spChg>
        <pc:spChg chg="mod">
          <ac:chgData name="Ugo MANTEL" userId="2d5b7065-31bb-4181-a7f8-a73bf0c30211" providerId="ADAL" clId="{9344D105-636D-4857-BD0F-AFC44A54BCCF}" dt="2021-05-25T14:20:10.961" v="27591" actId="790"/>
          <ac:spMkLst>
            <pc:docMk/>
            <pc:sldMk cId="990182598" sldId="6698"/>
            <ac:spMk id="55" creationId="{CCAAEDDA-021D-4A00-97A5-F63ED7BB258D}"/>
          </ac:spMkLst>
        </pc:spChg>
        <pc:spChg chg="mod">
          <ac:chgData name="Ugo MANTEL" userId="2d5b7065-31bb-4181-a7f8-a73bf0c30211" providerId="ADAL" clId="{9344D105-636D-4857-BD0F-AFC44A54BCCF}" dt="2021-05-25T14:20:10.945" v="27566" actId="790"/>
          <ac:spMkLst>
            <pc:docMk/>
            <pc:sldMk cId="990182598" sldId="6698"/>
            <ac:spMk id="56" creationId="{27893590-1F59-43C2-9C0C-0120C309BA8A}"/>
          </ac:spMkLst>
        </pc:spChg>
        <pc:spChg chg="mod">
          <ac:chgData name="Ugo MANTEL" userId="2d5b7065-31bb-4181-a7f8-a73bf0c30211" providerId="ADAL" clId="{9344D105-636D-4857-BD0F-AFC44A54BCCF}" dt="2021-05-25T14:20:10.946" v="27567" actId="790"/>
          <ac:spMkLst>
            <pc:docMk/>
            <pc:sldMk cId="990182598" sldId="6698"/>
            <ac:spMk id="57" creationId="{CE631BE4-AB26-45EF-8883-741069A2DDB6}"/>
          </ac:spMkLst>
        </pc:spChg>
        <pc:spChg chg="mod">
          <ac:chgData name="Ugo MANTEL" userId="2d5b7065-31bb-4181-a7f8-a73bf0c30211" providerId="ADAL" clId="{9344D105-636D-4857-BD0F-AFC44A54BCCF}" dt="2021-05-25T14:20:10.946" v="27568" actId="790"/>
          <ac:spMkLst>
            <pc:docMk/>
            <pc:sldMk cId="990182598" sldId="6698"/>
            <ac:spMk id="58" creationId="{DDA40389-1778-47B0-A0F2-FC90D736D7D2}"/>
          </ac:spMkLst>
        </pc:spChg>
        <pc:spChg chg="mod">
          <ac:chgData name="Ugo MANTEL" userId="2d5b7065-31bb-4181-a7f8-a73bf0c30211" providerId="ADAL" clId="{9344D105-636D-4857-BD0F-AFC44A54BCCF}" dt="2021-05-25T14:20:10.962" v="27592" actId="790"/>
          <ac:spMkLst>
            <pc:docMk/>
            <pc:sldMk cId="990182598" sldId="6698"/>
            <ac:spMk id="59" creationId="{965BC9B1-B429-4170-B5F6-B2CD96B6CA11}"/>
          </ac:spMkLst>
        </pc:spChg>
        <pc:spChg chg="mod">
          <ac:chgData name="Ugo MANTEL" userId="2d5b7065-31bb-4181-a7f8-a73bf0c30211" providerId="ADAL" clId="{9344D105-636D-4857-BD0F-AFC44A54BCCF}" dt="2021-05-25T14:20:10.963" v="27593" actId="790"/>
          <ac:spMkLst>
            <pc:docMk/>
            <pc:sldMk cId="990182598" sldId="6698"/>
            <ac:spMk id="60" creationId="{05DCE137-0FF7-4553-A3BF-883D20C6BCB9}"/>
          </ac:spMkLst>
        </pc:spChg>
        <pc:spChg chg="mod">
          <ac:chgData name="Ugo MANTEL" userId="2d5b7065-31bb-4181-a7f8-a73bf0c30211" providerId="ADAL" clId="{9344D105-636D-4857-BD0F-AFC44A54BCCF}" dt="2021-05-25T14:20:10.964" v="27594" actId="790"/>
          <ac:spMkLst>
            <pc:docMk/>
            <pc:sldMk cId="990182598" sldId="6698"/>
            <ac:spMk id="61" creationId="{CCE2DDAF-0021-4B78-A396-6AC6179A8B52}"/>
          </ac:spMkLst>
        </pc:spChg>
        <pc:spChg chg="mod">
          <ac:chgData name="Ugo MANTEL" userId="2d5b7065-31bb-4181-a7f8-a73bf0c30211" providerId="ADAL" clId="{9344D105-636D-4857-BD0F-AFC44A54BCCF}" dt="2021-05-25T14:20:10.965" v="27595" actId="790"/>
          <ac:spMkLst>
            <pc:docMk/>
            <pc:sldMk cId="990182598" sldId="6698"/>
            <ac:spMk id="62" creationId="{8E2507AD-32B2-417D-AAF6-12E72512B916}"/>
          </ac:spMkLst>
        </pc:spChg>
        <pc:spChg chg="mod">
          <ac:chgData name="Ugo MANTEL" userId="2d5b7065-31bb-4181-a7f8-a73bf0c30211" providerId="ADAL" clId="{9344D105-636D-4857-BD0F-AFC44A54BCCF}" dt="2021-05-25T14:20:10.965" v="27596" actId="790"/>
          <ac:spMkLst>
            <pc:docMk/>
            <pc:sldMk cId="990182598" sldId="6698"/>
            <ac:spMk id="63" creationId="{928CE8A9-C734-44A9-A904-6376D1DA6FF2}"/>
          </ac:spMkLst>
        </pc:spChg>
        <pc:spChg chg="mod">
          <ac:chgData name="Ugo MANTEL" userId="2d5b7065-31bb-4181-a7f8-a73bf0c30211" providerId="ADAL" clId="{9344D105-636D-4857-BD0F-AFC44A54BCCF}" dt="2021-05-25T14:20:10.966" v="27597" actId="790"/>
          <ac:spMkLst>
            <pc:docMk/>
            <pc:sldMk cId="990182598" sldId="6698"/>
            <ac:spMk id="64" creationId="{1F408666-62CF-4F7F-B76F-AF4EDC436FDE}"/>
          </ac:spMkLst>
        </pc:spChg>
        <pc:spChg chg="mod">
          <ac:chgData name="Ugo MANTEL" userId="2d5b7065-31bb-4181-a7f8-a73bf0c30211" providerId="ADAL" clId="{9344D105-636D-4857-BD0F-AFC44A54BCCF}" dt="2021-05-25T14:20:10.967" v="27598" actId="790"/>
          <ac:spMkLst>
            <pc:docMk/>
            <pc:sldMk cId="990182598" sldId="6698"/>
            <ac:spMk id="65" creationId="{5B754191-73C8-4BF5-A8EF-611A56EF3C03}"/>
          </ac:spMkLst>
        </pc:spChg>
      </pc:sldChg>
      <pc:sldChg chg="addSp modSp mod">
        <pc:chgData name="Ugo MANTEL" userId="2d5b7065-31bb-4181-a7f8-a73bf0c30211" providerId="ADAL" clId="{9344D105-636D-4857-BD0F-AFC44A54BCCF}" dt="2021-05-25T14:20:13.587" v="30290" actId="790"/>
        <pc:sldMkLst>
          <pc:docMk/>
          <pc:sldMk cId="740701424" sldId="6959"/>
        </pc:sldMkLst>
        <pc:spChg chg="mod">
          <ac:chgData name="Ugo MANTEL" userId="2d5b7065-31bb-4181-a7f8-a73bf0c30211" providerId="ADAL" clId="{9344D105-636D-4857-BD0F-AFC44A54BCCF}" dt="2021-05-25T14:20:13.565" v="30265" actId="790"/>
          <ac:spMkLst>
            <pc:docMk/>
            <pc:sldMk cId="740701424" sldId="6959"/>
            <ac:spMk id="7" creationId="{F59BFDDC-63FF-4CDF-9FA9-5814668C648B}"/>
          </ac:spMkLst>
        </pc:spChg>
        <pc:spChg chg="mod">
          <ac:chgData name="Ugo MANTEL" userId="2d5b7065-31bb-4181-a7f8-a73bf0c30211" providerId="ADAL" clId="{9344D105-636D-4857-BD0F-AFC44A54BCCF}" dt="2021-05-25T14:20:13.566" v="30266" actId="790"/>
          <ac:spMkLst>
            <pc:docMk/>
            <pc:sldMk cId="740701424" sldId="6959"/>
            <ac:spMk id="9" creationId="{49F50324-8FE3-49D2-AC0C-64BB9668D89C}"/>
          </ac:spMkLst>
        </pc:spChg>
        <pc:spChg chg="mod">
          <ac:chgData name="Ugo MANTEL" userId="2d5b7065-31bb-4181-a7f8-a73bf0c30211" providerId="ADAL" clId="{9344D105-636D-4857-BD0F-AFC44A54BCCF}" dt="2021-05-25T14:20:13.567" v="30267" actId="790"/>
          <ac:spMkLst>
            <pc:docMk/>
            <pc:sldMk cId="740701424" sldId="6959"/>
            <ac:spMk id="17" creationId="{18E4EC05-2AF6-4906-B53C-3312003D909B}"/>
          </ac:spMkLst>
        </pc:spChg>
        <pc:spChg chg="mod">
          <ac:chgData name="Ugo MANTEL" userId="2d5b7065-31bb-4181-a7f8-a73bf0c30211" providerId="ADAL" clId="{9344D105-636D-4857-BD0F-AFC44A54BCCF}" dt="2021-05-25T14:20:13.568" v="30268" actId="790"/>
          <ac:spMkLst>
            <pc:docMk/>
            <pc:sldMk cId="740701424" sldId="6959"/>
            <ac:spMk id="20" creationId="{F4497158-D34C-4419-B3D0-F17C1F7D7709}"/>
          </ac:spMkLst>
        </pc:spChg>
        <pc:spChg chg="mod">
          <ac:chgData name="Ugo MANTEL" userId="2d5b7065-31bb-4181-a7f8-a73bf0c30211" providerId="ADAL" clId="{9344D105-636D-4857-BD0F-AFC44A54BCCF}" dt="2021-05-25T14:20:13.569" v="30269" actId="790"/>
          <ac:spMkLst>
            <pc:docMk/>
            <pc:sldMk cId="740701424" sldId="6959"/>
            <ac:spMk id="21" creationId="{C08B3B04-74BD-4387-A846-860B933AEE15}"/>
          </ac:spMkLst>
        </pc:spChg>
        <pc:spChg chg="mod">
          <ac:chgData name="Ugo MANTEL" userId="2d5b7065-31bb-4181-a7f8-a73bf0c30211" providerId="ADAL" clId="{9344D105-636D-4857-BD0F-AFC44A54BCCF}" dt="2021-05-25T14:20:13.570" v="30270" actId="790"/>
          <ac:spMkLst>
            <pc:docMk/>
            <pc:sldMk cId="740701424" sldId="6959"/>
            <ac:spMk id="26" creationId="{6CF5A286-62AE-4EAD-96EE-EA84E93052E2}"/>
          </ac:spMkLst>
        </pc:spChg>
        <pc:spChg chg="mod">
          <ac:chgData name="Ugo MANTEL" userId="2d5b7065-31bb-4181-a7f8-a73bf0c30211" providerId="ADAL" clId="{9344D105-636D-4857-BD0F-AFC44A54BCCF}" dt="2021-05-25T14:20:13.571" v="30271" actId="790"/>
          <ac:spMkLst>
            <pc:docMk/>
            <pc:sldMk cId="740701424" sldId="6959"/>
            <ac:spMk id="29" creationId="{424718BD-FEEC-42C2-BA94-3948DB62C7BC}"/>
          </ac:spMkLst>
        </pc:spChg>
        <pc:spChg chg="mod">
          <ac:chgData name="Ugo MANTEL" userId="2d5b7065-31bb-4181-a7f8-a73bf0c30211" providerId="ADAL" clId="{9344D105-636D-4857-BD0F-AFC44A54BCCF}" dt="2021-05-25T14:20:13.572" v="30272" actId="790"/>
          <ac:spMkLst>
            <pc:docMk/>
            <pc:sldMk cId="740701424" sldId="6959"/>
            <ac:spMk id="30" creationId="{F6963B07-4E20-4979-920A-F73372DEAA03}"/>
          </ac:spMkLst>
        </pc:spChg>
        <pc:spChg chg="mod">
          <ac:chgData name="Ugo MANTEL" userId="2d5b7065-31bb-4181-a7f8-a73bf0c30211" providerId="ADAL" clId="{9344D105-636D-4857-BD0F-AFC44A54BCCF}" dt="2021-05-25T14:20:13.572" v="30273" actId="790"/>
          <ac:spMkLst>
            <pc:docMk/>
            <pc:sldMk cId="740701424" sldId="6959"/>
            <ac:spMk id="32" creationId="{C13EEF92-6C77-4133-9353-B4FBF57D95B4}"/>
          </ac:spMkLst>
        </pc:spChg>
        <pc:spChg chg="mod">
          <ac:chgData name="Ugo MANTEL" userId="2d5b7065-31bb-4181-a7f8-a73bf0c30211" providerId="ADAL" clId="{9344D105-636D-4857-BD0F-AFC44A54BCCF}" dt="2021-05-25T14:20:13.574" v="30274" actId="790"/>
          <ac:spMkLst>
            <pc:docMk/>
            <pc:sldMk cId="740701424" sldId="6959"/>
            <ac:spMk id="33" creationId="{044C515C-AB92-4EFF-B0C5-B157114ACC30}"/>
          </ac:spMkLst>
        </pc:spChg>
        <pc:spChg chg="mod">
          <ac:chgData name="Ugo MANTEL" userId="2d5b7065-31bb-4181-a7f8-a73bf0c30211" providerId="ADAL" clId="{9344D105-636D-4857-BD0F-AFC44A54BCCF}" dt="2021-05-25T14:20:13.575" v="30275" actId="790"/>
          <ac:spMkLst>
            <pc:docMk/>
            <pc:sldMk cId="740701424" sldId="6959"/>
            <ac:spMk id="34" creationId="{95747EA9-B0FD-4326-B394-D81C6A6378A6}"/>
          </ac:spMkLst>
        </pc:spChg>
        <pc:spChg chg="mod">
          <ac:chgData name="Ugo MANTEL" userId="2d5b7065-31bb-4181-a7f8-a73bf0c30211" providerId="ADAL" clId="{9344D105-636D-4857-BD0F-AFC44A54BCCF}" dt="2021-05-25T14:20:13.576" v="30276" actId="790"/>
          <ac:spMkLst>
            <pc:docMk/>
            <pc:sldMk cId="740701424" sldId="6959"/>
            <ac:spMk id="36" creationId="{93A41892-9175-4003-9FFE-2BD4CC56AE96}"/>
          </ac:spMkLst>
        </pc:spChg>
        <pc:spChg chg="mod">
          <ac:chgData name="Ugo MANTEL" userId="2d5b7065-31bb-4181-a7f8-a73bf0c30211" providerId="ADAL" clId="{9344D105-636D-4857-BD0F-AFC44A54BCCF}" dt="2021-05-25T14:20:13.578" v="30277" actId="790"/>
          <ac:spMkLst>
            <pc:docMk/>
            <pc:sldMk cId="740701424" sldId="6959"/>
            <ac:spMk id="38" creationId="{DED28D0A-D139-4A93-95E1-E1BD7899482F}"/>
          </ac:spMkLst>
        </pc:spChg>
        <pc:spChg chg="add mod">
          <ac:chgData name="Ugo MANTEL" userId="2d5b7065-31bb-4181-a7f8-a73bf0c30211" providerId="ADAL" clId="{9344D105-636D-4857-BD0F-AFC44A54BCCF}" dt="2021-05-25T14:20:13.587" v="30290" actId="790"/>
          <ac:spMkLst>
            <pc:docMk/>
            <pc:sldMk cId="740701424" sldId="6959"/>
            <ac:spMk id="40" creationId="{8B78A48D-A92E-4D2A-B97F-61F5808A1067}"/>
          </ac:spMkLst>
        </pc:spChg>
        <pc:spChg chg="mod">
          <ac:chgData name="Ugo MANTEL" userId="2d5b7065-31bb-4181-a7f8-a73bf0c30211" providerId="ADAL" clId="{9344D105-636D-4857-BD0F-AFC44A54BCCF}" dt="2021-05-25T14:20:13.578" v="30278" actId="790"/>
          <ac:spMkLst>
            <pc:docMk/>
            <pc:sldMk cId="740701424" sldId="6959"/>
            <ac:spMk id="42" creationId="{AA014D92-B2A7-4508-93BA-2C0134CC9621}"/>
          </ac:spMkLst>
        </pc:spChg>
        <pc:spChg chg="mod">
          <ac:chgData name="Ugo MANTEL" userId="2d5b7065-31bb-4181-a7f8-a73bf0c30211" providerId="ADAL" clId="{9344D105-636D-4857-BD0F-AFC44A54BCCF}" dt="2021-05-25T14:20:13.579" v="30279" actId="790"/>
          <ac:spMkLst>
            <pc:docMk/>
            <pc:sldMk cId="740701424" sldId="6959"/>
            <ac:spMk id="43" creationId="{F14F51AA-0542-42F6-8057-9788E1A01863}"/>
          </ac:spMkLst>
        </pc:spChg>
        <pc:spChg chg="mod">
          <ac:chgData name="Ugo MANTEL" userId="2d5b7065-31bb-4181-a7f8-a73bf0c30211" providerId="ADAL" clId="{9344D105-636D-4857-BD0F-AFC44A54BCCF}" dt="2021-05-25T14:20:13.580" v="30280" actId="790"/>
          <ac:spMkLst>
            <pc:docMk/>
            <pc:sldMk cId="740701424" sldId="6959"/>
            <ac:spMk id="54" creationId="{38B7306C-C51D-4644-865B-6AE19B24B543}"/>
          </ac:spMkLst>
        </pc:spChg>
        <pc:spChg chg="mod">
          <ac:chgData name="Ugo MANTEL" userId="2d5b7065-31bb-4181-a7f8-a73bf0c30211" providerId="ADAL" clId="{9344D105-636D-4857-BD0F-AFC44A54BCCF}" dt="2021-05-25T14:20:13.581" v="30281" actId="790"/>
          <ac:spMkLst>
            <pc:docMk/>
            <pc:sldMk cId="740701424" sldId="6959"/>
            <ac:spMk id="55" creationId="{BB50F5C0-B75D-439C-9D59-F4F6D679A946}"/>
          </ac:spMkLst>
        </pc:spChg>
        <pc:spChg chg="mod">
          <ac:chgData name="Ugo MANTEL" userId="2d5b7065-31bb-4181-a7f8-a73bf0c30211" providerId="ADAL" clId="{9344D105-636D-4857-BD0F-AFC44A54BCCF}" dt="2021-05-25T14:20:13.582" v="30282" actId="790"/>
          <ac:spMkLst>
            <pc:docMk/>
            <pc:sldMk cId="740701424" sldId="6959"/>
            <ac:spMk id="57" creationId="{E0F76770-D097-4940-99DE-18677AF56B89}"/>
          </ac:spMkLst>
        </pc:spChg>
        <pc:spChg chg="mod">
          <ac:chgData name="Ugo MANTEL" userId="2d5b7065-31bb-4181-a7f8-a73bf0c30211" providerId="ADAL" clId="{9344D105-636D-4857-BD0F-AFC44A54BCCF}" dt="2021-05-25T14:20:13.582" v="30283" actId="790"/>
          <ac:spMkLst>
            <pc:docMk/>
            <pc:sldMk cId="740701424" sldId="6959"/>
            <ac:spMk id="58" creationId="{BA0537E7-3AFE-415D-B637-E3A80D9AB377}"/>
          </ac:spMkLst>
        </pc:spChg>
        <pc:spChg chg="mod">
          <ac:chgData name="Ugo MANTEL" userId="2d5b7065-31bb-4181-a7f8-a73bf0c30211" providerId="ADAL" clId="{9344D105-636D-4857-BD0F-AFC44A54BCCF}" dt="2021-05-25T14:20:13.583" v="30284" actId="790"/>
          <ac:spMkLst>
            <pc:docMk/>
            <pc:sldMk cId="740701424" sldId="6959"/>
            <ac:spMk id="64" creationId="{FB0966A3-7BFB-4B97-B5BA-687C10B91E0A}"/>
          </ac:spMkLst>
        </pc:spChg>
        <pc:spChg chg="mod">
          <ac:chgData name="Ugo MANTEL" userId="2d5b7065-31bb-4181-a7f8-a73bf0c30211" providerId="ADAL" clId="{9344D105-636D-4857-BD0F-AFC44A54BCCF}" dt="2021-05-25T14:20:13.583" v="30285" actId="790"/>
          <ac:spMkLst>
            <pc:docMk/>
            <pc:sldMk cId="740701424" sldId="6959"/>
            <ac:spMk id="65" creationId="{8DC4DF31-E991-4394-B4EA-1B6846F1017B}"/>
          </ac:spMkLst>
        </pc:spChg>
        <pc:spChg chg="mod">
          <ac:chgData name="Ugo MANTEL" userId="2d5b7065-31bb-4181-a7f8-a73bf0c30211" providerId="ADAL" clId="{9344D105-636D-4857-BD0F-AFC44A54BCCF}" dt="2021-05-25T14:20:13.584" v="30286" actId="790"/>
          <ac:spMkLst>
            <pc:docMk/>
            <pc:sldMk cId="740701424" sldId="6959"/>
            <ac:spMk id="66" creationId="{033643DA-06F1-467E-94E0-6AFEDAD56E10}"/>
          </ac:spMkLst>
        </pc:spChg>
        <pc:spChg chg="mod">
          <ac:chgData name="Ugo MANTEL" userId="2d5b7065-31bb-4181-a7f8-a73bf0c30211" providerId="ADAL" clId="{9344D105-636D-4857-BD0F-AFC44A54BCCF}" dt="2021-05-25T14:20:13.585" v="30287" actId="790"/>
          <ac:spMkLst>
            <pc:docMk/>
            <pc:sldMk cId="740701424" sldId="6959"/>
            <ac:spMk id="67" creationId="{E92DAD5B-79EE-48F6-9FEF-73E7D9DC575B}"/>
          </ac:spMkLst>
        </pc:spChg>
        <pc:spChg chg="mod">
          <ac:chgData name="Ugo MANTEL" userId="2d5b7065-31bb-4181-a7f8-a73bf0c30211" providerId="ADAL" clId="{9344D105-636D-4857-BD0F-AFC44A54BCCF}" dt="2021-05-25T14:20:13.585" v="30288" actId="790"/>
          <ac:spMkLst>
            <pc:docMk/>
            <pc:sldMk cId="740701424" sldId="6959"/>
            <ac:spMk id="68" creationId="{DEE456DD-FFB7-4348-806E-D22284A10DB1}"/>
          </ac:spMkLst>
        </pc:spChg>
        <pc:spChg chg="mod">
          <ac:chgData name="Ugo MANTEL" userId="2d5b7065-31bb-4181-a7f8-a73bf0c30211" providerId="ADAL" clId="{9344D105-636D-4857-BD0F-AFC44A54BCCF}" dt="2021-05-25T14:20:13.586" v="30289" actId="790"/>
          <ac:spMkLst>
            <pc:docMk/>
            <pc:sldMk cId="740701424" sldId="6959"/>
            <ac:spMk id="69" creationId="{67C22FF6-4756-4F0B-BC28-1A1B73AC89C8}"/>
          </ac:spMkLst>
        </pc:spChg>
      </pc:sldChg>
      <pc:sldChg chg="modSp mod">
        <pc:chgData name="Ugo MANTEL" userId="2d5b7065-31bb-4181-a7f8-a73bf0c30211" providerId="ADAL" clId="{9344D105-636D-4857-BD0F-AFC44A54BCCF}" dt="2021-05-25T14:20:11.846" v="28549" actId="790"/>
        <pc:sldMkLst>
          <pc:docMk/>
          <pc:sldMk cId="2808160924" sldId="6961"/>
        </pc:sldMkLst>
        <pc:spChg chg="mod">
          <ac:chgData name="Ugo MANTEL" userId="2d5b7065-31bb-4181-a7f8-a73bf0c30211" providerId="ADAL" clId="{9344D105-636D-4857-BD0F-AFC44A54BCCF}" dt="2021-05-25T14:20:11.823" v="28524" actId="790"/>
          <ac:spMkLst>
            <pc:docMk/>
            <pc:sldMk cId="2808160924" sldId="6961"/>
            <ac:spMk id="3" creationId="{EEAF1987-D318-4165-8539-CE9944DDE20A}"/>
          </ac:spMkLst>
        </pc:spChg>
        <pc:spChg chg="mod">
          <ac:chgData name="Ugo MANTEL" userId="2d5b7065-31bb-4181-a7f8-a73bf0c30211" providerId="ADAL" clId="{9344D105-636D-4857-BD0F-AFC44A54BCCF}" dt="2021-05-25T14:20:11.822" v="28523" actId="790"/>
          <ac:spMkLst>
            <pc:docMk/>
            <pc:sldMk cId="2808160924" sldId="6961"/>
            <ac:spMk id="7" creationId="{F59BFDDC-63FF-4CDF-9FA9-5814668C648B}"/>
          </ac:spMkLst>
        </pc:spChg>
        <pc:spChg chg="mod">
          <ac:chgData name="Ugo MANTEL" userId="2d5b7065-31bb-4181-a7f8-a73bf0c30211" providerId="ADAL" clId="{9344D105-636D-4857-BD0F-AFC44A54BCCF}" dt="2021-05-25T14:20:11.821" v="28522" actId="790"/>
          <ac:spMkLst>
            <pc:docMk/>
            <pc:sldMk cId="2808160924" sldId="6961"/>
            <ac:spMk id="22" creationId="{915D1B6E-612E-40C3-AAAD-AD7DCE1807AA}"/>
          </ac:spMkLst>
        </pc:spChg>
        <pc:spChg chg="mod">
          <ac:chgData name="Ugo MANTEL" userId="2d5b7065-31bb-4181-a7f8-a73bf0c30211" providerId="ADAL" clId="{9344D105-636D-4857-BD0F-AFC44A54BCCF}" dt="2021-05-25T14:20:11.824" v="28525" actId="790"/>
          <ac:spMkLst>
            <pc:docMk/>
            <pc:sldMk cId="2808160924" sldId="6961"/>
            <ac:spMk id="32" creationId="{F11BA718-5E1F-4D56-A080-7306BA71EC56}"/>
          </ac:spMkLst>
        </pc:spChg>
        <pc:spChg chg="mod">
          <ac:chgData name="Ugo MANTEL" userId="2d5b7065-31bb-4181-a7f8-a73bf0c30211" providerId="ADAL" clId="{9344D105-636D-4857-BD0F-AFC44A54BCCF}" dt="2021-05-25T14:20:11.825" v="28526" actId="790"/>
          <ac:spMkLst>
            <pc:docMk/>
            <pc:sldMk cId="2808160924" sldId="6961"/>
            <ac:spMk id="33" creationId="{5A86DC5E-7562-4215-BCC6-159FD163B5F0}"/>
          </ac:spMkLst>
        </pc:spChg>
        <pc:spChg chg="mod">
          <ac:chgData name="Ugo MANTEL" userId="2d5b7065-31bb-4181-a7f8-a73bf0c30211" providerId="ADAL" clId="{9344D105-636D-4857-BD0F-AFC44A54BCCF}" dt="2021-05-25T14:20:11.826" v="28527" actId="790"/>
          <ac:spMkLst>
            <pc:docMk/>
            <pc:sldMk cId="2808160924" sldId="6961"/>
            <ac:spMk id="34" creationId="{4541F8E9-9C1C-4528-A806-CF225757AA45}"/>
          </ac:spMkLst>
        </pc:spChg>
        <pc:spChg chg="mod">
          <ac:chgData name="Ugo MANTEL" userId="2d5b7065-31bb-4181-a7f8-a73bf0c30211" providerId="ADAL" clId="{9344D105-636D-4857-BD0F-AFC44A54BCCF}" dt="2021-05-25T14:20:11.827" v="28528" actId="790"/>
          <ac:spMkLst>
            <pc:docMk/>
            <pc:sldMk cId="2808160924" sldId="6961"/>
            <ac:spMk id="35" creationId="{A32B9102-CB94-48AF-94DC-EBC6A8AD50B2}"/>
          </ac:spMkLst>
        </pc:spChg>
        <pc:spChg chg="mod">
          <ac:chgData name="Ugo MANTEL" userId="2d5b7065-31bb-4181-a7f8-a73bf0c30211" providerId="ADAL" clId="{9344D105-636D-4857-BD0F-AFC44A54BCCF}" dt="2021-05-25T14:20:11.829" v="28529" actId="790"/>
          <ac:spMkLst>
            <pc:docMk/>
            <pc:sldMk cId="2808160924" sldId="6961"/>
            <ac:spMk id="36" creationId="{A3146F46-B983-45FC-984A-23D11CF92CF3}"/>
          </ac:spMkLst>
        </pc:spChg>
        <pc:spChg chg="mod">
          <ac:chgData name="Ugo MANTEL" userId="2d5b7065-31bb-4181-a7f8-a73bf0c30211" providerId="ADAL" clId="{9344D105-636D-4857-BD0F-AFC44A54BCCF}" dt="2021-05-25T14:20:11.830" v="28530" actId="790"/>
          <ac:spMkLst>
            <pc:docMk/>
            <pc:sldMk cId="2808160924" sldId="6961"/>
            <ac:spMk id="38" creationId="{60E82FDA-D8F3-4F51-A70E-C2463A95644C}"/>
          </ac:spMkLst>
        </pc:spChg>
        <pc:spChg chg="mod">
          <ac:chgData name="Ugo MANTEL" userId="2d5b7065-31bb-4181-a7f8-a73bf0c30211" providerId="ADAL" clId="{9344D105-636D-4857-BD0F-AFC44A54BCCF}" dt="2021-05-25T14:20:11.831" v="28531" actId="790"/>
          <ac:spMkLst>
            <pc:docMk/>
            <pc:sldMk cId="2808160924" sldId="6961"/>
            <ac:spMk id="39" creationId="{70CEDCAE-DD9E-4FEB-A03A-70A9B2A27108}"/>
          </ac:spMkLst>
        </pc:spChg>
        <pc:spChg chg="mod">
          <ac:chgData name="Ugo MANTEL" userId="2d5b7065-31bb-4181-a7f8-a73bf0c30211" providerId="ADAL" clId="{9344D105-636D-4857-BD0F-AFC44A54BCCF}" dt="2021-05-25T14:20:11.832" v="28532" actId="790"/>
          <ac:spMkLst>
            <pc:docMk/>
            <pc:sldMk cId="2808160924" sldId="6961"/>
            <ac:spMk id="42" creationId="{C007AC2B-F031-4544-B0C5-B373DA55A59B}"/>
          </ac:spMkLst>
        </pc:spChg>
        <pc:spChg chg="mod">
          <ac:chgData name="Ugo MANTEL" userId="2d5b7065-31bb-4181-a7f8-a73bf0c30211" providerId="ADAL" clId="{9344D105-636D-4857-BD0F-AFC44A54BCCF}" dt="2021-05-25T14:20:11.833" v="28533" actId="790"/>
          <ac:spMkLst>
            <pc:docMk/>
            <pc:sldMk cId="2808160924" sldId="6961"/>
            <ac:spMk id="43" creationId="{622D55B0-DD9C-4023-AB94-CE089994EC75}"/>
          </ac:spMkLst>
        </pc:spChg>
        <pc:spChg chg="mod">
          <ac:chgData name="Ugo MANTEL" userId="2d5b7065-31bb-4181-a7f8-a73bf0c30211" providerId="ADAL" clId="{9344D105-636D-4857-BD0F-AFC44A54BCCF}" dt="2021-05-25T14:20:11.846" v="28549" actId="790"/>
          <ac:spMkLst>
            <pc:docMk/>
            <pc:sldMk cId="2808160924" sldId="6961"/>
            <ac:spMk id="44" creationId="{4D0A5FEF-026E-4EBA-94EA-A88280A92840}"/>
          </ac:spMkLst>
        </pc:spChg>
        <pc:spChg chg="mod">
          <ac:chgData name="Ugo MANTEL" userId="2d5b7065-31bb-4181-a7f8-a73bf0c30211" providerId="ADAL" clId="{9344D105-636D-4857-BD0F-AFC44A54BCCF}" dt="2021-05-25T14:20:11.834" v="28534" actId="790"/>
          <ac:spMkLst>
            <pc:docMk/>
            <pc:sldMk cId="2808160924" sldId="6961"/>
            <ac:spMk id="45" creationId="{5CE85AE7-FEE1-44CA-80B3-D0DC0F17E39C}"/>
          </ac:spMkLst>
        </pc:spChg>
        <pc:spChg chg="mod">
          <ac:chgData name="Ugo MANTEL" userId="2d5b7065-31bb-4181-a7f8-a73bf0c30211" providerId="ADAL" clId="{9344D105-636D-4857-BD0F-AFC44A54BCCF}" dt="2021-05-25T14:20:11.834" v="28535" actId="790"/>
          <ac:spMkLst>
            <pc:docMk/>
            <pc:sldMk cId="2808160924" sldId="6961"/>
            <ac:spMk id="53" creationId="{728C0255-F34F-4735-B701-0C6DB6A82697}"/>
          </ac:spMkLst>
        </pc:spChg>
        <pc:spChg chg="mod">
          <ac:chgData name="Ugo MANTEL" userId="2d5b7065-31bb-4181-a7f8-a73bf0c30211" providerId="ADAL" clId="{9344D105-636D-4857-BD0F-AFC44A54BCCF}" dt="2021-05-25T14:20:11.835" v="28536" actId="790"/>
          <ac:spMkLst>
            <pc:docMk/>
            <pc:sldMk cId="2808160924" sldId="6961"/>
            <ac:spMk id="54" creationId="{85B1C81A-231D-48C8-84AE-5EE295244265}"/>
          </ac:spMkLst>
        </pc:spChg>
        <pc:spChg chg="mod">
          <ac:chgData name="Ugo MANTEL" userId="2d5b7065-31bb-4181-a7f8-a73bf0c30211" providerId="ADAL" clId="{9344D105-636D-4857-BD0F-AFC44A54BCCF}" dt="2021-05-25T14:20:11.836" v="28537" actId="790"/>
          <ac:spMkLst>
            <pc:docMk/>
            <pc:sldMk cId="2808160924" sldId="6961"/>
            <ac:spMk id="55" creationId="{CB6B9718-F135-45F8-AEBA-74FA63710745}"/>
          </ac:spMkLst>
        </pc:spChg>
        <pc:spChg chg="mod">
          <ac:chgData name="Ugo MANTEL" userId="2d5b7065-31bb-4181-a7f8-a73bf0c30211" providerId="ADAL" clId="{9344D105-636D-4857-BD0F-AFC44A54BCCF}" dt="2021-05-25T14:20:11.836" v="28538" actId="790"/>
          <ac:spMkLst>
            <pc:docMk/>
            <pc:sldMk cId="2808160924" sldId="6961"/>
            <ac:spMk id="56" creationId="{50EEAD72-D1CC-4940-A4B5-C62651B81DA1}"/>
          </ac:spMkLst>
        </pc:spChg>
        <pc:spChg chg="mod">
          <ac:chgData name="Ugo MANTEL" userId="2d5b7065-31bb-4181-a7f8-a73bf0c30211" providerId="ADAL" clId="{9344D105-636D-4857-BD0F-AFC44A54BCCF}" dt="2021-05-25T14:20:11.837" v="28539" actId="790"/>
          <ac:spMkLst>
            <pc:docMk/>
            <pc:sldMk cId="2808160924" sldId="6961"/>
            <ac:spMk id="58" creationId="{A128AB00-1EA4-4DD2-B033-484B5E768D2A}"/>
          </ac:spMkLst>
        </pc:spChg>
        <pc:spChg chg="mod">
          <ac:chgData name="Ugo MANTEL" userId="2d5b7065-31bb-4181-a7f8-a73bf0c30211" providerId="ADAL" clId="{9344D105-636D-4857-BD0F-AFC44A54BCCF}" dt="2021-05-25T14:20:11.838" v="28540" actId="790"/>
          <ac:spMkLst>
            <pc:docMk/>
            <pc:sldMk cId="2808160924" sldId="6961"/>
            <ac:spMk id="59" creationId="{C527F4D9-5F1F-4346-8985-91CF05F3AB01}"/>
          </ac:spMkLst>
        </pc:spChg>
        <pc:spChg chg="mod">
          <ac:chgData name="Ugo MANTEL" userId="2d5b7065-31bb-4181-a7f8-a73bf0c30211" providerId="ADAL" clId="{9344D105-636D-4857-BD0F-AFC44A54BCCF}" dt="2021-05-25T14:20:11.839" v="28541" actId="790"/>
          <ac:spMkLst>
            <pc:docMk/>
            <pc:sldMk cId="2808160924" sldId="6961"/>
            <ac:spMk id="60" creationId="{4C6CAE5C-6B57-43FF-B10B-91C28E2AAA79}"/>
          </ac:spMkLst>
        </pc:spChg>
        <pc:spChg chg="mod">
          <ac:chgData name="Ugo MANTEL" userId="2d5b7065-31bb-4181-a7f8-a73bf0c30211" providerId="ADAL" clId="{9344D105-636D-4857-BD0F-AFC44A54BCCF}" dt="2021-05-25T14:20:11.840" v="28542" actId="790"/>
          <ac:spMkLst>
            <pc:docMk/>
            <pc:sldMk cId="2808160924" sldId="6961"/>
            <ac:spMk id="61" creationId="{A6E8C61E-CFC4-41EC-AC3C-0CE01414D934}"/>
          </ac:spMkLst>
        </pc:spChg>
        <pc:spChg chg="mod">
          <ac:chgData name="Ugo MANTEL" userId="2d5b7065-31bb-4181-a7f8-a73bf0c30211" providerId="ADAL" clId="{9344D105-636D-4857-BD0F-AFC44A54BCCF}" dt="2021-05-25T14:20:11.841" v="28543" actId="790"/>
          <ac:spMkLst>
            <pc:docMk/>
            <pc:sldMk cId="2808160924" sldId="6961"/>
            <ac:spMk id="62" creationId="{58DB2BE3-F0D9-432A-9451-97145834550C}"/>
          </ac:spMkLst>
        </pc:spChg>
        <pc:spChg chg="mod">
          <ac:chgData name="Ugo MANTEL" userId="2d5b7065-31bb-4181-a7f8-a73bf0c30211" providerId="ADAL" clId="{9344D105-636D-4857-BD0F-AFC44A54BCCF}" dt="2021-05-25T14:20:11.841" v="28544" actId="790"/>
          <ac:spMkLst>
            <pc:docMk/>
            <pc:sldMk cId="2808160924" sldId="6961"/>
            <ac:spMk id="63" creationId="{71290402-55BD-44D1-85A0-25FCF4D125A5}"/>
          </ac:spMkLst>
        </pc:spChg>
        <pc:spChg chg="mod">
          <ac:chgData name="Ugo MANTEL" userId="2d5b7065-31bb-4181-a7f8-a73bf0c30211" providerId="ADAL" clId="{9344D105-636D-4857-BD0F-AFC44A54BCCF}" dt="2021-05-25T14:20:11.842" v="28545" actId="790"/>
          <ac:spMkLst>
            <pc:docMk/>
            <pc:sldMk cId="2808160924" sldId="6961"/>
            <ac:spMk id="69" creationId="{C5FB799E-CDDD-4EC0-A3FD-67B30854E1F4}"/>
          </ac:spMkLst>
        </pc:spChg>
        <pc:spChg chg="mod">
          <ac:chgData name="Ugo MANTEL" userId="2d5b7065-31bb-4181-a7f8-a73bf0c30211" providerId="ADAL" clId="{9344D105-636D-4857-BD0F-AFC44A54BCCF}" dt="2021-05-25T14:20:11.843" v="28546" actId="790"/>
          <ac:spMkLst>
            <pc:docMk/>
            <pc:sldMk cId="2808160924" sldId="6961"/>
            <ac:spMk id="72" creationId="{4C7576A4-CD03-46B5-B5BA-A0EDD03204C7}"/>
          </ac:spMkLst>
        </pc:spChg>
        <pc:spChg chg="mod">
          <ac:chgData name="Ugo MANTEL" userId="2d5b7065-31bb-4181-a7f8-a73bf0c30211" providerId="ADAL" clId="{9344D105-636D-4857-BD0F-AFC44A54BCCF}" dt="2021-05-25T14:20:11.844" v="28547" actId="790"/>
          <ac:spMkLst>
            <pc:docMk/>
            <pc:sldMk cId="2808160924" sldId="6961"/>
            <ac:spMk id="73" creationId="{8C709857-1A4D-47D5-82BB-1AE431A7DE7A}"/>
          </ac:spMkLst>
        </pc:spChg>
        <pc:spChg chg="mod">
          <ac:chgData name="Ugo MANTEL" userId="2d5b7065-31bb-4181-a7f8-a73bf0c30211" providerId="ADAL" clId="{9344D105-636D-4857-BD0F-AFC44A54BCCF}" dt="2021-05-25T14:20:11.845" v="28548" actId="790"/>
          <ac:spMkLst>
            <pc:docMk/>
            <pc:sldMk cId="2808160924" sldId="6961"/>
            <ac:spMk id="75" creationId="{EBF05075-15DD-4716-858A-7420380CCB29}"/>
          </ac:spMkLst>
        </pc:spChg>
      </pc:sldChg>
      <pc:sldChg chg="addSp modSp">
        <pc:chgData name="Ugo MANTEL" userId="2d5b7065-31bb-4181-a7f8-a73bf0c30211" providerId="ADAL" clId="{9344D105-636D-4857-BD0F-AFC44A54BCCF}" dt="2021-05-24T12:00:02.177" v="5305"/>
        <pc:sldMkLst>
          <pc:docMk/>
          <pc:sldMk cId="349867828" sldId="6963"/>
        </pc:sldMkLst>
        <pc:spChg chg="add mod">
          <ac:chgData name="Ugo MANTEL" userId="2d5b7065-31bb-4181-a7f8-a73bf0c30211" providerId="ADAL" clId="{9344D105-636D-4857-BD0F-AFC44A54BCCF}" dt="2021-05-24T12:00:02.177" v="5305"/>
          <ac:spMkLst>
            <pc:docMk/>
            <pc:sldMk cId="349867828" sldId="6963"/>
            <ac:spMk id="23" creationId="{066B5D2A-5276-4BC6-A3EC-69EE200BC885}"/>
          </ac:spMkLst>
        </pc:spChg>
      </pc:sldChg>
      <pc:sldChg chg="addSp modSp del mod ord">
        <pc:chgData name="Ugo MANTEL" userId="2d5b7065-31bb-4181-a7f8-a73bf0c30211" providerId="ADAL" clId="{9344D105-636D-4857-BD0F-AFC44A54BCCF}" dt="2021-05-25T15:08:48.111" v="37733" actId="18676"/>
        <pc:sldMkLst>
          <pc:docMk/>
          <pc:sldMk cId="1433535088" sldId="7074"/>
        </pc:sldMkLst>
        <pc:spChg chg="mod">
          <ac:chgData name="Ugo MANTEL" userId="2d5b7065-31bb-4181-a7f8-a73bf0c30211" providerId="ADAL" clId="{9344D105-636D-4857-BD0F-AFC44A54BCCF}" dt="2021-05-25T14:20:13.734" v="30433" actId="790"/>
          <ac:spMkLst>
            <pc:docMk/>
            <pc:sldMk cId="1433535088" sldId="7074"/>
            <ac:spMk id="2" creationId="{E11FB28C-EA62-443C-A15A-AAB599A17838}"/>
          </ac:spMkLst>
        </pc:spChg>
        <pc:spChg chg="mod">
          <ac:chgData name="Ugo MANTEL" userId="2d5b7065-31bb-4181-a7f8-a73bf0c30211" providerId="ADAL" clId="{9344D105-636D-4857-BD0F-AFC44A54BCCF}" dt="2021-05-25T14:20:13.737" v="30436" actId="790"/>
          <ac:spMkLst>
            <pc:docMk/>
            <pc:sldMk cId="1433535088" sldId="7074"/>
            <ac:spMk id="36" creationId="{5B304F32-669D-4617-B813-9668ACAB3A66}"/>
          </ac:spMkLst>
        </pc:spChg>
        <pc:spChg chg="mod">
          <ac:chgData name="Ugo MANTEL" userId="2d5b7065-31bb-4181-a7f8-a73bf0c30211" providerId="ADAL" clId="{9344D105-636D-4857-BD0F-AFC44A54BCCF}" dt="2021-05-25T14:20:13.736" v="30435" actId="790"/>
          <ac:spMkLst>
            <pc:docMk/>
            <pc:sldMk cId="1433535088" sldId="7074"/>
            <ac:spMk id="38" creationId="{A4C2A37B-6FD6-4FBD-A267-5996CA794A1D}"/>
          </ac:spMkLst>
        </pc:spChg>
        <pc:spChg chg="mod">
          <ac:chgData name="Ugo MANTEL" userId="2d5b7065-31bb-4181-a7f8-a73bf0c30211" providerId="ADAL" clId="{9344D105-636D-4857-BD0F-AFC44A54BCCF}" dt="2021-05-25T14:20:13.738" v="30437" actId="790"/>
          <ac:spMkLst>
            <pc:docMk/>
            <pc:sldMk cId="1433535088" sldId="7074"/>
            <ac:spMk id="40" creationId="{1E34CE50-B42C-493A-8A65-2E1C630B1461}"/>
          </ac:spMkLst>
        </pc:spChg>
        <pc:spChg chg="mod">
          <ac:chgData name="Ugo MANTEL" userId="2d5b7065-31bb-4181-a7f8-a73bf0c30211" providerId="ADAL" clId="{9344D105-636D-4857-BD0F-AFC44A54BCCF}" dt="2021-05-25T14:20:13.739" v="30438" actId="790"/>
          <ac:spMkLst>
            <pc:docMk/>
            <pc:sldMk cId="1433535088" sldId="7074"/>
            <ac:spMk id="42" creationId="{ABE94C2F-281A-4A0F-BB46-93E553E8DAB5}"/>
          </ac:spMkLst>
        </pc:spChg>
        <pc:spChg chg="mod">
          <ac:chgData name="Ugo MANTEL" userId="2d5b7065-31bb-4181-a7f8-a73bf0c30211" providerId="ADAL" clId="{9344D105-636D-4857-BD0F-AFC44A54BCCF}" dt="2021-05-25T14:20:13.739" v="30439" actId="790"/>
          <ac:spMkLst>
            <pc:docMk/>
            <pc:sldMk cId="1433535088" sldId="7074"/>
            <ac:spMk id="43" creationId="{464160BF-0C2D-477F-8E0A-B5374A5CF8CC}"/>
          </ac:spMkLst>
        </pc:spChg>
        <pc:spChg chg="mod">
          <ac:chgData name="Ugo MANTEL" userId="2d5b7065-31bb-4181-a7f8-a73bf0c30211" providerId="ADAL" clId="{9344D105-636D-4857-BD0F-AFC44A54BCCF}" dt="2021-05-25T14:20:13.740" v="30440" actId="790"/>
          <ac:spMkLst>
            <pc:docMk/>
            <pc:sldMk cId="1433535088" sldId="7074"/>
            <ac:spMk id="44" creationId="{CEC0C3CE-C72B-4E26-AD8C-6285EB99FEA8}"/>
          </ac:spMkLst>
        </pc:spChg>
        <pc:spChg chg="mod">
          <ac:chgData name="Ugo MANTEL" userId="2d5b7065-31bb-4181-a7f8-a73bf0c30211" providerId="ADAL" clId="{9344D105-636D-4857-BD0F-AFC44A54BCCF}" dt="2021-05-25T14:20:13.741" v="30441" actId="790"/>
          <ac:spMkLst>
            <pc:docMk/>
            <pc:sldMk cId="1433535088" sldId="7074"/>
            <ac:spMk id="47" creationId="{59BF761D-D244-4043-BC24-197C0EF04199}"/>
          </ac:spMkLst>
        </pc:spChg>
        <pc:spChg chg="mod">
          <ac:chgData name="Ugo MANTEL" userId="2d5b7065-31bb-4181-a7f8-a73bf0c30211" providerId="ADAL" clId="{9344D105-636D-4857-BD0F-AFC44A54BCCF}" dt="2021-05-25T14:20:13.741" v="30442" actId="790"/>
          <ac:spMkLst>
            <pc:docMk/>
            <pc:sldMk cId="1433535088" sldId="7074"/>
            <ac:spMk id="49" creationId="{DB2B13AE-E8EA-4A7B-AF05-458DA199A58C}"/>
          </ac:spMkLst>
        </pc:spChg>
        <pc:spChg chg="mod">
          <ac:chgData name="Ugo MANTEL" userId="2d5b7065-31bb-4181-a7f8-a73bf0c30211" providerId="ADAL" clId="{9344D105-636D-4857-BD0F-AFC44A54BCCF}" dt="2021-05-25T14:20:13.734" v="30434" actId="790"/>
          <ac:spMkLst>
            <pc:docMk/>
            <pc:sldMk cId="1433535088" sldId="7074"/>
            <ac:spMk id="51" creationId="{C08C3576-2044-44D6-9EDB-D62814A23048}"/>
          </ac:spMkLst>
        </pc:spChg>
        <pc:spChg chg="mod">
          <ac:chgData name="Ugo MANTEL" userId="2d5b7065-31bb-4181-a7f8-a73bf0c30211" providerId="ADAL" clId="{9344D105-636D-4857-BD0F-AFC44A54BCCF}" dt="2021-05-25T14:20:13.745" v="30446" actId="790"/>
          <ac:spMkLst>
            <pc:docMk/>
            <pc:sldMk cId="1433535088" sldId="7074"/>
            <ac:spMk id="52" creationId="{E9C33DA4-9F3F-4FCD-985A-64AB255691AF}"/>
          </ac:spMkLst>
        </pc:spChg>
        <pc:spChg chg="mod">
          <ac:chgData name="Ugo MANTEL" userId="2d5b7065-31bb-4181-a7f8-a73bf0c30211" providerId="ADAL" clId="{9344D105-636D-4857-BD0F-AFC44A54BCCF}" dt="2021-05-25T14:20:13.746" v="30447" actId="790"/>
          <ac:spMkLst>
            <pc:docMk/>
            <pc:sldMk cId="1433535088" sldId="7074"/>
            <ac:spMk id="53" creationId="{B53C2CF1-47C4-432E-A5C7-C61820E7498E}"/>
          </ac:spMkLst>
        </pc:spChg>
        <pc:spChg chg="mod">
          <ac:chgData name="Ugo MANTEL" userId="2d5b7065-31bb-4181-a7f8-a73bf0c30211" providerId="ADAL" clId="{9344D105-636D-4857-BD0F-AFC44A54BCCF}" dt="2021-05-25T14:20:13.742" v="30443" actId="790"/>
          <ac:spMkLst>
            <pc:docMk/>
            <pc:sldMk cId="1433535088" sldId="7074"/>
            <ac:spMk id="54" creationId="{FBE633D4-8A56-4858-8275-A20FDC1811AC}"/>
          </ac:spMkLst>
        </pc:spChg>
        <pc:spChg chg="mod">
          <ac:chgData name="Ugo MANTEL" userId="2d5b7065-31bb-4181-a7f8-a73bf0c30211" providerId="ADAL" clId="{9344D105-636D-4857-BD0F-AFC44A54BCCF}" dt="2021-05-25T14:20:13.747" v="30448" actId="790"/>
          <ac:spMkLst>
            <pc:docMk/>
            <pc:sldMk cId="1433535088" sldId="7074"/>
            <ac:spMk id="55" creationId="{E11E68D3-D439-41C8-BEFA-B3727306481D}"/>
          </ac:spMkLst>
        </pc:spChg>
        <pc:spChg chg="mod">
          <ac:chgData name="Ugo MANTEL" userId="2d5b7065-31bb-4181-a7f8-a73bf0c30211" providerId="ADAL" clId="{9344D105-636D-4857-BD0F-AFC44A54BCCF}" dt="2021-05-25T14:20:13.748" v="30449" actId="790"/>
          <ac:spMkLst>
            <pc:docMk/>
            <pc:sldMk cId="1433535088" sldId="7074"/>
            <ac:spMk id="56" creationId="{D3D9AD89-A2E3-498F-9D56-70CB3C3126A9}"/>
          </ac:spMkLst>
        </pc:spChg>
        <pc:spChg chg="mod">
          <ac:chgData name="Ugo MANTEL" userId="2d5b7065-31bb-4181-a7f8-a73bf0c30211" providerId="ADAL" clId="{9344D105-636D-4857-BD0F-AFC44A54BCCF}" dt="2021-05-25T14:20:13.749" v="30450" actId="790"/>
          <ac:spMkLst>
            <pc:docMk/>
            <pc:sldMk cId="1433535088" sldId="7074"/>
            <ac:spMk id="57" creationId="{8CB413C3-5BE4-4569-A2AC-CE9822ED10E7}"/>
          </ac:spMkLst>
        </pc:spChg>
        <pc:spChg chg="mod">
          <ac:chgData name="Ugo MANTEL" userId="2d5b7065-31bb-4181-a7f8-a73bf0c30211" providerId="ADAL" clId="{9344D105-636D-4857-BD0F-AFC44A54BCCF}" dt="2021-05-25T14:20:13.749" v="30451" actId="790"/>
          <ac:spMkLst>
            <pc:docMk/>
            <pc:sldMk cId="1433535088" sldId="7074"/>
            <ac:spMk id="58" creationId="{3065D908-1B57-4BF6-BBE5-E99535F75686}"/>
          </ac:spMkLst>
        </pc:spChg>
        <pc:spChg chg="mod">
          <ac:chgData name="Ugo MANTEL" userId="2d5b7065-31bb-4181-a7f8-a73bf0c30211" providerId="ADAL" clId="{9344D105-636D-4857-BD0F-AFC44A54BCCF}" dt="2021-05-25T14:20:13.743" v="30444" actId="790"/>
          <ac:spMkLst>
            <pc:docMk/>
            <pc:sldMk cId="1433535088" sldId="7074"/>
            <ac:spMk id="59" creationId="{A4BA87CA-33FF-4853-BAE7-4B75AA2EFEDC}"/>
          </ac:spMkLst>
        </pc:spChg>
        <pc:spChg chg="add mod">
          <ac:chgData name="Ugo MANTEL" userId="2d5b7065-31bb-4181-a7f8-a73bf0c30211" providerId="ADAL" clId="{9344D105-636D-4857-BD0F-AFC44A54BCCF}" dt="2021-05-25T14:20:13.751" v="30453" actId="790"/>
          <ac:spMkLst>
            <pc:docMk/>
            <pc:sldMk cId="1433535088" sldId="7074"/>
            <ac:spMk id="64" creationId="{4BBEE2FE-3E58-45FF-AE6D-CAF83420733F}"/>
          </ac:spMkLst>
        </pc:spChg>
        <pc:spChg chg="mod">
          <ac:chgData name="Ugo MANTEL" userId="2d5b7065-31bb-4181-a7f8-a73bf0c30211" providerId="ADAL" clId="{9344D105-636D-4857-BD0F-AFC44A54BCCF}" dt="2021-05-25T14:20:13.744" v="30445" actId="790"/>
          <ac:spMkLst>
            <pc:docMk/>
            <pc:sldMk cId="1433535088" sldId="7074"/>
            <ac:spMk id="65" creationId="{B8594696-07D0-4360-88BD-9887E2084D42}"/>
          </ac:spMkLst>
        </pc:spChg>
        <pc:spChg chg="mod">
          <ac:chgData name="Ugo MANTEL" userId="2d5b7065-31bb-4181-a7f8-a73bf0c30211" providerId="ADAL" clId="{9344D105-636D-4857-BD0F-AFC44A54BCCF}" dt="2021-05-25T14:20:13.733" v="30432" actId="790"/>
          <ac:spMkLst>
            <pc:docMk/>
            <pc:sldMk cId="1433535088" sldId="7074"/>
            <ac:spMk id="66" creationId="{AC81A5B2-A052-402B-A5B3-8F7A8F78A79F}"/>
          </ac:spMkLst>
        </pc:spChg>
        <pc:spChg chg="mod">
          <ac:chgData name="Ugo MANTEL" userId="2d5b7065-31bb-4181-a7f8-a73bf0c30211" providerId="ADAL" clId="{9344D105-636D-4857-BD0F-AFC44A54BCCF}" dt="2021-05-25T14:20:13.732" v="30431" actId="790"/>
          <ac:spMkLst>
            <pc:docMk/>
            <pc:sldMk cId="1433535088" sldId="7074"/>
            <ac:spMk id="67" creationId="{8503A05F-0393-49C9-8F68-3786AF21832C}"/>
          </ac:spMkLst>
        </pc:spChg>
        <pc:spChg chg="mod">
          <ac:chgData name="Ugo MANTEL" userId="2d5b7065-31bb-4181-a7f8-a73bf0c30211" providerId="ADAL" clId="{9344D105-636D-4857-BD0F-AFC44A54BCCF}" dt="2021-05-25T14:20:13.731" v="30430" actId="790"/>
          <ac:spMkLst>
            <pc:docMk/>
            <pc:sldMk cId="1433535088" sldId="7074"/>
            <ac:spMk id="68" creationId="{31E81307-722E-4E83-96CF-10C7A30E0BC7}"/>
          </ac:spMkLst>
        </pc:spChg>
        <pc:spChg chg="mod">
          <ac:chgData name="Ugo MANTEL" userId="2d5b7065-31bb-4181-a7f8-a73bf0c30211" providerId="ADAL" clId="{9344D105-636D-4857-BD0F-AFC44A54BCCF}" dt="2021-05-25T14:20:13.731" v="30429" actId="790"/>
          <ac:spMkLst>
            <pc:docMk/>
            <pc:sldMk cId="1433535088" sldId="7074"/>
            <ac:spMk id="71" creationId="{4A4E2D76-7F9A-42A4-8FBD-FF1B01D6FB98}"/>
          </ac:spMkLst>
        </pc:spChg>
        <pc:spChg chg="mod">
          <ac:chgData name="Ugo MANTEL" userId="2d5b7065-31bb-4181-a7f8-a73bf0c30211" providerId="ADAL" clId="{9344D105-636D-4857-BD0F-AFC44A54BCCF}" dt="2021-05-25T14:20:13.750" v="30452" actId="790"/>
          <ac:spMkLst>
            <pc:docMk/>
            <pc:sldMk cId="1433535088" sldId="7074"/>
            <ac:spMk id="76" creationId="{96CDAEC3-2CB5-4621-8C9A-FD66BD9EA46B}"/>
          </ac:spMkLst>
        </pc:spChg>
      </pc:sldChg>
      <pc:sldChg chg="modSp mod">
        <pc:chgData name="Ugo MANTEL" userId="2d5b7065-31bb-4181-a7f8-a73bf0c30211" providerId="ADAL" clId="{9344D105-636D-4857-BD0F-AFC44A54BCCF}" dt="2021-05-25T14:20:13.663" v="30380" actId="790"/>
        <pc:sldMkLst>
          <pc:docMk/>
          <pc:sldMk cId="2066302433" sldId="10151"/>
        </pc:sldMkLst>
        <pc:spChg chg="mod">
          <ac:chgData name="Ugo MANTEL" userId="2d5b7065-31bb-4181-a7f8-a73bf0c30211" providerId="ADAL" clId="{9344D105-636D-4857-BD0F-AFC44A54BCCF}" dt="2021-05-25T14:20:13.630" v="30335" actId="790"/>
          <ac:spMkLst>
            <pc:docMk/>
            <pc:sldMk cId="2066302433" sldId="10151"/>
            <ac:spMk id="2" creationId="{485D8258-C799-4DEB-8426-A87B09E12535}"/>
          </ac:spMkLst>
        </pc:spChg>
        <pc:spChg chg="mod">
          <ac:chgData name="Ugo MANTEL" userId="2d5b7065-31bb-4181-a7f8-a73bf0c30211" providerId="ADAL" clId="{9344D105-636D-4857-BD0F-AFC44A54BCCF}" dt="2021-05-25T14:20:13.631" v="30336" actId="790"/>
          <ac:spMkLst>
            <pc:docMk/>
            <pc:sldMk cId="2066302433" sldId="10151"/>
            <ac:spMk id="6" creationId="{FD961D00-BB87-4820-B54D-EC87367CB5D8}"/>
          </ac:spMkLst>
        </pc:spChg>
        <pc:spChg chg="mod">
          <ac:chgData name="Ugo MANTEL" userId="2d5b7065-31bb-4181-a7f8-a73bf0c30211" providerId="ADAL" clId="{9344D105-636D-4857-BD0F-AFC44A54BCCF}" dt="2021-05-25T14:20:13.632" v="30337" actId="790"/>
          <ac:spMkLst>
            <pc:docMk/>
            <pc:sldMk cId="2066302433" sldId="10151"/>
            <ac:spMk id="8" creationId="{CBFABE72-6131-464D-BAFB-D76422C2A4AB}"/>
          </ac:spMkLst>
        </pc:spChg>
        <pc:spChg chg="mod">
          <ac:chgData name="Ugo MANTEL" userId="2d5b7065-31bb-4181-a7f8-a73bf0c30211" providerId="ADAL" clId="{9344D105-636D-4857-BD0F-AFC44A54BCCF}" dt="2021-05-25T14:20:13.633" v="30338" actId="790"/>
          <ac:spMkLst>
            <pc:docMk/>
            <pc:sldMk cId="2066302433" sldId="10151"/>
            <ac:spMk id="9" creationId="{AA892EF1-BA93-4257-8E96-FCE386827377}"/>
          </ac:spMkLst>
        </pc:spChg>
        <pc:spChg chg="mod">
          <ac:chgData name="Ugo MANTEL" userId="2d5b7065-31bb-4181-a7f8-a73bf0c30211" providerId="ADAL" clId="{9344D105-636D-4857-BD0F-AFC44A54BCCF}" dt="2021-05-25T14:20:13.633" v="30339" actId="790"/>
          <ac:spMkLst>
            <pc:docMk/>
            <pc:sldMk cId="2066302433" sldId="10151"/>
            <ac:spMk id="10" creationId="{D1385551-0DEE-495D-8846-99041144B7D6}"/>
          </ac:spMkLst>
        </pc:spChg>
        <pc:spChg chg="mod">
          <ac:chgData name="Ugo MANTEL" userId="2d5b7065-31bb-4181-a7f8-a73bf0c30211" providerId="ADAL" clId="{9344D105-636D-4857-BD0F-AFC44A54BCCF}" dt="2021-05-25T14:20:13.634" v="30340" actId="790"/>
          <ac:spMkLst>
            <pc:docMk/>
            <pc:sldMk cId="2066302433" sldId="10151"/>
            <ac:spMk id="11" creationId="{95F74EDD-FC62-4AE0-B009-91BD1F0F42CD}"/>
          </ac:spMkLst>
        </pc:spChg>
        <pc:spChg chg="mod">
          <ac:chgData name="Ugo MANTEL" userId="2d5b7065-31bb-4181-a7f8-a73bf0c30211" providerId="ADAL" clId="{9344D105-636D-4857-BD0F-AFC44A54BCCF}" dt="2021-05-25T14:20:13.635" v="30341" actId="790"/>
          <ac:spMkLst>
            <pc:docMk/>
            <pc:sldMk cId="2066302433" sldId="10151"/>
            <ac:spMk id="12" creationId="{D1785210-4F58-4DEA-A9E2-D867169A909C}"/>
          </ac:spMkLst>
        </pc:spChg>
        <pc:spChg chg="mod">
          <ac:chgData name="Ugo MANTEL" userId="2d5b7065-31bb-4181-a7f8-a73bf0c30211" providerId="ADAL" clId="{9344D105-636D-4857-BD0F-AFC44A54BCCF}" dt="2021-05-25T14:20:13.636" v="30342" actId="790"/>
          <ac:spMkLst>
            <pc:docMk/>
            <pc:sldMk cId="2066302433" sldId="10151"/>
            <ac:spMk id="13" creationId="{F68747A9-0286-423B-B19B-BDD80CFD99AA}"/>
          </ac:spMkLst>
        </pc:spChg>
        <pc:spChg chg="mod">
          <ac:chgData name="Ugo MANTEL" userId="2d5b7065-31bb-4181-a7f8-a73bf0c30211" providerId="ADAL" clId="{9344D105-636D-4857-BD0F-AFC44A54BCCF}" dt="2021-05-25T14:20:13.636" v="30343" actId="790"/>
          <ac:spMkLst>
            <pc:docMk/>
            <pc:sldMk cId="2066302433" sldId="10151"/>
            <ac:spMk id="14" creationId="{1B668D90-1CA6-4BF2-A28C-A37ADF4CEC55}"/>
          </ac:spMkLst>
        </pc:spChg>
        <pc:spChg chg="mod">
          <ac:chgData name="Ugo MANTEL" userId="2d5b7065-31bb-4181-a7f8-a73bf0c30211" providerId="ADAL" clId="{9344D105-636D-4857-BD0F-AFC44A54BCCF}" dt="2021-05-25T14:20:13.637" v="30344" actId="790"/>
          <ac:spMkLst>
            <pc:docMk/>
            <pc:sldMk cId="2066302433" sldId="10151"/>
            <ac:spMk id="15" creationId="{DC368EB4-4DDD-4407-BE94-38F23DA27B16}"/>
          </ac:spMkLst>
        </pc:spChg>
        <pc:spChg chg="mod">
          <ac:chgData name="Ugo MANTEL" userId="2d5b7065-31bb-4181-a7f8-a73bf0c30211" providerId="ADAL" clId="{9344D105-636D-4857-BD0F-AFC44A54BCCF}" dt="2021-05-25T14:20:13.638" v="30345" actId="790"/>
          <ac:spMkLst>
            <pc:docMk/>
            <pc:sldMk cId="2066302433" sldId="10151"/>
            <ac:spMk id="16" creationId="{80F851B1-0B14-48BE-A51C-7881B7C8FE41}"/>
          </ac:spMkLst>
        </pc:spChg>
        <pc:spChg chg="mod">
          <ac:chgData name="Ugo MANTEL" userId="2d5b7065-31bb-4181-a7f8-a73bf0c30211" providerId="ADAL" clId="{9344D105-636D-4857-BD0F-AFC44A54BCCF}" dt="2021-05-25T14:20:13.639" v="30346" actId="790"/>
          <ac:spMkLst>
            <pc:docMk/>
            <pc:sldMk cId="2066302433" sldId="10151"/>
            <ac:spMk id="17" creationId="{7CE1AF65-B94A-4628-80BC-0D290E998B7C}"/>
          </ac:spMkLst>
        </pc:spChg>
        <pc:spChg chg="mod">
          <ac:chgData name="Ugo MANTEL" userId="2d5b7065-31bb-4181-a7f8-a73bf0c30211" providerId="ADAL" clId="{9344D105-636D-4857-BD0F-AFC44A54BCCF}" dt="2021-05-25T14:20:13.639" v="30347" actId="790"/>
          <ac:spMkLst>
            <pc:docMk/>
            <pc:sldMk cId="2066302433" sldId="10151"/>
            <ac:spMk id="18" creationId="{4D52F71B-746D-44F2-85EB-546A9C67D415}"/>
          </ac:spMkLst>
        </pc:spChg>
        <pc:spChg chg="mod">
          <ac:chgData name="Ugo MANTEL" userId="2d5b7065-31bb-4181-a7f8-a73bf0c30211" providerId="ADAL" clId="{9344D105-636D-4857-BD0F-AFC44A54BCCF}" dt="2021-05-25T14:20:13.640" v="30348" actId="790"/>
          <ac:spMkLst>
            <pc:docMk/>
            <pc:sldMk cId="2066302433" sldId="10151"/>
            <ac:spMk id="19" creationId="{7BFC3453-D5E5-4B80-95E1-53BCDB119B16}"/>
          </ac:spMkLst>
        </pc:spChg>
        <pc:spChg chg="mod">
          <ac:chgData name="Ugo MANTEL" userId="2d5b7065-31bb-4181-a7f8-a73bf0c30211" providerId="ADAL" clId="{9344D105-636D-4857-BD0F-AFC44A54BCCF}" dt="2021-05-25T14:20:13.641" v="30349" actId="790"/>
          <ac:spMkLst>
            <pc:docMk/>
            <pc:sldMk cId="2066302433" sldId="10151"/>
            <ac:spMk id="20" creationId="{ABEEDC27-82A8-46CB-8CE2-2D10293A50C9}"/>
          </ac:spMkLst>
        </pc:spChg>
        <pc:spChg chg="mod">
          <ac:chgData name="Ugo MANTEL" userId="2d5b7065-31bb-4181-a7f8-a73bf0c30211" providerId="ADAL" clId="{9344D105-636D-4857-BD0F-AFC44A54BCCF}" dt="2021-05-25T14:20:13.641" v="30350" actId="790"/>
          <ac:spMkLst>
            <pc:docMk/>
            <pc:sldMk cId="2066302433" sldId="10151"/>
            <ac:spMk id="21" creationId="{79263F93-BD89-481F-813A-6C0F901C9C08}"/>
          </ac:spMkLst>
        </pc:spChg>
        <pc:spChg chg="mod">
          <ac:chgData name="Ugo MANTEL" userId="2d5b7065-31bb-4181-a7f8-a73bf0c30211" providerId="ADAL" clId="{9344D105-636D-4857-BD0F-AFC44A54BCCF}" dt="2021-05-25T14:20:13.642" v="30351" actId="790"/>
          <ac:spMkLst>
            <pc:docMk/>
            <pc:sldMk cId="2066302433" sldId="10151"/>
            <ac:spMk id="22" creationId="{A17328B4-1579-4E16-8289-48E49F417694}"/>
          </ac:spMkLst>
        </pc:spChg>
        <pc:spChg chg="mod">
          <ac:chgData name="Ugo MANTEL" userId="2d5b7065-31bb-4181-a7f8-a73bf0c30211" providerId="ADAL" clId="{9344D105-636D-4857-BD0F-AFC44A54BCCF}" dt="2021-05-25T14:20:13.643" v="30352" actId="790"/>
          <ac:spMkLst>
            <pc:docMk/>
            <pc:sldMk cId="2066302433" sldId="10151"/>
            <ac:spMk id="23" creationId="{9FFABFA5-D560-4B57-A403-E79C1BD6BD3D}"/>
          </ac:spMkLst>
        </pc:spChg>
        <pc:spChg chg="mod">
          <ac:chgData name="Ugo MANTEL" userId="2d5b7065-31bb-4181-a7f8-a73bf0c30211" providerId="ADAL" clId="{9344D105-636D-4857-BD0F-AFC44A54BCCF}" dt="2021-05-25T14:20:13.643" v="30353" actId="790"/>
          <ac:spMkLst>
            <pc:docMk/>
            <pc:sldMk cId="2066302433" sldId="10151"/>
            <ac:spMk id="24" creationId="{C6DE36B4-63F9-49BF-9393-6D814DCD3ADB}"/>
          </ac:spMkLst>
        </pc:spChg>
        <pc:spChg chg="mod">
          <ac:chgData name="Ugo MANTEL" userId="2d5b7065-31bb-4181-a7f8-a73bf0c30211" providerId="ADAL" clId="{9344D105-636D-4857-BD0F-AFC44A54BCCF}" dt="2021-05-25T14:20:13.644" v="30354" actId="790"/>
          <ac:spMkLst>
            <pc:docMk/>
            <pc:sldMk cId="2066302433" sldId="10151"/>
            <ac:spMk id="25" creationId="{87636E38-C9EE-47F8-83D6-6504B63CFEC1}"/>
          </ac:spMkLst>
        </pc:spChg>
        <pc:spChg chg="mod">
          <ac:chgData name="Ugo MANTEL" userId="2d5b7065-31bb-4181-a7f8-a73bf0c30211" providerId="ADAL" clId="{9344D105-636D-4857-BD0F-AFC44A54BCCF}" dt="2021-05-25T14:20:13.645" v="30355" actId="790"/>
          <ac:spMkLst>
            <pc:docMk/>
            <pc:sldMk cId="2066302433" sldId="10151"/>
            <ac:spMk id="26" creationId="{5E993EC9-B819-46BE-808C-6BF87D7C6173}"/>
          </ac:spMkLst>
        </pc:spChg>
        <pc:spChg chg="mod">
          <ac:chgData name="Ugo MANTEL" userId="2d5b7065-31bb-4181-a7f8-a73bf0c30211" providerId="ADAL" clId="{9344D105-636D-4857-BD0F-AFC44A54BCCF}" dt="2021-05-25T14:20:13.646" v="30356" actId="790"/>
          <ac:spMkLst>
            <pc:docMk/>
            <pc:sldMk cId="2066302433" sldId="10151"/>
            <ac:spMk id="27" creationId="{8C4589F2-B7BC-4572-BB11-469A62A1B6C6}"/>
          </ac:spMkLst>
        </pc:spChg>
        <pc:spChg chg="mod">
          <ac:chgData name="Ugo MANTEL" userId="2d5b7065-31bb-4181-a7f8-a73bf0c30211" providerId="ADAL" clId="{9344D105-636D-4857-BD0F-AFC44A54BCCF}" dt="2021-05-25T14:20:13.647" v="30357" actId="790"/>
          <ac:spMkLst>
            <pc:docMk/>
            <pc:sldMk cId="2066302433" sldId="10151"/>
            <ac:spMk id="28" creationId="{77771E76-DFA4-4D19-B2E3-74B7FBF71D1E}"/>
          </ac:spMkLst>
        </pc:spChg>
        <pc:spChg chg="mod">
          <ac:chgData name="Ugo MANTEL" userId="2d5b7065-31bb-4181-a7f8-a73bf0c30211" providerId="ADAL" clId="{9344D105-636D-4857-BD0F-AFC44A54BCCF}" dt="2021-05-25T14:20:13.647" v="30358" actId="790"/>
          <ac:spMkLst>
            <pc:docMk/>
            <pc:sldMk cId="2066302433" sldId="10151"/>
            <ac:spMk id="29" creationId="{5E08754A-8970-4715-8A7A-F623D767FAB9}"/>
          </ac:spMkLst>
        </pc:spChg>
        <pc:spChg chg="mod">
          <ac:chgData name="Ugo MANTEL" userId="2d5b7065-31bb-4181-a7f8-a73bf0c30211" providerId="ADAL" clId="{9344D105-636D-4857-BD0F-AFC44A54BCCF}" dt="2021-05-25T14:20:13.648" v="30359" actId="790"/>
          <ac:spMkLst>
            <pc:docMk/>
            <pc:sldMk cId="2066302433" sldId="10151"/>
            <ac:spMk id="30" creationId="{16C0C029-6359-44F4-B7C0-B040B0D8942B}"/>
          </ac:spMkLst>
        </pc:spChg>
        <pc:spChg chg="mod">
          <ac:chgData name="Ugo MANTEL" userId="2d5b7065-31bb-4181-a7f8-a73bf0c30211" providerId="ADAL" clId="{9344D105-636D-4857-BD0F-AFC44A54BCCF}" dt="2021-05-25T14:20:13.649" v="30360" actId="790"/>
          <ac:spMkLst>
            <pc:docMk/>
            <pc:sldMk cId="2066302433" sldId="10151"/>
            <ac:spMk id="31" creationId="{AC0EA32D-54FE-4F9B-9CF8-4DAFEBC29666}"/>
          </ac:spMkLst>
        </pc:spChg>
        <pc:spChg chg="mod">
          <ac:chgData name="Ugo MANTEL" userId="2d5b7065-31bb-4181-a7f8-a73bf0c30211" providerId="ADAL" clId="{9344D105-636D-4857-BD0F-AFC44A54BCCF}" dt="2021-05-25T14:20:13.649" v="30361" actId="790"/>
          <ac:spMkLst>
            <pc:docMk/>
            <pc:sldMk cId="2066302433" sldId="10151"/>
            <ac:spMk id="32" creationId="{8CE27222-24DA-4462-BF94-A8D5736BB7B7}"/>
          </ac:spMkLst>
        </pc:spChg>
        <pc:spChg chg="mod">
          <ac:chgData name="Ugo MANTEL" userId="2d5b7065-31bb-4181-a7f8-a73bf0c30211" providerId="ADAL" clId="{9344D105-636D-4857-BD0F-AFC44A54BCCF}" dt="2021-05-25T14:20:13.650" v="30362" actId="790"/>
          <ac:spMkLst>
            <pc:docMk/>
            <pc:sldMk cId="2066302433" sldId="10151"/>
            <ac:spMk id="33" creationId="{7B850491-5D22-4445-B8DD-2E7DA22A1582}"/>
          </ac:spMkLst>
        </pc:spChg>
        <pc:spChg chg="mod">
          <ac:chgData name="Ugo MANTEL" userId="2d5b7065-31bb-4181-a7f8-a73bf0c30211" providerId="ADAL" clId="{9344D105-636D-4857-BD0F-AFC44A54BCCF}" dt="2021-05-25T14:20:13.651" v="30363" actId="790"/>
          <ac:spMkLst>
            <pc:docMk/>
            <pc:sldMk cId="2066302433" sldId="10151"/>
            <ac:spMk id="34" creationId="{87B245AE-748D-4766-AAA8-E79644D27CF2}"/>
          </ac:spMkLst>
        </pc:spChg>
        <pc:spChg chg="mod">
          <ac:chgData name="Ugo MANTEL" userId="2d5b7065-31bb-4181-a7f8-a73bf0c30211" providerId="ADAL" clId="{9344D105-636D-4857-BD0F-AFC44A54BCCF}" dt="2021-05-25T14:20:13.651" v="30364" actId="790"/>
          <ac:spMkLst>
            <pc:docMk/>
            <pc:sldMk cId="2066302433" sldId="10151"/>
            <ac:spMk id="35" creationId="{3B6324BE-5137-4BFE-8DA4-799A77B8D45E}"/>
          </ac:spMkLst>
        </pc:spChg>
        <pc:spChg chg="mod">
          <ac:chgData name="Ugo MANTEL" userId="2d5b7065-31bb-4181-a7f8-a73bf0c30211" providerId="ADAL" clId="{9344D105-636D-4857-BD0F-AFC44A54BCCF}" dt="2021-05-25T14:20:13.652" v="30365" actId="790"/>
          <ac:spMkLst>
            <pc:docMk/>
            <pc:sldMk cId="2066302433" sldId="10151"/>
            <ac:spMk id="36" creationId="{E6D54B53-5D24-489F-9B67-95A762E58289}"/>
          </ac:spMkLst>
        </pc:spChg>
        <pc:spChg chg="mod">
          <ac:chgData name="Ugo MANTEL" userId="2d5b7065-31bb-4181-a7f8-a73bf0c30211" providerId="ADAL" clId="{9344D105-636D-4857-BD0F-AFC44A54BCCF}" dt="2021-05-25T14:20:13.653" v="30366" actId="790"/>
          <ac:spMkLst>
            <pc:docMk/>
            <pc:sldMk cId="2066302433" sldId="10151"/>
            <ac:spMk id="37" creationId="{B1B3F98D-4D9B-442E-8C7B-A1756F2C34E5}"/>
          </ac:spMkLst>
        </pc:spChg>
        <pc:spChg chg="mod">
          <ac:chgData name="Ugo MANTEL" userId="2d5b7065-31bb-4181-a7f8-a73bf0c30211" providerId="ADAL" clId="{9344D105-636D-4857-BD0F-AFC44A54BCCF}" dt="2021-05-25T14:20:13.653" v="30367" actId="790"/>
          <ac:spMkLst>
            <pc:docMk/>
            <pc:sldMk cId="2066302433" sldId="10151"/>
            <ac:spMk id="38" creationId="{1136920C-BA8F-43C0-8C16-F1AAC39166BF}"/>
          </ac:spMkLst>
        </pc:spChg>
        <pc:spChg chg="mod">
          <ac:chgData name="Ugo MANTEL" userId="2d5b7065-31bb-4181-a7f8-a73bf0c30211" providerId="ADAL" clId="{9344D105-636D-4857-BD0F-AFC44A54BCCF}" dt="2021-05-25T14:20:13.654" v="30368" actId="790"/>
          <ac:spMkLst>
            <pc:docMk/>
            <pc:sldMk cId="2066302433" sldId="10151"/>
            <ac:spMk id="39" creationId="{EFF788FD-AC32-46E7-9D4E-4BC36F5959B9}"/>
          </ac:spMkLst>
        </pc:spChg>
        <pc:spChg chg="mod">
          <ac:chgData name="Ugo MANTEL" userId="2d5b7065-31bb-4181-a7f8-a73bf0c30211" providerId="ADAL" clId="{9344D105-636D-4857-BD0F-AFC44A54BCCF}" dt="2021-05-25T14:20:13.655" v="30369" actId="790"/>
          <ac:spMkLst>
            <pc:docMk/>
            <pc:sldMk cId="2066302433" sldId="10151"/>
            <ac:spMk id="40" creationId="{A3E8FC77-79BA-4BF6-9229-A50D8390B0B0}"/>
          </ac:spMkLst>
        </pc:spChg>
        <pc:spChg chg="mod">
          <ac:chgData name="Ugo MANTEL" userId="2d5b7065-31bb-4181-a7f8-a73bf0c30211" providerId="ADAL" clId="{9344D105-636D-4857-BD0F-AFC44A54BCCF}" dt="2021-05-25T14:20:13.656" v="30370" actId="790"/>
          <ac:spMkLst>
            <pc:docMk/>
            <pc:sldMk cId="2066302433" sldId="10151"/>
            <ac:spMk id="41" creationId="{0576C5B5-205F-4700-BDBA-CB236CF202E5}"/>
          </ac:spMkLst>
        </pc:spChg>
        <pc:spChg chg="mod">
          <ac:chgData name="Ugo MANTEL" userId="2d5b7065-31bb-4181-a7f8-a73bf0c30211" providerId="ADAL" clId="{9344D105-636D-4857-BD0F-AFC44A54BCCF}" dt="2021-05-25T14:20:13.656" v="30371" actId="790"/>
          <ac:spMkLst>
            <pc:docMk/>
            <pc:sldMk cId="2066302433" sldId="10151"/>
            <ac:spMk id="42" creationId="{10178595-DB31-448D-B26C-282499D9E2AB}"/>
          </ac:spMkLst>
        </pc:spChg>
        <pc:spChg chg="mod">
          <ac:chgData name="Ugo MANTEL" userId="2d5b7065-31bb-4181-a7f8-a73bf0c30211" providerId="ADAL" clId="{9344D105-636D-4857-BD0F-AFC44A54BCCF}" dt="2021-05-25T14:20:13.657" v="30372" actId="790"/>
          <ac:spMkLst>
            <pc:docMk/>
            <pc:sldMk cId="2066302433" sldId="10151"/>
            <ac:spMk id="43" creationId="{7A99688D-221A-4009-B9DD-DA6C7D20F69E}"/>
          </ac:spMkLst>
        </pc:spChg>
        <pc:spChg chg="mod">
          <ac:chgData name="Ugo MANTEL" userId="2d5b7065-31bb-4181-a7f8-a73bf0c30211" providerId="ADAL" clId="{9344D105-636D-4857-BD0F-AFC44A54BCCF}" dt="2021-05-25T14:20:13.658" v="30373" actId="790"/>
          <ac:spMkLst>
            <pc:docMk/>
            <pc:sldMk cId="2066302433" sldId="10151"/>
            <ac:spMk id="44" creationId="{A821D0F1-6745-4FB4-960B-A65CD44A148F}"/>
          </ac:spMkLst>
        </pc:spChg>
        <pc:spChg chg="mod">
          <ac:chgData name="Ugo MANTEL" userId="2d5b7065-31bb-4181-a7f8-a73bf0c30211" providerId="ADAL" clId="{9344D105-636D-4857-BD0F-AFC44A54BCCF}" dt="2021-05-25T14:20:13.659" v="30374" actId="790"/>
          <ac:spMkLst>
            <pc:docMk/>
            <pc:sldMk cId="2066302433" sldId="10151"/>
            <ac:spMk id="45" creationId="{94585B0F-E803-4576-9DB3-FAF173D08F43}"/>
          </ac:spMkLst>
        </pc:spChg>
        <pc:spChg chg="mod">
          <ac:chgData name="Ugo MANTEL" userId="2d5b7065-31bb-4181-a7f8-a73bf0c30211" providerId="ADAL" clId="{9344D105-636D-4857-BD0F-AFC44A54BCCF}" dt="2021-05-25T14:20:13.659" v="30375" actId="790"/>
          <ac:spMkLst>
            <pc:docMk/>
            <pc:sldMk cId="2066302433" sldId="10151"/>
            <ac:spMk id="46" creationId="{60B47F91-9ED1-4064-B0F1-0F150436DBA4}"/>
          </ac:spMkLst>
        </pc:spChg>
        <pc:spChg chg="mod">
          <ac:chgData name="Ugo MANTEL" userId="2d5b7065-31bb-4181-a7f8-a73bf0c30211" providerId="ADAL" clId="{9344D105-636D-4857-BD0F-AFC44A54BCCF}" dt="2021-05-25T14:20:13.660" v="30376" actId="790"/>
          <ac:spMkLst>
            <pc:docMk/>
            <pc:sldMk cId="2066302433" sldId="10151"/>
            <ac:spMk id="47" creationId="{17468E73-86AE-459C-946F-AFFBB7E789DD}"/>
          </ac:spMkLst>
        </pc:spChg>
        <pc:spChg chg="mod">
          <ac:chgData name="Ugo MANTEL" userId="2d5b7065-31bb-4181-a7f8-a73bf0c30211" providerId="ADAL" clId="{9344D105-636D-4857-BD0F-AFC44A54BCCF}" dt="2021-05-25T14:20:13.661" v="30377" actId="790"/>
          <ac:spMkLst>
            <pc:docMk/>
            <pc:sldMk cId="2066302433" sldId="10151"/>
            <ac:spMk id="48" creationId="{44B8897D-6B27-465B-A723-BF615C31D100}"/>
          </ac:spMkLst>
        </pc:spChg>
        <pc:spChg chg="mod">
          <ac:chgData name="Ugo MANTEL" userId="2d5b7065-31bb-4181-a7f8-a73bf0c30211" providerId="ADAL" clId="{9344D105-636D-4857-BD0F-AFC44A54BCCF}" dt="2021-05-25T14:20:13.661" v="30378" actId="790"/>
          <ac:spMkLst>
            <pc:docMk/>
            <pc:sldMk cId="2066302433" sldId="10151"/>
            <ac:spMk id="49" creationId="{3CAB94CE-464D-4A6D-BF0D-B9E076D55E68}"/>
          </ac:spMkLst>
        </pc:spChg>
        <pc:spChg chg="mod">
          <ac:chgData name="Ugo MANTEL" userId="2d5b7065-31bb-4181-a7f8-a73bf0c30211" providerId="ADAL" clId="{9344D105-636D-4857-BD0F-AFC44A54BCCF}" dt="2021-05-25T14:20:13.662" v="30379" actId="790"/>
          <ac:spMkLst>
            <pc:docMk/>
            <pc:sldMk cId="2066302433" sldId="10151"/>
            <ac:spMk id="50" creationId="{DB23E4EA-8CC3-4D51-8B49-7C52B0496041}"/>
          </ac:spMkLst>
        </pc:spChg>
        <pc:spChg chg="mod">
          <ac:chgData name="Ugo MANTEL" userId="2d5b7065-31bb-4181-a7f8-a73bf0c30211" providerId="ADAL" clId="{9344D105-636D-4857-BD0F-AFC44A54BCCF}" dt="2021-05-25T14:20:13.663" v="30380" actId="790"/>
          <ac:spMkLst>
            <pc:docMk/>
            <pc:sldMk cId="2066302433" sldId="10151"/>
            <ac:spMk id="51" creationId="{6EAF2701-A2C6-4614-9A6E-C85168C5E062}"/>
          </ac:spMkLst>
        </pc:spChg>
      </pc:sldChg>
      <pc:sldChg chg="modSp mod">
        <pc:chgData name="Ugo MANTEL" userId="2d5b7065-31bb-4181-a7f8-a73bf0c30211" providerId="ADAL" clId="{9344D105-636D-4857-BD0F-AFC44A54BCCF}" dt="2021-05-25T14:20:10.974" v="27604" actId="790"/>
        <pc:sldMkLst>
          <pc:docMk/>
          <pc:sldMk cId="3884321799" sldId="10291"/>
        </pc:sldMkLst>
        <pc:spChg chg="mod">
          <ac:chgData name="Ugo MANTEL" userId="2d5b7065-31bb-4181-a7f8-a73bf0c30211" providerId="ADAL" clId="{9344D105-636D-4857-BD0F-AFC44A54BCCF}" dt="2021-05-25T14:20:10.967" v="27599" actId="790"/>
          <ac:spMkLst>
            <pc:docMk/>
            <pc:sldMk cId="3884321799" sldId="10291"/>
            <ac:spMk id="3" creationId="{DC0B6CE0-071E-44A6-82A3-BC4FF5D83B27}"/>
          </ac:spMkLst>
        </pc:spChg>
        <pc:spChg chg="mod">
          <ac:chgData name="Ugo MANTEL" userId="2d5b7065-31bb-4181-a7f8-a73bf0c30211" providerId="ADAL" clId="{9344D105-636D-4857-BD0F-AFC44A54BCCF}" dt="2021-05-25T14:20:10.968" v="27600" actId="790"/>
          <ac:spMkLst>
            <pc:docMk/>
            <pc:sldMk cId="3884321799" sldId="10291"/>
            <ac:spMk id="4" creationId="{2DE3B9FB-389E-44C4-A5C5-F3E880E483DD}"/>
          </ac:spMkLst>
        </pc:spChg>
        <pc:spChg chg="mod">
          <ac:chgData name="Ugo MANTEL" userId="2d5b7065-31bb-4181-a7f8-a73bf0c30211" providerId="ADAL" clId="{9344D105-636D-4857-BD0F-AFC44A54BCCF}" dt="2021-05-25T14:20:10.969" v="27601" actId="790"/>
          <ac:spMkLst>
            <pc:docMk/>
            <pc:sldMk cId="3884321799" sldId="10291"/>
            <ac:spMk id="7" creationId="{ED3DDDA4-13C0-4B5E-BF69-1052ACC41BFF}"/>
          </ac:spMkLst>
        </pc:spChg>
        <pc:spChg chg="mod">
          <ac:chgData name="Ugo MANTEL" userId="2d5b7065-31bb-4181-a7f8-a73bf0c30211" providerId="ADAL" clId="{9344D105-636D-4857-BD0F-AFC44A54BCCF}" dt="2021-05-25T14:20:10.971" v="27602" actId="790"/>
          <ac:spMkLst>
            <pc:docMk/>
            <pc:sldMk cId="3884321799" sldId="10291"/>
            <ac:spMk id="13" creationId="{B1098745-8BF6-4065-AFBD-2424FEF2474A}"/>
          </ac:spMkLst>
        </pc:spChg>
        <pc:spChg chg="mod">
          <ac:chgData name="Ugo MANTEL" userId="2d5b7065-31bb-4181-a7f8-a73bf0c30211" providerId="ADAL" clId="{9344D105-636D-4857-BD0F-AFC44A54BCCF}" dt="2021-05-25T14:20:10.973" v="27603" actId="790"/>
          <ac:spMkLst>
            <pc:docMk/>
            <pc:sldMk cId="3884321799" sldId="10291"/>
            <ac:spMk id="16" creationId="{FFF23C2F-78E0-477D-90B5-6C5DA8402A80}"/>
          </ac:spMkLst>
        </pc:spChg>
        <pc:spChg chg="mod">
          <ac:chgData name="Ugo MANTEL" userId="2d5b7065-31bb-4181-a7f8-a73bf0c30211" providerId="ADAL" clId="{9344D105-636D-4857-BD0F-AFC44A54BCCF}" dt="2021-05-25T14:20:10.974" v="27604" actId="790"/>
          <ac:spMkLst>
            <pc:docMk/>
            <pc:sldMk cId="3884321799" sldId="10291"/>
            <ac:spMk id="19" creationId="{BC48846A-ECA8-4A6F-8CFC-15261D21AF27}"/>
          </ac:spMkLst>
        </pc:spChg>
      </pc:sldChg>
      <pc:sldChg chg="modSp mod">
        <pc:chgData name="Ugo MANTEL" userId="2d5b7065-31bb-4181-a7f8-a73bf0c30211" providerId="ADAL" clId="{9344D105-636D-4857-BD0F-AFC44A54BCCF}" dt="2021-05-25T14:20:10.982" v="27612" actId="790"/>
        <pc:sldMkLst>
          <pc:docMk/>
          <pc:sldMk cId="3536028850" sldId="10321"/>
        </pc:sldMkLst>
        <pc:spChg chg="mod">
          <ac:chgData name="Ugo MANTEL" userId="2d5b7065-31bb-4181-a7f8-a73bf0c30211" providerId="ADAL" clId="{9344D105-636D-4857-BD0F-AFC44A54BCCF}" dt="2021-05-25T14:20:10.975" v="27605" actId="790"/>
          <ac:spMkLst>
            <pc:docMk/>
            <pc:sldMk cId="3536028850" sldId="10321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0.977" v="27606" actId="790"/>
          <ac:spMkLst>
            <pc:docMk/>
            <pc:sldMk cId="3536028850" sldId="10321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0.977" v="27607" actId="790"/>
          <ac:spMkLst>
            <pc:docMk/>
            <pc:sldMk cId="3536028850" sldId="10321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0.982" v="27612" actId="790"/>
          <ac:spMkLst>
            <pc:docMk/>
            <pc:sldMk cId="3536028850" sldId="10321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0.978" v="27608" actId="790"/>
          <ac:spMkLst>
            <pc:docMk/>
            <pc:sldMk cId="3536028850" sldId="10321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0.979" v="27609" actId="790"/>
          <ac:spMkLst>
            <pc:docMk/>
            <pc:sldMk cId="3536028850" sldId="10321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0.980" v="27610" actId="790"/>
          <ac:spMkLst>
            <pc:docMk/>
            <pc:sldMk cId="3536028850" sldId="10321"/>
            <ac:spMk id="22" creationId="{C002634F-3FA9-4AC3-90E2-0D253FC97BF7}"/>
          </ac:spMkLst>
        </pc:spChg>
        <pc:spChg chg="mod">
          <ac:chgData name="Ugo MANTEL" userId="2d5b7065-31bb-4181-a7f8-a73bf0c30211" providerId="ADAL" clId="{9344D105-636D-4857-BD0F-AFC44A54BCCF}" dt="2021-05-25T14:20:10.981" v="27611" actId="790"/>
          <ac:spMkLst>
            <pc:docMk/>
            <pc:sldMk cId="3536028850" sldId="10321"/>
            <ac:spMk id="24" creationId="{9523976D-7994-4445-A7A3-F04F6C533708}"/>
          </ac:spMkLst>
        </pc:spChg>
      </pc:sldChg>
      <pc:sldChg chg="modSp mod">
        <pc:chgData name="Ugo MANTEL" userId="2d5b7065-31bb-4181-a7f8-a73bf0c30211" providerId="ADAL" clId="{9344D105-636D-4857-BD0F-AFC44A54BCCF}" dt="2021-05-25T14:20:12.396" v="29151" actId="790"/>
        <pc:sldMkLst>
          <pc:docMk/>
          <pc:sldMk cId="3812200160" sldId="10324"/>
        </pc:sldMkLst>
        <pc:spChg chg="mod">
          <ac:chgData name="Ugo MANTEL" userId="2d5b7065-31bb-4181-a7f8-a73bf0c30211" providerId="ADAL" clId="{9344D105-636D-4857-BD0F-AFC44A54BCCF}" dt="2021-05-25T14:20:12.326" v="29067" actId="790"/>
          <ac:spMkLst>
            <pc:docMk/>
            <pc:sldMk cId="3812200160" sldId="10324"/>
            <ac:spMk id="2" creationId="{806A24BD-A309-4114-BCBE-1F8520216A75}"/>
          </ac:spMkLst>
        </pc:spChg>
        <pc:spChg chg="mod">
          <ac:chgData name="Ugo MANTEL" userId="2d5b7065-31bb-4181-a7f8-a73bf0c30211" providerId="ADAL" clId="{9344D105-636D-4857-BD0F-AFC44A54BCCF}" dt="2021-05-25T14:20:12.370" v="29117" actId="790"/>
          <ac:spMkLst>
            <pc:docMk/>
            <pc:sldMk cId="3812200160" sldId="10324"/>
            <ac:spMk id="5" creationId="{5EC0279C-C6B9-4AB1-8775-2653854AC40C}"/>
          </ac:spMkLst>
        </pc:spChg>
        <pc:spChg chg="mod">
          <ac:chgData name="Ugo MANTEL" userId="2d5b7065-31bb-4181-a7f8-a73bf0c30211" providerId="ADAL" clId="{9344D105-636D-4857-BD0F-AFC44A54BCCF}" dt="2021-05-25T14:20:12.327" v="29068" actId="790"/>
          <ac:spMkLst>
            <pc:docMk/>
            <pc:sldMk cId="3812200160" sldId="10324"/>
            <ac:spMk id="6" creationId="{4E6E5141-7FBC-4E06-91AB-778C41045C7B}"/>
          </ac:spMkLst>
        </pc:spChg>
        <pc:spChg chg="mod">
          <ac:chgData name="Ugo MANTEL" userId="2d5b7065-31bb-4181-a7f8-a73bf0c30211" providerId="ADAL" clId="{9344D105-636D-4857-BD0F-AFC44A54BCCF}" dt="2021-05-25T14:20:12.328" v="29069" actId="790"/>
          <ac:spMkLst>
            <pc:docMk/>
            <pc:sldMk cId="3812200160" sldId="10324"/>
            <ac:spMk id="7" creationId="{8D09AD6F-BFA9-4E94-83DF-0661F98B9019}"/>
          </ac:spMkLst>
        </pc:spChg>
        <pc:spChg chg="mod">
          <ac:chgData name="Ugo MANTEL" userId="2d5b7065-31bb-4181-a7f8-a73bf0c30211" providerId="ADAL" clId="{9344D105-636D-4857-BD0F-AFC44A54BCCF}" dt="2021-05-25T14:20:12.329" v="29070" actId="790"/>
          <ac:spMkLst>
            <pc:docMk/>
            <pc:sldMk cId="3812200160" sldId="10324"/>
            <ac:spMk id="8" creationId="{77A429D6-B3A3-42B0-BAD3-1B353FC28B08}"/>
          </ac:spMkLst>
        </pc:spChg>
        <pc:spChg chg="mod">
          <ac:chgData name="Ugo MANTEL" userId="2d5b7065-31bb-4181-a7f8-a73bf0c30211" providerId="ADAL" clId="{9344D105-636D-4857-BD0F-AFC44A54BCCF}" dt="2021-05-25T14:20:12.330" v="29071" actId="790"/>
          <ac:spMkLst>
            <pc:docMk/>
            <pc:sldMk cId="3812200160" sldId="10324"/>
            <ac:spMk id="9" creationId="{C1790DA0-3655-475E-9CEE-4FBE153BB3F2}"/>
          </ac:spMkLst>
        </pc:spChg>
        <pc:spChg chg="mod">
          <ac:chgData name="Ugo MANTEL" userId="2d5b7065-31bb-4181-a7f8-a73bf0c30211" providerId="ADAL" clId="{9344D105-636D-4857-BD0F-AFC44A54BCCF}" dt="2021-05-25T14:20:12.358" v="29101" actId="790"/>
          <ac:spMkLst>
            <pc:docMk/>
            <pc:sldMk cId="3812200160" sldId="10324"/>
            <ac:spMk id="13" creationId="{93256D83-834B-4334-B9DB-6D53960A9062}"/>
          </ac:spMkLst>
        </pc:spChg>
        <pc:spChg chg="mod">
          <ac:chgData name="Ugo MANTEL" userId="2d5b7065-31bb-4181-a7f8-a73bf0c30211" providerId="ADAL" clId="{9344D105-636D-4857-BD0F-AFC44A54BCCF}" dt="2021-05-25T14:20:12.331" v="29072" actId="790"/>
          <ac:spMkLst>
            <pc:docMk/>
            <pc:sldMk cId="3812200160" sldId="10324"/>
            <ac:spMk id="14" creationId="{B8D529E0-B56F-42E9-9413-B04B09D1BC35}"/>
          </ac:spMkLst>
        </pc:spChg>
        <pc:spChg chg="mod">
          <ac:chgData name="Ugo MANTEL" userId="2d5b7065-31bb-4181-a7f8-a73bf0c30211" providerId="ADAL" clId="{9344D105-636D-4857-BD0F-AFC44A54BCCF}" dt="2021-05-25T14:20:12.332" v="29073" actId="790"/>
          <ac:spMkLst>
            <pc:docMk/>
            <pc:sldMk cId="3812200160" sldId="10324"/>
            <ac:spMk id="15" creationId="{BD17CEC9-4298-48C2-A07A-B6966AE88E71}"/>
          </ac:spMkLst>
        </pc:spChg>
        <pc:spChg chg="mod">
          <ac:chgData name="Ugo MANTEL" userId="2d5b7065-31bb-4181-a7f8-a73bf0c30211" providerId="ADAL" clId="{9344D105-636D-4857-BD0F-AFC44A54BCCF}" dt="2021-05-25T14:20:12.332" v="29074" actId="790"/>
          <ac:spMkLst>
            <pc:docMk/>
            <pc:sldMk cId="3812200160" sldId="10324"/>
            <ac:spMk id="16" creationId="{B886F05E-DC2A-4B28-89B2-BAEBC0591254}"/>
          </ac:spMkLst>
        </pc:spChg>
        <pc:spChg chg="mod">
          <ac:chgData name="Ugo MANTEL" userId="2d5b7065-31bb-4181-a7f8-a73bf0c30211" providerId="ADAL" clId="{9344D105-636D-4857-BD0F-AFC44A54BCCF}" dt="2021-05-25T14:20:12.333" v="29075" actId="790"/>
          <ac:spMkLst>
            <pc:docMk/>
            <pc:sldMk cId="3812200160" sldId="10324"/>
            <ac:spMk id="17" creationId="{FD9BD1A8-B133-4ED7-9402-59FE79DE23EC}"/>
          </ac:spMkLst>
        </pc:spChg>
        <pc:spChg chg="mod">
          <ac:chgData name="Ugo MANTEL" userId="2d5b7065-31bb-4181-a7f8-a73bf0c30211" providerId="ADAL" clId="{9344D105-636D-4857-BD0F-AFC44A54BCCF}" dt="2021-05-25T14:20:12.334" v="29076" actId="790"/>
          <ac:spMkLst>
            <pc:docMk/>
            <pc:sldMk cId="3812200160" sldId="10324"/>
            <ac:spMk id="18" creationId="{4373ED4E-D1FF-488D-BEFE-69AC7F528CA4}"/>
          </ac:spMkLst>
        </pc:spChg>
        <pc:spChg chg="mod">
          <ac:chgData name="Ugo MANTEL" userId="2d5b7065-31bb-4181-a7f8-a73bf0c30211" providerId="ADAL" clId="{9344D105-636D-4857-BD0F-AFC44A54BCCF}" dt="2021-05-25T14:20:12.335" v="29077" actId="790"/>
          <ac:spMkLst>
            <pc:docMk/>
            <pc:sldMk cId="3812200160" sldId="10324"/>
            <ac:spMk id="19" creationId="{BC760060-ABD5-412D-8045-EF97EC543341}"/>
          </ac:spMkLst>
        </pc:spChg>
        <pc:spChg chg="mod">
          <ac:chgData name="Ugo MANTEL" userId="2d5b7065-31bb-4181-a7f8-a73bf0c30211" providerId="ADAL" clId="{9344D105-636D-4857-BD0F-AFC44A54BCCF}" dt="2021-05-25T14:20:12.335" v="29078" actId="790"/>
          <ac:spMkLst>
            <pc:docMk/>
            <pc:sldMk cId="3812200160" sldId="10324"/>
            <ac:spMk id="20" creationId="{388BECFA-DD33-47B0-8DCF-EFF4D8D243DB}"/>
          </ac:spMkLst>
        </pc:spChg>
        <pc:spChg chg="mod">
          <ac:chgData name="Ugo MANTEL" userId="2d5b7065-31bb-4181-a7f8-a73bf0c30211" providerId="ADAL" clId="{9344D105-636D-4857-BD0F-AFC44A54BCCF}" dt="2021-05-25T14:20:12.336" v="29079" actId="790"/>
          <ac:spMkLst>
            <pc:docMk/>
            <pc:sldMk cId="3812200160" sldId="10324"/>
            <ac:spMk id="21" creationId="{F90680D2-5DA9-4AD6-8E64-FE8EA1410BC0}"/>
          </ac:spMkLst>
        </pc:spChg>
        <pc:spChg chg="mod">
          <ac:chgData name="Ugo MANTEL" userId="2d5b7065-31bb-4181-a7f8-a73bf0c30211" providerId="ADAL" clId="{9344D105-636D-4857-BD0F-AFC44A54BCCF}" dt="2021-05-25T14:20:12.337" v="29080" actId="790"/>
          <ac:spMkLst>
            <pc:docMk/>
            <pc:sldMk cId="3812200160" sldId="10324"/>
            <ac:spMk id="22" creationId="{F54D9E31-C7E1-4619-8AB2-AF3F57E25D8C}"/>
          </ac:spMkLst>
        </pc:spChg>
        <pc:spChg chg="mod">
          <ac:chgData name="Ugo MANTEL" userId="2d5b7065-31bb-4181-a7f8-a73bf0c30211" providerId="ADAL" clId="{9344D105-636D-4857-BD0F-AFC44A54BCCF}" dt="2021-05-25T14:20:12.338" v="29081" actId="790"/>
          <ac:spMkLst>
            <pc:docMk/>
            <pc:sldMk cId="3812200160" sldId="10324"/>
            <ac:spMk id="23" creationId="{E942F219-9D1D-4A73-B97D-EC48BD66AF15}"/>
          </ac:spMkLst>
        </pc:spChg>
        <pc:spChg chg="mod">
          <ac:chgData name="Ugo MANTEL" userId="2d5b7065-31bb-4181-a7f8-a73bf0c30211" providerId="ADAL" clId="{9344D105-636D-4857-BD0F-AFC44A54BCCF}" dt="2021-05-25T14:20:12.339" v="29082" actId="790"/>
          <ac:spMkLst>
            <pc:docMk/>
            <pc:sldMk cId="3812200160" sldId="10324"/>
            <ac:spMk id="24" creationId="{C2FF144E-7C70-4F58-8690-D05F03C7B743}"/>
          </ac:spMkLst>
        </pc:spChg>
        <pc:spChg chg="mod">
          <ac:chgData name="Ugo MANTEL" userId="2d5b7065-31bb-4181-a7f8-a73bf0c30211" providerId="ADAL" clId="{9344D105-636D-4857-BD0F-AFC44A54BCCF}" dt="2021-05-25T14:20:12.340" v="29083" actId="790"/>
          <ac:spMkLst>
            <pc:docMk/>
            <pc:sldMk cId="3812200160" sldId="10324"/>
            <ac:spMk id="43" creationId="{C59EF210-5B50-40A7-A6B4-DDAD799020BA}"/>
          </ac:spMkLst>
        </pc:spChg>
        <pc:spChg chg="mod">
          <ac:chgData name="Ugo MANTEL" userId="2d5b7065-31bb-4181-a7f8-a73bf0c30211" providerId="ADAL" clId="{9344D105-636D-4857-BD0F-AFC44A54BCCF}" dt="2021-05-25T14:20:12.341" v="29084" actId="790"/>
          <ac:spMkLst>
            <pc:docMk/>
            <pc:sldMk cId="3812200160" sldId="10324"/>
            <ac:spMk id="45" creationId="{A30046C9-7286-442E-B5D2-9182D2F71B12}"/>
          </ac:spMkLst>
        </pc:spChg>
        <pc:spChg chg="mod">
          <ac:chgData name="Ugo MANTEL" userId="2d5b7065-31bb-4181-a7f8-a73bf0c30211" providerId="ADAL" clId="{9344D105-636D-4857-BD0F-AFC44A54BCCF}" dt="2021-05-25T14:20:12.342" v="29085" actId="790"/>
          <ac:spMkLst>
            <pc:docMk/>
            <pc:sldMk cId="3812200160" sldId="10324"/>
            <ac:spMk id="56" creationId="{F37F2C7C-4651-46F1-B548-F75D15102AEA}"/>
          </ac:spMkLst>
        </pc:spChg>
        <pc:spChg chg="mod">
          <ac:chgData name="Ugo MANTEL" userId="2d5b7065-31bb-4181-a7f8-a73bf0c30211" providerId="ADAL" clId="{9344D105-636D-4857-BD0F-AFC44A54BCCF}" dt="2021-05-25T14:20:12.342" v="29086" actId="790"/>
          <ac:spMkLst>
            <pc:docMk/>
            <pc:sldMk cId="3812200160" sldId="10324"/>
            <ac:spMk id="61" creationId="{86718822-02E2-4F9A-B0D6-5A2C08F0884A}"/>
          </ac:spMkLst>
        </pc:spChg>
        <pc:spChg chg="mod">
          <ac:chgData name="Ugo MANTEL" userId="2d5b7065-31bb-4181-a7f8-a73bf0c30211" providerId="ADAL" clId="{9344D105-636D-4857-BD0F-AFC44A54BCCF}" dt="2021-05-25T14:20:12.343" v="29087" actId="790"/>
          <ac:spMkLst>
            <pc:docMk/>
            <pc:sldMk cId="3812200160" sldId="10324"/>
            <ac:spMk id="62" creationId="{27537C42-90B1-4AE2-8853-9E14C9C3CD5A}"/>
          </ac:spMkLst>
        </pc:spChg>
        <pc:spChg chg="mod">
          <ac:chgData name="Ugo MANTEL" userId="2d5b7065-31bb-4181-a7f8-a73bf0c30211" providerId="ADAL" clId="{9344D105-636D-4857-BD0F-AFC44A54BCCF}" dt="2021-05-25T14:20:12.345" v="29088" actId="790"/>
          <ac:spMkLst>
            <pc:docMk/>
            <pc:sldMk cId="3812200160" sldId="10324"/>
            <ac:spMk id="63" creationId="{09962DE7-FED3-45A7-A785-60D4A1764C81}"/>
          </ac:spMkLst>
        </pc:spChg>
        <pc:spChg chg="mod">
          <ac:chgData name="Ugo MANTEL" userId="2d5b7065-31bb-4181-a7f8-a73bf0c30211" providerId="ADAL" clId="{9344D105-636D-4857-BD0F-AFC44A54BCCF}" dt="2021-05-25T14:20:12.346" v="29089" actId="790"/>
          <ac:spMkLst>
            <pc:docMk/>
            <pc:sldMk cId="3812200160" sldId="10324"/>
            <ac:spMk id="74" creationId="{DD8929B4-3FC0-4A80-B005-DECF49E5F03E}"/>
          </ac:spMkLst>
        </pc:spChg>
        <pc:spChg chg="mod">
          <ac:chgData name="Ugo MANTEL" userId="2d5b7065-31bb-4181-a7f8-a73bf0c30211" providerId="ADAL" clId="{9344D105-636D-4857-BD0F-AFC44A54BCCF}" dt="2021-05-25T14:20:12.347" v="29090" actId="790"/>
          <ac:spMkLst>
            <pc:docMk/>
            <pc:sldMk cId="3812200160" sldId="10324"/>
            <ac:spMk id="85" creationId="{2D2CFECC-1DAE-45A7-BC98-5B3781537431}"/>
          </ac:spMkLst>
        </pc:spChg>
        <pc:spChg chg="mod">
          <ac:chgData name="Ugo MANTEL" userId="2d5b7065-31bb-4181-a7f8-a73bf0c30211" providerId="ADAL" clId="{9344D105-636D-4857-BD0F-AFC44A54BCCF}" dt="2021-05-25T14:20:12.347" v="29091" actId="790"/>
          <ac:spMkLst>
            <pc:docMk/>
            <pc:sldMk cId="3812200160" sldId="10324"/>
            <ac:spMk id="91" creationId="{7D5F7D48-55E2-4B20-BCE4-576336C3156A}"/>
          </ac:spMkLst>
        </pc:spChg>
        <pc:spChg chg="mod">
          <ac:chgData name="Ugo MANTEL" userId="2d5b7065-31bb-4181-a7f8-a73bf0c30211" providerId="ADAL" clId="{9344D105-636D-4857-BD0F-AFC44A54BCCF}" dt="2021-05-25T14:20:12.351" v="29092" actId="790"/>
          <ac:spMkLst>
            <pc:docMk/>
            <pc:sldMk cId="3812200160" sldId="10324"/>
            <ac:spMk id="110" creationId="{D112EAE9-1C24-4AF0-B3DD-273BF2FF5A59}"/>
          </ac:spMkLst>
        </pc:spChg>
        <pc:spChg chg="mod">
          <ac:chgData name="Ugo MANTEL" userId="2d5b7065-31bb-4181-a7f8-a73bf0c30211" providerId="ADAL" clId="{9344D105-636D-4857-BD0F-AFC44A54BCCF}" dt="2021-05-25T14:20:12.352" v="29093" actId="790"/>
          <ac:spMkLst>
            <pc:docMk/>
            <pc:sldMk cId="3812200160" sldId="10324"/>
            <ac:spMk id="122" creationId="{4BB1FB59-BBA0-4C1D-99BF-B17C66F28105}"/>
          </ac:spMkLst>
        </pc:spChg>
        <pc:spChg chg="mod">
          <ac:chgData name="Ugo MANTEL" userId="2d5b7065-31bb-4181-a7f8-a73bf0c30211" providerId="ADAL" clId="{9344D105-636D-4857-BD0F-AFC44A54BCCF}" dt="2021-05-25T14:20:12.353" v="29094" actId="790"/>
          <ac:spMkLst>
            <pc:docMk/>
            <pc:sldMk cId="3812200160" sldId="10324"/>
            <ac:spMk id="123" creationId="{BA1295D8-39D5-452E-8452-EBFDE65B613E}"/>
          </ac:spMkLst>
        </pc:spChg>
        <pc:spChg chg="mod">
          <ac:chgData name="Ugo MANTEL" userId="2d5b7065-31bb-4181-a7f8-a73bf0c30211" providerId="ADAL" clId="{9344D105-636D-4857-BD0F-AFC44A54BCCF}" dt="2021-05-25T14:20:12.354" v="29095" actId="790"/>
          <ac:spMkLst>
            <pc:docMk/>
            <pc:sldMk cId="3812200160" sldId="10324"/>
            <ac:spMk id="129" creationId="{41C22EBB-F88D-45C4-8EEC-7D82784A1DFD}"/>
          </ac:spMkLst>
        </pc:spChg>
        <pc:spChg chg="mod">
          <ac:chgData name="Ugo MANTEL" userId="2d5b7065-31bb-4181-a7f8-a73bf0c30211" providerId="ADAL" clId="{9344D105-636D-4857-BD0F-AFC44A54BCCF}" dt="2021-05-25T14:20:12.354" v="29096" actId="790"/>
          <ac:spMkLst>
            <pc:docMk/>
            <pc:sldMk cId="3812200160" sldId="10324"/>
            <ac:spMk id="130" creationId="{163A8F1B-F414-4330-AC35-FC60619A3D17}"/>
          </ac:spMkLst>
        </pc:spChg>
        <pc:spChg chg="mod">
          <ac:chgData name="Ugo MANTEL" userId="2d5b7065-31bb-4181-a7f8-a73bf0c30211" providerId="ADAL" clId="{9344D105-636D-4857-BD0F-AFC44A54BCCF}" dt="2021-05-25T14:20:12.370" v="29116" actId="790"/>
          <ac:spMkLst>
            <pc:docMk/>
            <pc:sldMk cId="3812200160" sldId="10324"/>
            <ac:spMk id="131" creationId="{F8E98C50-1E86-491D-9DCE-46388404D244}"/>
          </ac:spMkLst>
        </pc:spChg>
        <pc:spChg chg="mod">
          <ac:chgData name="Ugo MANTEL" userId="2d5b7065-31bb-4181-a7f8-a73bf0c30211" providerId="ADAL" clId="{9344D105-636D-4857-BD0F-AFC44A54BCCF}" dt="2021-05-25T14:20:12.355" v="29097" actId="790"/>
          <ac:spMkLst>
            <pc:docMk/>
            <pc:sldMk cId="3812200160" sldId="10324"/>
            <ac:spMk id="132" creationId="{1A3DE5F6-DC50-4B3E-8712-4F7931E9D3D4}"/>
          </ac:spMkLst>
        </pc:spChg>
        <pc:spChg chg="mod">
          <ac:chgData name="Ugo MANTEL" userId="2d5b7065-31bb-4181-a7f8-a73bf0c30211" providerId="ADAL" clId="{9344D105-636D-4857-BD0F-AFC44A54BCCF}" dt="2021-05-25T14:20:12.356" v="29098" actId="790"/>
          <ac:spMkLst>
            <pc:docMk/>
            <pc:sldMk cId="3812200160" sldId="10324"/>
            <ac:spMk id="133" creationId="{DC661DF3-2B60-4258-8A3C-6DA55E7974BD}"/>
          </ac:spMkLst>
        </pc:spChg>
        <pc:spChg chg="mod">
          <ac:chgData name="Ugo MANTEL" userId="2d5b7065-31bb-4181-a7f8-a73bf0c30211" providerId="ADAL" clId="{9344D105-636D-4857-BD0F-AFC44A54BCCF}" dt="2021-05-25T14:20:12.356" v="29099" actId="790"/>
          <ac:spMkLst>
            <pc:docMk/>
            <pc:sldMk cId="3812200160" sldId="10324"/>
            <ac:spMk id="134" creationId="{D5795A40-7B7E-4315-876A-A38D6610B661}"/>
          </ac:spMkLst>
        </pc:spChg>
        <pc:spChg chg="mod">
          <ac:chgData name="Ugo MANTEL" userId="2d5b7065-31bb-4181-a7f8-a73bf0c30211" providerId="ADAL" clId="{9344D105-636D-4857-BD0F-AFC44A54BCCF}" dt="2021-05-25T14:20:12.391" v="29145" actId="790"/>
          <ac:spMkLst>
            <pc:docMk/>
            <pc:sldMk cId="3812200160" sldId="10324"/>
            <ac:spMk id="135" creationId="{FD862AA3-AF38-4B7A-971E-323EE96133C2}"/>
          </ac:spMkLst>
        </pc:spChg>
        <pc:spChg chg="mod">
          <ac:chgData name="Ugo MANTEL" userId="2d5b7065-31bb-4181-a7f8-a73bf0c30211" providerId="ADAL" clId="{9344D105-636D-4857-BD0F-AFC44A54BCCF}" dt="2021-05-25T14:20:12.357" v="29100" actId="790"/>
          <ac:spMkLst>
            <pc:docMk/>
            <pc:sldMk cId="3812200160" sldId="10324"/>
            <ac:spMk id="136" creationId="{005E694E-10BD-41C7-B221-883736CCCEFB}"/>
          </ac:spMkLst>
        </pc:spChg>
        <pc:spChg chg="mod">
          <ac:chgData name="Ugo MANTEL" userId="2d5b7065-31bb-4181-a7f8-a73bf0c30211" providerId="ADAL" clId="{9344D105-636D-4857-BD0F-AFC44A54BCCF}" dt="2021-05-25T14:20:12.358" v="29102" actId="790"/>
          <ac:spMkLst>
            <pc:docMk/>
            <pc:sldMk cId="3812200160" sldId="10324"/>
            <ac:spMk id="137" creationId="{AF67C425-8708-4B3E-9B2A-E5C85D989489}"/>
          </ac:spMkLst>
        </pc:spChg>
        <pc:spChg chg="mod">
          <ac:chgData name="Ugo MANTEL" userId="2d5b7065-31bb-4181-a7f8-a73bf0c30211" providerId="ADAL" clId="{9344D105-636D-4857-BD0F-AFC44A54BCCF}" dt="2021-05-25T14:20:12.371" v="29118" actId="790"/>
          <ac:spMkLst>
            <pc:docMk/>
            <pc:sldMk cId="3812200160" sldId="10324"/>
            <ac:spMk id="139" creationId="{D81795AE-6E56-400B-B079-B0B457EC71B9}"/>
          </ac:spMkLst>
        </pc:spChg>
        <pc:spChg chg="mod">
          <ac:chgData name="Ugo MANTEL" userId="2d5b7065-31bb-4181-a7f8-a73bf0c30211" providerId="ADAL" clId="{9344D105-636D-4857-BD0F-AFC44A54BCCF}" dt="2021-05-25T14:20:12.372" v="29119" actId="790"/>
          <ac:spMkLst>
            <pc:docMk/>
            <pc:sldMk cId="3812200160" sldId="10324"/>
            <ac:spMk id="140" creationId="{D67E5A69-EEF9-4466-B400-1F4314F96908}"/>
          </ac:spMkLst>
        </pc:spChg>
        <pc:spChg chg="mod">
          <ac:chgData name="Ugo MANTEL" userId="2d5b7065-31bb-4181-a7f8-a73bf0c30211" providerId="ADAL" clId="{9344D105-636D-4857-BD0F-AFC44A54BCCF}" dt="2021-05-25T14:20:12.372" v="29120" actId="790"/>
          <ac:spMkLst>
            <pc:docMk/>
            <pc:sldMk cId="3812200160" sldId="10324"/>
            <ac:spMk id="141" creationId="{F17F2A21-E008-48DD-B2E8-A16930C7D703}"/>
          </ac:spMkLst>
        </pc:spChg>
        <pc:spChg chg="mod">
          <ac:chgData name="Ugo MANTEL" userId="2d5b7065-31bb-4181-a7f8-a73bf0c30211" providerId="ADAL" clId="{9344D105-636D-4857-BD0F-AFC44A54BCCF}" dt="2021-05-25T14:20:12.373" v="29121" actId="790"/>
          <ac:spMkLst>
            <pc:docMk/>
            <pc:sldMk cId="3812200160" sldId="10324"/>
            <ac:spMk id="142" creationId="{CEC60E3F-428F-4D01-91EC-F6C8001FE3D1}"/>
          </ac:spMkLst>
        </pc:spChg>
        <pc:spChg chg="mod">
          <ac:chgData name="Ugo MANTEL" userId="2d5b7065-31bb-4181-a7f8-a73bf0c30211" providerId="ADAL" clId="{9344D105-636D-4857-BD0F-AFC44A54BCCF}" dt="2021-05-25T14:20:12.392" v="29146" actId="790"/>
          <ac:spMkLst>
            <pc:docMk/>
            <pc:sldMk cId="3812200160" sldId="10324"/>
            <ac:spMk id="143" creationId="{F7488878-04D1-4389-A4F8-1D88F29777F1}"/>
          </ac:spMkLst>
        </pc:spChg>
        <pc:spChg chg="mod">
          <ac:chgData name="Ugo MANTEL" userId="2d5b7065-31bb-4181-a7f8-a73bf0c30211" providerId="ADAL" clId="{9344D105-636D-4857-BD0F-AFC44A54BCCF}" dt="2021-05-25T14:20:12.393" v="29147" actId="790"/>
          <ac:spMkLst>
            <pc:docMk/>
            <pc:sldMk cId="3812200160" sldId="10324"/>
            <ac:spMk id="144" creationId="{D56AE4E1-BC53-4099-9A45-97E9D932BCAC}"/>
          </ac:spMkLst>
        </pc:spChg>
        <pc:spChg chg="mod">
          <ac:chgData name="Ugo MANTEL" userId="2d5b7065-31bb-4181-a7f8-a73bf0c30211" providerId="ADAL" clId="{9344D105-636D-4857-BD0F-AFC44A54BCCF}" dt="2021-05-25T14:20:12.386" v="29136" actId="790"/>
          <ac:spMkLst>
            <pc:docMk/>
            <pc:sldMk cId="3812200160" sldId="10324"/>
            <ac:spMk id="145" creationId="{F15D3BB1-159B-47EC-922F-EB80675D3EEC}"/>
          </ac:spMkLst>
        </pc:spChg>
        <pc:spChg chg="mod">
          <ac:chgData name="Ugo MANTEL" userId="2d5b7065-31bb-4181-a7f8-a73bf0c30211" providerId="ADAL" clId="{9344D105-636D-4857-BD0F-AFC44A54BCCF}" dt="2021-05-25T14:20:12.393" v="29148" actId="790"/>
          <ac:spMkLst>
            <pc:docMk/>
            <pc:sldMk cId="3812200160" sldId="10324"/>
            <ac:spMk id="146" creationId="{CB1AFC02-2042-4393-936C-35B65A386EA5}"/>
          </ac:spMkLst>
        </pc:spChg>
        <pc:spChg chg="mod">
          <ac:chgData name="Ugo MANTEL" userId="2d5b7065-31bb-4181-a7f8-a73bf0c30211" providerId="ADAL" clId="{9344D105-636D-4857-BD0F-AFC44A54BCCF}" dt="2021-05-25T14:20:12.388" v="29140" actId="790"/>
          <ac:spMkLst>
            <pc:docMk/>
            <pc:sldMk cId="3812200160" sldId="10324"/>
            <ac:spMk id="147" creationId="{CCF21D30-C589-4543-B239-440CDB562FB9}"/>
          </ac:spMkLst>
        </pc:spChg>
        <pc:spChg chg="mod">
          <ac:chgData name="Ugo MANTEL" userId="2d5b7065-31bb-4181-a7f8-a73bf0c30211" providerId="ADAL" clId="{9344D105-636D-4857-BD0F-AFC44A54BCCF}" dt="2021-05-25T14:20:12.383" v="29133" actId="790"/>
          <ac:spMkLst>
            <pc:docMk/>
            <pc:sldMk cId="3812200160" sldId="10324"/>
            <ac:spMk id="148" creationId="{EBB51B76-CB68-42F5-97A6-FBBED1871205}"/>
          </ac:spMkLst>
        </pc:spChg>
        <pc:spChg chg="mod">
          <ac:chgData name="Ugo MANTEL" userId="2d5b7065-31bb-4181-a7f8-a73bf0c30211" providerId="ADAL" clId="{9344D105-636D-4857-BD0F-AFC44A54BCCF}" dt="2021-05-25T14:20:12.384" v="29134" actId="790"/>
          <ac:spMkLst>
            <pc:docMk/>
            <pc:sldMk cId="3812200160" sldId="10324"/>
            <ac:spMk id="149" creationId="{E8255177-A877-4442-95F5-4D3D40779B46}"/>
          </ac:spMkLst>
        </pc:spChg>
        <pc:spChg chg="mod">
          <ac:chgData name="Ugo MANTEL" userId="2d5b7065-31bb-4181-a7f8-a73bf0c30211" providerId="ADAL" clId="{9344D105-636D-4857-BD0F-AFC44A54BCCF}" dt="2021-05-25T14:20:12.385" v="29135" actId="790"/>
          <ac:spMkLst>
            <pc:docMk/>
            <pc:sldMk cId="3812200160" sldId="10324"/>
            <ac:spMk id="150" creationId="{06FE88BA-F1AE-4935-87DB-1EA9528E630D}"/>
          </ac:spMkLst>
        </pc:spChg>
        <pc:spChg chg="mod">
          <ac:chgData name="Ugo MANTEL" userId="2d5b7065-31bb-4181-a7f8-a73bf0c30211" providerId="ADAL" clId="{9344D105-636D-4857-BD0F-AFC44A54BCCF}" dt="2021-05-25T14:20:12.386" v="29137" actId="790"/>
          <ac:spMkLst>
            <pc:docMk/>
            <pc:sldMk cId="3812200160" sldId="10324"/>
            <ac:spMk id="151" creationId="{945919F5-1F6F-4979-90CA-397384E59334}"/>
          </ac:spMkLst>
        </pc:spChg>
        <pc:spChg chg="mod">
          <ac:chgData name="Ugo MANTEL" userId="2d5b7065-31bb-4181-a7f8-a73bf0c30211" providerId="ADAL" clId="{9344D105-636D-4857-BD0F-AFC44A54BCCF}" dt="2021-05-25T14:20:12.387" v="29138" actId="790"/>
          <ac:spMkLst>
            <pc:docMk/>
            <pc:sldMk cId="3812200160" sldId="10324"/>
            <ac:spMk id="152" creationId="{2D48A5B8-C2CC-4F3A-B66A-BB33615C274E}"/>
          </ac:spMkLst>
        </pc:spChg>
        <pc:spChg chg="mod">
          <ac:chgData name="Ugo MANTEL" userId="2d5b7065-31bb-4181-a7f8-a73bf0c30211" providerId="ADAL" clId="{9344D105-636D-4857-BD0F-AFC44A54BCCF}" dt="2021-05-25T14:20:12.389" v="29141" actId="790"/>
          <ac:spMkLst>
            <pc:docMk/>
            <pc:sldMk cId="3812200160" sldId="10324"/>
            <ac:spMk id="153" creationId="{6069B520-1F77-45E7-BE1C-AF4ABF40CC36}"/>
          </ac:spMkLst>
        </pc:spChg>
        <pc:spChg chg="mod">
          <ac:chgData name="Ugo MANTEL" userId="2d5b7065-31bb-4181-a7f8-a73bf0c30211" providerId="ADAL" clId="{9344D105-636D-4857-BD0F-AFC44A54BCCF}" dt="2021-05-25T14:20:12.389" v="29142" actId="790"/>
          <ac:spMkLst>
            <pc:docMk/>
            <pc:sldMk cId="3812200160" sldId="10324"/>
            <ac:spMk id="154" creationId="{1C3C88C2-890C-4033-A44F-07984ADACF1E}"/>
          </ac:spMkLst>
        </pc:spChg>
        <pc:spChg chg="mod">
          <ac:chgData name="Ugo MANTEL" userId="2d5b7065-31bb-4181-a7f8-a73bf0c30211" providerId="ADAL" clId="{9344D105-636D-4857-BD0F-AFC44A54BCCF}" dt="2021-05-25T14:20:12.390" v="29143" actId="790"/>
          <ac:spMkLst>
            <pc:docMk/>
            <pc:sldMk cId="3812200160" sldId="10324"/>
            <ac:spMk id="155" creationId="{603032E7-E878-4838-BCFE-A23E1846D45A}"/>
          </ac:spMkLst>
        </pc:spChg>
        <pc:spChg chg="mod">
          <ac:chgData name="Ugo MANTEL" userId="2d5b7065-31bb-4181-a7f8-a73bf0c30211" providerId="ADAL" clId="{9344D105-636D-4857-BD0F-AFC44A54BCCF}" dt="2021-05-25T14:20:12.391" v="29144" actId="790"/>
          <ac:spMkLst>
            <pc:docMk/>
            <pc:sldMk cId="3812200160" sldId="10324"/>
            <ac:spMk id="156" creationId="{006E1FAA-A1D7-4C4C-875A-40103B24FEA4}"/>
          </ac:spMkLst>
        </pc:spChg>
        <pc:spChg chg="mod">
          <ac:chgData name="Ugo MANTEL" userId="2d5b7065-31bb-4181-a7f8-a73bf0c30211" providerId="ADAL" clId="{9344D105-636D-4857-BD0F-AFC44A54BCCF}" dt="2021-05-25T14:20:12.394" v="29149" actId="790"/>
          <ac:spMkLst>
            <pc:docMk/>
            <pc:sldMk cId="3812200160" sldId="10324"/>
            <ac:spMk id="157" creationId="{A416B439-E09F-4FEA-A65A-8F2414D40144}"/>
          </ac:spMkLst>
        </pc:spChg>
        <pc:spChg chg="mod">
          <ac:chgData name="Ugo MANTEL" userId="2d5b7065-31bb-4181-a7f8-a73bf0c30211" providerId="ADAL" clId="{9344D105-636D-4857-BD0F-AFC44A54BCCF}" dt="2021-05-25T14:20:12.395" v="29150" actId="790"/>
          <ac:spMkLst>
            <pc:docMk/>
            <pc:sldMk cId="3812200160" sldId="10324"/>
            <ac:spMk id="158" creationId="{09DF8D2C-9A8D-4BA6-96C6-E31AD19683BC}"/>
          </ac:spMkLst>
        </pc:spChg>
        <pc:spChg chg="mod">
          <ac:chgData name="Ugo MANTEL" userId="2d5b7065-31bb-4181-a7f8-a73bf0c30211" providerId="ADAL" clId="{9344D105-636D-4857-BD0F-AFC44A54BCCF}" dt="2021-05-25T14:20:12.359" v="29103" actId="790"/>
          <ac:spMkLst>
            <pc:docMk/>
            <pc:sldMk cId="3812200160" sldId="10324"/>
            <ac:spMk id="160" creationId="{A8A94204-7780-44D2-9F69-E6D88D81CCC9}"/>
          </ac:spMkLst>
        </pc:spChg>
        <pc:spChg chg="mod">
          <ac:chgData name="Ugo MANTEL" userId="2d5b7065-31bb-4181-a7f8-a73bf0c30211" providerId="ADAL" clId="{9344D105-636D-4857-BD0F-AFC44A54BCCF}" dt="2021-05-25T14:20:12.360" v="29104" actId="790"/>
          <ac:spMkLst>
            <pc:docMk/>
            <pc:sldMk cId="3812200160" sldId="10324"/>
            <ac:spMk id="162" creationId="{7C77AD03-3049-47E7-8DA8-DA2A5283D6AD}"/>
          </ac:spMkLst>
        </pc:spChg>
        <pc:spChg chg="mod">
          <ac:chgData name="Ugo MANTEL" userId="2d5b7065-31bb-4181-a7f8-a73bf0c30211" providerId="ADAL" clId="{9344D105-636D-4857-BD0F-AFC44A54BCCF}" dt="2021-05-25T14:20:12.360" v="29105" actId="790"/>
          <ac:spMkLst>
            <pc:docMk/>
            <pc:sldMk cId="3812200160" sldId="10324"/>
            <ac:spMk id="164" creationId="{93C1D0C1-3E96-4568-A5A8-D1E40A41B534}"/>
          </ac:spMkLst>
        </pc:spChg>
        <pc:spChg chg="mod">
          <ac:chgData name="Ugo MANTEL" userId="2d5b7065-31bb-4181-a7f8-a73bf0c30211" providerId="ADAL" clId="{9344D105-636D-4857-BD0F-AFC44A54BCCF}" dt="2021-05-25T14:20:12.361" v="29106" actId="790"/>
          <ac:spMkLst>
            <pc:docMk/>
            <pc:sldMk cId="3812200160" sldId="10324"/>
            <ac:spMk id="165" creationId="{04CC173B-ACB2-4E38-A71A-E7D9BE239612}"/>
          </ac:spMkLst>
        </pc:spChg>
        <pc:spChg chg="mod">
          <ac:chgData name="Ugo MANTEL" userId="2d5b7065-31bb-4181-a7f8-a73bf0c30211" providerId="ADAL" clId="{9344D105-636D-4857-BD0F-AFC44A54BCCF}" dt="2021-05-25T14:20:12.362" v="29107" actId="790"/>
          <ac:spMkLst>
            <pc:docMk/>
            <pc:sldMk cId="3812200160" sldId="10324"/>
            <ac:spMk id="166" creationId="{408328D6-F8C9-4E92-BD84-F73B4B2AC62C}"/>
          </ac:spMkLst>
        </pc:spChg>
        <pc:spChg chg="mod">
          <ac:chgData name="Ugo MANTEL" userId="2d5b7065-31bb-4181-a7f8-a73bf0c30211" providerId="ADAL" clId="{9344D105-636D-4857-BD0F-AFC44A54BCCF}" dt="2021-05-25T14:20:12.362" v="29108" actId="790"/>
          <ac:spMkLst>
            <pc:docMk/>
            <pc:sldMk cId="3812200160" sldId="10324"/>
            <ac:spMk id="167" creationId="{17EE3082-4468-4DEE-B266-46A543DCABD0}"/>
          </ac:spMkLst>
        </pc:spChg>
        <pc:spChg chg="mod">
          <ac:chgData name="Ugo MANTEL" userId="2d5b7065-31bb-4181-a7f8-a73bf0c30211" providerId="ADAL" clId="{9344D105-636D-4857-BD0F-AFC44A54BCCF}" dt="2021-05-25T14:20:12.364" v="29109" actId="790"/>
          <ac:spMkLst>
            <pc:docMk/>
            <pc:sldMk cId="3812200160" sldId="10324"/>
            <ac:spMk id="168" creationId="{28407757-D3B7-4C31-94D2-92CD0D0F6FE6}"/>
          </ac:spMkLst>
        </pc:spChg>
        <pc:spChg chg="mod">
          <ac:chgData name="Ugo MANTEL" userId="2d5b7065-31bb-4181-a7f8-a73bf0c30211" providerId="ADAL" clId="{9344D105-636D-4857-BD0F-AFC44A54BCCF}" dt="2021-05-25T14:20:12.365" v="29110" actId="790"/>
          <ac:spMkLst>
            <pc:docMk/>
            <pc:sldMk cId="3812200160" sldId="10324"/>
            <ac:spMk id="169" creationId="{4F9ED36F-6688-4A56-91E4-07C47EF29B36}"/>
          </ac:spMkLst>
        </pc:spChg>
        <pc:spChg chg="mod">
          <ac:chgData name="Ugo MANTEL" userId="2d5b7065-31bb-4181-a7f8-a73bf0c30211" providerId="ADAL" clId="{9344D105-636D-4857-BD0F-AFC44A54BCCF}" dt="2021-05-25T14:20:12.366" v="29111" actId="790"/>
          <ac:spMkLst>
            <pc:docMk/>
            <pc:sldMk cId="3812200160" sldId="10324"/>
            <ac:spMk id="170" creationId="{15723705-43BD-4D59-894C-26527F3480E1}"/>
          </ac:spMkLst>
        </pc:spChg>
        <pc:spChg chg="mod">
          <ac:chgData name="Ugo MANTEL" userId="2d5b7065-31bb-4181-a7f8-a73bf0c30211" providerId="ADAL" clId="{9344D105-636D-4857-BD0F-AFC44A54BCCF}" dt="2021-05-25T14:20:12.396" v="29151" actId="790"/>
          <ac:spMkLst>
            <pc:docMk/>
            <pc:sldMk cId="3812200160" sldId="10324"/>
            <ac:spMk id="171" creationId="{1D095F48-4B50-4366-BF90-2013CC17233D}"/>
          </ac:spMkLst>
        </pc:spChg>
        <pc:spChg chg="mod">
          <ac:chgData name="Ugo MANTEL" userId="2d5b7065-31bb-4181-a7f8-a73bf0c30211" providerId="ADAL" clId="{9344D105-636D-4857-BD0F-AFC44A54BCCF}" dt="2021-05-25T14:20:12.366" v="29112" actId="790"/>
          <ac:spMkLst>
            <pc:docMk/>
            <pc:sldMk cId="3812200160" sldId="10324"/>
            <ac:spMk id="172" creationId="{F63C3E3D-03B5-45E4-AE5F-8218AD68B59F}"/>
          </ac:spMkLst>
        </pc:spChg>
        <pc:spChg chg="mod">
          <ac:chgData name="Ugo MANTEL" userId="2d5b7065-31bb-4181-a7f8-a73bf0c30211" providerId="ADAL" clId="{9344D105-636D-4857-BD0F-AFC44A54BCCF}" dt="2021-05-25T14:20:12.367" v="29113" actId="790"/>
          <ac:spMkLst>
            <pc:docMk/>
            <pc:sldMk cId="3812200160" sldId="10324"/>
            <ac:spMk id="173" creationId="{B47A53C0-6120-4845-A424-B0DE21ABFD5A}"/>
          </ac:spMkLst>
        </pc:spChg>
        <pc:spChg chg="mod">
          <ac:chgData name="Ugo MANTEL" userId="2d5b7065-31bb-4181-a7f8-a73bf0c30211" providerId="ADAL" clId="{9344D105-636D-4857-BD0F-AFC44A54BCCF}" dt="2021-05-25T14:20:12.374" v="29122" actId="790"/>
          <ac:spMkLst>
            <pc:docMk/>
            <pc:sldMk cId="3812200160" sldId="10324"/>
            <ac:spMk id="174" creationId="{AA773D3A-551D-462E-A85C-1540A9EA2436}"/>
          </ac:spMkLst>
        </pc:spChg>
        <pc:spChg chg="mod">
          <ac:chgData name="Ugo MANTEL" userId="2d5b7065-31bb-4181-a7f8-a73bf0c30211" providerId="ADAL" clId="{9344D105-636D-4857-BD0F-AFC44A54BCCF}" dt="2021-05-25T14:20:12.368" v="29114" actId="790"/>
          <ac:spMkLst>
            <pc:docMk/>
            <pc:sldMk cId="3812200160" sldId="10324"/>
            <ac:spMk id="175" creationId="{FDB066EE-C818-4367-A745-02F85B173916}"/>
          </ac:spMkLst>
        </pc:spChg>
        <pc:spChg chg="mod">
          <ac:chgData name="Ugo MANTEL" userId="2d5b7065-31bb-4181-a7f8-a73bf0c30211" providerId="ADAL" clId="{9344D105-636D-4857-BD0F-AFC44A54BCCF}" dt="2021-05-25T14:20:12.369" v="29115" actId="790"/>
          <ac:spMkLst>
            <pc:docMk/>
            <pc:sldMk cId="3812200160" sldId="10324"/>
            <ac:spMk id="180" creationId="{FEB4CC53-2CBE-4D11-A1A1-337C72BD1095}"/>
          </ac:spMkLst>
        </pc:spChg>
        <pc:spChg chg="mod">
          <ac:chgData name="Ugo MANTEL" userId="2d5b7065-31bb-4181-a7f8-a73bf0c30211" providerId="ADAL" clId="{9344D105-636D-4857-BD0F-AFC44A54BCCF}" dt="2021-05-25T14:20:12.383" v="29132" actId="790"/>
          <ac:spMkLst>
            <pc:docMk/>
            <pc:sldMk cId="3812200160" sldId="10324"/>
            <ac:spMk id="193" creationId="{9E4141DE-4A79-4509-A482-38EBBF749B2F}"/>
          </ac:spMkLst>
        </pc:spChg>
        <pc:spChg chg="mod">
          <ac:chgData name="Ugo MANTEL" userId="2d5b7065-31bb-4181-a7f8-a73bf0c30211" providerId="ADAL" clId="{9344D105-636D-4857-BD0F-AFC44A54BCCF}" dt="2021-05-25T14:20:12.388" v="29139" actId="790"/>
          <ac:spMkLst>
            <pc:docMk/>
            <pc:sldMk cId="3812200160" sldId="10324"/>
            <ac:spMk id="203" creationId="{66C82CEB-26AA-4A34-B009-15C754ADD95F}"/>
          </ac:spMkLst>
        </pc:spChg>
        <pc:spChg chg="mod">
          <ac:chgData name="Ugo MANTEL" userId="2d5b7065-31bb-4181-a7f8-a73bf0c30211" providerId="ADAL" clId="{9344D105-636D-4857-BD0F-AFC44A54BCCF}" dt="2021-05-25T14:20:12.374" v="29123" actId="790"/>
          <ac:spMkLst>
            <pc:docMk/>
            <pc:sldMk cId="3812200160" sldId="10324"/>
            <ac:spMk id="204" creationId="{B9E50749-E979-4C7E-8561-0FD702BC8F6C}"/>
          </ac:spMkLst>
        </pc:spChg>
        <pc:spChg chg="mod">
          <ac:chgData name="Ugo MANTEL" userId="2d5b7065-31bb-4181-a7f8-a73bf0c30211" providerId="ADAL" clId="{9344D105-636D-4857-BD0F-AFC44A54BCCF}" dt="2021-05-25T14:20:12.375" v="29124" actId="790"/>
          <ac:spMkLst>
            <pc:docMk/>
            <pc:sldMk cId="3812200160" sldId="10324"/>
            <ac:spMk id="205" creationId="{9425B00E-AD18-47AF-89FD-B1C93C3D8803}"/>
          </ac:spMkLst>
        </pc:spChg>
        <pc:spChg chg="mod">
          <ac:chgData name="Ugo MANTEL" userId="2d5b7065-31bb-4181-a7f8-a73bf0c30211" providerId="ADAL" clId="{9344D105-636D-4857-BD0F-AFC44A54BCCF}" dt="2021-05-25T14:20:12.376" v="29125" actId="790"/>
          <ac:spMkLst>
            <pc:docMk/>
            <pc:sldMk cId="3812200160" sldId="10324"/>
            <ac:spMk id="206" creationId="{8273D81A-6766-4312-B496-D03B81AC9BBC}"/>
          </ac:spMkLst>
        </pc:spChg>
        <pc:spChg chg="mod">
          <ac:chgData name="Ugo MANTEL" userId="2d5b7065-31bb-4181-a7f8-a73bf0c30211" providerId="ADAL" clId="{9344D105-636D-4857-BD0F-AFC44A54BCCF}" dt="2021-05-25T14:20:12.376" v="29126" actId="790"/>
          <ac:spMkLst>
            <pc:docMk/>
            <pc:sldMk cId="3812200160" sldId="10324"/>
            <ac:spMk id="207" creationId="{A933E967-1C72-464C-8FDF-9DFEC63FFCA6}"/>
          </ac:spMkLst>
        </pc:spChg>
        <pc:spChg chg="mod">
          <ac:chgData name="Ugo MANTEL" userId="2d5b7065-31bb-4181-a7f8-a73bf0c30211" providerId="ADAL" clId="{9344D105-636D-4857-BD0F-AFC44A54BCCF}" dt="2021-05-25T14:20:12.377" v="29127" actId="790"/>
          <ac:spMkLst>
            <pc:docMk/>
            <pc:sldMk cId="3812200160" sldId="10324"/>
            <ac:spMk id="208" creationId="{20BA7029-F038-4867-9622-E4D9CE90F684}"/>
          </ac:spMkLst>
        </pc:spChg>
        <pc:spChg chg="mod">
          <ac:chgData name="Ugo MANTEL" userId="2d5b7065-31bb-4181-a7f8-a73bf0c30211" providerId="ADAL" clId="{9344D105-636D-4857-BD0F-AFC44A54BCCF}" dt="2021-05-25T14:20:12.378" v="29128" actId="790"/>
          <ac:spMkLst>
            <pc:docMk/>
            <pc:sldMk cId="3812200160" sldId="10324"/>
            <ac:spMk id="209" creationId="{62BFE40B-D8D4-4437-85DD-9E87507AB151}"/>
          </ac:spMkLst>
        </pc:spChg>
        <pc:spChg chg="mod">
          <ac:chgData name="Ugo MANTEL" userId="2d5b7065-31bb-4181-a7f8-a73bf0c30211" providerId="ADAL" clId="{9344D105-636D-4857-BD0F-AFC44A54BCCF}" dt="2021-05-25T14:20:12.380" v="29129" actId="790"/>
          <ac:spMkLst>
            <pc:docMk/>
            <pc:sldMk cId="3812200160" sldId="10324"/>
            <ac:spMk id="213" creationId="{41EC974A-FB49-45E0-8A39-D090AE5F5C76}"/>
          </ac:spMkLst>
        </pc:spChg>
        <pc:spChg chg="mod">
          <ac:chgData name="Ugo MANTEL" userId="2d5b7065-31bb-4181-a7f8-a73bf0c30211" providerId="ADAL" clId="{9344D105-636D-4857-BD0F-AFC44A54BCCF}" dt="2021-05-25T14:20:12.381" v="29130" actId="790"/>
          <ac:spMkLst>
            <pc:docMk/>
            <pc:sldMk cId="3812200160" sldId="10324"/>
            <ac:spMk id="214" creationId="{B54C460B-4B10-4BF9-9EFF-2D814845DF1B}"/>
          </ac:spMkLst>
        </pc:spChg>
        <pc:spChg chg="mod">
          <ac:chgData name="Ugo MANTEL" userId="2d5b7065-31bb-4181-a7f8-a73bf0c30211" providerId="ADAL" clId="{9344D105-636D-4857-BD0F-AFC44A54BCCF}" dt="2021-05-25T14:20:12.382" v="29131" actId="790"/>
          <ac:spMkLst>
            <pc:docMk/>
            <pc:sldMk cId="3812200160" sldId="10324"/>
            <ac:spMk id="220" creationId="{4007CE4A-35CC-4574-B129-C8CD16A428D5}"/>
          </ac:spMkLst>
        </pc:spChg>
      </pc:sldChg>
      <pc:sldChg chg="modSp mod">
        <pc:chgData name="Ugo MANTEL" userId="2d5b7065-31bb-4181-a7f8-a73bf0c30211" providerId="ADAL" clId="{9344D105-636D-4857-BD0F-AFC44A54BCCF}" dt="2021-05-25T14:20:11.658" v="28345" actId="790"/>
        <pc:sldMkLst>
          <pc:docMk/>
          <pc:sldMk cId="738382440" sldId="10326"/>
        </pc:sldMkLst>
        <pc:spChg chg="mod">
          <ac:chgData name="Ugo MANTEL" userId="2d5b7065-31bb-4181-a7f8-a73bf0c30211" providerId="ADAL" clId="{9344D105-636D-4857-BD0F-AFC44A54BCCF}" dt="2021-05-25T14:20:11.650" v="28337" actId="790"/>
          <ac:spMkLst>
            <pc:docMk/>
            <pc:sldMk cId="738382440" sldId="10326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1.651" v="28338" actId="790"/>
          <ac:spMkLst>
            <pc:docMk/>
            <pc:sldMk cId="738382440" sldId="10326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1.652" v="28339" actId="790"/>
          <ac:spMkLst>
            <pc:docMk/>
            <pc:sldMk cId="738382440" sldId="10326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1.657" v="28344" actId="790"/>
          <ac:spMkLst>
            <pc:docMk/>
            <pc:sldMk cId="738382440" sldId="10326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1.658" v="28345" actId="790"/>
          <ac:spMkLst>
            <pc:docMk/>
            <pc:sldMk cId="738382440" sldId="10326"/>
            <ac:spMk id="17" creationId="{FF78C7CE-7773-41E1-AD8A-43E5CF6D29A1}"/>
          </ac:spMkLst>
        </pc:spChg>
        <pc:spChg chg="mod">
          <ac:chgData name="Ugo MANTEL" userId="2d5b7065-31bb-4181-a7f8-a73bf0c30211" providerId="ADAL" clId="{9344D105-636D-4857-BD0F-AFC44A54BCCF}" dt="2021-05-25T14:20:11.653" v="28340" actId="790"/>
          <ac:spMkLst>
            <pc:docMk/>
            <pc:sldMk cId="738382440" sldId="10326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1.654" v="28341" actId="790"/>
          <ac:spMkLst>
            <pc:docMk/>
            <pc:sldMk cId="738382440" sldId="10326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1.655" v="28342" actId="790"/>
          <ac:spMkLst>
            <pc:docMk/>
            <pc:sldMk cId="738382440" sldId="10326"/>
            <ac:spMk id="22" creationId="{C002634F-3FA9-4AC3-90E2-0D253FC97BF7}"/>
          </ac:spMkLst>
        </pc:spChg>
        <pc:spChg chg="mod">
          <ac:chgData name="Ugo MANTEL" userId="2d5b7065-31bb-4181-a7f8-a73bf0c30211" providerId="ADAL" clId="{9344D105-636D-4857-BD0F-AFC44A54BCCF}" dt="2021-05-25T14:20:11.656" v="28343" actId="790"/>
          <ac:spMkLst>
            <pc:docMk/>
            <pc:sldMk cId="738382440" sldId="10326"/>
            <ac:spMk id="24" creationId="{9523976D-7994-4445-A7A3-F04F6C533708}"/>
          </ac:spMkLst>
        </pc:spChg>
      </pc:sldChg>
      <pc:sldChg chg="modSp mod">
        <pc:chgData name="Ugo MANTEL" userId="2d5b7065-31bb-4181-a7f8-a73bf0c30211" providerId="ADAL" clId="{9344D105-636D-4857-BD0F-AFC44A54BCCF}" dt="2021-05-25T14:20:12.674" v="29412" actId="790"/>
        <pc:sldMkLst>
          <pc:docMk/>
          <pc:sldMk cId="1730204151" sldId="10328"/>
        </pc:sldMkLst>
        <pc:spChg chg="mod">
          <ac:chgData name="Ugo MANTEL" userId="2d5b7065-31bb-4181-a7f8-a73bf0c30211" providerId="ADAL" clId="{9344D105-636D-4857-BD0F-AFC44A54BCCF}" dt="2021-05-25T14:20:12.665" v="29405" actId="790"/>
          <ac:spMkLst>
            <pc:docMk/>
            <pc:sldMk cId="1730204151" sldId="10328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2.667" v="29406" actId="790"/>
          <ac:spMkLst>
            <pc:docMk/>
            <pc:sldMk cId="1730204151" sldId="10328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2.668" v="29407" actId="790"/>
          <ac:spMkLst>
            <pc:docMk/>
            <pc:sldMk cId="1730204151" sldId="10328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2.674" v="29412" actId="790"/>
          <ac:spMkLst>
            <pc:docMk/>
            <pc:sldMk cId="1730204151" sldId="10328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2.669" v="29408" actId="790"/>
          <ac:spMkLst>
            <pc:docMk/>
            <pc:sldMk cId="1730204151" sldId="10328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2.670" v="29409" actId="790"/>
          <ac:spMkLst>
            <pc:docMk/>
            <pc:sldMk cId="1730204151" sldId="10328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2.672" v="29410" actId="790"/>
          <ac:spMkLst>
            <pc:docMk/>
            <pc:sldMk cId="1730204151" sldId="10328"/>
            <ac:spMk id="24" creationId="{9523976D-7994-4445-A7A3-F04F6C533708}"/>
          </ac:spMkLst>
        </pc:spChg>
        <pc:spChg chg="mod">
          <ac:chgData name="Ugo MANTEL" userId="2d5b7065-31bb-4181-a7f8-a73bf0c30211" providerId="ADAL" clId="{9344D105-636D-4857-BD0F-AFC44A54BCCF}" dt="2021-05-25T14:20:12.673" v="29411" actId="790"/>
          <ac:spMkLst>
            <pc:docMk/>
            <pc:sldMk cId="1730204151" sldId="10328"/>
            <ac:spMk id="26" creationId="{D70D99D8-5440-4867-B8A0-57942A3EA3D2}"/>
          </ac:spMkLst>
        </pc:spChg>
      </pc:sldChg>
      <pc:sldChg chg="addSp delSp modSp mod ord">
        <pc:chgData name="Ugo MANTEL" userId="2d5b7065-31bb-4181-a7f8-a73bf0c30211" providerId="ADAL" clId="{9344D105-636D-4857-BD0F-AFC44A54BCCF}" dt="2021-05-25T14:20:12.812" v="29543" actId="790"/>
        <pc:sldMkLst>
          <pc:docMk/>
          <pc:sldMk cId="1424870296" sldId="10335"/>
        </pc:sldMkLst>
        <pc:spChg chg="mod">
          <ac:chgData name="Ugo MANTEL" userId="2d5b7065-31bb-4181-a7f8-a73bf0c30211" providerId="ADAL" clId="{9344D105-636D-4857-BD0F-AFC44A54BCCF}" dt="2021-05-25T14:20:12.775" v="29513" actId="790"/>
          <ac:spMkLst>
            <pc:docMk/>
            <pc:sldMk cId="1424870296" sldId="10335"/>
            <ac:spMk id="2" creationId="{13177ED9-F236-4FEB-A676-BB6F2C98ABD8}"/>
          </ac:spMkLst>
        </pc:spChg>
        <pc:spChg chg="mod">
          <ac:chgData name="Ugo MANTEL" userId="2d5b7065-31bb-4181-a7f8-a73bf0c30211" providerId="ADAL" clId="{9344D105-636D-4857-BD0F-AFC44A54BCCF}" dt="2021-05-25T14:20:12.804" v="29533" actId="790"/>
          <ac:spMkLst>
            <pc:docMk/>
            <pc:sldMk cId="1424870296" sldId="10335"/>
            <ac:spMk id="3" creationId="{A69D2220-5822-4C7B-AC0B-BB560C608D4E}"/>
          </ac:spMkLst>
        </pc:spChg>
        <pc:spChg chg="add del mod modVis">
          <ac:chgData name="Ugo MANTEL" userId="2d5b7065-31bb-4181-a7f8-a73bf0c30211" providerId="ADAL" clId="{9344D105-636D-4857-BD0F-AFC44A54BCCF}" dt="2021-05-25T13:51:19.954" v="23043"/>
          <ac:spMkLst>
            <pc:docMk/>
            <pc:sldMk cId="1424870296" sldId="10335"/>
            <ac:spMk id="5" creationId="{987C540F-BCA4-4D16-875C-1EEFAF7D72FF}"/>
          </ac:spMkLst>
        </pc:spChg>
        <pc:spChg chg="add del mod modVis">
          <ac:chgData name="Ugo MANTEL" userId="2d5b7065-31bb-4181-a7f8-a73bf0c30211" providerId="ADAL" clId="{9344D105-636D-4857-BD0F-AFC44A54BCCF}" dt="2021-05-24T14:50:48.074" v="7817"/>
          <ac:spMkLst>
            <pc:docMk/>
            <pc:sldMk cId="1424870296" sldId="10335"/>
            <ac:spMk id="5" creationId="{DBF486F1-6F41-432D-A7A5-31FCB798F622}"/>
          </ac:spMkLst>
        </pc:spChg>
        <pc:spChg chg="add del mod modVis">
          <ac:chgData name="Ugo MANTEL" userId="2d5b7065-31bb-4181-a7f8-a73bf0c30211" providerId="ADAL" clId="{9344D105-636D-4857-BD0F-AFC44A54BCCF}" dt="2021-05-25T13:51:21.003" v="23089"/>
          <ac:spMkLst>
            <pc:docMk/>
            <pc:sldMk cId="1424870296" sldId="10335"/>
            <ac:spMk id="6" creationId="{8B9F5625-B91B-4B5B-B130-5C7CCD8852F0}"/>
          </ac:spMkLst>
        </pc:spChg>
        <pc:spChg chg="add mod">
          <ac:chgData name="Ugo MANTEL" userId="2d5b7065-31bb-4181-a7f8-a73bf0c30211" providerId="ADAL" clId="{9344D105-636D-4857-BD0F-AFC44A54BCCF}" dt="2021-05-25T14:20:12.812" v="29543" actId="790"/>
          <ac:spMkLst>
            <pc:docMk/>
            <pc:sldMk cId="1424870296" sldId="10335"/>
            <ac:spMk id="7" creationId="{75C3341A-4544-4CBA-B638-ED39D3469F99}"/>
          </ac:spMkLst>
        </pc:spChg>
        <pc:spChg chg="mod">
          <ac:chgData name="Ugo MANTEL" userId="2d5b7065-31bb-4181-a7f8-a73bf0c30211" providerId="ADAL" clId="{9344D105-636D-4857-BD0F-AFC44A54BCCF}" dt="2021-05-25T14:20:12.777" v="29514" actId="790"/>
          <ac:spMkLst>
            <pc:docMk/>
            <pc:sldMk cId="1424870296" sldId="10335"/>
            <ac:spMk id="19" creationId="{92BEB8F1-C1CF-4E36-805E-A6856F8CDD12}"/>
          </ac:spMkLst>
        </pc:spChg>
        <pc:spChg chg="mod">
          <ac:chgData name="Ugo MANTEL" userId="2d5b7065-31bb-4181-a7f8-a73bf0c30211" providerId="ADAL" clId="{9344D105-636D-4857-BD0F-AFC44A54BCCF}" dt="2021-05-25T14:20:12.777" v="29515" actId="790"/>
          <ac:spMkLst>
            <pc:docMk/>
            <pc:sldMk cId="1424870296" sldId="10335"/>
            <ac:spMk id="57" creationId="{AACC9758-A2ED-4421-A4F8-A76E33C47C70}"/>
          </ac:spMkLst>
        </pc:spChg>
        <pc:spChg chg="mod">
          <ac:chgData name="Ugo MANTEL" userId="2d5b7065-31bb-4181-a7f8-a73bf0c30211" providerId="ADAL" clId="{9344D105-636D-4857-BD0F-AFC44A54BCCF}" dt="2021-05-25T14:20:12.781" v="29516" actId="790"/>
          <ac:spMkLst>
            <pc:docMk/>
            <pc:sldMk cId="1424870296" sldId="10335"/>
            <ac:spMk id="67" creationId="{F56A9879-6797-4938-987E-8B0EA9BBCD37}"/>
          </ac:spMkLst>
        </pc:spChg>
        <pc:spChg chg="add mod">
          <ac:chgData name="Ugo MANTEL" userId="2d5b7065-31bb-4181-a7f8-a73bf0c30211" providerId="ADAL" clId="{9344D105-636D-4857-BD0F-AFC44A54BCCF}" dt="2021-05-25T14:20:12.805" v="29534" actId="790"/>
          <ac:spMkLst>
            <pc:docMk/>
            <pc:sldMk cId="1424870296" sldId="10335"/>
            <ac:spMk id="69" creationId="{6BCEED63-BE62-4F1E-8657-3C5CE3B64B40}"/>
          </ac:spMkLst>
        </pc:spChg>
        <pc:spChg chg="mod">
          <ac:chgData name="Ugo MANTEL" userId="2d5b7065-31bb-4181-a7f8-a73bf0c30211" providerId="ADAL" clId="{9344D105-636D-4857-BD0F-AFC44A54BCCF}" dt="2021-05-25T14:20:12.803" v="29532" actId="790"/>
          <ac:spMkLst>
            <pc:docMk/>
            <pc:sldMk cId="1424870296" sldId="10335"/>
            <ac:spMk id="71" creationId="{CBB8A796-2090-4136-81B3-DD25F2B14E0D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74" creationId="{4046F990-385B-482C-84D7-21326A59714A}"/>
          </ac:spMkLst>
        </pc:spChg>
        <pc:spChg chg="add del mod">
          <ac:chgData name="Ugo MANTEL" userId="2d5b7065-31bb-4181-a7f8-a73bf0c30211" providerId="ADAL" clId="{9344D105-636D-4857-BD0F-AFC44A54BCCF}" dt="2021-05-24T15:01:26.977" v="8725" actId="478"/>
          <ac:spMkLst>
            <pc:docMk/>
            <pc:sldMk cId="1424870296" sldId="10335"/>
            <ac:spMk id="75" creationId="{53F4E585-D544-47D1-A575-35C93CC417ED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76" creationId="{3D7E7495-D245-48D4-A33F-D49E67BB4BDF}"/>
          </ac:spMkLst>
        </pc:spChg>
        <pc:spChg chg="mod">
          <ac:chgData name="Ugo MANTEL" userId="2d5b7065-31bb-4181-a7f8-a73bf0c30211" providerId="ADAL" clId="{9344D105-636D-4857-BD0F-AFC44A54BCCF}" dt="2021-05-25T14:20:12.782" v="29517" actId="790"/>
          <ac:spMkLst>
            <pc:docMk/>
            <pc:sldMk cId="1424870296" sldId="10335"/>
            <ac:spMk id="77" creationId="{2AD3025A-834E-47AF-BF62-355274B6372C}"/>
          </ac:spMkLst>
        </pc:spChg>
        <pc:spChg chg="mod">
          <ac:chgData name="Ugo MANTEL" userId="2d5b7065-31bb-4181-a7f8-a73bf0c30211" providerId="ADAL" clId="{9344D105-636D-4857-BD0F-AFC44A54BCCF}" dt="2021-05-25T14:20:12.782" v="29518" actId="790"/>
          <ac:spMkLst>
            <pc:docMk/>
            <pc:sldMk cId="1424870296" sldId="10335"/>
            <ac:spMk id="78" creationId="{AE4EF315-F328-4682-8B75-485D8875BA5E}"/>
          </ac:spMkLst>
        </pc:spChg>
        <pc:spChg chg="mod">
          <ac:chgData name="Ugo MANTEL" userId="2d5b7065-31bb-4181-a7f8-a73bf0c30211" providerId="ADAL" clId="{9344D105-636D-4857-BD0F-AFC44A54BCCF}" dt="2021-05-25T14:20:12.786" v="29519" actId="790"/>
          <ac:spMkLst>
            <pc:docMk/>
            <pc:sldMk cId="1424870296" sldId="10335"/>
            <ac:spMk id="83" creationId="{79B13BAC-5AF8-4002-A1EB-410345754704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84" creationId="{CC344CEF-38F6-44A5-B98D-2523912D1431}"/>
          </ac:spMkLst>
        </pc:spChg>
        <pc:spChg chg="mod">
          <ac:chgData name="Ugo MANTEL" userId="2d5b7065-31bb-4181-a7f8-a73bf0c30211" providerId="ADAL" clId="{9344D105-636D-4857-BD0F-AFC44A54BCCF}" dt="2021-05-25T14:20:12.793" v="29525" actId="790"/>
          <ac:spMkLst>
            <pc:docMk/>
            <pc:sldMk cId="1424870296" sldId="10335"/>
            <ac:spMk id="86" creationId="{C61072E4-514A-4B47-8169-8FCBDA18612C}"/>
          </ac:spMkLst>
        </pc:spChg>
        <pc:spChg chg="mod">
          <ac:chgData name="Ugo MANTEL" userId="2d5b7065-31bb-4181-a7f8-a73bf0c30211" providerId="ADAL" clId="{9344D105-636D-4857-BD0F-AFC44A54BCCF}" dt="2021-05-25T14:20:12.787" v="29520" actId="790"/>
          <ac:spMkLst>
            <pc:docMk/>
            <pc:sldMk cId="1424870296" sldId="10335"/>
            <ac:spMk id="87" creationId="{CC75CEBD-D0F7-494C-B0E8-E10F7802B25A}"/>
          </ac:spMkLst>
        </pc:spChg>
        <pc:spChg chg="mod">
          <ac:chgData name="Ugo MANTEL" userId="2d5b7065-31bb-4181-a7f8-a73bf0c30211" providerId="ADAL" clId="{9344D105-636D-4857-BD0F-AFC44A54BCCF}" dt="2021-05-25T14:20:12.787" v="29521" actId="790"/>
          <ac:spMkLst>
            <pc:docMk/>
            <pc:sldMk cId="1424870296" sldId="10335"/>
            <ac:spMk id="88" creationId="{002A8146-6C05-413C-9359-F34D34BD36CC}"/>
          </ac:spMkLst>
        </pc:spChg>
        <pc:spChg chg="mod">
          <ac:chgData name="Ugo MANTEL" userId="2d5b7065-31bb-4181-a7f8-a73bf0c30211" providerId="ADAL" clId="{9344D105-636D-4857-BD0F-AFC44A54BCCF}" dt="2021-05-25T14:20:12.788" v="29522" actId="790"/>
          <ac:spMkLst>
            <pc:docMk/>
            <pc:sldMk cId="1424870296" sldId="10335"/>
            <ac:spMk id="89" creationId="{CC8692CD-2725-4A24-8138-E9D717F44FBF}"/>
          </ac:spMkLst>
        </pc:spChg>
        <pc:spChg chg="add del mod">
          <ac:chgData name="Ugo MANTEL" userId="2d5b7065-31bb-4181-a7f8-a73bf0c30211" providerId="ADAL" clId="{9344D105-636D-4857-BD0F-AFC44A54BCCF}" dt="2021-05-24T15:01:26.977" v="8725" actId="478"/>
          <ac:spMkLst>
            <pc:docMk/>
            <pc:sldMk cId="1424870296" sldId="10335"/>
            <ac:spMk id="98" creationId="{5BFA637C-84EF-4FED-B274-BD2137C02543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99" creationId="{0DBCB4F9-7DF5-446F-8DAE-23621FEEB44A}"/>
          </ac:spMkLst>
        </pc:spChg>
        <pc:spChg chg="mod">
          <ac:chgData name="Ugo MANTEL" userId="2d5b7065-31bb-4181-a7f8-a73bf0c30211" providerId="ADAL" clId="{9344D105-636D-4857-BD0F-AFC44A54BCCF}" dt="2021-05-25T14:20:12.792" v="29523" actId="790"/>
          <ac:spMkLst>
            <pc:docMk/>
            <pc:sldMk cId="1424870296" sldId="10335"/>
            <ac:spMk id="100" creationId="{9FCC959C-37AB-4DE6-96D6-8D512E39D78C}"/>
          </ac:spMkLst>
        </pc:spChg>
        <pc:spChg chg="mod">
          <ac:chgData name="Ugo MANTEL" userId="2d5b7065-31bb-4181-a7f8-a73bf0c30211" providerId="ADAL" clId="{9344D105-636D-4857-BD0F-AFC44A54BCCF}" dt="2021-05-25T14:20:12.792" v="29524" actId="790"/>
          <ac:spMkLst>
            <pc:docMk/>
            <pc:sldMk cId="1424870296" sldId="10335"/>
            <ac:spMk id="102" creationId="{6D0B3FD5-2182-421F-9A88-C1673460DB2B}"/>
          </ac:spMkLst>
        </pc:spChg>
        <pc:spChg chg="mod">
          <ac:chgData name="Ugo MANTEL" userId="2d5b7065-31bb-4181-a7f8-a73bf0c30211" providerId="ADAL" clId="{9344D105-636D-4857-BD0F-AFC44A54BCCF}" dt="2021-05-25T14:20:12.794" v="29526" actId="790"/>
          <ac:spMkLst>
            <pc:docMk/>
            <pc:sldMk cId="1424870296" sldId="10335"/>
            <ac:spMk id="104" creationId="{C4AE2C1F-9FB2-4440-8BB3-2C0E7D9EDCE0}"/>
          </ac:spMkLst>
        </pc:spChg>
        <pc:spChg chg="mod">
          <ac:chgData name="Ugo MANTEL" userId="2d5b7065-31bb-4181-a7f8-a73bf0c30211" providerId="ADAL" clId="{9344D105-636D-4857-BD0F-AFC44A54BCCF}" dt="2021-05-25T14:20:12.795" v="29527" actId="790"/>
          <ac:spMkLst>
            <pc:docMk/>
            <pc:sldMk cId="1424870296" sldId="10335"/>
            <ac:spMk id="105" creationId="{04EF4D1A-C037-42D0-B892-5838973F1158}"/>
          </ac:spMkLst>
        </pc:spChg>
        <pc:spChg chg="mod">
          <ac:chgData name="Ugo MANTEL" userId="2d5b7065-31bb-4181-a7f8-a73bf0c30211" providerId="ADAL" clId="{9344D105-636D-4857-BD0F-AFC44A54BCCF}" dt="2021-05-25T14:20:12.796" v="29528" actId="790"/>
          <ac:spMkLst>
            <pc:docMk/>
            <pc:sldMk cId="1424870296" sldId="10335"/>
            <ac:spMk id="106" creationId="{1A98F378-0609-47B5-A22F-B3DF98061CA5}"/>
          </ac:spMkLst>
        </pc:spChg>
        <pc:spChg chg="mod">
          <ac:chgData name="Ugo MANTEL" userId="2d5b7065-31bb-4181-a7f8-a73bf0c30211" providerId="ADAL" clId="{9344D105-636D-4857-BD0F-AFC44A54BCCF}" dt="2021-05-25T14:20:12.797" v="29529" actId="790"/>
          <ac:spMkLst>
            <pc:docMk/>
            <pc:sldMk cId="1424870296" sldId="10335"/>
            <ac:spMk id="107" creationId="{CD736F70-A922-478A-A935-A6627A6FA958}"/>
          </ac:spMkLst>
        </pc:spChg>
        <pc:spChg chg="mod">
          <ac:chgData name="Ugo MANTEL" userId="2d5b7065-31bb-4181-a7f8-a73bf0c30211" providerId="ADAL" clId="{9344D105-636D-4857-BD0F-AFC44A54BCCF}" dt="2021-05-25T14:20:12.798" v="29530" actId="790"/>
          <ac:spMkLst>
            <pc:docMk/>
            <pc:sldMk cId="1424870296" sldId="10335"/>
            <ac:spMk id="108" creationId="{E83BE468-E05E-4A0B-886A-54474D37CF16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109" creationId="{287B4187-F586-4DE8-911D-DD0FEDD895FE}"/>
          </ac:spMkLst>
        </pc:spChg>
        <pc:spChg chg="mod">
          <ac:chgData name="Ugo MANTEL" userId="2d5b7065-31bb-4181-a7f8-a73bf0c30211" providerId="ADAL" clId="{9344D105-636D-4857-BD0F-AFC44A54BCCF}" dt="2021-05-25T14:20:12.801" v="29531" actId="790"/>
          <ac:spMkLst>
            <pc:docMk/>
            <pc:sldMk cId="1424870296" sldId="10335"/>
            <ac:spMk id="115" creationId="{A0C7CAD2-4A72-4C8D-8B97-E7D950CB9A60}"/>
          </ac:spMkLst>
        </pc:spChg>
        <pc:spChg chg="add del mod">
          <ac:chgData name="Ugo MANTEL" userId="2d5b7065-31bb-4181-a7f8-a73bf0c30211" providerId="ADAL" clId="{9344D105-636D-4857-BD0F-AFC44A54BCCF}" dt="2021-05-24T15:07:02.946" v="8735" actId="478"/>
          <ac:spMkLst>
            <pc:docMk/>
            <pc:sldMk cId="1424870296" sldId="10335"/>
            <ac:spMk id="116" creationId="{5E18C0C8-7858-4D87-B537-3A46AC39DB65}"/>
          </ac:spMkLst>
        </pc:spChg>
        <pc:spChg chg="add del mod">
          <ac:chgData name="Ugo MANTEL" userId="2d5b7065-31bb-4181-a7f8-a73bf0c30211" providerId="ADAL" clId="{9344D105-636D-4857-BD0F-AFC44A54BCCF}" dt="2021-05-24T15:07:02.946" v="8735" actId="478"/>
          <ac:spMkLst>
            <pc:docMk/>
            <pc:sldMk cId="1424870296" sldId="10335"/>
            <ac:spMk id="117" creationId="{A11321B0-70F0-440A-9CA9-9F71274B633D}"/>
          </ac:spMkLst>
        </pc:spChg>
        <pc:spChg chg="add del mod">
          <ac:chgData name="Ugo MANTEL" userId="2d5b7065-31bb-4181-a7f8-a73bf0c30211" providerId="ADAL" clId="{9344D105-636D-4857-BD0F-AFC44A54BCCF}" dt="2021-05-24T15:07:02.946" v="8735" actId="478"/>
          <ac:spMkLst>
            <pc:docMk/>
            <pc:sldMk cId="1424870296" sldId="10335"/>
            <ac:spMk id="121" creationId="{EE45A64D-A792-4DFB-884E-AAA07F66F9FD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124" creationId="{81BEF736-BC02-4422-B257-7DE19E3FDA03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125" creationId="{B5D13E61-3E95-4760-8614-445BAE89AA6B}"/>
          </ac:spMkLst>
        </pc:spChg>
        <pc:spChg chg="add del mod">
          <ac:chgData name="Ugo MANTEL" userId="2d5b7065-31bb-4181-a7f8-a73bf0c30211" providerId="ADAL" clId="{9344D105-636D-4857-BD0F-AFC44A54BCCF}" dt="2021-05-24T15:08:02.261" v="8759" actId="478"/>
          <ac:spMkLst>
            <pc:docMk/>
            <pc:sldMk cId="1424870296" sldId="10335"/>
            <ac:spMk id="126" creationId="{3818D50F-6E71-40D5-94B5-133904C400E6}"/>
          </ac:spMkLst>
        </pc:spChg>
        <pc:spChg chg="add mod">
          <ac:chgData name="Ugo MANTEL" userId="2d5b7065-31bb-4181-a7f8-a73bf0c30211" providerId="ADAL" clId="{9344D105-636D-4857-BD0F-AFC44A54BCCF}" dt="2021-05-25T14:20:12.806" v="29535" actId="790"/>
          <ac:spMkLst>
            <pc:docMk/>
            <pc:sldMk cId="1424870296" sldId="10335"/>
            <ac:spMk id="128" creationId="{19432E1B-C182-40F5-974C-28FEF1DB9BD0}"/>
          </ac:spMkLst>
        </pc:spChg>
        <pc:spChg chg="add mod">
          <ac:chgData name="Ugo MANTEL" userId="2d5b7065-31bb-4181-a7f8-a73bf0c30211" providerId="ADAL" clId="{9344D105-636D-4857-BD0F-AFC44A54BCCF}" dt="2021-05-25T14:20:12.806" v="29536" actId="790"/>
          <ac:spMkLst>
            <pc:docMk/>
            <pc:sldMk cId="1424870296" sldId="10335"/>
            <ac:spMk id="129" creationId="{1373F8DE-C6E5-4EDD-B348-F87714D996D3}"/>
          </ac:spMkLst>
        </pc:spChg>
        <pc:spChg chg="add mod">
          <ac:chgData name="Ugo MANTEL" userId="2d5b7065-31bb-4181-a7f8-a73bf0c30211" providerId="ADAL" clId="{9344D105-636D-4857-BD0F-AFC44A54BCCF}" dt="2021-05-25T14:20:12.807" v="29537" actId="790"/>
          <ac:spMkLst>
            <pc:docMk/>
            <pc:sldMk cId="1424870296" sldId="10335"/>
            <ac:spMk id="130" creationId="{A8AB0ECA-2DD9-49A2-86B4-965C21B5EB1B}"/>
          </ac:spMkLst>
        </pc:spChg>
        <pc:spChg chg="add mod">
          <ac:chgData name="Ugo MANTEL" userId="2d5b7065-31bb-4181-a7f8-a73bf0c30211" providerId="ADAL" clId="{9344D105-636D-4857-BD0F-AFC44A54BCCF}" dt="2021-05-25T14:20:12.808" v="29538" actId="790"/>
          <ac:spMkLst>
            <pc:docMk/>
            <pc:sldMk cId="1424870296" sldId="10335"/>
            <ac:spMk id="131" creationId="{B72C70AB-BF26-43EA-B3B2-FF5837AA2CEA}"/>
          </ac:spMkLst>
        </pc:spChg>
        <pc:spChg chg="add mod">
          <ac:chgData name="Ugo MANTEL" userId="2d5b7065-31bb-4181-a7f8-a73bf0c30211" providerId="ADAL" clId="{9344D105-636D-4857-BD0F-AFC44A54BCCF}" dt="2021-05-25T14:20:12.809" v="29539" actId="790"/>
          <ac:spMkLst>
            <pc:docMk/>
            <pc:sldMk cId="1424870296" sldId="10335"/>
            <ac:spMk id="132" creationId="{337A3DA2-2B3A-4D27-B69C-62537CE0118A}"/>
          </ac:spMkLst>
        </pc:spChg>
        <pc:spChg chg="add mod">
          <ac:chgData name="Ugo MANTEL" userId="2d5b7065-31bb-4181-a7f8-a73bf0c30211" providerId="ADAL" clId="{9344D105-636D-4857-BD0F-AFC44A54BCCF}" dt="2021-05-25T14:20:12.809" v="29540" actId="790"/>
          <ac:spMkLst>
            <pc:docMk/>
            <pc:sldMk cId="1424870296" sldId="10335"/>
            <ac:spMk id="133" creationId="{52FBD452-7EE2-4D11-95A8-9D2C6606FBAF}"/>
          </ac:spMkLst>
        </pc:spChg>
        <pc:spChg chg="add mod">
          <ac:chgData name="Ugo MANTEL" userId="2d5b7065-31bb-4181-a7f8-a73bf0c30211" providerId="ADAL" clId="{9344D105-636D-4857-BD0F-AFC44A54BCCF}" dt="2021-05-25T14:20:12.810" v="29541" actId="790"/>
          <ac:spMkLst>
            <pc:docMk/>
            <pc:sldMk cId="1424870296" sldId="10335"/>
            <ac:spMk id="134" creationId="{497AF38E-52FB-494B-AE7D-321864EDECA4}"/>
          </ac:spMkLst>
        </pc:spChg>
        <pc:spChg chg="add mod">
          <ac:chgData name="Ugo MANTEL" userId="2d5b7065-31bb-4181-a7f8-a73bf0c30211" providerId="ADAL" clId="{9344D105-636D-4857-BD0F-AFC44A54BCCF}" dt="2021-05-25T14:20:12.811" v="29542" actId="790"/>
          <ac:spMkLst>
            <pc:docMk/>
            <pc:sldMk cId="1424870296" sldId="10335"/>
            <ac:spMk id="135" creationId="{A8ECA603-7B12-4CFA-A4C6-7400AD9BD0ED}"/>
          </ac:spMkLst>
        </pc:spChg>
        <pc:graphicFrameChg chg="mod">
          <ac:chgData name="Ugo MANTEL" userId="2d5b7065-31bb-4181-a7f8-a73bf0c30211" providerId="ADAL" clId="{9344D105-636D-4857-BD0F-AFC44A54BCCF}" dt="2021-05-25T13:51:21.005" v="23091"/>
          <ac:graphicFrameMkLst>
            <pc:docMk/>
            <pc:sldMk cId="1424870296" sldId="10335"/>
            <ac:graphicFrameMk id="4" creationId="{94A1FA70-75C7-4697-BDFD-BE281399CCBB}"/>
          </ac:graphicFrameMkLst>
        </pc:graphicFrameChg>
        <pc:picChg chg="add mod">
          <ac:chgData name="Ugo MANTEL" userId="2d5b7065-31bb-4181-a7f8-a73bf0c30211" providerId="ADAL" clId="{9344D105-636D-4857-BD0F-AFC44A54BCCF}" dt="2021-05-25T13:52:55.834" v="23117"/>
          <ac:picMkLst>
            <pc:docMk/>
            <pc:sldMk cId="1424870296" sldId="10335"/>
            <ac:picMk id="74" creationId="{09B190AA-351A-405C-A0D5-AFCB6CADB495}"/>
          </ac:picMkLst>
        </pc:picChg>
      </pc:sldChg>
      <pc:sldChg chg="ord">
        <pc:chgData name="Ugo MANTEL" userId="2d5b7065-31bb-4181-a7f8-a73bf0c30211" providerId="ADAL" clId="{9344D105-636D-4857-BD0F-AFC44A54BCCF}" dt="2021-05-24T11:51:15.387" v="5289"/>
        <pc:sldMkLst>
          <pc:docMk/>
          <pc:sldMk cId="2753453439" sldId="10337"/>
        </pc:sldMkLst>
      </pc:sldChg>
      <pc:sldChg chg="modSp mod">
        <pc:chgData name="Ugo MANTEL" userId="2d5b7065-31bb-4181-a7f8-a73bf0c30211" providerId="ADAL" clId="{9344D105-636D-4857-BD0F-AFC44A54BCCF}" dt="2021-05-25T14:20:13.564" v="30264" actId="790"/>
        <pc:sldMkLst>
          <pc:docMk/>
          <pc:sldMk cId="2888621618" sldId="10350"/>
        </pc:sldMkLst>
        <pc:spChg chg="mod">
          <ac:chgData name="Ugo MANTEL" userId="2d5b7065-31bb-4181-a7f8-a73bf0c30211" providerId="ADAL" clId="{9344D105-636D-4857-BD0F-AFC44A54BCCF}" dt="2021-05-25T14:20:13.556" v="30257" actId="790"/>
          <ac:spMkLst>
            <pc:docMk/>
            <pc:sldMk cId="2888621618" sldId="10350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3.557" v="30258" actId="790"/>
          <ac:spMkLst>
            <pc:docMk/>
            <pc:sldMk cId="2888621618" sldId="10350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3.558" v="30259" actId="790"/>
          <ac:spMkLst>
            <pc:docMk/>
            <pc:sldMk cId="2888621618" sldId="10350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3.564" v="30264" actId="790"/>
          <ac:spMkLst>
            <pc:docMk/>
            <pc:sldMk cId="2888621618" sldId="10350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3.559" v="30260" actId="790"/>
          <ac:spMkLst>
            <pc:docMk/>
            <pc:sldMk cId="2888621618" sldId="10350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3.560" v="30261" actId="790"/>
          <ac:spMkLst>
            <pc:docMk/>
            <pc:sldMk cId="2888621618" sldId="10350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3.562" v="30262" actId="790"/>
          <ac:spMkLst>
            <pc:docMk/>
            <pc:sldMk cId="2888621618" sldId="10350"/>
            <ac:spMk id="22" creationId="{C002634F-3FA9-4AC3-90E2-0D253FC97BF7}"/>
          </ac:spMkLst>
        </pc:spChg>
        <pc:spChg chg="mod">
          <ac:chgData name="Ugo MANTEL" userId="2d5b7065-31bb-4181-a7f8-a73bf0c30211" providerId="ADAL" clId="{9344D105-636D-4857-BD0F-AFC44A54BCCF}" dt="2021-05-25T14:20:13.563" v="30263" actId="790"/>
          <ac:spMkLst>
            <pc:docMk/>
            <pc:sldMk cId="2888621618" sldId="10350"/>
            <ac:spMk id="26" creationId="{D70D99D8-5440-4867-B8A0-57942A3EA3D2}"/>
          </ac:spMkLst>
        </pc:spChg>
      </pc:sldChg>
      <pc:sldChg chg="modSp mod">
        <pc:chgData name="Ugo MANTEL" userId="2d5b7065-31bb-4181-a7f8-a73bf0c30211" providerId="ADAL" clId="{9344D105-636D-4857-BD0F-AFC44A54BCCF}" dt="2021-05-25T14:20:12.035" v="28722" actId="790"/>
        <pc:sldMkLst>
          <pc:docMk/>
          <pc:sldMk cId="1088427134" sldId="10355"/>
        </pc:sldMkLst>
        <pc:spChg chg="mod">
          <ac:chgData name="Ugo MANTEL" userId="2d5b7065-31bb-4181-a7f8-a73bf0c30211" providerId="ADAL" clId="{9344D105-636D-4857-BD0F-AFC44A54BCCF}" dt="2021-05-25T14:20:11.948" v="28635" actId="790"/>
          <ac:spMkLst>
            <pc:docMk/>
            <pc:sldMk cId="1088427134" sldId="10355"/>
            <ac:spMk id="2" creationId="{531041C5-E8A2-412F-8DD7-D013B496B687}"/>
          </ac:spMkLst>
        </pc:spChg>
        <pc:spChg chg="mod">
          <ac:chgData name="Ugo MANTEL" userId="2d5b7065-31bb-4181-a7f8-a73bf0c30211" providerId="ADAL" clId="{9344D105-636D-4857-BD0F-AFC44A54BCCF}" dt="2021-05-25T14:20:11.958" v="28648" actId="790"/>
          <ac:spMkLst>
            <pc:docMk/>
            <pc:sldMk cId="1088427134" sldId="10355"/>
            <ac:spMk id="3" creationId="{D941C407-20D6-482D-8915-AB38B57418D3}"/>
          </ac:spMkLst>
        </pc:spChg>
        <pc:spChg chg="mod">
          <ac:chgData name="Ugo MANTEL" userId="2d5b7065-31bb-4181-a7f8-a73bf0c30211" providerId="ADAL" clId="{9344D105-636D-4857-BD0F-AFC44A54BCCF}" dt="2021-05-25T14:20:11.997" v="28682" actId="790"/>
          <ac:spMkLst>
            <pc:docMk/>
            <pc:sldMk cId="1088427134" sldId="10355"/>
            <ac:spMk id="4" creationId="{32F85835-036E-4F3E-8BFF-2ABE5E844311}"/>
          </ac:spMkLst>
        </pc:spChg>
        <pc:spChg chg="mod">
          <ac:chgData name="Ugo MANTEL" userId="2d5b7065-31bb-4181-a7f8-a73bf0c30211" providerId="ADAL" clId="{9344D105-636D-4857-BD0F-AFC44A54BCCF}" dt="2021-05-25T14:20:11.978" v="28665" actId="790"/>
          <ac:spMkLst>
            <pc:docMk/>
            <pc:sldMk cId="1088427134" sldId="10355"/>
            <ac:spMk id="5" creationId="{B82F449A-DABE-4C5F-AC72-1CD88F08F3F8}"/>
          </ac:spMkLst>
        </pc:spChg>
        <pc:spChg chg="mod">
          <ac:chgData name="Ugo MANTEL" userId="2d5b7065-31bb-4181-a7f8-a73bf0c30211" providerId="ADAL" clId="{9344D105-636D-4857-BD0F-AFC44A54BCCF}" dt="2021-05-25T14:20:11.949" v="28636" actId="790"/>
          <ac:spMkLst>
            <pc:docMk/>
            <pc:sldMk cId="1088427134" sldId="10355"/>
            <ac:spMk id="26" creationId="{72FA2C53-05D0-4DE0-9F71-130CA5ED4ADD}"/>
          </ac:spMkLst>
        </pc:spChg>
        <pc:spChg chg="mod">
          <ac:chgData name="Ugo MANTEL" userId="2d5b7065-31bb-4181-a7f8-a73bf0c30211" providerId="ADAL" clId="{9344D105-636D-4857-BD0F-AFC44A54BCCF}" dt="2021-05-25T14:20:11.950" v="28637" actId="790"/>
          <ac:spMkLst>
            <pc:docMk/>
            <pc:sldMk cId="1088427134" sldId="10355"/>
            <ac:spMk id="27" creationId="{05E366BE-F44E-48DC-86D8-D5B5BFCE83C9}"/>
          </ac:spMkLst>
        </pc:spChg>
        <pc:spChg chg="mod">
          <ac:chgData name="Ugo MANTEL" userId="2d5b7065-31bb-4181-a7f8-a73bf0c30211" providerId="ADAL" clId="{9344D105-636D-4857-BD0F-AFC44A54BCCF}" dt="2021-05-25T14:20:11.951" v="28638" actId="790"/>
          <ac:spMkLst>
            <pc:docMk/>
            <pc:sldMk cId="1088427134" sldId="10355"/>
            <ac:spMk id="31" creationId="{1957402C-8DED-4E94-8B10-1B28D135CC49}"/>
          </ac:spMkLst>
        </pc:spChg>
        <pc:spChg chg="mod">
          <ac:chgData name="Ugo MANTEL" userId="2d5b7065-31bb-4181-a7f8-a73bf0c30211" providerId="ADAL" clId="{9344D105-636D-4857-BD0F-AFC44A54BCCF}" dt="2021-05-25T14:20:11.977" v="28664" actId="790"/>
          <ac:spMkLst>
            <pc:docMk/>
            <pc:sldMk cId="1088427134" sldId="10355"/>
            <ac:spMk id="44" creationId="{2F442C3A-48CA-47C5-A86D-6E48373F82F1}"/>
          </ac:spMkLst>
        </pc:spChg>
        <pc:spChg chg="mod">
          <ac:chgData name="Ugo MANTEL" userId="2d5b7065-31bb-4181-a7f8-a73bf0c30211" providerId="ADAL" clId="{9344D105-636D-4857-BD0F-AFC44A54BCCF}" dt="2021-05-25T14:20:11.951" v="28639" actId="790"/>
          <ac:spMkLst>
            <pc:docMk/>
            <pc:sldMk cId="1088427134" sldId="10355"/>
            <ac:spMk id="69" creationId="{F3DA172A-54AD-441E-9D06-5E433C2498C6}"/>
          </ac:spMkLst>
        </pc:spChg>
        <pc:spChg chg="mod">
          <ac:chgData name="Ugo MANTEL" userId="2d5b7065-31bb-4181-a7f8-a73bf0c30211" providerId="ADAL" clId="{9344D105-636D-4857-BD0F-AFC44A54BCCF}" dt="2021-05-25T14:20:11.959" v="28649" actId="790"/>
          <ac:spMkLst>
            <pc:docMk/>
            <pc:sldMk cId="1088427134" sldId="10355"/>
            <ac:spMk id="191" creationId="{25EF4FC4-4C8D-42FD-A802-5FC92801CA49}"/>
          </ac:spMkLst>
        </pc:spChg>
        <pc:spChg chg="mod">
          <ac:chgData name="Ugo MANTEL" userId="2d5b7065-31bb-4181-a7f8-a73bf0c30211" providerId="ADAL" clId="{9344D105-636D-4857-BD0F-AFC44A54BCCF}" dt="2021-05-25T14:20:11.960" v="28650" actId="790"/>
          <ac:spMkLst>
            <pc:docMk/>
            <pc:sldMk cId="1088427134" sldId="10355"/>
            <ac:spMk id="192" creationId="{D4FBD805-0616-4E8A-9995-1A885D682879}"/>
          </ac:spMkLst>
        </pc:spChg>
        <pc:spChg chg="mod">
          <ac:chgData name="Ugo MANTEL" userId="2d5b7065-31bb-4181-a7f8-a73bf0c30211" providerId="ADAL" clId="{9344D105-636D-4857-BD0F-AFC44A54BCCF}" dt="2021-05-25T14:20:11.961" v="28651" actId="790"/>
          <ac:spMkLst>
            <pc:docMk/>
            <pc:sldMk cId="1088427134" sldId="10355"/>
            <ac:spMk id="193" creationId="{D73CFB65-43C9-4808-858F-27EAAD925909}"/>
          </ac:spMkLst>
        </pc:spChg>
        <pc:spChg chg="mod">
          <ac:chgData name="Ugo MANTEL" userId="2d5b7065-31bb-4181-a7f8-a73bf0c30211" providerId="ADAL" clId="{9344D105-636D-4857-BD0F-AFC44A54BCCF}" dt="2021-05-25T14:20:11.962" v="28652" actId="790"/>
          <ac:spMkLst>
            <pc:docMk/>
            <pc:sldMk cId="1088427134" sldId="10355"/>
            <ac:spMk id="194" creationId="{D07427E5-AAFA-4CC6-BC00-FD82DF5407AA}"/>
          </ac:spMkLst>
        </pc:spChg>
        <pc:spChg chg="mod">
          <ac:chgData name="Ugo MANTEL" userId="2d5b7065-31bb-4181-a7f8-a73bf0c30211" providerId="ADAL" clId="{9344D105-636D-4857-BD0F-AFC44A54BCCF}" dt="2021-05-25T14:20:12.021" v="28703" actId="790"/>
          <ac:spMkLst>
            <pc:docMk/>
            <pc:sldMk cId="1088427134" sldId="10355"/>
            <ac:spMk id="195" creationId="{1D8E904A-12F9-46A4-95EA-1ACD9EDBA1AF}"/>
          </ac:spMkLst>
        </pc:spChg>
        <pc:spChg chg="mod">
          <ac:chgData name="Ugo MANTEL" userId="2d5b7065-31bb-4181-a7f8-a73bf0c30211" providerId="ADAL" clId="{9344D105-636D-4857-BD0F-AFC44A54BCCF}" dt="2021-05-25T14:20:11.983" v="28670" actId="790"/>
          <ac:spMkLst>
            <pc:docMk/>
            <pc:sldMk cId="1088427134" sldId="10355"/>
            <ac:spMk id="203" creationId="{F9AD22C0-4F2D-4666-B38C-06A5E859DF05}"/>
          </ac:spMkLst>
        </pc:spChg>
        <pc:spChg chg="mod">
          <ac:chgData name="Ugo MANTEL" userId="2d5b7065-31bb-4181-a7f8-a73bf0c30211" providerId="ADAL" clId="{9344D105-636D-4857-BD0F-AFC44A54BCCF}" dt="2021-05-25T14:20:11.983" v="28671" actId="790"/>
          <ac:spMkLst>
            <pc:docMk/>
            <pc:sldMk cId="1088427134" sldId="10355"/>
            <ac:spMk id="204" creationId="{76DFBFA9-56A4-42F3-A143-9F451BBC4CAB}"/>
          </ac:spMkLst>
        </pc:spChg>
        <pc:spChg chg="mod">
          <ac:chgData name="Ugo MANTEL" userId="2d5b7065-31bb-4181-a7f8-a73bf0c30211" providerId="ADAL" clId="{9344D105-636D-4857-BD0F-AFC44A54BCCF}" dt="2021-05-25T14:20:11.984" v="28672" actId="790"/>
          <ac:spMkLst>
            <pc:docMk/>
            <pc:sldMk cId="1088427134" sldId="10355"/>
            <ac:spMk id="205" creationId="{000202B9-950B-4FE7-9197-51EB41572E4A}"/>
          </ac:spMkLst>
        </pc:spChg>
        <pc:spChg chg="mod">
          <ac:chgData name="Ugo MANTEL" userId="2d5b7065-31bb-4181-a7f8-a73bf0c30211" providerId="ADAL" clId="{9344D105-636D-4857-BD0F-AFC44A54BCCF}" dt="2021-05-25T14:20:11.985" v="28673" actId="790"/>
          <ac:spMkLst>
            <pc:docMk/>
            <pc:sldMk cId="1088427134" sldId="10355"/>
            <ac:spMk id="206" creationId="{1D2982B8-1F76-4421-968D-2CDC637BDD84}"/>
          </ac:spMkLst>
        </pc:spChg>
        <pc:spChg chg="mod">
          <ac:chgData name="Ugo MANTEL" userId="2d5b7065-31bb-4181-a7f8-a73bf0c30211" providerId="ADAL" clId="{9344D105-636D-4857-BD0F-AFC44A54BCCF}" dt="2021-05-25T14:20:12.028" v="28713" actId="790"/>
          <ac:spMkLst>
            <pc:docMk/>
            <pc:sldMk cId="1088427134" sldId="10355"/>
            <ac:spMk id="207" creationId="{C77775EA-390E-4A32-B782-BAB1BE3EC7C9}"/>
          </ac:spMkLst>
        </pc:spChg>
        <pc:spChg chg="mod">
          <ac:chgData name="Ugo MANTEL" userId="2d5b7065-31bb-4181-a7f8-a73bf0c30211" providerId="ADAL" clId="{9344D105-636D-4857-BD0F-AFC44A54BCCF}" dt="2021-05-25T14:20:12.029" v="28714" actId="790"/>
          <ac:spMkLst>
            <pc:docMk/>
            <pc:sldMk cId="1088427134" sldId="10355"/>
            <ac:spMk id="208" creationId="{2CB2F9BF-C01A-4704-9110-A94AED93C7CC}"/>
          </ac:spMkLst>
        </pc:spChg>
        <pc:spChg chg="mod">
          <ac:chgData name="Ugo MANTEL" userId="2d5b7065-31bb-4181-a7f8-a73bf0c30211" providerId="ADAL" clId="{9344D105-636D-4857-BD0F-AFC44A54BCCF}" dt="2021-05-25T14:20:12.030" v="28715" actId="790"/>
          <ac:spMkLst>
            <pc:docMk/>
            <pc:sldMk cId="1088427134" sldId="10355"/>
            <ac:spMk id="209" creationId="{BC902227-95B2-498A-BE19-2097B8481568}"/>
          </ac:spMkLst>
        </pc:spChg>
        <pc:spChg chg="mod">
          <ac:chgData name="Ugo MANTEL" userId="2d5b7065-31bb-4181-a7f8-a73bf0c30211" providerId="ADAL" clId="{9344D105-636D-4857-BD0F-AFC44A54BCCF}" dt="2021-05-25T14:20:11.954" v="28642" actId="790"/>
          <ac:spMkLst>
            <pc:docMk/>
            <pc:sldMk cId="1088427134" sldId="10355"/>
            <ac:spMk id="210" creationId="{FAD83A7F-F110-47F4-9764-8294FCD34C3B}"/>
          </ac:spMkLst>
        </pc:spChg>
        <pc:spChg chg="mod">
          <ac:chgData name="Ugo MANTEL" userId="2d5b7065-31bb-4181-a7f8-a73bf0c30211" providerId="ADAL" clId="{9344D105-636D-4857-BD0F-AFC44A54BCCF}" dt="2021-05-25T14:20:12.003" v="28689" actId="790"/>
          <ac:spMkLst>
            <pc:docMk/>
            <pc:sldMk cId="1088427134" sldId="10355"/>
            <ac:spMk id="211" creationId="{3DE0F630-041E-4A46-B492-486ED5FA0EC8}"/>
          </ac:spMkLst>
        </pc:spChg>
        <pc:spChg chg="mod">
          <ac:chgData name="Ugo MANTEL" userId="2d5b7065-31bb-4181-a7f8-a73bf0c30211" providerId="ADAL" clId="{9344D105-636D-4857-BD0F-AFC44A54BCCF}" dt="2021-05-25T14:20:12.004" v="28690" actId="790"/>
          <ac:spMkLst>
            <pc:docMk/>
            <pc:sldMk cId="1088427134" sldId="10355"/>
            <ac:spMk id="212" creationId="{00D9FC3F-7E1D-41CB-A5AD-4ECBE14FA2DF}"/>
          </ac:spMkLst>
        </pc:spChg>
        <pc:spChg chg="mod">
          <ac:chgData name="Ugo MANTEL" userId="2d5b7065-31bb-4181-a7f8-a73bf0c30211" providerId="ADAL" clId="{9344D105-636D-4857-BD0F-AFC44A54BCCF}" dt="2021-05-25T14:20:12.005" v="28691" actId="790"/>
          <ac:spMkLst>
            <pc:docMk/>
            <pc:sldMk cId="1088427134" sldId="10355"/>
            <ac:spMk id="213" creationId="{1CB17802-D8AE-406C-B7DA-DF23B6357713}"/>
          </ac:spMkLst>
        </pc:spChg>
        <pc:spChg chg="mod">
          <ac:chgData name="Ugo MANTEL" userId="2d5b7065-31bb-4181-a7f8-a73bf0c30211" providerId="ADAL" clId="{9344D105-636D-4857-BD0F-AFC44A54BCCF}" dt="2021-05-25T14:20:12.031" v="28716" actId="790"/>
          <ac:spMkLst>
            <pc:docMk/>
            <pc:sldMk cId="1088427134" sldId="10355"/>
            <ac:spMk id="214" creationId="{DC59756C-B7DA-4DDA-924C-AA8BBB352C21}"/>
          </ac:spMkLst>
        </pc:spChg>
        <pc:spChg chg="mod">
          <ac:chgData name="Ugo MANTEL" userId="2d5b7065-31bb-4181-a7f8-a73bf0c30211" providerId="ADAL" clId="{9344D105-636D-4857-BD0F-AFC44A54BCCF}" dt="2021-05-25T14:20:12.032" v="28717" actId="790"/>
          <ac:spMkLst>
            <pc:docMk/>
            <pc:sldMk cId="1088427134" sldId="10355"/>
            <ac:spMk id="215" creationId="{1E911E45-788D-4A82-A9CC-7DE8DEFD1940}"/>
          </ac:spMkLst>
        </pc:spChg>
        <pc:spChg chg="mod">
          <ac:chgData name="Ugo MANTEL" userId="2d5b7065-31bb-4181-a7f8-a73bf0c30211" providerId="ADAL" clId="{9344D105-636D-4857-BD0F-AFC44A54BCCF}" dt="2021-05-25T14:20:12.033" v="28718" actId="790"/>
          <ac:spMkLst>
            <pc:docMk/>
            <pc:sldMk cId="1088427134" sldId="10355"/>
            <ac:spMk id="216" creationId="{B55021B7-A72D-46BD-93C8-F7D071B2FA3D}"/>
          </ac:spMkLst>
        </pc:spChg>
        <pc:spChg chg="mod">
          <ac:chgData name="Ugo MANTEL" userId="2d5b7065-31bb-4181-a7f8-a73bf0c30211" providerId="ADAL" clId="{9344D105-636D-4857-BD0F-AFC44A54BCCF}" dt="2021-05-25T14:20:12.033" v="28719" actId="790"/>
          <ac:spMkLst>
            <pc:docMk/>
            <pc:sldMk cId="1088427134" sldId="10355"/>
            <ac:spMk id="217" creationId="{9E62E839-2DD0-4F81-9D37-40746772CDB9}"/>
          </ac:spMkLst>
        </pc:spChg>
        <pc:spChg chg="mod">
          <ac:chgData name="Ugo MANTEL" userId="2d5b7065-31bb-4181-a7f8-a73bf0c30211" providerId="ADAL" clId="{9344D105-636D-4857-BD0F-AFC44A54BCCF}" dt="2021-05-25T14:20:12.021" v="28704" actId="790"/>
          <ac:spMkLst>
            <pc:docMk/>
            <pc:sldMk cId="1088427134" sldId="10355"/>
            <ac:spMk id="218" creationId="{0C18248F-CE9C-49C4-902E-BB259EC3F72E}"/>
          </ac:spMkLst>
        </pc:spChg>
        <pc:spChg chg="mod">
          <ac:chgData name="Ugo MANTEL" userId="2d5b7065-31bb-4181-a7f8-a73bf0c30211" providerId="ADAL" clId="{9344D105-636D-4857-BD0F-AFC44A54BCCF}" dt="2021-05-25T14:20:12.022" v="28705" actId="790"/>
          <ac:spMkLst>
            <pc:docMk/>
            <pc:sldMk cId="1088427134" sldId="10355"/>
            <ac:spMk id="219" creationId="{699912BB-DA44-4A9A-B10E-4A39772DE6E9}"/>
          </ac:spMkLst>
        </pc:spChg>
        <pc:spChg chg="mod">
          <ac:chgData name="Ugo MANTEL" userId="2d5b7065-31bb-4181-a7f8-a73bf0c30211" providerId="ADAL" clId="{9344D105-636D-4857-BD0F-AFC44A54BCCF}" dt="2021-05-25T14:20:12.023" v="28706" actId="790"/>
          <ac:spMkLst>
            <pc:docMk/>
            <pc:sldMk cId="1088427134" sldId="10355"/>
            <ac:spMk id="220" creationId="{3A6BFE8B-73D5-4CB5-AADD-F6690E4E599D}"/>
          </ac:spMkLst>
        </pc:spChg>
        <pc:spChg chg="mod">
          <ac:chgData name="Ugo MANTEL" userId="2d5b7065-31bb-4181-a7f8-a73bf0c30211" providerId="ADAL" clId="{9344D105-636D-4857-BD0F-AFC44A54BCCF}" dt="2021-05-25T14:20:12.023" v="28707" actId="790"/>
          <ac:spMkLst>
            <pc:docMk/>
            <pc:sldMk cId="1088427134" sldId="10355"/>
            <ac:spMk id="221" creationId="{156A4B58-CEE1-45BD-8FD1-4FD98B592434}"/>
          </ac:spMkLst>
        </pc:spChg>
        <pc:spChg chg="mod">
          <ac:chgData name="Ugo MANTEL" userId="2d5b7065-31bb-4181-a7f8-a73bf0c30211" providerId="ADAL" clId="{9344D105-636D-4857-BD0F-AFC44A54BCCF}" dt="2021-05-25T14:20:12.024" v="28708" actId="790"/>
          <ac:spMkLst>
            <pc:docMk/>
            <pc:sldMk cId="1088427134" sldId="10355"/>
            <ac:spMk id="222" creationId="{B664E997-E830-4082-930F-A45A251FD462}"/>
          </ac:spMkLst>
        </pc:spChg>
        <pc:spChg chg="mod">
          <ac:chgData name="Ugo MANTEL" userId="2d5b7065-31bb-4181-a7f8-a73bf0c30211" providerId="ADAL" clId="{9344D105-636D-4857-BD0F-AFC44A54BCCF}" dt="2021-05-25T14:20:12.025" v="28709" actId="790"/>
          <ac:spMkLst>
            <pc:docMk/>
            <pc:sldMk cId="1088427134" sldId="10355"/>
            <ac:spMk id="223" creationId="{AACFFFD0-291B-45A6-A066-6352E58C9EEB}"/>
          </ac:spMkLst>
        </pc:spChg>
        <pc:spChg chg="mod">
          <ac:chgData name="Ugo MANTEL" userId="2d5b7065-31bb-4181-a7f8-a73bf0c30211" providerId="ADAL" clId="{9344D105-636D-4857-BD0F-AFC44A54BCCF}" dt="2021-05-25T14:20:12.025" v="28710" actId="790"/>
          <ac:spMkLst>
            <pc:docMk/>
            <pc:sldMk cId="1088427134" sldId="10355"/>
            <ac:spMk id="224" creationId="{9CC974BC-E401-410D-895E-89F6C7E5FD6F}"/>
          </ac:spMkLst>
        </pc:spChg>
        <pc:spChg chg="mod">
          <ac:chgData name="Ugo MANTEL" userId="2d5b7065-31bb-4181-a7f8-a73bf0c30211" providerId="ADAL" clId="{9344D105-636D-4857-BD0F-AFC44A54BCCF}" dt="2021-05-25T14:20:12.026" v="28711" actId="790"/>
          <ac:spMkLst>
            <pc:docMk/>
            <pc:sldMk cId="1088427134" sldId="10355"/>
            <ac:spMk id="225" creationId="{2E3BF3CB-B236-4275-A4F8-DE6805D6032E}"/>
          </ac:spMkLst>
        </pc:spChg>
        <pc:spChg chg="mod">
          <ac:chgData name="Ugo MANTEL" userId="2d5b7065-31bb-4181-a7f8-a73bf0c30211" providerId="ADAL" clId="{9344D105-636D-4857-BD0F-AFC44A54BCCF}" dt="2021-05-25T14:20:12.005" v="28692" actId="790"/>
          <ac:spMkLst>
            <pc:docMk/>
            <pc:sldMk cId="1088427134" sldId="10355"/>
            <ac:spMk id="226" creationId="{B2F4D423-6384-4EED-8A8F-FBFFC962C44E}"/>
          </ac:spMkLst>
        </pc:spChg>
        <pc:spChg chg="mod">
          <ac:chgData name="Ugo MANTEL" userId="2d5b7065-31bb-4181-a7f8-a73bf0c30211" providerId="ADAL" clId="{9344D105-636D-4857-BD0F-AFC44A54BCCF}" dt="2021-05-25T14:20:12.006" v="28693" actId="790"/>
          <ac:spMkLst>
            <pc:docMk/>
            <pc:sldMk cId="1088427134" sldId="10355"/>
            <ac:spMk id="227" creationId="{899E4511-9356-4F55-9021-2AC75CA374F5}"/>
          </ac:spMkLst>
        </pc:spChg>
        <pc:spChg chg="mod">
          <ac:chgData name="Ugo MANTEL" userId="2d5b7065-31bb-4181-a7f8-a73bf0c30211" providerId="ADAL" clId="{9344D105-636D-4857-BD0F-AFC44A54BCCF}" dt="2021-05-25T14:20:12.007" v="28694" actId="790"/>
          <ac:spMkLst>
            <pc:docMk/>
            <pc:sldMk cId="1088427134" sldId="10355"/>
            <ac:spMk id="228" creationId="{5DE47477-F83C-4343-97B4-528F4E6EEC5E}"/>
          </ac:spMkLst>
        </pc:spChg>
        <pc:spChg chg="mod">
          <ac:chgData name="Ugo MANTEL" userId="2d5b7065-31bb-4181-a7f8-a73bf0c30211" providerId="ADAL" clId="{9344D105-636D-4857-BD0F-AFC44A54BCCF}" dt="2021-05-25T14:20:12.007" v="28695" actId="790"/>
          <ac:spMkLst>
            <pc:docMk/>
            <pc:sldMk cId="1088427134" sldId="10355"/>
            <ac:spMk id="229" creationId="{4EFF5158-0EBE-46C9-A27A-E2B1C6DDC5DB}"/>
          </ac:spMkLst>
        </pc:spChg>
        <pc:spChg chg="mod">
          <ac:chgData name="Ugo MANTEL" userId="2d5b7065-31bb-4181-a7f8-a73bf0c30211" providerId="ADAL" clId="{9344D105-636D-4857-BD0F-AFC44A54BCCF}" dt="2021-05-25T14:20:12.008" v="28696" actId="790"/>
          <ac:spMkLst>
            <pc:docMk/>
            <pc:sldMk cId="1088427134" sldId="10355"/>
            <ac:spMk id="234" creationId="{3930DCC7-BF1B-4C19-90DF-366A4AC6B52A}"/>
          </ac:spMkLst>
        </pc:spChg>
        <pc:spChg chg="mod">
          <ac:chgData name="Ugo MANTEL" userId="2d5b7065-31bb-4181-a7f8-a73bf0c30211" providerId="ADAL" clId="{9344D105-636D-4857-BD0F-AFC44A54BCCF}" dt="2021-05-25T14:20:12.027" v="28712" actId="790"/>
          <ac:spMkLst>
            <pc:docMk/>
            <pc:sldMk cId="1088427134" sldId="10355"/>
            <ac:spMk id="236" creationId="{00F7E046-3416-4368-812E-5C119AD03ABB}"/>
          </ac:spMkLst>
        </pc:spChg>
        <pc:spChg chg="mod">
          <ac:chgData name="Ugo MANTEL" userId="2d5b7065-31bb-4181-a7f8-a73bf0c30211" providerId="ADAL" clId="{9344D105-636D-4857-BD0F-AFC44A54BCCF}" dt="2021-05-25T14:20:12.034" v="28720" actId="790"/>
          <ac:spMkLst>
            <pc:docMk/>
            <pc:sldMk cId="1088427134" sldId="10355"/>
            <ac:spMk id="237" creationId="{6E5AF13E-321B-46A9-8A9E-118042B87B4E}"/>
          </ac:spMkLst>
        </pc:spChg>
        <pc:spChg chg="mod">
          <ac:chgData name="Ugo MANTEL" userId="2d5b7065-31bb-4181-a7f8-a73bf0c30211" providerId="ADAL" clId="{9344D105-636D-4857-BD0F-AFC44A54BCCF}" dt="2021-05-25T14:20:12.035" v="28721" actId="790"/>
          <ac:spMkLst>
            <pc:docMk/>
            <pc:sldMk cId="1088427134" sldId="10355"/>
            <ac:spMk id="238" creationId="{AFF1494D-4D2B-458F-9EF2-6B336A081C82}"/>
          </ac:spMkLst>
        </pc:spChg>
        <pc:spChg chg="mod">
          <ac:chgData name="Ugo MANTEL" userId="2d5b7065-31bb-4181-a7f8-a73bf0c30211" providerId="ADAL" clId="{9344D105-636D-4857-BD0F-AFC44A54BCCF}" dt="2021-05-25T14:20:12.035" v="28722" actId="790"/>
          <ac:spMkLst>
            <pc:docMk/>
            <pc:sldMk cId="1088427134" sldId="10355"/>
            <ac:spMk id="239" creationId="{D4188DE1-989E-4558-A0ED-D3E5F1AF38BF}"/>
          </ac:spMkLst>
        </pc:spChg>
        <pc:spChg chg="mod">
          <ac:chgData name="Ugo MANTEL" userId="2d5b7065-31bb-4181-a7f8-a73bf0c30211" providerId="ADAL" clId="{9344D105-636D-4857-BD0F-AFC44A54BCCF}" dt="2021-05-25T14:20:11.979" v="28666" actId="790"/>
          <ac:spMkLst>
            <pc:docMk/>
            <pc:sldMk cId="1088427134" sldId="10355"/>
            <ac:spMk id="293" creationId="{617A7A8A-DF61-4D21-A457-8B0899095289}"/>
          </ac:spMkLst>
        </pc:spChg>
        <pc:spChg chg="mod">
          <ac:chgData name="Ugo MANTEL" userId="2d5b7065-31bb-4181-a7f8-a73bf0c30211" providerId="ADAL" clId="{9344D105-636D-4857-BD0F-AFC44A54BCCF}" dt="2021-05-25T14:20:11.980" v="28667" actId="790"/>
          <ac:spMkLst>
            <pc:docMk/>
            <pc:sldMk cId="1088427134" sldId="10355"/>
            <ac:spMk id="294" creationId="{C2F5995A-D732-4968-B25E-B7B65E43D48B}"/>
          </ac:spMkLst>
        </pc:spChg>
        <pc:spChg chg="mod">
          <ac:chgData name="Ugo MANTEL" userId="2d5b7065-31bb-4181-a7f8-a73bf0c30211" providerId="ADAL" clId="{9344D105-636D-4857-BD0F-AFC44A54BCCF}" dt="2021-05-25T14:20:11.981" v="28668" actId="790"/>
          <ac:spMkLst>
            <pc:docMk/>
            <pc:sldMk cId="1088427134" sldId="10355"/>
            <ac:spMk id="295" creationId="{ED22F590-D8D1-428D-826E-EE3A067F96A3}"/>
          </ac:spMkLst>
        </pc:spChg>
        <pc:spChg chg="mod">
          <ac:chgData name="Ugo MANTEL" userId="2d5b7065-31bb-4181-a7f8-a73bf0c30211" providerId="ADAL" clId="{9344D105-636D-4857-BD0F-AFC44A54BCCF}" dt="2021-05-25T14:20:11.982" v="28669" actId="790"/>
          <ac:spMkLst>
            <pc:docMk/>
            <pc:sldMk cId="1088427134" sldId="10355"/>
            <ac:spMk id="296" creationId="{00361E1D-A8D2-4D0A-AA96-0271BCF5E084}"/>
          </ac:spMkLst>
        </pc:spChg>
        <pc:spChg chg="mod">
          <ac:chgData name="Ugo MANTEL" userId="2d5b7065-31bb-4181-a7f8-a73bf0c30211" providerId="ADAL" clId="{9344D105-636D-4857-BD0F-AFC44A54BCCF}" dt="2021-05-25T14:20:11.998" v="28683" actId="790"/>
          <ac:spMkLst>
            <pc:docMk/>
            <pc:sldMk cId="1088427134" sldId="10355"/>
            <ac:spMk id="297" creationId="{77DC1682-4763-4F4E-8898-D304D40CEE88}"/>
          </ac:spMkLst>
        </pc:spChg>
        <pc:spChg chg="mod">
          <ac:chgData name="Ugo MANTEL" userId="2d5b7065-31bb-4181-a7f8-a73bf0c30211" providerId="ADAL" clId="{9344D105-636D-4857-BD0F-AFC44A54BCCF}" dt="2021-05-25T14:20:11.999" v="28684" actId="790"/>
          <ac:spMkLst>
            <pc:docMk/>
            <pc:sldMk cId="1088427134" sldId="10355"/>
            <ac:spMk id="298" creationId="{7F85B45B-4746-467D-A51B-2B59987A647B}"/>
          </ac:spMkLst>
        </pc:spChg>
        <pc:spChg chg="mod">
          <ac:chgData name="Ugo MANTEL" userId="2d5b7065-31bb-4181-a7f8-a73bf0c30211" providerId="ADAL" clId="{9344D105-636D-4857-BD0F-AFC44A54BCCF}" dt="2021-05-25T14:20:12" v="28685" actId="790"/>
          <ac:spMkLst>
            <pc:docMk/>
            <pc:sldMk cId="1088427134" sldId="10355"/>
            <ac:spMk id="299" creationId="{8EA1E97D-8D4C-45B3-B0ED-0309A53B6DBC}"/>
          </ac:spMkLst>
        </pc:spChg>
        <pc:spChg chg="mod">
          <ac:chgData name="Ugo MANTEL" userId="2d5b7065-31bb-4181-a7f8-a73bf0c30211" providerId="ADAL" clId="{9344D105-636D-4857-BD0F-AFC44A54BCCF}" dt="2021-05-25T14:20:12.001" v="28686" actId="790"/>
          <ac:spMkLst>
            <pc:docMk/>
            <pc:sldMk cId="1088427134" sldId="10355"/>
            <ac:spMk id="300" creationId="{B638FE26-EA5A-4C48-B32A-22345AB071AE}"/>
          </ac:spMkLst>
        </pc:spChg>
        <pc:spChg chg="mod">
          <ac:chgData name="Ugo MANTEL" userId="2d5b7065-31bb-4181-a7f8-a73bf0c30211" providerId="ADAL" clId="{9344D105-636D-4857-BD0F-AFC44A54BCCF}" dt="2021-05-25T14:20:12.002" v="28687" actId="790"/>
          <ac:spMkLst>
            <pc:docMk/>
            <pc:sldMk cId="1088427134" sldId="10355"/>
            <ac:spMk id="301" creationId="{89E4857A-7344-4991-94C0-6D8D83A8C52F}"/>
          </ac:spMkLst>
        </pc:spChg>
        <pc:spChg chg="mod">
          <ac:chgData name="Ugo MANTEL" userId="2d5b7065-31bb-4181-a7f8-a73bf0c30211" providerId="ADAL" clId="{9344D105-636D-4857-BD0F-AFC44A54BCCF}" dt="2021-05-25T14:20:12.003" v="28688" actId="790"/>
          <ac:spMkLst>
            <pc:docMk/>
            <pc:sldMk cId="1088427134" sldId="10355"/>
            <ac:spMk id="302" creationId="{34B0C0D9-C504-43C9-BA61-0E82CE469A32}"/>
          </ac:spMkLst>
        </pc:spChg>
        <pc:spChg chg="mod">
          <ac:chgData name="Ugo MANTEL" userId="2d5b7065-31bb-4181-a7f8-a73bf0c30211" providerId="ADAL" clId="{9344D105-636D-4857-BD0F-AFC44A54BCCF}" dt="2021-05-25T14:20:11.972" v="28658" actId="790"/>
          <ac:spMkLst>
            <pc:docMk/>
            <pc:sldMk cId="1088427134" sldId="10355"/>
            <ac:spMk id="348" creationId="{CFCBCDDB-EA95-49A6-B547-6019E50F386C}"/>
          </ac:spMkLst>
        </pc:spChg>
        <pc:spChg chg="mod">
          <ac:chgData name="Ugo MANTEL" userId="2d5b7065-31bb-4181-a7f8-a73bf0c30211" providerId="ADAL" clId="{9344D105-636D-4857-BD0F-AFC44A54BCCF}" dt="2021-05-25T14:20:11.973" v="28659" actId="790"/>
          <ac:spMkLst>
            <pc:docMk/>
            <pc:sldMk cId="1088427134" sldId="10355"/>
            <ac:spMk id="349" creationId="{395A3F28-98E0-4ABF-A444-F427F580278A}"/>
          </ac:spMkLst>
        </pc:spChg>
        <pc:spChg chg="mod">
          <ac:chgData name="Ugo MANTEL" userId="2d5b7065-31bb-4181-a7f8-a73bf0c30211" providerId="ADAL" clId="{9344D105-636D-4857-BD0F-AFC44A54BCCF}" dt="2021-05-25T14:20:11.974" v="28660" actId="790"/>
          <ac:spMkLst>
            <pc:docMk/>
            <pc:sldMk cId="1088427134" sldId="10355"/>
            <ac:spMk id="350" creationId="{F2865F77-BAC4-4AED-B624-0B522BF3F767}"/>
          </ac:spMkLst>
        </pc:spChg>
        <pc:spChg chg="mod">
          <ac:chgData name="Ugo MANTEL" userId="2d5b7065-31bb-4181-a7f8-a73bf0c30211" providerId="ADAL" clId="{9344D105-636D-4857-BD0F-AFC44A54BCCF}" dt="2021-05-25T14:20:11.974" v="28661" actId="790"/>
          <ac:spMkLst>
            <pc:docMk/>
            <pc:sldMk cId="1088427134" sldId="10355"/>
            <ac:spMk id="351" creationId="{0669AB15-C923-4679-B7DC-569D79DDE370}"/>
          </ac:spMkLst>
        </pc:spChg>
        <pc:spChg chg="mod">
          <ac:chgData name="Ugo MANTEL" userId="2d5b7065-31bb-4181-a7f8-a73bf0c30211" providerId="ADAL" clId="{9344D105-636D-4857-BD0F-AFC44A54BCCF}" dt="2021-05-25T14:20:11.975" v="28662" actId="790"/>
          <ac:spMkLst>
            <pc:docMk/>
            <pc:sldMk cId="1088427134" sldId="10355"/>
            <ac:spMk id="352" creationId="{F6B285D2-708B-421E-B5A7-4D9C77F08F6E}"/>
          </ac:spMkLst>
        </pc:spChg>
        <pc:spChg chg="mod">
          <ac:chgData name="Ugo MANTEL" userId="2d5b7065-31bb-4181-a7f8-a73bf0c30211" providerId="ADAL" clId="{9344D105-636D-4857-BD0F-AFC44A54BCCF}" dt="2021-05-25T14:20:11.976" v="28663" actId="790"/>
          <ac:spMkLst>
            <pc:docMk/>
            <pc:sldMk cId="1088427134" sldId="10355"/>
            <ac:spMk id="353" creationId="{390E82EC-150E-4DD4-892A-477625840C31}"/>
          </ac:spMkLst>
        </pc:spChg>
        <pc:spChg chg="mod">
          <ac:chgData name="Ugo MANTEL" userId="2d5b7065-31bb-4181-a7f8-a73bf0c30211" providerId="ADAL" clId="{9344D105-636D-4857-BD0F-AFC44A54BCCF}" dt="2021-05-25T14:20:11.993" v="28678" actId="790"/>
          <ac:spMkLst>
            <pc:docMk/>
            <pc:sldMk cId="1088427134" sldId="10355"/>
            <ac:spMk id="354" creationId="{E856EDF6-9B33-4E84-9395-01F2C852986E}"/>
          </ac:spMkLst>
        </pc:spChg>
        <pc:spChg chg="mod">
          <ac:chgData name="Ugo MANTEL" userId="2d5b7065-31bb-4181-a7f8-a73bf0c30211" providerId="ADAL" clId="{9344D105-636D-4857-BD0F-AFC44A54BCCF}" dt="2021-05-25T14:20:11.994" v="28679" actId="790"/>
          <ac:spMkLst>
            <pc:docMk/>
            <pc:sldMk cId="1088427134" sldId="10355"/>
            <ac:spMk id="355" creationId="{F6FE6982-C59D-4903-A697-09F5B2458B91}"/>
          </ac:spMkLst>
        </pc:spChg>
        <pc:spChg chg="mod">
          <ac:chgData name="Ugo MANTEL" userId="2d5b7065-31bb-4181-a7f8-a73bf0c30211" providerId="ADAL" clId="{9344D105-636D-4857-BD0F-AFC44A54BCCF}" dt="2021-05-25T14:20:11.995" v="28680" actId="790"/>
          <ac:spMkLst>
            <pc:docMk/>
            <pc:sldMk cId="1088427134" sldId="10355"/>
            <ac:spMk id="366" creationId="{93DF475D-D416-47B1-B3AE-DF8F8DFDB5CE}"/>
          </ac:spMkLst>
        </pc:spChg>
        <pc:spChg chg="mod">
          <ac:chgData name="Ugo MANTEL" userId="2d5b7065-31bb-4181-a7f8-a73bf0c30211" providerId="ADAL" clId="{9344D105-636D-4857-BD0F-AFC44A54BCCF}" dt="2021-05-25T14:20:11.996" v="28681" actId="790"/>
          <ac:spMkLst>
            <pc:docMk/>
            <pc:sldMk cId="1088427134" sldId="10355"/>
            <ac:spMk id="431" creationId="{C43A5D41-8E95-4FE9-AA7F-FE80E1B41664}"/>
          </ac:spMkLst>
        </pc:spChg>
        <pc:spChg chg="mod">
          <ac:chgData name="Ugo MANTEL" userId="2d5b7065-31bb-4181-a7f8-a73bf0c30211" providerId="ADAL" clId="{9344D105-636D-4857-BD0F-AFC44A54BCCF}" dt="2021-05-25T14:20:12.020" v="28702" actId="790"/>
          <ac:spMkLst>
            <pc:docMk/>
            <pc:sldMk cId="1088427134" sldId="10355"/>
            <ac:spMk id="432" creationId="{03857C1B-D6C5-45FC-9704-4AD21AA68E0E}"/>
          </ac:spMkLst>
        </pc:spChg>
        <pc:spChg chg="mod">
          <ac:chgData name="Ugo MANTEL" userId="2d5b7065-31bb-4181-a7f8-a73bf0c30211" providerId="ADAL" clId="{9344D105-636D-4857-BD0F-AFC44A54BCCF}" dt="2021-05-25T14:20:11.952" v="28640" actId="790"/>
          <ac:spMkLst>
            <pc:docMk/>
            <pc:sldMk cId="1088427134" sldId="10355"/>
            <ac:spMk id="524" creationId="{9DA0C13D-FDE2-432F-842A-8FDF5BC8E38A}"/>
          </ac:spMkLst>
        </pc:spChg>
        <pc:spChg chg="mod">
          <ac:chgData name="Ugo MANTEL" userId="2d5b7065-31bb-4181-a7f8-a73bf0c30211" providerId="ADAL" clId="{9344D105-636D-4857-BD0F-AFC44A54BCCF}" dt="2021-05-25T14:20:11.953" v="28641" actId="790"/>
          <ac:spMkLst>
            <pc:docMk/>
            <pc:sldMk cId="1088427134" sldId="10355"/>
            <ac:spMk id="526" creationId="{1E61C816-480E-4818-B936-DD577AC6BF1D}"/>
          </ac:spMkLst>
        </pc:spChg>
        <pc:spChg chg="mod">
          <ac:chgData name="Ugo MANTEL" userId="2d5b7065-31bb-4181-a7f8-a73bf0c30211" providerId="ADAL" clId="{9344D105-636D-4857-BD0F-AFC44A54BCCF}" dt="2021-05-25T14:20:11.955" v="28643" actId="790"/>
          <ac:spMkLst>
            <pc:docMk/>
            <pc:sldMk cId="1088427134" sldId="10355"/>
            <ac:spMk id="566" creationId="{5034B735-5470-44C8-9214-2F36EE84557A}"/>
          </ac:spMkLst>
        </pc:spChg>
        <pc:spChg chg="mod">
          <ac:chgData name="Ugo MANTEL" userId="2d5b7065-31bb-4181-a7f8-a73bf0c30211" providerId="ADAL" clId="{9344D105-636D-4857-BD0F-AFC44A54BCCF}" dt="2021-05-25T14:20:11.956" v="28644" actId="790"/>
          <ac:spMkLst>
            <pc:docMk/>
            <pc:sldMk cId="1088427134" sldId="10355"/>
            <ac:spMk id="567" creationId="{7A7AC5FD-4972-4698-9C29-EBE0BC229D2C}"/>
          </ac:spMkLst>
        </pc:spChg>
        <pc:spChg chg="mod">
          <ac:chgData name="Ugo MANTEL" userId="2d5b7065-31bb-4181-a7f8-a73bf0c30211" providerId="ADAL" clId="{9344D105-636D-4857-BD0F-AFC44A54BCCF}" dt="2021-05-25T14:20:11.956" v="28645" actId="790"/>
          <ac:spMkLst>
            <pc:docMk/>
            <pc:sldMk cId="1088427134" sldId="10355"/>
            <ac:spMk id="568" creationId="{1BB99FC1-A755-41C4-A5B0-42BF784157D7}"/>
          </ac:spMkLst>
        </pc:spChg>
        <pc:spChg chg="mod">
          <ac:chgData name="Ugo MANTEL" userId="2d5b7065-31bb-4181-a7f8-a73bf0c30211" providerId="ADAL" clId="{9344D105-636D-4857-BD0F-AFC44A54BCCF}" dt="2021-05-25T14:20:11.957" v="28646" actId="790"/>
          <ac:spMkLst>
            <pc:docMk/>
            <pc:sldMk cId="1088427134" sldId="10355"/>
            <ac:spMk id="569" creationId="{03B48CD2-8D5F-467F-95E5-9374434808F1}"/>
          </ac:spMkLst>
        </pc:spChg>
        <pc:spChg chg="mod">
          <ac:chgData name="Ugo MANTEL" userId="2d5b7065-31bb-4181-a7f8-a73bf0c30211" providerId="ADAL" clId="{9344D105-636D-4857-BD0F-AFC44A54BCCF}" dt="2021-05-25T14:20:11.958" v="28647" actId="790"/>
          <ac:spMkLst>
            <pc:docMk/>
            <pc:sldMk cId="1088427134" sldId="10355"/>
            <ac:spMk id="570" creationId="{A6FC9F8E-9407-4068-9614-2C9B33825B85}"/>
          </ac:spMkLst>
        </pc:spChg>
        <pc:spChg chg="mod">
          <ac:chgData name="Ugo MANTEL" userId="2d5b7065-31bb-4181-a7f8-a73bf0c30211" providerId="ADAL" clId="{9344D105-636D-4857-BD0F-AFC44A54BCCF}" dt="2021-05-25T14:20:12.015" v="28697" actId="790"/>
          <ac:spMkLst>
            <pc:docMk/>
            <pc:sldMk cId="1088427134" sldId="10355"/>
            <ac:spMk id="571" creationId="{83A1A957-09EF-441E-B0F3-BEA3575C3310}"/>
          </ac:spMkLst>
        </pc:spChg>
        <pc:spChg chg="mod">
          <ac:chgData name="Ugo MANTEL" userId="2d5b7065-31bb-4181-a7f8-a73bf0c30211" providerId="ADAL" clId="{9344D105-636D-4857-BD0F-AFC44A54BCCF}" dt="2021-05-25T14:20:12.016" v="28698" actId="790"/>
          <ac:spMkLst>
            <pc:docMk/>
            <pc:sldMk cId="1088427134" sldId="10355"/>
            <ac:spMk id="572" creationId="{C8642C5B-766C-444E-B472-4CCCA91833BB}"/>
          </ac:spMkLst>
        </pc:spChg>
        <pc:spChg chg="mod">
          <ac:chgData name="Ugo MANTEL" userId="2d5b7065-31bb-4181-a7f8-a73bf0c30211" providerId="ADAL" clId="{9344D105-636D-4857-BD0F-AFC44A54BCCF}" dt="2021-05-25T14:20:12.017" v="28699" actId="790"/>
          <ac:spMkLst>
            <pc:docMk/>
            <pc:sldMk cId="1088427134" sldId="10355"/>
            <ac:spMk id="573" creationId="{641495BC-10DB-4F75-90D3-435B0EA4AA1D}"/>
          </ac:spMkLst>
        </pc:spChg>
        <pc:spChg chg="mod">
          <ac:chgData name="Ugo MANTEL" userId="2d5b7065-31bb-4181-a7f8-a73bf0c30211" providerId="ADAL" clId="{9344D105-636D-4857-BD0F-AFC44A54BCCF}" dt="2021-05-25T14:20:12.017" v="28700" actId="790"/>
          <ac:spMkLst>
            <pc:docMk/>
            <pc:sldMk cId="1088427134" sldId="10355"/>
            <ac:spMk id="574" creationId="{B378CEDE-C4B2-43EE-A7C1-F2D15C120DFA}"/>
          </ac:spMkLst>
        </pc:spChg>
        <pc:spChg chg="mod">
          <ac:chgData name="Ugo MANTEL" userId="2d5b7065-31bb-4181-a7f8-a73bf0c30211" providerId="ADAL" clId="{9344D105-636D-4857-BD0F-AFC44A54BCCF}" dt="2021-05-25T14:20:12.018" v="28701" actId="790"/>
          <ac:spMkLst>
            <pc:docMk/>
            <pc:sldMk cId="1088427134" sldId="10355"/>
            <ac:spMk id="575" creationId="{670C47CD-4DA7-4D9F-AE7A-05B5C0EE79A0}"/>
          </ac:spMkLst>
        </pc:spChg>
        <pc:spChg chg="mod">
          <ac:chgData name="Ugo MANTEL" userId="2d5b7065-31bb-4181-a7f8-a73bf0c30211" providerId="ADAL" clId="{9344D105-636D-4857-BD0F-AFC44A54BCCF}" dt="2021-05-25T14:20:11.989" v="28674" actId="790"/>
          <ac:spMkLst>
            <pc:docMk/>
            <pc:sldMk cId="1088427134" sldId="10355"/>
            <ac:spMk id="576" creationId="{5CFF709F-67CB-4B7D-B62B-5F093186EFD9}"/>
          </ac:spMkLst>
        </pc:spChg>
        <pc:spChg chg="mod">
          <ac:chgData name="Ugo MANTEL" userId="2d5b7065-31bb-4181-a7f8-a73bf0c30211" providerId="ADAL" clId="{9344D105-636D-4857-BD0F-AFC44A54BCCF}" dt="2021-05-25T14:20:11.990" v="28675" actId="790"/>
          <ac:spMkLst>
            <pc:docMk/>
            <pc:sldMk cId="1088427134" sldId="10355"/>
            <ac:spMk id="577" creationId="{9F35AA8E-A2FF-4273-BC1C-808C2425AE43}"/>
          </ac:spMkLst>
        </pc:spChg>
        <pc:spChg chg="mod">
          <ac:chgData name="Ugo MANTEL" userId="2d5b7065-31bb-4181-a7f8-a73bf0c30211" providerId="ADAL" clId="{9344D105-636D-4857-BD0F-AFC44A54BCCF}" dt="2021-05-25T14:20:11.991" v="28676" actId="790"/>
          <ac:spMkLst>
            <pc:docMk/>
            <pc:sldMk cId="1088427134" sldId="10355"/>
            <ac:spMk id="578" creationId="{EB266672-983F-4822-A4D2-45E27A858222}"/>
          </ac:spMkLst>
        </pc:spChg>
        <pc:spChg chg="mod">
          <ac:chgData name="Ugo MANTEL" userId="2d5b7065-31bb-4181-a7f8-a73bf0c30211" providerId="ADAL" clId="{9344D105-636D-4857-BD0F-AFC44A54BCCF}" dt="2021-05-25T14:20:11.992" v="28677" actId="790"/>
          <ac:spMkLst>
            <pc:docMk/>
            <pc:sldMk cId="1088427134" sldId="10355"/>
            <ac:spMk id="579" creationId="{134F9CF9-9DCE-4D1A-B7EA-16DD017406BC}"/>
          </ac:spMkLst>
        </pc:spChg>
        <pc:spChg chg="mod">
          <ac:chgData name="Ugo MANTEL" userId="2d5b7065-31bb-4181-a7f8-a73bf0c30211" providerId="ADAL" clId="{9344D105-636D-4857-BD0F-AFC44A54BCCF}" dt="2021-05-25T14:20:11.969" v="28653" actId="790"/>
          <ac:spMkLst>
            <pc:docMk/>
            <pc:sldMk cId="1088427134" sldId="10355"/>
            <ac:spMk id="580" creationId="{2B70C116-8232-4E9E-89F2-5E9CBA392143}"/>
          </ac:spMkLst>
        </pc:spChg>
        <pc:spChg chg="mod">
          <ac:chgData name="Ugo MANTEL" userId="2d5b7065-31bb-4181-a7f8-a73bf0c30211" providerId="ADAL" clId="{9344D105-636D-4857-BD0F-AFC44A54BCCF}" dt="2021-05-25T14:20:11.970" v="28654" actId="790"/>
          <ac:spMkLst>
            <pc:docMk/>
            <pc:sldMk cId="1088427134" sldId="10355"/>
            <ac:spMk id="581" creationId="{5016B878-0E7C-4DEC-84B3-C49F41F62BB3}"/>
          </ac:spMkLst>
        </pc:spChg>
        <pc:spChg chg="mod">
          <ac:chgData name="Ugo MANTEL" userId="2d5b7065-31bb-4181-a7f8-a73bf0c30211" providerId="ADAL" clId="{9344D105-636D-4857-BD0F-AFC44A54BCCF}" dt="2021-05-25T14:20:11.970" v="28655" actId="790"/>
          <ac:spMkLst>
            <pc:docMk/>
            <pc:sldMk cId="1088427134" sldId="10355"/>
            <ac:spMk id="582" creationId="{4CB40702-3157-4D6C-AFE1-DD055FDCDC4A}"/>
          </ac:spMkLst>
        </pc:spChg>
        <pc:spChg chg="mod">
          <ac:chgData name="Ugo MANTEL" userId="2d5b7065-31bb-4181-a7f8-a73bf0c30211" providerId="ADAL" clId="{9344D105-636D-4857-BD0F-AFC44A54BCCF}" dt="2021-05-25T14:20:11.971" v="28656" actId="790"/>
          <ac:spMkLst>
            <pc:docMk/>
            <pc:sldMk cId="1088427134" sldId="10355"/>
            <ac:spMk id="583" creationId="{0AA0C37F-F2C9-4B44-992D-2D401C00937D}"/>
          </ac:spMkLst>
        </pc:spChg>
        <pc:spChg chg="mod">
          <ac:chgData name="Ugo MANTEL" userId="2d5b7065-31bb-4181-a7f8-a73bf0c30211" providerId="ADAL" clId="{9344D105-636D-4857-BD0F-AFC44A54BCCF}" dt="2021-05-25T14:20:11.972" v="28657" actId="790"/>
          <ac:spMkLst>
            <pc:docMk/>
            <pc:sldMk cId="1088427134" sldId="10355"/>
            <ac:spMk id="584" creationId="{C34DD91A-F396-429A-8248-138E16DBB82B}"/>
          </ac:spMkLst>
        </pc:spChg>
      </pc:sldChg>
      <pc:sldChg chg="addSp delSp modSp mod">
        <pc:chgData name="Ugo MANTEL" userId="2d5b7065-31bb-4181-a7f8-a73bf0c30211" providerId="ADAL" clId="{9344D105-636D-4857-BD0F-AFC44A54BCCF}" dt="2021-05-25T14:25:29.186" v="32386"/>
        <pc:sldMkLst>
          <pc:docMk/>
          <pc:sldMk cId="3990787528" sldId="10361"/>
        </pc:sldMkLst>
        <pc:spChg chg="mod">
          <ac:chgData name="Ugo MANTEL" userId="2d5b7065-31bb-4181-a7f8-a73bf0c30211" providerId="ADAL" clId="{9344D105-636D-4857-BD0F-AFC44A54BCCF}" dt="2021-05-25T14:25:29.139" v="32344" actId="948"/>
          <ac:spMkLst>
            <pc:docMk/>
            <pc:sldMk cId="3990787528" sldId="10361"/>
            <ac:spMk id="2" creationId="{E1481475-1FC6-4DD8-A95B-DCEE48FE195A}"/>
          </ac:spMkLst>
        </pc:spChg>
        <pc:spChg chg="add del mod modVis">
          <ac:chgData name="Ugo MANTEL" userId="2d5b7065-31bb-4181-a7f8-a73bf0c30211" providerId="ADAL" clId="{9344D105-636D-4857-BD0F-AFC44A54BCCF}" dt="2021-05-24T14:51:01.135" v="7906"/>
          <ac:spMkLst>
            <pc:docMk/>
            <pc:sldMk cId="3990787528" sldId="10361"/>
            <ac:spMk id="3" creationId="{22BCBCB6-1D88-453C-A684-CE943CFEB3CC}"/>
          </ac:spMkLst>
        </pc:spChg>
        <pc:spChg chg="mod">
          <ac:chgData name="Ugo MANTEL" userId="2d5b7065-31bb-4181-a7f8-a73bf0c30211" providerId="ADAL" clId="{9344D105-636D-4857-BD0F-AFC44A54BCCF}" dt="2021-05-25T14:20:12.922" v="29649" actId="790"/>
          <ac:spMkLst>
            <pc:docMk/>
            <pc:sldMk cId="3990787528" sldId="10361"/>
            <ac:spMk id="5" creationId="{F46E7AF5-AD69-4AFF-8E99-CD21B448E633}"/>
          </ac:spMkLst>
        </pc:spChg>
        <pc:spChg chg="add del mod modVis">
          <ac:chgData name="Ugo MANTEL" userId="2d5b7065-31bb-4181-a7f8-a73bf0c30211" providerId="ADAL" clId="{9344D105-636D-4857-BD0F-AFC44A54BCCF}" dt="2021-05-24T14:51:04.537" v="7951"/>
          <ac:spMkLst>
            <pc:docMk/>
            <pc:sldMk cId="3990787528" sldId="10361"/>
            <ac:spMk id="6" creationId="{3F6910A5-857C-4516-B680-E725EB4A7884}"/>
          </ac:spMkLst>
        </pc:spChg>
        <pc:spChg chg="mod">
          <ac:chgData name="Ugo MANTEL" userId="2d5b7065-31bb-4181-a7f8-a73bf0c30211" providerId="ADAL" clId="{9344D105-636D-4857-BD0F-AFC44A54BCCF}" dt="2021-05-25T14:20:12.906" v="29632" actId="790"/>
          <ac:spMkLst>
            <pc:docMk/>
            <pc:sldMk cId="3990787528" sldId="10361"/>
            <ac:spMk id="7" creationId="{42AC80FE-61C2-4CCD-8197-49DB0376671F}"/>
          </ac:spMkLst>
        </pc:spChg>
        <pc:spChg chg="mod">
          <ac:chgData name="Ugo MANTEL" userId="2d5b7065-31bb-4181-a7f8-a73bf0c30211" providerId="ADAL" clId="{9344D105-636D-4857-BD0F-AFC44A54BCCF}" dt="2021-05-25T14:20:12.928" v="29652" actId="790"/>
          <ac:spMkLst>
            <pc:docMk/>
            <pc:sldMk cId="3990787528" sldId="10361"/>
            <ac:spMk id="8" creationId="{E10ED5A0-5661-49D4-8837-C5C101229F3B}"/>
          </ac:spMkLst>
        </pc:spChg>
        <pc:spChg chg="mod">
          <ac:chgData name="Ugo MANTEL" userId="2d5b7065-31bb-4181-a7f8-a73bf0c30211" providerId="ADAL" clId="{9344D105-636D-4857-BD0F-AFC44A54BCCF}" dt="2021-05-25T14:20:12.906" v="29633" actId="790"/>
          <ac:spMkLst>
            <pc:docMk/>
            <pc:sldMk cId="3990787528" sldId="10361"/>
            <ac:spMk id="12" creationId="{B86E6A94-8641-434F-8002-7184D99557B6}"/>
          </ac:spMkLst>
        </pc:spChg>
        <pc:spChg chg="mod">
          <ac:chgData name="Ugo MANTEL" userId="2d5b7065-31bb-4181-a7f8-a73bf0c30211" providerId="ADAL" clId="{9344D105-636D-4857-BD0F-AFC44A54BCCF}" dt="2021-05-25T14:20:12.907" v="29634" actId="790"/>
          <ac:spMkLst>
            <pc:docMk/>
            <pc:sldMk cId="3990787528" sldId="10361"/>
            <ac:spMk id="14" creationId="{45C4B741-EE07-4E09-933D-96C6F8C328DA}"/>
          </ac:spMkLst>
        </pc:spChg>
        <pc:spChg chg="mod">
          <ac:chgData name="Ugo MANTEL" userId="2d5b7065-31bb-4181-a7f8-a73bf0c30211" providerId="ADAL" clId="{9344D105-636D-4857-BD0F-AFC44A54BCCF}" dt="2021-05-25T14:20:12.941" v="29665" actId="790"/>
          <ac:spMkLst>
            <pc:docMk/>
            <pc:sldMk cId="3990787528" sldId="10361"/>
            <ac:spMk id="15" creationId="{A38628FE-E542-4A8A-8DFB-329A08A57309}"/>
          </ac:spMkLst>
        </pc:spChg>
        <pc:spChg chg="mod">
          <ac:chgData name="Ugo MANTEL" userId="2d5b7065-31bb-4181-a7f8-a73bf0c30211" providerId="ADAL" clId="{9344D105-636D-4857-BD0F-AFC44A54BCCF}" dt="2021-05-25T14:20:12.940" v="29664" actId="790"/>
          <ac:spMkLst>
            <pc:docMk/>
            <pc:sldMk cId="3990787528" sldId="10361"/>
            <ac:spMk id="16" creationId="{A38628FE-E542-4A8A-8DFB-329A08A57309}"/>
          </ac:spMkLst>
        </pc:spChg>
        <pc:spChg chg="mod">
          <ac:chgData name="Ugo MANTEL" userId="2d5b7065-31bb-4181-a7f8-a73bf0c30211" providerId="ADAL" clId="{9344D105-636D-4857-BD0F-AFC44A54BCCF}" dt="2021-05-25T14:20:12.908" v="29635" actId="790"/>
          <ac:spMkLst>
            <pc:docMk/>
            <pc:sldMk cId="3990787528" sldId="10361"/>
            <ac:spMk id="17" creationId="{EE30131A-2764-4409-9471-08D20C6B41B7}"/>
          </ac:spMkLst>
        </pc:spChg>
        <pc:spChg chg="mod">
          <ac:chgData name="Ugo MANTEL" userId="2d5b7065-31bb-4181-a7f8-a73bf0c30211" providerId="ADAL" clId="{9344D105-636D-4857-BD0F-AFC44A54BCCF}" dt="2021-05-25T14:20:12.942" v="29666" actId="790"/>
          <ac:spMkLst>
            <pc:docMk/>
            <pc:sldMk cId="3990787528" sldId="10361"/>
            <ac:spMk id="18" creationId="{A38628FE-E542-4A8A-8DFB-329A08A57309}"/>
          </ac:spMkLst>
        </pc:spChg>
        <pc:spChg chg="del mod">
          <ac:chgData name="Ugo MANTEL" userId="2d5b7065-31bb-4181-a7f8-a73bf0c30211" providerId="ADAL" clId="{9344D105-636D-4857-BD0F-AFC44A54BCCF}" dt="2021-05-25T14:18:13.557" v="27364" actId="478"/>
          <ac:spMkLst>
            <pc:docMk/>
            <pc:sldMk cId="3990787528" sldId="10361"/>
            <ac:spMk id="19" creationId="{A38628FE-E542-4A8A-8DFB-329A08A57309}"/>
          </ac:spMkLst>
        </pc:spChg>
        <pc:spChg chg="mod">
          <ac:chgData name="Ugo MANTEL" userId="2d5b7065-31bb-4181-a7f8-a73bf0c30211" providerId="ADAL" clId="{9344D105-636D-4857-BD0F-AFC44A54BCCF}" dt="2021-05-25T14:20:12.909" v="29636" actId="790"/>
          <ac:spMkLst>
            <pc:docMk/>
            <pc:sldMk cId="3990787528" sldId="10361"/>
            <ac:spMk id="25" creationId="{9EDBF09F-F1CB-459E-96BE-64B7990905B5}"/>
          </ac:spMkLst>
        </pc:spChg>
        <pc:spChg chg="del mod">
          <ac:chgData name="Ugo MANTEL" userId="2d5b7065-31bb-4181-a7f8-a73bf0c30211" providerId="ADAL" clId="{9344D105-636D-4857-BD0F-AFC44A54BCCF}" dt="2021-05-25T14:18:12.229" v="27363" actId="478"/>
          <ac:spMkLst>
            <pc:docMk/>
            <pc:sldMk cId="3990787528" sldId="10361"/>
            <ac:spMk id="26" creationId="{A38628FE-E542-4A8A-8DFB-329A08A57309}"/>
          </ac:spMkLst>
        </pc:spChg>
        <pc:spChg chg="add del mod modVis">
          <ac:chgData name="Ugo MANTEL" userId="2d5b7065-31bb-4181-a7f8-a73bf0c30211" providerId="ADAL" clId="{9344D105-636D-4857-BD0F-AFC44A54BCCF}" dt="2021-05-25T14:18:51.433" v="27447"/>
          <ac:spMkLst>
            <pc:docMk/>
            <pc:sldMk cId="3990787528" sldId="10361"/>
            <ac:spMk id="28" creationId="{9B691400-E93A-46F8-8C0E-FF7BDEBC8E8F}"/>
          </ac:spMkLst>
        </pc:spChg>
        <pc:spChg chg="mod">
          <ac:chgData name="Ugo MANTEL" userId="2d5b7065-31bb-4181-a7f8-a73bf0c30211" providerId="ADAL" clId="{9344D105-636D-4857-BD0F-AFC44A54BCCF}" dt="2021-05-25T14:20:12.910" v="29637" actId="790"/>
          <ac:spMkLst>
            <pc:docMk/>
            <pc:sldMk cId="3990787528" sldId="10361"/>
            <ac:spMk id="30" creationId="{44C62624-0F5A-42BD-A47E-BCAFCEBBE195}"/>
          </ac:spMkLst>
        </pc:spChg>
        <pc:spChg chg="add mod">
          <ac:chgData name="Ugo MANTEL" userId="2d5b7065-31bb-4181-a7f8-a73bf0c30211" providerId="ADAL" clId="{9344D105-636D-4857-BD0F-AFC44A54BCCF}" dt="2021-05-25T14:21:52.378" v="30593" actId="1076"/>
          <ac:spMkLst>
            <pc:docMk/>
            <pc:sldMk cId="3990787528" sldId="10361"/>
            <ac:spMk id="40" creationId="{20027D2C-7529-4696-8D3D-1AA537EBC4C5}"/>
          </ac:spMkLst>
        </pc:spChg>
        <pc:spChg chg="add del mod modVis">
          <ac:chgData name="Ugo MANTEL" userId="2d5b7065-31bb-4181-a7f8-a73bf0c30211" providerId="ADAL" clId="{9344D105-636D-4857-BD0F-AFC44A54BCCF}" dt="2021-05-25T14:22:34.492" v="30657"/>
          <ac:spMkLst>
            <pc:docMk/>
            <pc:sldMk cId="3990787528" sldId="10361"/>
            <ac:spMk id="41" creationId="{0AFDF861-1AD5-46A5-BB8B-84982FF1FD47}"/>
          </ac:spMkLst>
        </pc:spChg>
        <pc:spChg chg="add del mod modVis">
          <ac:chgData name="Ugo MANTEL" userId="2d5b7065-31bb-4181-a7f8-a73bf0c30211" providerId="ADAL" clId="{9344D105-636D-4857-BD0F-AFC44A54BCCF}" dt="2021-05-25T14:22:36.624" v="30708"/>
          <ac:spMkLst>
            <pc:docMk/>
            <pc:sldMk cId="3990787528" sldId="10361"/>
            <ac:spMk id="42" creationId="{BF6D8490-9D2C-4914-938C-2422FAC29894}"/>
          </ac:spMkLst>
        </pc:spChg>
        <pc:spChg chg="add del mod modVis">
          <ac:chgData name="Ugo MANTEL" userId="2d5b7065-31bb-4181-a7f8-a73bf0c30211" providerId="ADAL" clId="{9344D105-636D-4857-BD0F-AFC44A54BCCF}" dt="2021-05-25T14:22:39.840" v="30757"/>
          <ac:spMkLst>
            <pc:docMk/>
            <pc:sldMk cId="3990787528" sldId="10361"/>
            <ac:spMk id="43" creationId="{DF6D28AF-01F6-4E15-92F4-3678AA633C47}"/>
          </ac:spMkLst>
        </pc:spChg>
        <pc:spChg chg="add del mod modVis">
          <ac:chgData name="Ugo MANTEL" userId="2d5b7065-31bb-4181-a7f8-a73bf0c30211" providerId="ADAL" clId="{9344D105-636D-4857-BD0F-AFC44A54BCCF}" dt="2021-05-25T14:22:41.389" v="30805"/>
          <ac:spMkLst>
            <pc:docMk/>
            <pc:sldMk cId="3990787528" sldId="10361"/>
            <ac:spMk id="44" creationId="{CA55F135-2675-48BE-B813-20BAA939F771}"/>
          </ac:spMkLst>
        </pc:spChg>
        <pc:spChg chg="add del mod modVis">
          <ac:chgData name="Ugo MANTEL" userId="2d5b7065-31bb-4181-a7f8-a73bf0c30211" providerId="ADAL" clId="{9344D105-636D-4857-BD0F-AFC44A54BCCF}" dt="2021-05-25T14:22:43.505" v="30859"/>
          <ac:spMkLst>
            <pc:docMk/>
            <pc:sldMk cId="3990787528" sldId="10361"/>
            <ac:spMk id="45" creationId="{FF287EA3-A0F5-4A1C-99A4-80B3E416F04C}"/>
          </ac:spMkLst>
        </pc:spChg>
        <pc:spChg chg="add del mod modVis">
          <ac:chgData name="Ugo MANTEL" userId="2d5b7065-31bb-4181-a7f8-a73bf0c30211" providerId="ADAL" clId="{9344D105-636D-4857-BD0F-AFC44A54BCCF}" dt="2021-05-25T14:22:46.357" v="30915"/>
          <ac:spMkLst>
            <pc:docMk/>
            <pc:sldMk cId="3990787528" sldId="10361"/>
            <ac:spMk id="46" creationId="{E2868033-FBF4-4D94-9B0C-487A30F3B6B4}"/>
          </ac:spMkLst>
        </pc:spChg>
        <pc:spChg chg="mod">
          <ac:chgData name="Ugo MANTEL" userId="2d5b7065-31bb-4181-a7f8-a73bf0c30211" providerId="ADAL" clId="{9344D105-636D-4857-BD0F-AFC44A54BCCF}" dt="2021-05-25T14:20:12.911" v="29638" actId="790"/>
          <ac:spMkLst>
            <pc:docMk/>
            <pc:sldMk cId="3990787528" sldId="10361"/>
            <ac:spMk id="47" creationId="{3632F3D2-16C2-4F36-8671-4E5BD35DD3FC}"/>
          </ac:spMkLst>
        </pc:spChg>
        <pc:spChg chg="add del mod modVis">
          <ac:chgData name="Ugo MANTEL" userId="2d5b7065-31bb-4181-a7f8-a73bf0c30211" providerId="ADAL" clId="{9344D105-636D-4857-BD0F-AFC44A54BCCF}" dt="2021-05-25T14:22:50.395" v="30970"/>
          <ac:spMkLst>
            <pc:docMk/>
            <pc:sldMk cId="3990787528" sldId="10361"/>
            <ac:spMk id="57" creationId="{6B4FEE3E-6668-4E08-85AB-4C0C3BCEBE84}"/>
          </ac:spMkLst>
        </pc:spChg>
        <pc:spChg chg="add del mod">
          <ac:chgData name="Ugo MANTEL" userId="2d5b7065-31bb-4181-a7f8-a73bf0c30211" providerId="ADAL" clId="{9344D105-636D-4857-BD0F-AFC44A54BCCF}" dt="2021-05-24T14:51:40.918" v="7961" actId="478"/>
          <ac:spMkLst>
            <pc:docMk/>
            <pc:sldMk cId="3990787528" sldId="10361"/>
            <ac:spMk id="57" creationId="{AF09437C-D0B0-42A3-84C8-FBF5EEB6A291}"/>
          </ac:spMkLst>
        </pc:spChg>
        <pc:spChg chg="add del mod">
          <ac:chgData name="Ugo MANTEL" userId="2d5b7065-31bb-4181-a7f8-a73bf0c30211" providerId="ADAL" clId="{9344D105-636D-4857-BD0F-AFC44A54BCCF}" dt="2021-05-24T14:51:38.392" v="7960" actId="478"/>
          <ac:spMkLst>
            <pc:docMk/>
            <pc:sldMk cId="3990787528" sldId="10361"/>
            <ac:spMk id="58" creationId="{0AAC6C84-9727-4863-9D13-EE56E572F462}"/>
          </ac:spMkLst>
        </pc:spChg>
        <pc:spChg chg="add del mod modVis">
          <ac:chgData name="Ugo MANTEL" userId="2d5b7065-31bb-4181-a7f8-a73bf0c30211" providerId="ADAL" clId="{9344D105-636D-4857-BD0F-AFC44A54BCCF}" dt="2021-05-25T14:22:51.014" v="31014"/>
          <ac:spMkLst>
            <pc:docMk/>
            <pc:sldMk cId="3990787528" sldId="10361"/>
            <ac:spMk id="58" creationId="{73C7E423-CD15-4F1F-8D71-6C14799155FB}"/>
          </ac:spMkLst>
        </pc:spChg>
        <pc:spChg chg="mod">
          <ac:chgData name="Ugo MANTEL" userId="2d5b7065-31bb-4181-a7f8-a73bf0c30211" providerId="ADAL" clId="{9344D105-636D-4857-BD0F-AFC44A54BCCF}" dt="2021-05-25T14:20:12.915" v="29639" actId="790"/>
          <ac:spMkLst>
            <pc:docMk/>
            <pc:sldMk cId="3990787528" sldId="10361"/>
            <ac:spMk id="62" creationId="{3399CC65-0E8C-4FA1-9CFF-5A3D13519D60}"/>
          </ac:spMkLst>
        </pc:spChg>
        <pc:spChg chg="mod">
          <ac:chgData name="Ugo MANTEL" userId="2d5b7065-31bb-4181-a7f8-a73bf0c30211" providerId="ADAL" clId="{9344D105-636D-4857-BD0F-AFC44A54BCCF}" dt="2021-05-25T14:20:12.916" v="29640" actId="790"/>
          <ac:spMkLst>
            <pc:docMk/>
            <pc:sldMk cId="3990787528" sldId="10361"/>
            <ac:spMk id="63" creationId="{0E8161A6-7BE8-477D-BB6A-07B78137186B}"/>
          </ac:spMkLst>
        </pc:spChg>
        <pc:spChg chg="mod">
          <ac:chgData name="Ugo MANTEL" userId="2d5b7065-31bb-4181-a7f8-a73bf0c30211" providerId="ADAL" clId="{9344D105-636D-4857-BD0F-AFC44A54BCCF}" dt="2021-05-25T14:20:12.917" v="29641" actId="790"/>
          <ac:spMkLst>
            <pc:docMk/>
            <pc:sldMk cId="3990787528" sldId="10361"/>
            <ac:spMk id="64" creationId="{6CF11445-FB8D-4EBB-8DC6-4790ABD159BC}"/>
          </ac:spMkLst>
        </pc:spChg>
        <pc:spChg chg="mod">
          <ac:chgData name="Ugo MANTEL" userId="2d5b7065-31bb-4181-a7f8-a73bf0c30211" providerId="ADAL" clId="{9344D105-636D-4857-BD0F-AFC44A54BCCF}" dt="2021-05-25T14:22:29.974" v="30606" actId="12789"/>
          <ac:spMkLst>
            <pc:docMk/>
            <pc:sldMk cId="3990787528" sldId="10361"/>
            <ac:spMk id="65" creationId="{FAA9234A-9E8F-44F8-87C6-4B20B87F2A07}"/>
          </ac:spMkLst>
        </pc:spChg>
        <pc:spChg chg="mod">
          <ac:chgData name="Ugo MANTEL" userId="2d5b7065-31bb-4181-a7f8-a73bf0c30211" providerId="ADAL" clId="{9344D105-636D-4857-BD0F-AFC44A54BCCF}" dt="2021-05-25T14:22:29.974" v="30606" actId="12789"/>
          <ac:spMkLst>
            <pc:docMk/>
            <pc:sldMk cId="3990787528" sldId="10361"/>
            <ac:spMk id="66" creationId="{3C171EAA-E96D-440D-AFAE-D876244B274E}"/>
          </ac:spMkLst>
        </pc:spChg>
        <pc:spChg chg="mod">
          <ac:chgData name="Ugo MANTEL" userId="2d5b7065-31bb-4181-a7f8-a73bf0c30211" providerId="ADAL" clId="{9344D105-636D-4857-BD0F-AFC44A54BCCF}" dt="2021-05-25T14:22:29.974" v="30606" actId="12789"/>
          <ac:spMkLst>
            <pc:docMk/>
            <pc:sldMk cId="3990787528" sldId="10361"/>
            <ac:spMk id="67" creationId="{1C5EC1EF-B53F-4FC1-88A8-B8FC149A30DD}"/>
          </ac:spMkLst>
        </pc:spChg>
        <pc:spChg chg="mod">
          <ac:chgData name="Ugo MANTEL" userId="2d5b7065-31bb-4181-a7f8-a73bf0c30211" providerId="ADAL" clId="{9344D105-636D-4857-BD0F-AFC44A54BCCF}" dt="2021-05-25T14:22:29.974" v="30606" actId="12789"/>
          <ac:spMkLst>
            <pc:docMk/>
            <pc:sldMk cId="3990787528" sldId="10361"/>
            <ac:spMk id="73" creationId="{368450D3-F23A-4029-B1E6-A46C77A6A2BC}"/>
          </ac:spMkLst>
        </pc:spChg>
        <pc:spChg chg="mod">
          <ac:chgData name="Ugo MANTEL" userId="2d5b7065-31bb-4181-a7f8-a73bf0c30211" providerId="ADAL" clId="{9344D105-636D-4857-BD0F-AFC44A54BCCF}" dt="2021-05-25T14:22:29.974" v="30606" actId="12789"/>
          <ac:spMkLst>
            <pc:docMk/>
            <pc:sldMk cId="3990787528" sldId="10361"/>
            <ac:spMk id="74" creationId="{CC5D3C8F-2199-4F59-9D5B-AD1B8496B82A}"/>
          </ac:spMkLst>
        </pc:spChg>
        <pc:spChg chg="add del mod">
          <ac:chgData name="Ugo MANTEL" userId="2d5b7065-31bb-4181-a7f8-a73bf0c30211" providerId="ADAL" clId="{9344D105-636D-4857-BD0F-AFC44A54BCCF}" dt="2021-05-24T14:51:38.392" v="7960" actId="478"/>
          <ac:spMkLst>
            <pc:docMk/>
            <pc:sldMk cId="3990787528" sldId="10361"/>
            <ac:spMk id="75" creationId="{1B0E27CB-1315-4270-8F3B-121F6B37A682}"/>
          </ac:spMkLst>
        </pc:spChg>
        <pc:spChg chg="mod">
          <ac:chgData name="Ugo MANTEL" userId="2d5b7065-31bb-4181-a7f8-a73bf0c30211" providerId="ADAL" clId="{9344D105-636D-4857-BD0F-AFC44A54BCCF}" dt="2021-05-25T14:20:12.903" v="29630" actId="790"/>
          <ac:spMkLst>
            <pc:docMk/>
            <pc:sldMk cId="3990787528" sldId="10361"/>
            <ac:spMk id="77" creationId="{30B397E9-55E0-4C0A-8473-FA28414106F1}"/>
          </ac:spMkLst>
        </pc:spChg>
        <pc:spChg chg="mod">
          <ac:chgData name="Ugo MANTEL" userId="2d5b7065-31bb-4181-a7f8-a73bf0c30211" providerId="ADAL" clId="{9344D105-636D-4857-BD0F-AFC44A54BCCF}" dt="2021-05-25T14:20:12.921" v="29647" actId="790"/>
          <ac:spMkLst>
            <pc:docMk/>
            <pc:sldMk cId="3990787528" sldId="10361"/>
            <ac:spMk id="78" creationId="{D387169E-C144-473E-BECE-421F0F5D82C5}"/>
          </ac:spMkLst>
        </pc:spChg>
        <pc:spChg chg="mod">
          <ac:chgData name="Ugo MANTEL" userId="2d5b7065-31bb-4181-a7f8-a73bf0c30211" providerId="ADAL" clId="{9344D105-636D-4857-BD0F-AFC44A54BCCF}" dt="2021-05-25T14:20:12.930" v="29653" actId="790"/>
          <ac:spMkLst>
            <pc:docMk/>
            <pc:sldMk cId="3990787528" sldId="10361"/>
            <ac:spMk id="79" creationId="{C6BCD8BA-FD50-414E-8E10-969A70DBF09F}"/>
          </ac:spMkLst>
        </pc:spChg>
        <pc:spChg chg="mod">
          <ac:chgData name="Ugo MANTEL" userId="2d5b7065-31bb-4181-a7f8-a73bf0c30211" providerId="ADAL" clId="{9344D105-636D-4857-BD0F-AFC44A54BCCF}" dt="2021-05-25T14:20:12.932" v="29654" actId="790"/>
          <ac:spMkLst>
            <pc:docMk/>
            <pc:sldMk cId="3990787528" sldId="10361"/>
            <ac:spMk id="80" creationId="{A5190C3C-DD49-44EE-9EA0-A0C3CEA9D193}"/>
          </ac:spMkLst>
        </pc:spChg>
        <pc:spChg chg="add del mod">
          <ac:chgData name="Ugo MANTEL" userId="2d5b7065-31bb-4181-a7f8-a73bf0c30211" providerId="ADAL" clId="{9344D105-636D-4857-BD0F-AFC44A54BCCF}" dt="2021-05-24T14:51:38.392" v="7960" actId="478"/>
          <ac:spMkLst>
            <pc:docMk/>
            <pc:sldMk cId="3990787528" sldId="10361"/>
            <ac:spMk id="81" creationId="{9970F32B-5683-4510-B69E-C4EA8DF093F3}"/>
          </ac:spMkLst>
        </pc:spChg>
        <pc:spChg chg="add mod">
          <ac:chgData name="Ugo MANTEL" userId="2d5b7065-31bb-4181-a7f8-a73bf0c30211" providerId="ADAL" clId="{9344D105-636D-4857-BD0F-AFC44A54BCCF}" dt="2021-05-25T14:23:54.827" v="32103" actId="1076"/>
          <ac:spMkLst>
            <pc:docMk/>
            <pc:sldMk cId="3990787528" sldId="10361"/>
            <ac:spMk id="82" creationId="{7F3B0FA8-45BF-4426-A8EB-845BE1ACDE14}"/>
          </ac:spMkLst>
        </pc:spChg>
        <pc:spChg chg="add del mod">
          <ac:chgData name="Ugo MANTEL" userId="2d5b7065-31bb-4181-a7f8-a73bf0c30211" providerId="ADAL" clId="{9344D105-636D-4857-BD0F-AFC44A54BCCF}" dt="2021-05-24T14:51:38.392" v="7960" actId="478"/>
          <ac:spMkLst>
            <pc:docMk/>
            <pc:sldMk cId="3990787528" sldId="10361"/>
            <ac:spMk id="82" creationId="{E4C6C713-341D-49AF-8E2B-29492ECE3610}"/>
          </ac:spMkLst>
        </pc:spChg>
        <pc:spChg chg="add del mod">
          <ac:chgData name="Ugo MANTEL" userId="2d5b7065-31bb-4181-a7f8-a73bf0c30211" providerId="ADAL" clId="{9344D105-636D-4857-BD0F-AFC44A54BCCF}" dt="2021-05-24T14:51:38.392" v="7960" actId="478"/>
          <ac:spMkLst>
            <pc:docMk/>
            <pc:sldMk cId="3990787528" sldId="10361"/>
            <ac:spMk id="83" creationId="{07E917EF-1887-4247-ADB2-6255D65064FD}"/>
          </ac:spMkLst>
        </pc:spChg>
        <pc:spChg chg="add del mod modVis">
          <ac:chgData name="Ugo MANTEL" userId="2d5b7065-31bb-4181-a7f8-a73bf0c30211" providerId="ADAL" clId="{9344D105-636D-4857-BD0F-AFC44A54BCCF}" dt="2021-05-25T14:22:53.416" v="31069"/>
          <ac:spMkLst>
            <pc:docMk/>
            <pc:sldMk cId="3990787528" sldId="10361"/>
            <ac:spMk id="83" creationId="{5C6BF07D-61C5-4141-AB17-DC7C9A88C1DC}"/>
          </ac:spMkLst>
        </pc:spChg>
        <pc:spChg chg="add del mod modVis">
          <ac:chgData name="Ugo MANTEL" userId="2d5b7065-31bb-4181-a7f8-a73bf0c30211" providerId="ADAL" clId="{9344D105-636D-4857-BD0F-AFC44A54BCCF}" dt="2021-05-25T14:22:55.978" v="31128"/>
          <ac:spMkLst>
            <pc:docMk/>
            <pc:sldMk cId="3990787528" sldId="10361"/>
            <ac:spMk id="84" creationId="{F3E5FAA4-9952-4768-A940-6A8DAFCB0464}"/>
          </ac:spMkLst>
        </pc:spChg>
        <pc:spChg chg="add del mod">
          <ac:chgData name="Ugo MANTEL" userId="2d5b7065-31bb-4181-a7f8-a73bf0c30211" providerId="ADAL" clId="{9344D105-636D-4857-BD0F-AFC44A54BCCF}" dt="2021-05-24T14:51:38.392" v="7960" actId="478"/>
          <ac:spMkLst>
            <pc:docMk/>
            <pc:sldMk cId="3990787528" sldId="10361"/>
            <ac:spMk id="84" creationId="{F45E4E8F-767A-421F-A1F1-7BCF3BCFD1A7}"/>
          </ac:spMkLst>
        </pc:spChg>
        <pc:spChg chg="add mod">
          <ac:chgData name="Ugo MANTEL" userId="2d5b7065-31bb-4181-a7f8-a73bf0c30211" providerId="ADAL" clId="{9344D105-636D-4857-BD0F-AFC44A54BCCF}" dt="2021-05-25T14:20:12.933" v="29655" actId="790"/>
          <ac:spMkLst>
            <pc:docMk/>
            <pc:sldMk cId="3990787528" sldId="10361"/>
            <ac:spMk id="85" creationId="{37643E56-07E1-4531-9D93-5DF3240E9D70}"/>
          </ac:spMkLst>
        </pc:spChg>
        <pc:spChg chg="mod">
          <ac:chgData name="Ugo MANTEL" userId="2d5b7065-31bb-4181-a7f8-a73bf0c30211" providerId="ADAL" clId="{9344D105-636D-4857-BD0F-AFC44A54BCCF}" dt="2021-05-25T14:20:12.923" v="29650" actId="790"/>
          <ac:spMkLst>
            <pc:docMk/>
            <pc:sldMk cId="3990787528" sldId="10361"/>
            <ac:spMk id="86" creationId="{C98AB48F-B81A-4068-863B-54101303C664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88" creationId="{68A601DC-7E8C-45C9-B462-4B941D7D64FE}"/>
          </ac:spMkLst>
        </pc:spChg>
        <pc:spChg chg="add del mod modVis">
          <ac:chgData name="Ugo MANTEL" userId="2d5b7065-31bb-4181-a7f8-a73bf0c30211" providerId="ADAL" clId="{9344D105-636D-4857-BD0F-AFC44A54BCCF}" dt="2021-05-25T14:22:58.393" v="31176"/>
          <ac:spMkLst>
            <pc:docMk/>
            <pc:sldMk cId="3990787528" sldId="10361"/>
            <ac:spMk id="89" creationId="{131EC285-B55E-4E19-AA1F-95CB8642BB4E}"/>
          </ac:spMkLst>
        </pc:spChg>
        <pc:spChg chg="add del mod">
          <ac:chgData name="Ugo MANTEL" userId="2d5b7065-31bb-4181-a7f8-a73bf0c30211" providerId="ADAL" clId="{9344D105-636D-4857-BD0F-AFC44A54BCCF}" dt="2021-05-24T15:00:39.896" v="8714" actId="478"/>
          <ac:spMkLst>
            <pc:docMk/>
            <pc:sldMk cId="3990787528" sldId="10361"/>
            <ac:spMk id="89" creationId="{37A18235-575A-418C-BA65-727B7BC9C436}"/>
          </ac:spMkLst>
        </pc:spChg>
        <pc:spChg chg="add del mod modVis">
          <ac:chgData name="Ugo MANTEL" userId="2d5b7065-31bb-4181-a7f8-a73bf0c30211" providerId="ADAL" clId="{9344D105-636D-4857-BD0F-AFC44A54BCCF}" dt="2021-05-25T14:22:59.021" v="31222"/>
          <ac:spMkLst>
            <pc:docMk/>
            <pc:sldMk cId="3990787528" sldId="10361"/>
            <ac:spMk id="90" creationId="{76962D81-754C-4760-8E64-61E74B67FE9D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90" creationId="{B18B6BB6-ED17-4B31-9F5F-00091A7A5D6C}"/>
          </ac:spMkLst>
        </pc:spChg>
        <pc:spChg chg="add del mod modVis">
          <ac:chgData name="Ugo MANTEL" userId="2d5b7065-31bb-4181-a7f8-a73bf0c30211" providerId="ADAL" clId="{9344D105-636D-4857-BD0F-AFC44A54BCCF}" dt="2021-05-25T14:23:02.887" v="31282"/>
          <ac:spMkLst>
            <pc:docMk/>
            <pc:sldMk cId="3990787528" sldId="10361"/>
            <ac:spMk id="91" creationId="{05F362BF-38B2-4FB7-955F-39505A322712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91" creationId="{75FCBCC0-A352-4906-B089-4DF905D3C38F}"/>
          </ac:spMkLst>
        </pc:spChg>
        <pc:spChg chg="add del mod modVis">
          <ac:chgData name="Ugo MANTEL" userId="2d5b7065-31bb-4181-a7f8-a73bf0c30211" providerId="ADAL" clId="{9344D105-636D-4857-BD0F-AFC44A54BCCF}" dt="2021-05-25T14:23:06.436" v="31339"/>
          <ac:spMkLst>
            <pc:docMk/>
            <pc:sldMk cId="3990787528" sldId="10361"/>
            <ac:spMk id="92" creationId="{68D047B2-662D-41EC-9EC8-2FAE3C853637}"/>
          </ac:spMkLst>
        </pc:spChg>
        <pc:spChg chg="add del mod">
          <ac:chgData name="Ugo MANTEL" userId="2d5b7065-31bb-4181-a7f8-a73bf0c30211" providerId="ADAL" clId="{9344D105-636D-4857-BD0F-AFC44A54BCCF}" dt="2021-05-24T15:00:39.896" v="8714" actId="478"/>
          <ac:spMkLst>
            <pc:docMk/>
            <pc:sldMk cId="3990787528" sldId="10361"/>
            <ac:spMk id="92" creationId="{869DF810-609C-4E8A-97C8-FE2FECEE3638}"/>
          </ac:spMkLst>
        </pc:spChg>
        <pc:spChg chg="mod">
          <ac:chgData name="Ugo MANTEL" userId="2d5b7065-31bb-4181-a7f8-a73bf0c30211" providerId="ADAL" clId="{9344D105-636D-4857-BD0F-AFC44A54BCCF}" dt="2021-05-25T14:20:12.922" v="29648" actId="790"/>
          <ac:spMkLst>
            <pc:docMk/>
            <pc:sldMk cId="3990787528" sldId="10361"/>
            <ac:spMk id="93" creationId="{2D10063C-A37E-4938-ADE5-D06A69E4F58F}"/>
          </ac:spMkLst>
        </pc:spChg>
        <pc:spChg chg="add del mod modVis">
          <ac:chgData name="Ugo MANTEL" userId="2d5b7065-31bb-4181-a7f8-a73bf0c30211" providerId="ADAL" clId="{9344D105-636D-4857-BD0F-AFC44A54BCCF}" dt="2021-05-25T14:23:11.125" v="31434" actId="962"/>
          <ac:spMkLst>
            <pc:docMk/>
            <pc:sldMk cId="3990787528" sldId="10361"/>
            <ac:spMk id="94" creationId="{8CA569C7-292E-4806-9958-9470C59448F7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94" creationId="{C5CC8CAA-3124-48B9-B1CE-18091505B5D9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95" creationId="{130C7C98-08A9-4077-8C12-AE70389AC8D1}"/>
          </ac:spMkLst>
        </pc:spChg>
        <pc:spChg chg="add del mod modVis">
          <ac:chgData name="Ugo MANTEL" userId="2d5b7065-31bb-4181-a7f8-a73bf0c30211" providerId="ADAL" clId="{9344D105-636D-4857-BD0F-AFC44A54BCCF}" dt="2021-05-25T14:23:13.302" v="31482"/>
          <ac:spMkLst>
            <pc:docMk/>
            <pc:sldMk cId="3990787528" sldId="10361"/>
            <ac:spMk id="95" creationId="{6A1153C2-00B3-4019-B026-1D85F45E4BF5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96" creationId="{42D6A5F7-D902-482C-B06F-E2B3C3A08026}"/>
          </ac:spMkLst>
        </pc:spChg>
        <pc:spChg chg="add del mod modVis">
          <ac:chgData name="Ugo MANTEL" userId="2d5b7065-31bb-4181-a7f8-a73bf0c30211" providerId="ADAL" clId="{9344D105-636D-4857-BD0F-AFC44A54BCCF}" dt="2021-05-25T14:23:17.932" v="31549"/>
          <ac:spMkLst>
            <pc:docMk/>
            <pc:sldMk cId="3990787528" sldId="10361"/>
            <ac:spMk id="96" creationId="{6B609CBE-6665-484E-B5D2-6A1EB74E1E2A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97" creationId="{3ABA3667-C639-4274-9D71-E7758B278BC7}"/>
          </ac:spMkLst>
        </pc:spChg>
        <pc:spChg chg="add del mod modVis">
          <ac:chgData name="Ugo MANTEL" userId="2d5b7065-31bb-4181-a7f8-a73bf0c30211" providerId="ADAL" clId="{9344D105-636D-4857-BD0F-AFC44A54BCCF}" dt="2021-05-25T14:23:21.332" v="31595"/>
          <ac:spMkLst>
            <pc:docMk/>
            <pc:sldMk cId="3990787528" sldId="10361"/>
            <ac:spMk id="97" creationId="{94D8FA64-EDE5-4185-BEF1-24DAE72988DB}"/>
          </ac:spMkLst>
        </pc:spChg>
        <pc:spChg chg="add del mod">
          <ac:chgData name="Ugo MANTEL" userId="2d5b7065-31bb-4181-a7f8-a73bf0c30211" providerId="ADAL" clId="{9344D105-636D-4857-BD0F-AFC44A54BCCF}" dt="2021-05-24T15:08:20.406" v="8765" actId="478"/>
          <ac:spMkLst>
            <pc:docMk/>
            <pc:sldMk cId="3990787528" sldId="10361"/>
            <ac:spMk id="98" creationId="{0297670F-DD0A-4C5B-9883-99AA67883B21}"/>
          </ac:spMkLst>
        </pc:spChg>
        <pc:spChg chg="add del mod modVis">
          <ac:chgData name="Ugo MANTEL" userId="2d5b7065-31bb-4181-a7f8-a73bf0c30211" providerId="ADAL" clId="{9344D105-636D-4857-BD0F-AFC44A54BCCF}" dt="2021-05-25T14:23:25.614" v="31639"/>
          <ac:spMkLst>
            <pc:docMk/>
            <pc:sldMk cId="3990787528" sldId="10361"/>
            <ac:spMk id="98" creationId="{117204FB-F9EF-4022-8B8C-375AB3497E7E}"/>
          </ac:spMkLst>
        </pc:spChg>
        <pc:spChg chg="add mod">
          <ac:chgData name="Ugo MANTEL" userId="2d5b7065-31bb-4181-a7f8-a73bf0c30211" providerId="ADAL" clId="{9344D105-636D-4857-BD0F-AFC44A54BCCF}" dt="2021-05-25T14:20:12.934" v="29656" actId="790"/>
          <ac:spMkLst>
            <pc:docMk/>
            <pc:sldMk cId="3990787528" sldId="10361"/>
            <ac:spMk id="99" creationId="{B70259D1-496B-4FA4-8AB0-5678A7DCACAC}"/>
          </ac:spMkLst>
        </pc:spChg>
        <pc:spChg chg="add mod">
          <ac:chgData name="Ugo MANTEL" userId="2d5b7065-31bb-4181-a7f8-a73bf0c30211" providerId="ADAL" clId="{9344D105-636D-4857-BD0F-AFC44A54BCCF}" dt="2021-05-25T14:20:12.934" v="29657" actId="790"/>
          <ac:spMkLst>
            <pc:docMk/>
            <pc:sldMk cId="3990787528" sldId="10361"/>
            <ac:spMk id="100" creationId="{9DFBA0E2-22B3-4913-A48C-A850DEE5DD17}"/>
          </ac:spMkLst>
        </pc:spChg>
        <pc:spChg chg="mod">
          <ac:chgData name="Ugo MANTEL" userId="2d5b7065-31bb-4181-a7f8-a73bf0c30211" providerId="ADAL" clId="{9344D105-636D-4857-BD0F-AFC44A54BCCF}" dt="2021-05-25T14:20:12.926" v="29651" actId="790"/>
          <ac:spMkLst>
            <pc:docMk/>
            <pc:sldMk cId="3990787528" sldId="10361"/>
            <ac:spMk id="101" creationId="{6159CB1C-01D8-47B1-BB59-74EC9867438A}"/>
          </ac:spMkLst>
        </pc:spChg>
        <pc:spChg chg="add mod">
          <ac:chgData name="Ugo MANTEL" userId="2d5b7065-31bb-4181-a7f8-a73bf0c30211" providerId="ADAL" clId="{9344D105-636D-4857-BD0F-AFC44A54BCCF}" dt="2021-05-25T14:20:12.935" v="29658" actId="790"/>
          <ac:spMkLst>
            <pc:docMk/>
            <pc:sldMk cId="3990787528" sldId="10361"/>
            <ac:spMk id="102" creationId="{DC422F14-3E35-413D-8067-79B4CD17DE63}"/>
          </ac:spMkLst>
        </pc:spChg>
        <pc:spChg chg="add mod">
          <ac:chgData name="Ugo MANTEL" userId="2d5b7065-31bb-4181-a7f8-a73bf0c30211" providerId="ADAL" clId="{9344D105-636D-4857-BD0F-AFC44A54BCCF}" dt="2021-05-25T14:20:12.936" v="29659" actId="790"/>
          <ac:spMkLst>
            <pc:docMk/>
            <pc:sldMk cId="3990787528" sldId="10361"/>
            <ac:spMk id="103" creationId="{DA13FF81-D473-4B45-8DAA-5B85C8F8E648}"/>
          </ac:spMkLst>
        </pc:spChg>
        <pc:spChg chg="add mod">
          <ac:chgData name="Ugo MANTEL" userId="2d5b7065-31bb-4181-a7f8-a73bf0c30211" providerId="ADAL" clId="{9344D105-636D-4857-BD0F-AFC44A54BCCF}" dt="2021-05-25T14:20:12.936" v="29660" actId="790"/>
          <ac:spMkLst>
            <pc:docMk/>
            <pc:sldMk cId="3990787528" sldId="10361"/>
            <ac:spMk id="104" creationId="{DE645363-F7B3-47B8-8FE9-9A72A42C1C29}"/>
          </ac:spMkLst>
        </pc:spChg>
        <pc:spChg chg="add mod">
          <ac:chgData name="Ugo MANTEL" userId="2d5b7065-31bb-4181-a7f8-a73bf0c30211" providerId="ADAL" clId="{9344D105-636D-4857-BD0F-AFC44A54BCCF}" dt="2021-05-25T14:20:12.937" v="29661" actId="790"/>
          <ac:spMkLst>
            <pc:docMk/>
            <pc:sldMk cId="3990787528" sldId="10361"/>
            <ac:spMk id="105" creationId="{9785242D-4F7A-4F39-8848-BAB6029A9727}"/>
          </ac:spMkLst>
        </pc:spChg>
        <pc:spChg chg="add mod">
          <ac:chgData name="Ugo MANTEL" userId="2d5b7065-31bb-4181-a7f8-a73bf0c30211" providerId="ADAL" clId="{9344D105-636D-4857-BD0F-AFC44A54BCCF}" dt="2021-05-25T14:20:12.938" v="29662" actId="790"/>
          <ac:spMkLst>
            <pc:docMk/>
            <pc:sldMk cId="3990787528" sldId="10361"/>
            <ac:spMk id="106" creationId="{9265E5C7-3D35-4462-A5AB-3040EDE183F5}"/>
          </ac:spMkLst>
        </pc:spChg>
        <pc:spChg chg="add mod">
          <ac:chgData name="Ugo MANTEL" userId="2d5b7065-31bb-4181-a7f8-a73bf0c30211" providerId="ADAL" clId="{9344D105-636D-4857-BD0F-AFC44A54BCCF}" dt="2021-05-25T14:20:12.939" v="29663" actId="790"/>
          <ac:spMkLst>
            <pc:docMk/>
            <pc:sldMk cId="3990787528" sldId="10361"/>
            <ac:spMk id="107" creationId="{94C30613-C74A-4FA2-8120-367B4D2425DC}"/>
          </ac:spMkLst>
        </pc:spChg>
        <pc:spChg chg="add del mod modVis">
          <ac:chgData name="Ugo MANTEL" userId="2d5b7065-31bb-4181-a7f8-a73bf0c30211" providerId="ADAL" clId="{9344D105-636D-4857-BD0F-AFC44A54BCCF}" dt="2021-05-25T14:23:32.186" v="31685"/>
          <ac:spMkLst>
            <pc:docMk/>
            <pc:sldMk cId="3990787528" sldId="10361"/>
            <ac:spMk id="108" creationId="{A4BBF0C2-9759-4068-AD57-BDFB00AEF972}"/>
          </ac:spMkLst>
        </pc:spChg>
        <pc:spChg chg="add del mod modVis">
          <ac:chgData name="Ugo MANTEL" userId="2d5b7065-31bb-4181-a7f8-a73bf0c30211" providerId="ADAL" clId="{9344D105-636D-4857-BD0F-AFC44A54BCCF}" dt="2021-05-25T14:23:37.123" v="31741"/>
          <ac:spMkLst>
            <pc:docMk/>
            <pc:sldMk cId="3990787528" sldId="10361"/>
            <ac:spMk id="109" creationId="{EE2A0F15-9B8C-420A-8628-ED5DCC98015F}"/>
          </ac:spMkLst>
        </pc:spChg>
        <pc:spChg chg="add del mod modVis">
          <ac:chgData name="Ugo MANTEL" userId="2d5b7065-31bb-4181-a7f8-a73bf0c30211" providerId="ADAL" clId="{9344D105-636D-4857-BD0F-AFC44A54BCCF}" dt="2021-05-25T14:23:40.261" v="31800"/>
          <ac:spMkLst>
            <pc:docMk/>
            <pc:sldMk cId="3990787528" sldId="10361"/>
            <ac:spMk id="110" creationId="{0D449BF9-3F98-48F3-A0A6-84A354055D50}"/>
          </ac:spMkLst>
        </pc:spChg>
        <pc:spChg chg="add del mod modVis">
          <ac:chgData name="Ugo MANTEL" userId="2d5b7065-31bb-4181-a7f8-a73bf0c30211" providerId="ADAL" clId="{9344D105-636D-4857-BD0F-AFC44A54BCCF}" dt="2021-05-25T14:23:40.820" v="31844"/>
          <ac:spMkLst>
            <pc:docMk/>
            <pc:sldMk cId="3990787528" sldId="10361"/>
            <ac:spMk id="111" creationId="{F6B38203-CED9-4BA8-BD4A-328D2303A650}"/>
          </ac:spMkLst>
        </pc:spChg>
        <pc:spChg chg="add del mod modVis">
          <ac:chgData name="Ugo MANTEL" userId="2d5b7065-31bb-4181-a7f8-a73bf0c30211" providerId="ADAL" clId="{9344D105-636D-4857-BD0F-AFC44A54BCCF}" dt="2021-05-25T14:23:41.505" v="31888"/>
          <ac:spMkLst>
            <pc:docMk/>
            <pc:sldMk cId="3990787528" sldId="10361"/>
            <ac:spMk id="112" creationId="{599C47A0-5846-4194-A6F5-1FB41AB523EF}"/>
          </ac:spMkLst>
        </pc:spChg>
        <pc:spChg chg="add del mod modVis">
          <ac:chgData name="Ugo MANTEL" userId="2d5b7065-31bb-4181-a7f8-a73bf0c30211" providerId="ADAL" clId="{9344D105-636D-4857-BD0F-AFC44A54BCCF}" dt="2021-05-25T14:23:42.051" v="31932"/>
          <ac:spMkLst>
            <pc:docMk/>
            <pc:sldMk cId="3990787528" sldId="10361"/>
            <ac:spMk id="113" creationId="{37AD2D26-ABC1-4BF8-AB93-36650F00B39A}"/>
          </ac:spMkLst>
        </pc:spChg>
        <pc:spChg chg="add del mod modVis">
          <ac:chgData name="Ugo MANTEL" userId="2d5b7065-31bb-4181-a7f8-a73bf0c30211" providerId="ADAL" clId="{9344D105-636D-4857-BD0F-AFC44A54BCCF}" dt="2021-05-25T14:23:44.054" v="31981"/>
          <ac:spMkLst>
            <pc:docMk/>
            <pc:sldMk cId="3990787528" sldId="10361"/>
            <ac:spMk id="114" creationId="{0994A501-1402-4DA5-B8A1-998E9C5D92CB}"/>
          </ac:spMkLst>
        </pc:spChg>
        <pc:spChg chg="add del mod modVis">
          <ac:chgData name="Ugo MANTEL" userId="2d5b7065-31bb-4181-a7f8-a73bf0c30211" providerId="ADAL" clId="{9344D105-636D-4857-BD0F-AFC44A54BCCF}" dt="2021-05-25T14:23:45.532" v="32029"/>
          <ac:spMkLst>
            <pc:docMk/>
            <pc:sldMk cId="3990787528" sldId="10361"/>
            <ac:spMk id="115" creationId="{4E427FD9-7893-46F6-B66B-8205BC5EDFF5}"/>
          </ac:spMkLst>
        </pc:spChg>
        <pc:spChg chg="add del mod modVis">
          <ac:chgData name="Ugo MANTEL" userId="2d5b7065-31bb-4181-a7f8-a73bf0c30211" providerId="ADAL" clId="{9344D105-636D-4857-BD0F-AFC44A54BCCF}" dt="2021-05-25T14:23:52.520" v="32100"/>
          <ac:spMkLst>
            <pc:docMk/>
            <pc:sldMk cId="3990787528" sldId="10361"/>
            <ac:spMk id="116" creationId="{C4CF6DDE-5C80-4AEA-8AF2-555D86144FA8}"/>
          </ac:spMkLst>
        </pc:spChg>
        <pc:spChg chg="add del mod modVis">
          <ac:chgData name="Ugo MANTEL" userId="2d5b7065-31bb-4181-a7f8-a73bf0c30211" providerId="ADAL" clId="{9344D105-636D-4857-BD0F-AFC44A54BCCF}" dt="2021-05-25T14:24:06.445" v="32145"/>
          <ac:spMkLst>
            <pc:docMk/>
            <pc:sldMk cId="3990787528" sldId="10361"/>
            <ac:spMk id="117" creationId="{66F1CC45-2A90-4D65-8E8B-B4F4C4ED5E45}"/>
          </ac:spMkLst>
        </pc:spChg>
        <pc:spChg chg="add del mod modVis">
          <ac:chgData name="Ugo MANTEL" userId="2d5b7065-31bb-4181-a7f8-a73bf0c30211" providerId="ADAL" clId="{9344D105-636D-4857-BD0F-AFC44A54BCCF}" dt="2021-05-25T14:24:17.286" v="32189"/>
          <ac:spMkLst>
            <pc:docMk/>
            <pc:sldMk cId="3990787528" sldId="10361"/>
            <ac:spMk id="118" creationId="{D30A8F6C-DECA-4DA1-9A45-1553D9D12F18}"/>
          </ac:spMkLst>
        </pc:spChg>
        <pc:spChg chg="add del mod modVis">
          <ac:chgData name="Ugo MANTEL" userId="2d5b7065-31bb-4181-a7f8-a73bf0c30211" providerId="ADAL" clId="{9344D105-636D-4857-BD0F-AFC44A54BCCF}" dt="2021-05-25T14:25:17.786" v="32237"/>
          <ac:spMkLst>
            <pc:docMk/>
            <pc:sldMk cId="3990787528" sldId="10361"/>
            <ac:spMk id="119" creationId="{B83B3518-E42F-41AA-9AC3-767BDCD80B72}"/>
          </ac:spMkLst>
        </pc:spChg>
        <pc:spChg chg="add del mod modVis">
          <ac:chgData name="Ugo MANTEL" userId="2d5b7065-31bb-4181-a7f8-a73bf0c30211" providerId="ADAL" clId="{9344D105-636D-4857-BD0F-AFC44A54BCCF}" dt="2021-05-25T14:25:18.959" v="32283"/>
          <ac:spMkLst>
            <pc:docMk/>
            <pc:sldMk cId="3990787528" sldId="10361"/>
            <ac:spMk id="120" creationId="{C4A6EEE2-F5AE-4777-A68E-5128E709BA0D}"/>
          </ac:spMkLst>
        </pc:spChg>
        <pc:spChg chg="add del mod modVis">
          <ac:chgData name="Ugo MANTEL" userId="2d5b7065-31bb-4181-a7f8-a73bf0c30211" providerId="ADAL" clId="{9344D105-636D-4857-BD0F-AFC44A54BCCF}" dt="2021-05-25T14:25:25.789" v="32337"/>
          <ac:spMkLst>
            <pc:docMk/>
            <pc:sldMk cId="3990787528" sldId="10361"/>
            <ac:spMk id="121" creationId="{E13586E5-C4EE-4CB5-ADE4-37C413C99C3A}"/>
          </ac:spMkLst>
        </pc:spChg>
        <pc:spChg chg="add del mod modVis">
          <ac:chgData name="Ugo MANTEL" userId="2d5b7065-31bb-4181-a7f8-a73bf0c30211" providerId="ADAL" clId="{9344D105-636D-4857-BD0F-AFC44A54BCCF}" dt="2021-05-25T14:25:29.184" v="32384"/>
          <ac:spMkLst>
            <pc:docMk/>
            <pc:sldMk cId="3990787528" sldId="10361"/>
            <ac:spMk id="122" creationId="{FD7F542D-6430-48CD-8CA7-AEDB18ECF6B1}"/>
          </ac:spMkLst>
        </pc:spChg>
        <pc:grpChg chg="add mod">
          <ac:chgData name="Ugo MANTEL" userId="2d5b7065-31bb-4181-a7f8-a73bf0c30211" providerId="ADAL" clId="{9344D105-636D-4857-BD0F-AFC44A54BCCF}" dt="2021-05-25T14:22:29.974" v="30606" actId="12789"/>
          <ac:grpSpMkLst>
            <pc:docMk/>
            <pc:sldMk cId="3990787528" sldId="10361"/>
            <ac:grpSpMk id="27" creationId="{E8869B8D-C3D1-4C17-BBEE-030792E79735}"/>
          </ac:grpSpMkLst>
        </pc:grpChg>
        <pc:graphicFrameChg chg="mod">
          <ac:chgData name="Ugo MANTEL" userId="2d5b7065-31bb-4181-a7f8-a73bf0c30211" providerId="ADAL" clId="{9344D105-636D-4857-BD0F-AFC44A54BCCF}" dt="2021-05-25T14:25:29.186" v="32386"/>
          <ac:graphicFrameMkLst>
            <pc:docMk/>
            <pc:sldMk cId="3990787528" sldId="10361"/>
            <ac:graphicFrameMk id="4" creationId="{80854F3B-FDD3-4978-B26B-DA1EB49EC351}"/>
          </ac:graphicFrameMkLst>
        </pc:graphicFrameChg>
        <pc:picChg chg="add del mod">
          <ac:chgData name="Ugo MANTEL" userId="2d5b7065-31bb-4181-a7f8-a73bf0c30211" providerId="ADAL" clId="{9344D105-636D-4857-BD0F-AFC44A54BCCF}" dt="2021-05-25T14:18:10.347" v="27362" actId="27803"/>
          <ac:picMkLst>
            <pc:docMk/>
            <pc:sldMk cId="3990787528" sldId="10361"/>
            <ac:picMk id="13" creationId="{A38628FE-E542-4A8A-8DFB-329A08A57309}"/>
          </ac:picMkLst>
        </pc:picChg>
        <pc:picChg chg="del mod">
          <ac:chgData name="Ugo MANTEL" userId="2d5b7065-31bb-4181-a7f8-a73bf0c30211" providerId="ADAL" clId="{9344D105-636D-4857-BD0F-AFC44A54BCCF}" dt="2021-05-25T14:18:29.437" v="27379" actId="478"/>
          <ac:picMkLst>
            <pc:docMk/>
            <pc:sldMk cId="3990787528" sldId="10361"/>
            <ac:picMk id="48" creationId="{ED405F5D-D833-4891-A96A-879DAEF9CFE7}"/>
          </ac:picMkLst>
        </pc:picChg>
        <pc:picChg chg="mod">
          <ac:chgData name="Ugo MANTEL" userId="2d5b7065-31bb-4181-a7f8-a73bf0c30211" providerId="ADAL" clId="{9344D105-636D-4857-BD0F-AFC44A54BCCF}" dt="2021-05-25T14:22:29.974" v="30606" actId="12789"/>
          <ac:picMkLst>
            <pc:docMk/>
            <pc:sldMk cId="3990787528" sldId="10361"/>
            <ac:picMk id="56" creationId="{E77A7D4E-B858-4F0B-940B-D439029724E7}"/>
          </ac:picMkLst>
        </pc:picChg>
        <pc:picChg chg="del mod">
          <ac:chgData name="Ugo MANTEL" userId="2d5b7065-31bb-4181-a7f8-a73bf0c30211" providerId="ADAL" clId="{9344D105-636D-4857-BD0F-AFC44A54BCCF}" dt="2021-05-25T14:19:16.052" v="27458" actId="478"/>
          <ac:picMkLst>
            <pc:docMk/>
            <pc:sldMk cId="3990787528" sldId="10361"/>
            <ac:picMk id="59" creationId="{776AC40F-3E38-4D35-B5E9-BE2E0F84B1D2}"/>
          </ac:picMkLst>
        </pc:picChg>
        <pc:picChg chg="mod">
          <ac:chgData name="Ugo MANTEL" userId="2d5b7065-31bb-4181-a7f8-a73bf0c30211" providerId="ADAL" clId="{9344D105-636D-4857-BD0F-AFC44A54BCCF}" dt="2021-05-25T14:22:29.974" v="30606" actId="12789"/>
          <ac:picMkLst>
            <pc:docMk/>
            <pc:sldMk cId="3990787528" sldId="10361"/>
            <ac:picMk id="70" creationId="{A7D87F50-582A-4B8D-9C21-0E3AD7134F08}"/>
          </ac:picMkLst>
        </pc:picChg>
        <pc:picChg chg="mod">
          <ac:chgData name="Ugo MANTEL" userId="2d5b7065-31bb-4181-a7f8-a73bf0c30211" providerId="ADAL" clId="{9344D105-636D-4857-BD0F-AFC44A54BCCF}" dt="2021-05-25T14:22:29.974" v="30606" actId="12789"/>
          <ac:picMkLst>
            <pc:docMk/>
            <pc:sldMk cId="3990787528" sldId="10361"/>
            <ac:picMk id="71" creationId="{08952A3A-C2DB-43B3-957F-D435DE2DA941}"/>
          </ac:picMkLst>
        </pc:picChg>
        <pc:picChg chg="mod">
          <ac:chgData name="Ugo MANTEL" userId="2d5b7065-31bb-4181-a7f8-a73bf0c30211" providerId="ADAL" clId="{9344D105-636D-4857-BD0F-AFC44A54BCCF}" dt="2021-05-25T14:22:29.974" v="30606" actId="12789"/>
          <ac:picMkLst>
            <pc:docMk/>
            <pc:sldMk cId="3990787528" sldId="10361"/>
            <ac:picMk id="72" creationId="{2B8B5DC2-6C44-4ECB-B828-AD28BF7E7A27}"/>
          </ac:picMkLst>
        </pc:picChg>
        <pc:picChg chg="add mod">
          <ac:chgData name="Ugo MANTEL" userId="2d5b7065-31bb-4181-a7f8-a73bf0c30211" providerId="ADAL" clId="{9344D105-636D-4857-BD0F-AFC44A54BCCF}" dt="2021-05-25T14:15:11.638" v="27324"/>
          <ac:picMkLst>
            <pc:docMk/>
            <pc:sldMk cId="3990787528" sldId="10361"/>
            <ac:picMk id="81" creationId="{906F636B-DF38-4FCF-9EEE-783D62287B3A}"/>
          </ac:picMkLst>
        </pc:picChg>
        <pc:picChg chg="add mod">
          <ac:chgData name="Ugo MANTEL" userId="2d5b7065-31bb-4181-a7f8-a73bf0c30211" providerId="ADAL" clId="{9344D105-636D-4857-BD0F-AFC44A54BCCF}" dt="2021-05-25T14:21:56.016" v="30594" actId="14100"/>
          <ac:picMkLst>
            <pc:docMk/>
            <pc:sldMk cId="3990787528" sldId="10361"/>
            <ac:picMk id="88" creationId="{E4F0AC51-C97E-4D1E-ACE3-AE83DA9030BB}"/>
          </ac:picMkLst>
        </pc:picChg>
        <pc:cxnChg chg="mod">
          <ac:chgData name="Ugo MANTEL" userId="2d5b7065-31bb-4181-a7f8-a73bf0c30211" providerId="ADAL" clId="{9344D105-636D-4857-BD0F-AFC44A54BCCF}" dt="2021-05-25T14:22:29.974" v="30606" actId="12789"/>
          <ac:cxnSpMkLst>
            <pc:docMk/>
            <pc:sldMk cId="3990787528" sldId="10361"/>
            <ac:cxnSpMk id="10" creationId="{2185815F-E05D-49A9-B3FC-7AA0C4E1D4EA}"/>
          </ac:cxnSpMkLst>
        </pc:cxnChg>
        <pc:cxnChg chg="mod">
          <ac:chgData name="Ugo MANTEL" userId="2d5b7065-31bb-4181-a7f8-a73bf0c30211" providerId="ADAL" clId="{9344D105-636D-4857-BD0F-AFC44A54BCCF}" dt="2021-05-25T14:22:29.974" v="30606" actId="12789"/>
          <ac:cxnSpMkLst>
            <pc:docMk/>
            <pc:sldMk cId="3990787528" sldId="10361"/>
            <ac:cxnSpMk id="22" creationId="{38919D86-B452-4869-A30A-A7B01D55BBA5}"/>
          </ac:cxnSpMkLst>
        </pc:cxnChg>
        <pc:cxnChg chg="mod">
          <ac:chgData name="Ugo MANTEL" userId="2d5b7065-31bb-4181-a7f8-a73bf0c30211" providerId="ADAL" clId="{9344D105-636D-4857-BD0F-AFC44A54BCCF}" dt="2021-05-25T14:22:29.974" v="30606" actId="12789"/>
          <ac:cxnSpMkLst>
            <pc:docMk/>
            <pc:sldMk cId="3990787528" sldId="10361"/>
            <ac:cxnSpMk id="23" creationId="{A857BA54-79C8-4C9F-9462-1FECC986D5EF}"/>
          </ac:cxnSpMkLst>
        </pc:cxnChg>
        <pc:cxnChg chg="mod">
          <ac:chgData name="Ugo MANTEL" userId="2d5b7065-31bb-4181-a7f8-a73bf0c30211" providerId="ADAL" clId="{9344D105-636D-4857-BD0F-AFC44A54BCCF}" dt="2021-05-25T14:22:29.974" v="30606" actId="12789"/>
          <ac:cxnSpMkLst>
            <pc:docMk/>
            <pc:sldMk cId="3990787528" sldId="10361"/>
            <ac:cxnSpMk id="24" creationId="{5B1BC38C-D2E1-4114-ADA8-F3C2E4B232A5}"/>
          </ac:cxnSpMkLst>
        </pc:cxnChg>
        <pc:cxnChg chg="mod">
          <ac:chgData name="Ugo MANTEL" userId="2d5b7065-31bb-4181-a7f8-a73bf0c30211" providerId="ADAL" clId="{9344D105-636D-4857-BD0F-AFC44A54BCCF}" dt="2021-05-25T14:22:29.974" v="30606" actId="12789"/>
          <ac:cxnSpMkLst>
            <pc:docMk/>
            <pc:sldMk cId="3990787528" sldId="10361"/>
            <ac:cxnSpMk id="75" creationId="{BB1CC832-0A2A-400B-9863-89397800653C}"/>
          </ac:cxnSpMkLst>
        </pc:cxnChg>
        <pc:cxnChg chg="mod">
          <ac:chgData name="Ugo MANTEL" userId="2d5b7065-31bb-4181-a7f8-a73bf0c30211" providerId="ADAL" clId="{9344D105-636D-4857-BD0F-AFC44A54BCCF}" dt="2021-05-25T14:19:13.399" v="27456" actId="14100"/>
          <ac:cxnSpMkLst>
            <pc:docMk/>
            <pc:sldMk cId="3990787528" sldId="10361"/>
            <ac:cxnSpMk id="87" creationId="{0B091EB2-8966-4490-A1E7-3CB942D19E23}"/>
          </ac:cxnSpMkLst>
        </pc:cxnChg>
      </pc:sldChg>
      <pc:sldChg chg="modSp mod">
        <pc:chgData name="Ugo MANTEL" userId="2d5b7065-31bb-4181-a7f8-a73bf0c30211" providerId="ADAL" clId="{9344D105-636D-4857-BD0F-AFC44A54BCCF}" dt="2021-05-25T14:20:12.275" v="29006" actId="790"/>
        <pc:sldMkLst>
          <pc:docMk/>
          <pc:sldMk cId="2862391582" sldId="10362"/>
        </pc:sldMkLst>
        <pc:spChg chg="mod">
          <ac:chgData name="Ugo MANTEL" userId="2d5b7065-31bb-4181-a7f8-a73bf0c30211" providerId="ADAL" clId="{9344D105-636D-4857-BD0F-AFC44A54BCCF}" dt="2021-05-25T14:20:12.225" v="28950" actId="790"/>
          <ac:spMkLst>
            <pc:docMk/>
            <pc:sldMk cId="2862391582" sldId="10362"/>
            <ac:spMk id="2" creationId="{806A24BD-A309-4114-BCBE-1F8520216A75}"/>
          </ac:spMkLst>
        </pc:spChg>
        <pc:spChg chg="mod">
          <ac:chgData name="Ugo MANTEL" userId="2d5b7065-31bb-4181-a7f8-a73bf0c30211" providerId="ADAL" clId="{9344D105-636D-4857-BD0F-AFC44A54BCCF}" dt="2021-05-25T14:20:12.225" v="28951" actId="790"/>
          <ac:spMkLst>
            <pc:docMk/>
            <pc:sldMk cId="2862391582" sldId="10362"/>
            <ac:spMk id="6" creationId="{4E6E5141-7FBC-4E06-91AB-778C41045C7B}"/>
          </ac:spMkLst>
        </pc:spChg>
        <pc:spChg chg="mod">
          <ac:chgData name="Ugo MANTEL" userId="2d5b7065-31bb-4181-a7f8-a73bf0c30211" providerId="ADAL" clId="{9344D105-636D-4857-BD0F-AFC44A54BCCF}" dt="2021-05-25T14:20:12.226" v="28952" actId="790"/>
          <ac:spMkLst>
            <pc:docMk/>
            <pc:sldMk cId="2862391582" sldId="10362"/>
            <ac:spMk id="7" creationId="{8D09AD6F-BFA9-4E94-83DF-0661F98B9019}"/>
          </ac:spMkLst>
        </pc:spChg>
        <pc:spChg chg="mod">
          <ac:chgData name="Ugo MANTEL" userId="2d5b7065-31bb-4181-a7f8-a73bf0c30211" providerId="ADAL" clId="{9344D105-636D-4857-BD0F-AFC44A54BCCF}" dt="2021-05-25T14:20:12.227" v="28953" actId="790"/>
          <ac:spMkLst>
            <pc:docMk/>
            <pc:sldMk cId="2862391582" sldId="10362"/>
            <ac:spMk id="8" creationId="{77A429D6-B3A3-42B0-BAD3-1B353FC28B08}"/>
          </ac:spMkLst>
        </pc:spChg>
        <pc:spChg chg="mod">
          <ac:chgData name="Ugo MANTEL" userId="2d5b7065-31bb-4181-a7f8-a73bf0c30211" providerId="ADAL" clId="{9344D105-636D-4857-BD0F-AFC44A54BCCF}" dt="2021-05-25T14:20:12.228" v="28954" actId="790"/>
          <ac:spMkLst>
            <pc:docMk/>
            <pc:sldMk cId="2862391582" sldId="10362"/>
            <ac:spMk id="9" creationId="{C1790DA0-3655-475E-9CEE-4FBE153BB3F2}"/>
          </ac:spMkLst>
        </pc:spChg>
        <pc:spChg chg="mod">
          <ac:chgData name="Ugo MANTEL" userId="2d5b7065-31bb-4181-a7f8-a73bf0c30211" providerId="ADAL" clId="{9344D105-636D-4857-BD0F-AFC44A54BCCF}" dt="2021-05-25T14:20:12.247" v="28977" actId="790"/>
          <ac:spMkLst>
            <pc:docMk/>
            <pc:sldMk cId="2862391582" sldId="10362"/>
            <ac:spMk id="12" creationId="{D8C440F0-5663-4EAC-8964-248F32036591}"/>
          </ac:spMkLst>
        </pc:spChg>
        <pc:spChg chg="mod">
          <ac:chgData name="Ugo MANTEL" userId="2d5b7065-31bb-4181-a7f8-a73bf0c30211" providerId="ADAL" clId="{9344D105-636D-4857-BD0F-AFC44A54BCCF}" dt="2021-05-25T14:20:12.229" v="28955" actId="790"/>
          <ac:spMkLst>
            <pc:docMk/>
            <pc:sldMk cId="2862391582" sldId="10362"/>
            <ac:spMk id="14" creationId="{B8D529E0-B56F-42E9-9413-B04B09D1BC35}"/>
          </ac:spMkLst>
        </pc:spChg>
        <pc:spChg chg="mod">
          <ac:chgData name="Ugo MANTEL" userId="2d5b7065-31bb-4181-a7f8-a73bf0c30211" providerId="ADAL" clId="{9344D105-636D-4857-BD0F-AFC44A54BCCF}" dt="2021-05-25T14:20:12.230" v="28956" actId="790"/>
          <ac:spMkLst>
            <pc:docMk/>
            <pc:sldMk cId="2862391582" sldId="10362"/>
            <ac:spMk id="15" creationId="{BD17CEC9-4298-48C2-A07A-B6966AE88E71}"/>
          </ac:spMkLst>
        </pc:spChg>
        <pc:spChg chg="mod">
          <ac:chgData name="Ugo MANTEL" userId="2d5b7065-31bb-4181-a7f8-a73bf0c30211" providerId="ADAL" clId="{9344D105-636D-4857-BD0F-AFC44A54BCCF}" dt="2021-05-25T14:20:12.230" v="28957" actId="790"/>
          <ac:spMkLst>
            <pc:docMk/>
            <pc:sldMk cId="2862391582" sldId="10362"/>
            <ac:spMk id="16" creationId="{B886F05E-DC2A-4B28-89B2-BAEBC0591254}"/>
          </ac:spMkLst>
        </pc:spChg>
        <pc:spChg chg="mod">
          <ac:chgData name="Ugo MANTEL" userId="2d5b7065-31bb-4181-a7f8-a73bf0c30211" providerId="ADAL" clId="{9344D105-636D-4857-BD0F-AFC44A54BCCF}" dt="2021-05-25T14:20:12.231" v="28958" actId="790"/>
          <ac:spMkLst>
            <pc:docMk/>
            <pc:sldMk cId="2862391582" sldId="10362"/>
            <ac:spMk id="17" creationId="{FD9BD1A8-B133-4ED7-9402-59FE79DE23EC}"/>
          </ac:spMkLst>
        </pc:spChg>
        <pc:spChg chg="mod">
          <ac:chgData name="Ugo MANTEL" userId="2d5b7065-31bb-4181-a7f8-a73bf0c30211" providerId="ADAL" clId="{9344D105-636D-4857-BD0F-AFC44A54BCCF}" dt="2021-05-25T14:20:12.232" v="28959" actId="790"/>
          <ac:spMkLst>
            <pc:docMk/>
            <pc:sldMk cId="2862391582" sldId="10362"/>
            <ac:spMk id="18" creationId="{4373ED4E-D1FF-488D-BEFE-69AC7F528CA4}"/>
          </ac:spMkLst>
        </pc:spChg>
        <pc:spChg chg="mod">
          <ac:chgData name="Ugo MANTEL" userId="2d5b7065-31bb-4181-a7f8-a73bf0c30211" providerId="ADAL" clId="{9344D105-636D-4857-BD0F-AFC44A54BCCF}" dt="2021-05-25T14:20:12.232" v="28960" actId="790"/>
          <ac:spMkLst>
            <pc:docMk/>
            <pc:sldMk cId="2862391582" sldId="10362"/>
            <ac:spMk id="19" creationId="{BC760060-ABD5-412D-8045-EF97EC543341}"/>
          </ac:spMkLst>
        </pc:spChg>
        <pc:spChg chg="mod">
          <ac:chgData name="Ugo MANTEL" userId="2d5b7065-31bb-4181-a7f8-a73bf0c30211" providerId="ADAL" clId="{9344D105-636D-4857-BD0F-AFC44A54BCCF}" dt="2021-05-25T14:20:12.233" v="28961" actId="790"/>
          <ac:spMkLst>
            <pc:docMk/>
            <pc:sldMk cId="2862391582" sldId="10362"/>
            <ac:spMk id="20" creationId="{388BECFA-DD33-47B0-8DCF-EFF4D8D243DB}"/>
          </ac:spMkLst>
        </pc:spChg>
        <pc:spChg chg="mod">
          <ac:chgData name="Ugo MANTEL" userId="2d5b7065-31bb-4181-a7f8-a73bf0c30211" providerId="ADAL" clId="{9344D105-636D-4857-BD0F-AFC44A54BCCF}" dt="2021-05-25T14:20:12.234" v="28962" actId="790"/>
          <ac:spMkLst>
            <pc:docMk/>
            <pc:sldMk cId="2862391582" sldId="10362"/>
            <ac:spMk id="21" creationId="{F90680D2-5DA9-4AD6-8E64-FE8EA1410BC0}"/>
          </ac:spMkLst>
        </pc:spChg>
        <pc:spChg chg="mod">
          <ac:chgData name="Ugo MANTEL" userId="2d5b7065-31bb-4181-a7f8-a73bf0c30211" providerId="ADAL" clId="{9344D105-636D-4857-BD0F-AFC44A54BCCF}" dt="2021-05-25T14:20:12.234" v="28963" actId="790"/>
          <ac:spMkLst>
            <pc:docMk/>
            <pc:sldMk cId="2862391582" sldId="10362"/>
            <ac:spMk id="22" creationId="{F54D9E31-C7E1-4619-8AB2-AF3F57E25D8C}"/>
          </ac:spMkLst>
        </pc:spChg>
        <pc:spChg chg="mod">
          <ac:chgData name="Ugo MANTEL" userId="2d5b7065-31bb-4181-a7f8-a73bf0c30211" providerId="ADAL" clId="{9344D105-636D-4857-BD0F-AFC44A54BCCF}" dt="2021-05-25T14:20:12.236" v="28964" actId="790"/>
          <ac:spMkLst>
            <pc:docMk/>
            <pc:sldMk cId="2862391582" sldId="10362"/>
            <ac:spMk id="23" creationId="{E942F219-9D1D-4A73-B97D-EC48BD66AF15}"/>
          </ac:spMkLst>
        </pc:spChg>
        <pc:spChg chg="mod">
          <ac:chgData name="Ugo MANTEL" userId="2d5b7065-31bb-4181-a7f8-a73bf0c30211" providerId="ADAL" clId="{9344D105-636D-4857-BD0F-AFC44A54BCCF}" dt="2021-05-25T14:20:12.237" v="28965" actId="790"/>
          <ac:spMkLst>
            <pc:docMk/>
            <pc:sldMk cId="2862391582" sldId="10362"/>
            <ac:spMk id="24" creationId="{C2FF144E-7C70-4F58-8690-D05F03C7B743}"/>
          </ac:spMkLst>
        </pc:spChg>
        <pc:spChg chg="mod">
          <ac:chgData name="Ugo MANTEL" userId="2d5b7065-31bb-4181-a7f8-a73bf0c30211" providerId="ADAL" clId="{9344D105-636D-4857-BD0F-AFC44A54BCCF}" dt="2021-05-25T14:20:12.248" v="28979" actId="790"/>
          <ac:spMkLst>
            <pc:docMk/>
            <pc:sldMk cId="2862391582" sldId="10362"/>
            <ac:spMk id="25" creationId="{C1B3C97E-2579-4FEA-8968-54D9B75B13A4}"/>
          </ac:spMkLst>
        </pc:spChg>
        <pc:spChg chg="mod">
          <ac:chgData name="Ugo MANTEL" userId="2d5b7065-31bb-4181-a7f8-a73bf0c30211" providerId="ADAL" clId="{9344D105-636D-4857-BD0F-AFC44A54BCCF}" dt="2021-05-25T14:20:12.238" v="28966" actId="790"/>
          <ac:spMkLst>
            <pc:docMk/>
            <pc:sldMk cId="2862391582" sldId="10362"/>
            <ac:spMk id="43" creationId="{C59EF210-5B50-40A7-A6B4-DDAD799020BA}"/>
          </ac:spMkLst>
        </pc:spChg>
        <pc:spChg chg="mod">
          <ac:chgData name="Ugo MANTEL" userId="2d5b7065-31bb-4181-a7f8-a73bf0c30211" providerId="ADAL" clId="{9344D105-636D-4857-BD0F-AFC44A54BCCF}" dt="2021-05-25T14:20:12.239" v="28967" actId="790"/>
          <ac:spMkLst>
            <pc:docMk/>
            <pc:sldMk cId="2862391582" sldId="10362"/>
            <ac:spMk id="45" creationId="{A30046C9-7286-442E-B5D2-9182D2F71B12}"/>
          </ac:spMkLst>
        </pc:spChg>
        <pc:spChg chg="mod">
          <ac:chgData name="Ugo MANTEL" userId="2d5b7065-31bb-4181-a7f8-a73bf0c30211" providerId="ADAL" clId="{9344D105-636D-4857-BD0F-AFC44A54BCCF}" dt="2021-05-25T14:20:12.240" v="28968" actId="790"/>
          <ac:spMkLst>
            <pc:docMk/>
            <pc:sldMk cId="2862391582" sldId="10362"/>
            <ac:spMk id="56" creationId="{F37F2C7C-4651-46F1-B548-F75D15102AEA}"/>
          </ac:spMkLst>
        </pc:spChg>
        <pc:spChg chg="mod">
          <ac:chgData name="Ugo MANTEL" userId="2d5b7065-31bb-4181-a7f8-a73bf0c30211" providerId="ADAL" clId="{9344D105-636D-4857-BD0F-AFC44A54BCCF}" dt="2021-05-25T14:20:12.241" v="28969" actId="790"/>
          <ac:spMkLst>
            <pc:docMk/>
            <pc:sldMk cId="2862391582" sldId="10362"/>
            <ac:spMk id="61" creationId="{86718822-02E2-4F9A-B0D6-5A2C08F0884A}"/>
          </ac:spMkLst>
        </pc:spChg>
        <pc:spChg chg="mod">
          <ac:chgData name="Ugo MANTEL" userId="2d5b7065-31bb-4181-a7f8-a73bf0c30211" providerId="ADAL" clId="{9344D105-636D-4857-BD0F-AFC44A54BCCF}" dt="2021-05-25T14:20:12.241" v="28970" actId="790"/>
          <ac:spMkLst>
            <pc:docMk/>
            <pc:sldMk cId="2862391582" sldId="10362"/>
            <ac:spMk id="74" creationId="{DD8929B4-3FC0-4A80-B005-DECF49E5F03E}"/>
          </ac:spMkLst>
        </pc:spChg>
        <pc:spChg chg="mod">
          <ac:chgData name="Ugo MANTEL" userId="2d5b7065-31bb-4181-a7f8-a73bf0c30211" providerId="ADAL" clId="{9344D105-636D-4857-BD0F-AFC44A54BCCF}" dt="2021-05-25T14:20:12.242" v="28971" actId="790"/>
          <ac:spMkLst>
            <pc:docMk/>
            <pc:sldMk cId="2862391582" sldId="10362"/>
            <ac:spMk id="85" creationId="{2D2CFECC-1DAE-45A7-BC98-5B3781537431}"/>
          </ac:spMkLst>
        </pc:spChg>
        <pc:spChg chg="mod">
          <ac:chgData name="Ugo MANTEL" userId="2d5b7065-31bb-4181-a7f8-a73bf0c30211" providerId="ADAL" clId="{9344D105-636D-4857-BD0F-AFC44A54BCCF}" dt="2021-05-25T14:20:12.243" v="28972" actId="790"/>
          <ac:spMkLst>
            <pc:docMk/>
            <pc:sldMk cId="2862391582" sldId="10362"/>
            <ac:spMk id="91" creationId="{7D5F7D48-55E2-4B20-BCE4-576336C3156A}"/>
          </ac:spMkLst>
        </pc:spChg>
        <pc:spChg chg="mod">
          <ac:chgData name="Ugo MANTEL" userId="2d5b7065-31bb-4181-a7f8-a73bf0c30211" providerId="ADAL" clId="{9344D105-636D-4857-BD0F-AFC44A54BCCF}" dt="2021-05-25T14:20:12.271" v="29000" actId="790"/>
          <ac:spMkLst>
            <pc:docMk/>
            <pc:sldMk cId="2862391582" sldId="10362"/>
            <ac:spMk id="92" creationId="{72983CA2-D9C5-407E-8141-A247F8B9F12F}"/>
          </ac:spMkLst>
        </pc:spChg>
        <pc:spChg chg="mod">
          <ac:chgData name="Ugo MANTEL" userId="2d5b7065-31bb-4181-a7f8-a73bf0c30211" providerId="ADAL" clId="{9344D105-636D-4857-BD0F-AFC44A54BCCF}" dt="2021-05-25T14:20:12.272" v="29001" actId="790"/>
          <ac:spMkLst>
            <pc:docMk/>
            <pc:sldMk cId="2862391582" sldId="10362"/>
            <ac:spMk id="94" creationId="{AD365887-4EA5-44FF-844A-EA638570B896}"/>
          </ac:spMkLst>
        </pc:spChg>
        <pc:spChg chg="mod">
          <ac:chgData name="Ugo MANTEL" userId="2d5b7065-31bb-4181-a7f8-a73bf0c30211" providerId="ADAL" clId="{9344D105-636D-4857-BD0F-AFC44A54BCCF}" dt="2021-05-25T14:20:12.275" v="29006" actId="790"/>
          <ac:spMkLst>
            <pc:docMk/>
            <pc:sldMk cId="2862391582" sldId="10362"/>
            <ac:spMk id="95" creationId="{ACFD677C-AB61-4080-8D21-4342A29933B4}"/>
          </ac:spMkLst>
        </pc:spChg>
        <pc:spChg chg="mod">
          <ac:chgData name="Ugo MANTEL" userId="2d5b7065-31bb-4181-a7f8-a73bf0c30211" providerId="ADAL" clId="{9344D105-636D-4857-BD0F-AFC44A54BCCF}" dt="2021-05-25T14:20:12.272" v="29002" actId="790"/>
          <ac:spMkLst>
            <pc:docMk/>
            <pc:sldMk cId="2862391582" sldId="10362"/>
            <ac:spMk id="96" creationId="{951D29B9-C9CB-4AD1-99A7-07FCB18D93AE}"/>
          </ac:spMkLst>
        </pc:spChg>
        <pc:spChg chg="mod">
          <ac:chgData name="Ugo MANTEL" userId="2d5b7065-31bb-4181-a7f8-a73bf0c30211" providerId="ADAL" clId="{9344D105-636D-4857-BD0F-AFC44A54BCCF}" dt="2021-05-25T14:20:12.269" v="28998" actId="790"/>
          <ac:spMkLst>
            <pc:docMk/>
            <pc:sldMk cId="2862391582" sldId="10362"/>
            <ac:spMk id="97" creationId="{6F2FCB3E-67C3-40EE-A924-F4E49D27B4E5}"/>
          </ac:spMkLst>
        </pc:spChg>
        <pc:spChg chg="mod">
          <ac:chgData name="Ugo MANTEL" userId="2d5b7065-31bb-4181-a7f8-a73bf0c30211" providerId="ADAL" clId="{9344D105-636D-4857-BD0F-AFC44A54BCCF}" dt="2021-05-25T14:20:12.251" v="28982" actId="790"/>
          <ac:spMkLst>
            <pc:docMk/>
            <pc:sldMk cId="2862391582" sldId="10362"/>
            <ac:spMk id="98" creationId="{8D6AADE9-BCE8-4859-8089-8C1D69502AF3}"/>
          </ac:spMkLst>
        </pc:spChg>
        <pc:spChg chg="mod">
          <ac:chgData name="Ugo MANTEL" userId="2d5b7065-31bb-4181-a7f8-a73bf0c30211" providerId="ADAL" clId="{9344D105-636D-4857-BD0F-AFC44A54BCCF}" dt="2021-05-25T14:20:12.251" v="28983" actId="790"/>
          <ac:spMkLst>
            <pc:docMk/>
            <pc:sldMk cId="2862391582" sldId="10362"/>
            <ac:spMk id="99" creationId="{7BA2AB86-68BC-43EA-9484-09E9E41EBE3D}"/>
          </ac:spMkLst>
        </pc:spChg>
        <pc:spChg chg="mod">
          <ac:chgData name="Ugo MANTEL" userId="2d5b7065-31bb-4181-a7f8-a73bf0c30211" providerId="ADAL" clId="{9344D105-636D-4857-BD0F-AFC44A54BCCF}" dt="2021-05-25T14:20:12.270" v="28999" actId="790"/>
          <ac:spMkLst>
            <pc:docMk/>
            <pc:sldMk cId="2862391582" sldId="10362"/>
            <ac:spMk id="101" creationId="{9E3EE37D-07CB-4DE8-B18C-DD97C37CE973}"/>
          </ac:spMkLst>
        </pc:spChg>
        <pc:spChg chg="mod">
          <ac:chgData name="Ugo MANTEL" userId="2d5b7065-31bb-4181-a7f8-a73bf0c30211" providerId="ADAL" clId="{9344D105-636D-4857-BD0F-AFC44A54BCCF}" dt="2021-05-25T14:20:12.273" v="29003" actId="790"/>
          <ac:spMkLst>
            <pc:docMk/>
            <pc:sldMk cId="2862391582" sldId="10362"/>
            <ac:spMk id="104" creationId="{E6C933C6-9D7F-4A2B-A15C-7358CD8741C9}"/>
          </ac:spMkLst>
        </pc:spChg>
        <pc:spChg chg="mod">
          <ac:chgData name="Ugo MANTEL" userId="2d5b7065-31bb-4181-a7f8-a73bf0c30211" providerId="ADAL" clId="{9344D105-636D-4857-BD0F-AFC44A54BCCF}" dt="2021-05-25T14:20:12.274" v="29004" actId="790"/>
          <ac:spMkLst>
            <pc:docMk/>
            <pc:sldMk cId="2862391582" sldId="10362"/>
            <ac:spMk id="105" creationId="{B70D15D7-8784-42EB-9166-2515025BF185}"/>
          </ac:spMkLst>
        </pc:spChg>
        <pc:spChg chg="mod">
          <ac:chgData name="Ugo MANTEL" userId="2d5b7065-31bb-4181-a7f8-a73bf0c30211" providerId="ADAL" clId="{9344D105-636D-4857-BD0F-AFC44A54BCCF}" dt="2021-05-25T14:20:12.274" v="29005" actId="790"/>
          <ac:spMkLst>
            <pc:docMk/>
            <pc:sldMk cId="2862391582" sldId="10362"/>
            <ac:spMk id="106" creationId="{F7358FE8-EC77-45A6-9CA9-3415CAB459EF}"/>
          </ac:spMkLst>
        </pc:spChg>
        <pc:spChg chg="mod">
          <ac:chgData name="Ugo MANTEL" userId="2d5b7065-31bb-4181-a7f8-a73bf0c30211" providerId="ADAL" clId="{9344D105-636D-4857-BD0F-AFC44A54BCCF}" dt="2021-05-25T14:20:12.244" v="28973" actId="790"/>
          <ac:spMkLst>
            <pc:docMk/>
            <pc:sldMk cId="2862391582" sldId="10362"/>
            <ac:spMk id="110" creationId="{D112EAE9-1C24-4AF0-B3DD-273BF2FF5A59}"/>
          </ac:spMkLst>
        </pc:spChg>
        <pc:spChg chg="mod">
          <ac:chgData name="Ugo MANTEL" userId="2d5b7065-31bb-4181-a7f8-a73bf0c30211" providerId="ADAL" clId="{9344D105-636D-4857-BD0F-AFC44A54BCCF}" dt="2021-05-25T14:20:12.245" v="28974" actId="790"/>
          <ac:spMkLst>
            <pc:docMk/>
            <pc:sldMk cId="2862391582" sldId="10362"/>
            <ac:spMk id="132" creationId="{1A3DE5F6-DC50-4B3E-8712-4F7931E9D3D4}"/>
          </ac:spMkLst>
        </pc:spChg>
        <pc:spChg chg="mod">
          <ac:chgData name="Ugo MANTEL" userId="2d5b7065-31bb-4181-a7f8-a73bf0c30211" providerId="ADAL" clId="{9344D105-636D-4857-BD0F-AFC44A54BCCF}" dt="2021-05-25T14:20:12.246" v="28975" actId="790"/>
          <ac:spMkLst>
            <pc:docMk/>
            <pc:sldMk cId="2862391582" sldId="10362"/>
            <ac:spMk id="133" creationId="{DC661DF3-2B60-4258-8A3C-6DA55E7974BD}"/>
          </ac:spMkLst>
        </pc:spChg>
        <pc:spChg chg="mod">
          <ac:chgData name="Ugo MANTEL" userId="2d5b7065-31bb-4181-a7f8-a73bf0c30211" providerId="ADAL" clId="{9344D105-636D-4857-BD0F-AFC44A54BCCF}" dt="2021-05-25T14:20:12.246" v="28976" actId="790"/>
          <ac:spMkLst>
            <pc:docMk/>
            <pc:sldMk cId="2862391582" sldId="10362"/>
            <ac:spMk id="134" creationId="{D5795A40-7B7E-4315-876A-A38D6610B661}"/>
          </ac:spMkLst>
        </pc:spChg>
        <pc:spChg chg="mod">
          <ac:chgData name="Ugo MANTEL" userId="2d5b7065-31bb-4181-a7f8-a73bf0c30211" providerId="ADAL" clId="{9344D105-636D-4857-BD0F-AFC44A54BCCF}" dt="2021-05-25T14:20:12.252" v="28984" actId="790"/>
          <ac:spMkLst>
            <pc:docMk/>
            <pc:sldMk cId="2862391582" sldId="10362"/>
            <ac:spMk id="135" creationId="{B7212166-4E04-47ED-9DA9-C1A5FADABEC1}"/>
          </ac:spMkLst>
        </pc:spChg>
        <pc:spChg chg="mod">
          <ac:chgData name="Ugo MANTEL" userId="2d5b7065-31bb-4181-a7f8-a73bf0c30211" providerId="ADAL" clId="{9344D105-636D-4857-BD0F-AFC44A54BCCF}" dt="2021-05-25T14:20:12.247" v="28978" actId="790"/>
          <ac:spMkLst>
            <pc:docMk/>
            <pc:sldMk cId="2862391582" sldId="10362"/>
            <ac:spMk id="137" creationId="{AF67C425-8708-4B3E-9B2A-E5C85D989489}"/>
          </ac:spMkLst>
        </pc:spChg>
        <pc:spChg chg="mod">
          <ac:chgData name="Ugo MANTEL" userId="2d5b7065-31bb-4181-a7f8-a73bf0c30211" providerId="ADAL" clId="{9344D105-636D-4857-BD0F-AFC44A54BCCF}" dt="2021-05-25T14:20:12.253" v="28985" actId="790"/>
          <ac:spMkLst>
            <pc:docMk/>
            <pc:sldMk cId="2862391582" sldId="10362"/>
            <ac:spMk id="144" creationId="{A12B0534-66DF-4768-8E62-0C019FA2B7A6}"/>
          </ac:spMkLst>
        </pc:spChg>
        <pc:spChg chg="mod">
          <ac:chgData name="Ugo MANTEL" userId="2d5b7065-31bb-4181-a7f8-a73bf0c30211" providerId="ADAL" clId="{9344D105-636D-4857-BD0F-AFC44A54BCCF}" dt="2021-05-25T14:20:12.254" v="28986" actId="790"/>
          <ac:spMkLst>
            <pc:docMk/>
            <pc:sldMk cId="2862391582" sldId="10362"/>
            <ac:spMk id="147" creationId="{73C5DEEC-4B4E-4C6B-9A80-A63E183C6F34}"/>
          </ac:spMkLst>
        </pc:spChg>
        <pc:spChg chg="mod">
          <ac:chgData name="Ugo MANTEL" userId="2d5b7065-31bb-4181-a7f8-a73bf0c30211" providerId="ADAL" clId="{9344D105-636D-4857-BD0F-AFC44A54BCCF}" dt="2021-05-25T14:20:12.269" v="28997" actId="790"/>
          <ac:spMkLst>
            <pc:docMk/>
            <pc:sldMk cId="2862391582" sldId="10362"/>
            <ac:spMk id="151" creationId="{945919F5-1F6F-4979-90CA-397384E59334}"/>
          </ac:spMkLst>
        </pc:spChg>
        <pc:spChg chg="mod">
          <ac:chgData name="Ugo MANTEL" userId="2d5b7065-31bb-4181-a7f8-a73bf0c30211" providerId="ADAL" clId="{9344D105-636D-4857-BD0F-AFC44A54BCCF}" dt="2021-05-25T14:20:12.257" v="28987" actId="790"/>
          <ac:spMkLst>
            <pc:docMk/>
            <pc:sldMk cId="2862391582" sldId="10362"/>
            <ac:spMk id="156" creationId="{04F55C0D-DF11-4BD5-B439-C7F43A8E1B01}"/>
          </ac:spMkLst>
        </pc:spChg>
        <pc:spChg chg="mod">
          <ac:chgData name="Ugo MANTEL" userId="2d5b7065-31bb-4181-a7f8-a73bf0c30211" providerId="ADAL" clId="{9344D105-636D-4857-BD0F-AFC44A54BCCF}" dt="2021-05-25T14:20:12.258" v="28988" actId="790"/>
          <ac:spMkLst>
            <pc:docMk/>
            <pc:sldMk cId="2862391582" sldId="10362"/>
            <ac:spMk id="157" creationId="{34EE808F-991C-41BC-AE3E-FB1CDE55FB3C}"/>
          </ac:spMkLst>
        </pc:spChg>
        <pc:spChg chg="mod">
          <ac:chgData name="Ugo MANTEL" userId="2d5b7065-31bb-4181-a7f8-a73bf0c30211" providerId="ADAL" clId="{9344D105-636D-4857-BD0F-AFC44A54BCCF}" dt="2021-05-25T14:20:12.249" v="28980" actId="790"/>
          <ac:spMkLst>
            <pc:docMk/>
            <pc:sldMk cId="2862391582" sldId="10362"/>
            <ac:spMk id="160" creationId="{A8A94204-7780-44D2-9F69-E6D88D81CCC9}"/>
          </ac:spMkLst>
        </pc:spChg>
        <pc:spChg chg="mod">
          <ac:chgData name="Ugo MANTEL" userId="2d5b7065-31bb-4181-a7f8-a73bf0c30211" providerId="ADAL" clId="{9344D105-636D-4857-BD0F-AFC44A54BCCF}" dt="2021-05-25T14:20:12.250" v="28981" actId="790"/>
          <ac:spMkLst>
            <pc:docMk/>
            <pc:sldMk cId="2862391582" sldId="10362"/>
            <ac:spMk id="162" creationId="{7C77AD03-3049-47E7-8DA8-DA2A5283D6AD}"/>
          </ac:spMkLst>
        </pc:spChg>
        <pc:spChg chg="mod">
          <ac:chgData name="Ugo MANTEL" userId="2d5b7065-31bb-4181-a7f8-a73bf0c30211" providerId="ADAL" clId="{9344D105-636D-4857-BD0F-AFC44A54BCCF}" dt="2021-05-25T14:20:12.262" v="28989" actId="790"/>
          <ac:spMkLst>
            <pc:docMk/>
            <pc:sldMk cId="2862391582" sldId="10362"/>
            <ac:spMk id="174" creationId="{12430AE9-0E10-42CC-990F-04E0A3759BB1}"/>
          </ac:spMkLst>
        </pc:spChg>
        <pc:spChg chg="mod">
          <ac:chgData name="Ugo MANTEL" userId="2d5b7065-31bb-4181-a7f8-a73bf0c30211" providerId="ADAL" clId="{9344D105-636D-4857-BD0F-AFC44A54BCCF}" dt="2021-05-25T14:20:12.263" v="28990" actId="790"/>
          <ac:spMkLst>
            <pc:docMk/>
            <pc:sldMk cId="2862391582" sldId="10362"/>
            <ac:spMk id="180" creationId="{0C6109FE-0AC9-4F7F-B93A-7EF8FF18A985}"/>
          </ac:spMkLst>
        </pc:spChg>
        <pc:spChg chg="mod">
          <ac:chgData name="Ugo MANTEL" userId="2d5b7065-31bb-4181-a7f8-a73bf0c30211" providerId="ADAL" clId="{9344D105-636D-4857-BD0F-AFC44A54BCCF}" dt="2021-05-25T14:20:12.264" v="28991" actId="790"/>
          <ac:spMkLst>
            <pc:docMk/>
            <pc:sldMk cId="2862391582" sldId="10362"/>
            <ac:spMk id="181" creationId="{223AA644-A18B-43C3-911A-7F8939308A57}"/>
          </ac:spMkLst>
        </pc:spChg>
        <pc:spChg chg="mod">
          <ac:chgData name="Ugo MANTEL" userId="2d5b7065-31bb-4181-a7f8-a73bf0c30211" providerId="ADAL" clId="{9344D105-636D-4857-BD0F-AFC44A54BCCF}" dt="2021-05-25T14:20:12.265" v="28992" actId="790"/>
          <ac:spMkLst>
            <pc:docMk/>
            <pc:sldMk cId="2862391582" sldId="10362"/>
            <ac:spMk id="187" creationId="{4B8EA5D2-6F51-489A-8CBF-5F9334968CB1}"/>
          </ac:spMkLst>
        </pc:spChg>
        <pc:spChg chg="mod">
          <ac:chgData name="Ugo MANTEL" userId="2d5b7065-31bb-4181-a7f8-a73bf0c30211" providerId="ADAL" clId="{9344D105-636D-4857-BD0F-AFC44A54BCCF}" dt="2021-05-25T14:20:12.266" v="28993" actId="790"/>
          <ac:spMkLst>
            <pc:docMk/>
            <pc:sldMk cId="2862391582" sldId="10362"/>
            <ac:spMk id="188" creationId="{CBFDB5A1-F4BF-4077-B85B-DCBB511D131F}"/>
          </ac:spMkLst>
        </pc:spChg>
        <pc:spChg chg="mod">
          <ac:chgData name="Ugo MANTEL" userId="2d5b7065-31bb-4181-a7f8-a73bf0c30211" providerId="ADAL" clId="{9344D105-636D-4857-BD0F-AFC44A54BCCF}" dt="2021-05-25T14:20:12.267" v="28994" actId="790"/>
          <ac:spMkLst>
            <pc:docMk/>
            <pc:sldMk cId="2862391582" sldId="10362"/>
            <ac:spMk id="198" creationId="{F6626565-104F-49E7-B218-F59B4BB9EB76}"/>
          </ac:spMkLst>
        </pc:spChg>
        <pc:spChg chg="mod">
          <ac:chgData name="Ugo MANTEL" userId="2d5b7065-31bb-4181-a7f8-a73bf0c30211" providerId="ADAL" clId="{9344D105-636D-4857-BD0F-AFC44A54BCCF}" dt="2021-05-25T14:20:12.267" v="28995" actId="790"/>
          <ac:spMkLst>
            <pc:docMk/>
            <pc:sldMk cId="2862391582" sldId="10362"/>
            <ac:spMk id="199" creationId="{BDADADA8-65C5-4199-B657-1CB59DC43BA2}"/>
          </ac:spMkLst>
        </pc:spChg>
        <pc:spChg chg="mod">
          <ac:chgData name="Ugo MANTEL" userId="2d5b7065-31bb-4181-a7f8-a73bf0c30211" providerId="ADAL" clId="{9344D105-636D-4857-BD0F-AFC44A54BCCF}" dt="2021-05-25T14:20:12.268" v="28996" actId="790"/>
          <ac:spMkLst>
            <pc:docMk/>
            <pc:sldMk cId="2862391582" sldId="10362"/>
            <ac:spMk id="200" creationId="{256A7760-4652-4603-A3AE-75556821C16C}"/>
          </ac:spMkLst>
        </pc:spChg>
      </pc:sldChg>
      <pc:sldChg chg="modSp mod">
        <pc:chgData name="Ugo MANTEL" userId="2d5b7065-31bb-4181-a7f8-a73bf0c30211" providerId="ADAL" clId="{9344D105-636D-4857-BD0F-AFC44A54BCCF}" dt="2021-05-25T14:20:12.185" v="28907" actId="790"/>
        <pc:sldMkLst>
          <pc:docMk/>
          <pc:sldMk cId="3056474185" sldId="10363"/>
        </pc:sldMkLst>
        <pc:spChg chg="mod">
          <ac:chgData name="Ugo MANTEL" userId="2d5b7065-31bb-4181-a7f8-a73bf0c30211" providerId="ADAL" clId="{9344D105-636D-4857-BD0F-AFC44A54BCCF}" dt="2021-05-25T14:20:12.139" v="28850" actId="790"/>
          <ac:spMkLst>
            <pc:docMk/>
            <pc:sldMk cId="3056474185" sldId="10363"/>
            <ac:spMk id="2" creationId="{806A24BD-A309-4114-BCBE-1F8520216A75}"/>
          </ac:spMkLst>
        </pc:spChg>
        <pc:spChg chg="mod">
          <ac:chgData name="Ugo MANTEL" userId="2d5b7065-31bb-4181-a7f8-a73bf0c30211" providerId="ADAL" clId="{9344D105-636D-4857-BD0F-AFC44A54BCCF}" dt="2021-05-25T14:20:12.140" v="28851" actId="790"/>
          <ac:spMkLst>
            <pc:docMk/>
            <pc:sldMk cId="3056474185" sldId="10363"/>
            <ac:spMk id="6" creationId="{4E6E5141-7FBC-4E06-91AB-778C41045C7B}"/>
          </ac:spMkLst>
        </pc:spChg>
        <pc:spChg chg="mod">
          <ac:chgData name="Ugo MANTEL" userId="2d5b7065-31bb-4181-a7f8-a73bf0c30211" providerId="ADAL" clId="{9344D105-636D-4857-BD0F-AFC44A54BCCF}" dt="2021-05-25T14:20:12.140" v="28852" actId="790"/>
          <ac:spMkLst>
            <pc:docMk/>
            <pc:sldMk cId="3056474185" sldId="10363"/>
            <ac:spMk id="7" creationId="{8D09AD6F-BFA9-4E94-83DF-0661F98B9019}"/>
          </ac:spMkLst>
        </pc:spChg>
        <pc:spChg chg="mod">
          <ac:chgData name="Ugo MANTEL" userId="2d5b7065-31bb-4181-a7f8-a73bf0c30211" providerId="ADAL" clId="{9344D105-636D-4857-BD0F-AFC44A54BCCF}" dt="2021-05-25T14:20:12.141" v="28853" actId="790"/>
          <ac:spMkLst>
            <pc:docMk/>
            <pc:sldMk cId="3056474185" sldId="10363"/>
            <ac:spMk id="8" creationId="{77A429D6-B3A3-42B0-BAD3-1B353FC28B08}"/>
          </ac:spMkLst>
        </pc:spChg>
        <pc:spChg chg="mod">
          <ac:chgData name="Ugo MANTEL" userId="2d5b7065-31bb-4181-a7f8-a73bf0c30211" providerId="ADAL" clId="{9344D105-636D-4857-BD0F-AFC44A54BCCF}" dt="2021-05-25T14:20:12.142" v="28854" actId="790"/>
          <ac:spMkLst>
            <pc:docMk/>
            <pc:sldMk cId="3056474185" sldId="10363"/>
            <ac:spMk id="9" creationId="{C1790DA0-3655-475E-9CEE-4FBE153BB3F2}"/>
          </ac:spMkLst>
        </pc:spChg>
        <pc:spChg chg="mod">
          <ac:chgData name="Ugo MANTEL" userId="2d5b7065-31bb-4181-a7f8-a73bf0c30211" providerId="ADAL" clId="{9344D105-636D-4857-BD0F-AFC44A54BCCF}" dt="2021-05-25T14:20:12.151" v="28863" actId="790"/>
          <ac:spMkLst>
            <pc:docMk/>
            <pc:sldMk cId="3056474185" sldId="10363"/>
            <ac:spMk id="12" creationId="{D8C440F0-5663-4EAC-8964-248F32036591}"/>
          </ac:spMkLst>
        </pc:spChg>
        <pc:spChg chg="mod">
          <ac:chgData name="Ugo MANTEL" userId="2d5b7065-31bb-4181-a7f8-a73bf0c30211" providerId="ADAL" clId="{9344D105-636D-4857-BD0F-AFC44A54BCCF}" dt="2021-05-25T14:20:12.153" v="28866" actId="790"/>
          <ac:spMkLst>
            <pc:docMk/>
            <pc:sldMk cId="3056474185" sldId="10363"/>
            <ac:spMk id="14" creationId="{B8D529E0-B56F-42E9-9413-B04B09D1BC35}"/>
          </ac:spMkLst>
        </pc:spChg>
        <pc:spChg chg="mod">
          <ac:chgData name="Ugo MANTEL" userId="2d5b7065-31bb-4181-a7f8-a73bf0c30211" providerId="ADAL" clId="{9344D105-636D-4857-BD0F-AFC44A54BCCF}" dt="2021-05-25T14:20:12.153" v="28867" actId="790"/>
          <ac:spMkLst>
            <pc:docMk/>
            <pc:sldMk cId="3056474185" sldId="10363"/>
            <ac:spMk id="15" creationId="{BD17CEC9-4298-48C2-A07A-B6966AE88E71}"/>
          </ac:spMkLst>
        </pc:spChg>
        <pc:spChg chg="mod">
          <ac:chgData name="Ugo MANTEL" userId="2d5b7065-31bb-4181-a7f8-a73bf0c30211" providerId="ADAL" clId="{9344D105-636D-4857-BD0F-AFC44A54BCCF}" dt="2021-05-25T14:20:12.154" v="28868" actId="790"/>
          <ac:spMkLst>
            <pc:docMk/>
            <pc:sldMk cId="3056474185" sldId="10363"/>
            <ac:spMk id="16" creationId="{B886F05E-DC2A-4B28-89B2-BAEBC0591254}"/>
          </ac:spMkLst>
        </pc:spChg>
        <pc:spChg chg="mod">
          <ac:chgData name="Ugo MANTEL" userId="2d5b7065-31bb-4181-a7f8-a73bf0c30211" providerId="ADAL" clId="{9344D105-636D-4857-BD0F-AFC44A54BCCF}" dt="2021-05-25T14:20:12.155" v="28869" actId="790"/>
          <ac:spMkLst>
            <pc:docMk/>
            <pc:sldMk cId="3056474185" sldId="10363"/>
            <ac:spMk id="17" creationId="{FD9BD1A8-B133-4ED7-9402-59FE79DE23EC}"/>
          </ac:spMkLst>
        </pc:spChg>
        <pc:spChg chg="mod">
          <ac:chgData name="Ugo MANTEL" userId="2d5b7065-31bb-4181-a7f8-a73bf0c30211" providerId="ADAL" clId="{9344D105-636D-4857-BD0F-AFC44A54BCCF}" dt="2021-05-25T14:20:12.143" v="28855" actId="790"/>
          <ac:spMkLst>
            <pc:docMk/>
            <pc:sldMk cId="3056474185" sldId="10363"/>
            <ac:spMk id="22" creationId="{F54D9E31-C7E1-4619-8AB2-AF3F57E25D8C}"/>
          </ac:spMkLst>
        </pc:spChg>
        <pc:spChg chg="mod">
          <ac:chgData name="Ugo MANTEL" userId="2d5b7065-31bb-4181-a7f8-a73bf0c30211" providerId="ADAL" clId="{9344D105-636D-4857-BD0F-AFC44A54BCCF}" dt="2021-05-25T14:20:12.145" v="28856" actId="790"/>
          <ac:spMkLst>
            <pc:docMk/>
            <pc:sldMk cId="3056474185" sldId="10363"/>
            <ac:spMk id="23" creationId="{E942F219-9D1D-4A73-B97D-EC48BD66AF15}"/>
          </ac:spMkLst>
        </pc:spChg>
        <pc:spChg chg="mod">
          <ac:chgData name="Ugo MANTEL" userId="2d5b7065-31bb-4181-a7f8-a73bf0c30211" providerId="ADAL" clId="{9344D105-636D-4857-BD0F-AFC44A54BCCF}" dt="2021-05-25T14:20:12.145" v="28857" actId="790"/>
          <ac:spMkLst>
            <pc:docMk/>
            <pc:sldMk cId="3056474185" sldId="10363"/>
            <ac:spMk id="24" creationId="{C2FF144E-7C70-4F58-8690-D05F03C7B743}"/>
          </ac:spMkLst>
        </pc:spChg>
        <pc:spChg chg="mod">
          <ac:chgData name="Ugo MANTEL" userId="2d5b7065-31bb-4181-a7f8-a73bf0c30211" providerId="ADAL" clId="{9344D105-636D-4857-BD0F-AFC44A54BCCF}" dt="2021-05-25T14:20:12.147" v="28858" actId="790"/>
          <ac:spMkLst>
            <pc:docMk/>
            <pc:sldMk cId="3056474185" sldId="10363"/>
            <ac:spMk id="43" creationId="{C59EF210-5B50-40A7-A6B4-DDAD799020BA}"/>
          </ac:spMkLst>
        </pc:spChg>
        <pc:spChg chg="mod">
          <ac:chgData name="Ugo MANTEL" userId="2d5b7065-31bb-4181-a7f8-a73bf0c30211" providerId="ADAL" clId="{9344D105-636D-4857-BD0F-AFC44A54BCCF}" dt="2021-05-25T14:20:12.148" v="28859" actId="790"/>
          <ac:spMkLst>
            <pc:docMk/>
            <pc:sldMk cId="3056474185" sldId="10363"/>
            <ac:spMk id="45" creationId="{A30046C9-7286-442E-B5D2-9182D2F71B12}"/>
          </ac:spMkLst>
        </pc:spChg>
        <pc:spChg chg="mod">
          <ac:chgData name="Ugo MANTEL" userId="2d5b7065-31bb-4181-a7f8-a73bf0c30211" providerId="ADAL" clId="{9344D105-636D-4857-BD0F-AFC44A54BCCF}" dt="2021-05-25T14:20:12.156" v="28870" actId="790"/>
          <ac:spMkLst>
            <pc:docMk/>
            <pc:sldMk cId="3056474185" sldId="10363"/>
            <ac:spMk id="56" creationId="{F37F2C7C-4651-46F1-B548-F75D15102AEA}"/>
          </ac:spMkLst>
        </pc:spChg>
        <pc:spChg chg="mod">
          <ac:chgData name="Ugo MANTEL" userId="2d5b7065-31bb-4181-a7f8-a73bf0c30211" providerId="ADAL" clId="{9344D105-636D-4857-BD0F-AFC44A54BCCF}" dt="2021-05-25T14:20:12.157" v="28871" actId="790"/>
          <ac:spMkLst>
            <pc:docMk/>
            <pc:sldMk cId="3056474185" sldId="10363"/>
            <ac:spMk id="61" creationId="{86718822-02E2-4F9A-B0D6-5A2C08F0884A}"/>
          </ac:spMkLst>
        </pc:spChg>
        <pc:spChg chg="mod">
          <ac:chgData name="Ugo MANTEL" userId="2d5b7065-31bb-4181-a7f8-a73bf0c30211" providerId="ADAL" clId="{9344D105-636D-4857-BD0F-AFC44A54BCCF}" dt="2021-05-25T14:20:12.172" v="28889" actId="790"/>
          <ac:spMkLst>
            <pc:docMk/>
            <pc:sldMk cId="3056474185" sldId="10363"/>
            <ac:spMk id="81" creationId="{13945402-02D0-4872-8AAF-B64E57336041}"/>
          </ac:spMkLst>
        </pc:spChg>
        <pc:spChg chg="mod">
          <ac:chgData name="Ugo MANTEL" userId="2d5b7065-31bb-4181-a7f8-a73bf0c30211" providerId="ADAL" clId="{9344D105-636D-4857-BD0F-AFC44A54BCCF}" dt="2021-05-25T14:20:12.174" v="28891" actId="790"/>
          <ac:spMkLst>
            <pc:docMk/>
            <pc:sldMk cId="3056474185" sldId="10363"/>
            <ac:spMk id="82" creationId="{28D7EB63-9464-445E-8CFF-E1396E03383A}"/>
          </ac:spMkLst>
        </pc:spChg>
        <pc:spChg chg="mod">
          <ac:chgData name="Ugo MANTEL" userId="2d5b7065-31bb-4181-a7f8-a73bf0c30211" providerId="ADAL" clId="{9344D105-636D-4857-BD0F-AFC44A54BCCF}" dt="2021-05-25T14:20:12.174" v="28892" actId="790"/>
          <ac:spMkLst>
            <pc:docMk/>
            <pc:sldMk cId="3056474185" sldId="10363"/>
            <ac:spMk id="83" creationId="{41BE5C96-44CD-4EEB-9982-85281464F14D}"/>
          </ac:spMkLst>
        </pc:spChg>
        <pc:spChg chg="mod">
          <ac:chgData name="Ugo MANTEL" userId="2d5b7065-31bb-4181-a7f8-a73bf0c30211" providerId="ADAL" clId="{9344D105-636D-4857-BD0F-AFC44A54BCCF}" dt="2021-05-25T14:20:12.175" v="28893" actId="790"/>
          <ac:spMkLst>
            <pc:docMk/>
            <pc:sldMk cId="3056474185" sldId="10363"/>
            <ac:spMk id="84" creationId="{C8690E1B-99C6-46A0-B5DC-90C2CE09DDE2}"/>
          </ac:spMkLst>
        </pc:spChg>
        <pc:spChg chg="mod">
          <ac:chgData name="Ugo MANTEL" userId="2d5b7065-31bb-4181-a7f8-a73bf0c30211" providerId="ADAL" clId="{9344D105-636D-4857-BD0F-AFC44A54BCCF}" dt="2021-05-25T14:20:12.176" v="28894" actId="790"/>
          <ac:spMkLst>
            <pc:docMk/>
            <pc:sldMk cId="3056474185" sldId="10363"/>
            <ac:spMk id="85" creationId="{A58C5887-CED1-46F2-9DC6-1A8BC868ED98}"/>
          </ac:spMkLst>
        </pc:spChg>
        <pc:spChg chg="mod">
          <ac:chgData name="Ugo MANTEL" userId="2d5b7065-31bb-4181-a7f8-a73bf0c30211" providerId="ADAL" clId="{9344D105-636D-4857-BD0F-AFC44A54BCCF}" dt="2021-05-25T14:20:12.158" v="28873" actId="790"/>
          <ac:spMkLst>
            <pc:docMk/>
            <pc:sldMk cId="3056474185" sldId="10363"/>
            <ac:spMk id="89" creationId="{0053E10B-EF20-4790-930A-27CDB580C41E}"/>
          </ac:spMkLst>
        </pc:spChg>
        <pc:spChg chg="mod">
          <ac:chgData name="Ugo MANTEL" userId="2d5b7065-31bb-4181-a7f8-a73bf0c30211" providerId="ADAL" clId="{9344D105-636D-4857-BD0F-AFC44A54BCCF}" dt="2021-05-25T14:20:12.163" v="28879" actId="790"/>
          <ac:spMkLst>
            <pc:docMk/>
            <pc:sldMk cId="3056474185" sldId="10363"/>
            <ac:spMk id="90" creationId="{39390C9C-6887-462F-90D2-1539942362C4}"/>
          </ac:spMkLst>
        </pc:spChg>
        <pc:spChg chg="mod">
          <ac:chgData name="Ugo MANTEL" userId="2d5b7065-31bb-4181-a7f8-a73bf0c30211" providerId="ADAL" clId="{9344D105-636D-4857-BD0F-AFC44A54BCCF}" dt="2021-05-25T14:20:12.183" v="28905" actId="790"/>
          <ac:spMkLst>
            <pc:docMk/>
            <pc:sldMk cId="3056474185" sldId="10363"/>
            <ac:spMk id="91" creationId="{577FCDB2-218A-45A2-82F4-02441594C3A2}"/>
          </ac:spMkLst>
        </pc:spChg>
        <pc:spChg chg="mod">
          <ac:chgData name="Ugo MANTEL" userId="2d5b7065-31bb-4181-a7f8-a73bf0c30211" providerId="ADAL" clId="{9344D105-636D-4857-BD0F-AFC44A54BCCF}" dt="2021-05-25T14:20:12.164" v="28880" actId="790"/>
          <ac:spMkLst>
            <pc:docMk/>
            <pc:sldMk cId="3056474185" sldId="10363"/>
            <ac:spMk id="92" creationId="{810A05CD-3CDC-4778-8CF3-2D331904A50E}"/>
          </ac:spMkLst>
        </pc:spChg>
        <pc:spChg chg="mod">
          <ac:chgData name="Ugo MANTEL" userId="2d5b7065-31bb-4181-a7f8-a73bf0c30211" providerId="ADAL" clId="{9344D105-636D-4857-BD0F-AFC44A54BCCF}" dt="2021-05-25T14:20:12.164" v="28881" actId="790"/>
          <ac:spMkLst>
            <pc:docMk/>
            <pc:sldMk cId="3056474185" sldId="10363"/>
            <ac:spMk id="93" creationId="{BCC85884-BEF3-4A74-9C31-5252A2AE964C}"/>
          </ac:spMkLst>
        </pc:spChg>
        <pc:spChg chg="mod">
          <ac:chgData name="Ugo MANTEL" userId="2d5b7065-31bb-4181-a7f8-a73bf0c30211" providerId="ADAL" clId="{9344D105-636D-4857-BD0F-AFC44A54BCCF}" dt="2021-05-25T14:20:12.164" v="28882" actId="790"/>
          <ac:spMkLst>
            <pc:docMk/>
            <pc:sldMk cId="3056474185" sldId="10363"/>
            <ac:spMk id="94" creationId="{9ED613B1-4950-469D-AF1E-7A9A224F1089}"/>
          </ac:spMkLst>
        </pc:spChg>
        <pc:spChg chg="mod">
          <ac:chgData name="Ugo MANTEL" userId="2d5b7065-31bb-4181-a7f8-a73bf0c30211" providerId="ADAL" clId="{9344D105-636D-4857-BD0F-AFC44A54BCCF}" dt="2021-05-25T14:20:12.165" v="28883" actId="790"/>
          <ac:spMkLst>
            <pc:docMk/>
            <pc:sldMk cId="3056474185" sldId="10363"/>
            <ac:spMk id="95" creationId="{EFF4D5B6-DFB2-472A-A61F-4B7C9BBA0AD1}"/>
          </ac:spMkLst>
        </pc:spChg>
        <pc:spChg chg="mod">
          <ac:chgData name="Ugo MANTEL" userId="2d5b7065-31bb-4181-a7f8-a73bf0c30211" providerId="ADAL" clId="{9344D105-636D-4857-BD0F-AFC44A54BCCF}" dt="2021-05-25T14:20:12.184" v="28906" actId="790"/>
          <ac:spMkLst>
            <pc:docMk/>
            <pc:sldMk cId="3056474185" sldId="10363"/>
            <ac:spMk id="96" creationId="{CC40FAD7-199E-43E8-992A-0F93C4401E41}"/>
          </ac:spMkLst>
        </pc:spChg>
        <pc:spChg chg="mod">
          <ac:chgData name="Ugo MANTEL" userId="2d5b7065-31bb-4181-a7f8-a73bf0c30211" providerId="ADAL" clId="{9344D105-636D-4857-BD0F-AFC44A54BCCF}" dt="2021-05-25T14:20:12.169" v="28887" actId="790"/>
          <ac:spMkLst>
            <pc:docMk/>
            <pc:sldMk cId="3056474185" sldId="10363"/>
            <ac:spMk id="98" creationId="{8D6AADE9-BCE8-4859-8089-8C1D69502AF3}"/>
          </ac:spMkLst>
        </pc:spChg>
        <pc:spChg chg="mod">
          <ac:chgData name="Ugo MANTEL" userId="2d5b7065-31bb-4181-a7f8-a73bf0c30211" providerId="ADAL" clId="{9344D105-636D-4857-BD0F-AFC44A54BCCF}" dt="2021-05-25T14:20:12.185" v="28907" actId="790"/>
          <ac:spMkLst>
            <pc:docMk/>
            <pc:sldMk cId="3056474185" sldId="10363"/>
            <ac:spMk id="99" creationId="{2E90D437-ECC3-48A2-A761-25A61636A952}"/>
          </ac:spMkLst>
        </pc:spChg>
        <pc:spChg chg="mod">
          <ac:chgData name="Ugo MANTEL" userId="2d5b7065-31bb-4181-a7f8-a73bf0c30211" providerId="ADAL" clId="{9344D105-636D-4857-BD0F-AFC44A54BCCF}" dt="2021-05-25T14:20:12.160" v="28874" actId="790"/>
          <ac:spMkLst>
            <pc:docMk/>
            <pc:sldMk cId="3056474185" sldId="10363"/>
            <ac:spMk id="101" creationId="{B25D321F-61DD-411F-991C-2CB37FFE1364}"/>
          </ac:spMkLst>
        </pc:spChg>
        <pc:spChg chg="mod">
          <ac:chgData name="Ugo MANTEL" userId="2d5b7065-31bb-4181-a7f8-a73bf0c30211" providerId="ADAL" clId="{9344D105-636D-4857-BD0F-AFC44A54BCCF}" dt="2021-05-25T14:20:12.173" v="28890" actId="790"/>
          <ac:spMkLst>
            <pc:docMk/>
            <pc:sldMk cId="3056474185" sldId="10363"/>
            <ac:spMk id="103" creationId="{4C048F76-9197-4599-A698-79EFF04AC9E2}"/>
          </ac:spMkLst>
        </pc:spChg>
        <pc:spChg chg="mod">
          <ac:chgData name="Ugo MANTEL" userId="2d5b7065-31bb-4181-a7f8-a73bf0c30211" providerId="ADAL" clId="{9344D105-636D-4857-BD0F-AFC44A54BCCF}" dt="2021-05-25T14:20:12.170" v="28888" actId="790"/>
          <ac:spMkLst>
            <pc:docMk/>
            <pc:sldMk cId="3056474185" sldId="10363"/>
            <ac:spMk id="104" creationId="{24F11FDF-107F-4506-968F-7ED686528B02}"/>
          </ac:spMkLst>
        </pc:spChg>
        <pc:spChg chg="mod">
          <ac:chgData name="Ugo MANTEL" userId="2d5b7065-31bb-4181-a7f8-a73bf0c30211" providerId="ADAL" clId="{9344D105-636D-4857-BD0F-AFC44A54BCCF}" dt="2021-05-25T14:20:12.148" v="28860" actId="790"/>
          <ac:spMkLst>
            <pc:docMk/>
            <pc:sldMk cId="3056474185" sldId="10363"/>
            <ac:spMk id="110" creationId="{D112EAE9-1C24-4AF0-B3DD-273BF2FF5A59}"/>
          </ac:spMkLst>
        </pc:spChg>
        <pc:spChg chg="mod">
          <ac:chgData name="Ugo MANTEL" userId="2d5b7065-31bb-4181-a7f8-a73bf0c30211" providerId="ADAL" clId="{9344D105-636D-4857-BD0F-AFC44A54BCCF}" dt="2021-05-25T14:20:12.149" v="28861" actId="790"/>
          <ac:spMkLst>
            <pc:docMk/>
            <pc:sldMk cId="3056474185" sldId="10363"/>
            <ac:spMk id="111" creationId="{9B916422-AB4B-4397-9CE1-E4BDD0AED7FE}"/>
          </ac:spMkLst>
        </pc:spChg>
        <pc:spChg chg="mod">
          <ac:chgData name="Ugo MANTEL" userId="2d5b7065-31bb-4181-a7f8-a73bf0c30211" providerId="ADAL" clId="{9344D105-636D-4857-BD0F-AFC44A54BCCF}" dt="2021-05-25T14:20:12.176" v="28895" actId="790"/>
          <ac:spMkLst>
            <pc:docMk/>
            <pc:sldMk cId="3056474185" sldId="10363"/>
            <ac:spMk id="112" creationId="{9F513876-6A87-4993-A0F1-0F689FDBBF01}"/>
          </ac:spMkLst>
        </pc:spChg>
        <pc:spChg chg="mod">
          <ac:chgData name="Ugo MANTEL" userId="2d5b7065-31bb-4181-a7f8-a73bf0c30211" providerId="ADAL" clId="{9344D105-636D-4857-BD0F-AFC44A54BCCF}" dt="2021-05-25T14:20:12.166" v="28884" actId="790"/>
          <ac:spMkLst>
            <pc:docMk/>
            <pc:sldMk cId="3056474185" sldId="10363"/>
            <ac:spMk id="115" creationId="{6F1D7D9A-4EAA-45B4-B3C8-BA5E9C1F7277}"/>
          </ac:spMkLst>
        </pc:spChg>
        <pc:spChg chg="mod">
          <ac:chgData name="Ugo MANTEL" userId="2d5b7065-31bb-4181-a7f8-a73bf0c30211" providerId="ADAL" clId="{9344D105-636D-4857-BD0F-AFC44A54BCCF}" dt="2021-05-25T14:20:12.167" v="28885" actId="790"/>
          <ac:spMkLst>
            <pc:docMk/>
            <pc:sldMk cId="3056474185" sldId="10363"/>
            <ac:spMk id="116" creationId="{761CB428-B68A-41BA-9FC0-07DEC7039CCA}"/>
          </ac:spMkLst>
        </pc:spChg>
        <pc:spChg chg="mod">
          <ac:chgData name="Ugo MANTEL" userId="2d5b7065-31bb-4181-a7f8-a73bf0c30211" providerId="ADAL" clId="{9344D105-636D-4857-BD0F-AFC44A54BCCF}" dt="2021-05-25T14:20:12.177" v="28896" actId="790"/>
          <ac:spMkLst>
            <pc:docMk/>
            <pc:sldMk cId="3056474185" sldId="10363"/>
            <ac:spMk id="117" creationId="{C9DD2D9D-0989-4B91-8196-A5A0B7065E99}"/>
          </ac:spMkLst>
        </pc:spChg>
        <pc:spChg chg="mod">
          <ac:chgData name="Ugo MANTEL" userId="2d5b7065-31bb-4181-a7f8-a73bf0c30211" providerId="ADAL" clId="{9344D105-636D-4857-BD0F-AFC44A54BCCF}" dt="2021-05-25T14:20:12.168" v="28886" actId="790"/>
          <ac:spMkLst>
            <pc:docMk/>
            <pc:sldMk cId="3056474185" sldId="10363"/>
            <ac:spMk id="118" creationId="{759A0193-71DB-456E-B77A-940E35134FB3}"/>
          </ac:spMkLst>
        </pc:spChg>
        <pc:spChg chg="mod">
          <ac:chgData name="Ugo MANTEL" userId="2d5b7065-31bb-4181-a7f8-a73bf0c30211" providerId="ADAL" clId="{9344D105-636D-4857-BD0F-AFC44A54BCCF}" dt="2021-05-25T14:20:12.160" v="28875" actId="790"/>
          <ac:spMkLst>
            <pc:docMk/>
            <pc:sldMk cId="3056474185" sldId="10363"/>
            <ac:spMk id="119" creationId="{FD3CFAEA-9629-4A61-8FC4-3292A4700536}"/>
          </ac:spMkLst>
        </pc:spChg>
        <pc:spChg chg="mod">
          <ac:chgData name="Ugo MANTEL" userId="2d5b7065-31bb-4181-a7f8-a73bf0c30211" providerId="ADAL" clId="{9344D105-636D-4857-BD0F-AFC44A54BCCF}" dt="2021-05-25T14:20:12.161" v="28876" actId="790"/>
          <ac:spMkLst>
            <pc:docMk/>
            <pc:sldMk cId="3056474185" sldId="10363"/>
            <ac:spMk id="120" creationId="{93D09E23-6D6F-4F07-ACFD-DE8D09AD17A8}"/>
          </ac:spMkLst>
        </pc:spChg>
        <pc:spChg chg="mod">
          <ac:chgData name="Ugo MANTEL" userId="2d5b7065-31bb-4181-a7f8-a73bf0c30211" providerId="ADAL" clId="{9344D105-636D-4857-BD0F-AFC44A54BCCF}" dt="2021-05-25T14:20:12.162" v="28877" actId="790"/>
          <ac:spMkLst>
            <pc:docMk/>
            <pc:sldMk cId="3056474185" sldId="10363"/>
            <ac:spMk id="121" creationId="{7E6B106B-E8E9-4EB0-86EC-9A7E1C474545}"/>
          </ac:spMkLst>
        </pc:spChg>
        <pc:spChg chg="mod">
          <ac:chgData name="Ugo MANTEL" userId="2d5b7065-31bb-4181-a7f8-a73bf0c30211" providerId="ADAL" clId="{9344D105-636D-4857-BD0F-AFC44A54BCCF}" dt="2021-05-25T14:20:12.178" v="28897" actId="790"/>
          <ac:spMkLst>
            <pc:docMk/>
            <pc:sldMk cId="3056474185" sldId="10363"/>
            <ac:spMk id="122" creationId="{9D5F634F-72FC-4CD5-A0FE-78EDB7DE2470}"/>
          </ac:spMkLst>
        </pc:spChg>
        <pc:spChg chg="mod">
          <ac:chgData name="Ugo MANTEL" userId="2d5b7065-31bb-4181-a7f8-a73bf0c30211" providerId="ADAL" clId="{9344D105-636D-4857-BD0F-AFC44A54BCCF}" dt="2021-05-25T14:20:12.179" v="28898" actId="790"/>
          <ac:spMkLst>
            <pc:docMk/>
            <pc:sldMk cId="3056474185" sldId="10363"/>
            <ac:spMk id="123" creationId="{67DC4BF4-E52A-4F77-A7A3-194C8AD16717}"/>
          </ac:spMkLst>
        </pc:spChg>
        <pc:spChg chg="mod">
          <ac:chgData name="Ugo MANTEL" userId="2d5b7065-31bb-4181-a7f8-a73bf0c30211" providerId="ADAL" clId="{9344D105-636D-4857-BD0F-AFC44A54BCCF}" dt="2021-05-25T14:20:12.179" v="28899" actId="790"/>
          <ac:spMkLst>
            <pc:docMk/>
            <pc:sldMk cId="3056474185" sldId="10363"/>
            <ac:spMk id="124" creationId="{634C708A-905F-4423-AD59-7FAB100F7710}"/>
          </ac:spMkLst>
        </pc:spChg>
        <pc:spChg chg="mod">
          <ac:chgData name="Ugo MANTEL" userId="2d5b7065-31bb-4181-a7f8-a73bf0c30211" providerId="ADAL" clId="{9344D105-636D-4857-BD0F-AFC44A54BCCF}" dt="2021-05-25T14:20:12.162" v="28878" actId="790"/>
          <ac:spMkLst>
            <pc:docMk/>
            <pc:sldMk cId="3056474185" sldId="10363"/>
            <ac:spMk id="125" creationId="{9058D2CA-361E-4588-B7EB-6034093739B5}"/>
          </ac:spMkLst>
        </pc:spChg>
        <pc:spChg chg="mod">
          <ac:chgData name="Ugo MANTEL" userId="2d5b7065-31bb-4181-a7f8-a73bf0c30211" providerId="ADAL" clId="{9344D105-636D-4857-BD0F-AFC44A54BCCF}" dt="2021-05-25T14:20:12.180" v="28900" actId="790"/>
          <ac:spMkLst>
            <pc:docMk/>
            <pc:sldMk cId="3056474185" sldId="10363"/>
            <ac:spMk id="126" creationId="{30A82CFE-7F48-4AA8-AADE-7BBCDBC04817}"/>
          </ac:spMkLst>
        </pc:spChg>
        <pc:spChg chg="mod">
          <ac:chgData name="Ugo MANTEL" userId="2d5b7065-31bb-4181-a7f8-a73bf0c30211" providerId="ADAL" clId="{9344D105-636D-4857-BD0F-AFC44A54BCCF}" dt="2021-05-25T14:20:12.181" v="28901" actId="790"/>
          <ac:spMkLst>
            <pc:docMk/>
            <pc:sldMk cId="3056474185" sldId="10363"/>
            <ac:spMk id="127" creationId="{A697451B-FBB0-4497-90C1-88CC1F6975AB}"/>
          </ac:spMkLst>
        </pc:spChg>
        <pc:spChg chg="mod">
          <ac:chgData name="Ugo MANTEL" userId="2d5b7065-31bb-4181-a7f8-a73bf0c30211" providerId="ADAL" clId="{9344D105-636D-4857-BD0F-AFC44A54BCCF}" dt="2021-05-25T14:20:12.181" v="28902" actId="790"/>
          <ac:spMkLst>
            <pc:docMk/>
            <pc:sldMk cId="3056474185" sldId="10363"/>
            <ac:spMk id="128" creationId="{AB336A6F-5AD1-42F2-A67F-C963C0D53CE2}"/>
          </ac:spMkLst>
        </pc:spChg>
        <pc:spChg chg="mod">
          <ac:chgData name="Ugo MANTEL" userId="2d5b7065-31bb-4181-a7f8-a73bf0c30211" providerId="ADAL" clId="{9344D105-636D-4857-BD0F-AFC44A54BCCF}" dt="2021-05-25T14:20:12.182" v="28903" actId="790"/>
          <ac:spMkLst>
            <pc:docMk/>
            <pc:sldMk cId="3056474185" sldId="10363"/>
            <ac:spMk id="129" creationId="{43EDDEAC-5EE6-45CB-B7D0-ECB8A76067E6}"/>
          </ac:spMkLst>
        </pc:spChg>
        <pc:spChg chg="mod">
          <ac:chgData name="Ugo MANTEL" userId="2d5b7065-31bb-4181-a7f8-a73bf0c30211" providerId="ADAL" clId="{9344D105-636D-4857-BD0F-AFC44A54BCCF}" dt="2021-05-25T14:20:12.183" v="28904" actId="790"/>
          <ac:spMkLst>
            <pc:docMk/>
            <pc:sldMk cId="3056474185" sldId="10363"/>
            <ac:spMk id="130" creationId="{E99408E4-6EC9-44F1-90E4-29DE6526F3E7}"/>
          </ac:spMkLst>
        </pc:spChg>
        <pc:spChg chg="mod">
          <ac:chgData name="Ugo MANTEL" userId="2d5b7065-31bb-4181-a7f8-a73bf0c30211" providerId="ADAL" clId="{9344D105-636D-4857-BD0F-AFC44A54BCCF}" dt="2021-05-25T14:20:12.150" v="28862" actId="790"/>
          <ac:spMkLst>
            <pc:docMk/>
            <pc:sldMk cId="3056474185" sldId="10363"/>
            <ac:spMk id="134" creationId="{D5795A40-7B7E-4315-876A-A38D6610B661}"/>
          </ac:spMkLst>
        </pc:spChg>
        <pc:spChg chg="mod">
          <ac:chgData name="Ugo MANTEL" userId="2d5b7065-31bb-4181-a7f8-a73bf0c30211" providerId="ADAL" clId="{9344D105-636D-4857-BD0F-AFC44A54BCCF}" dt="2021-05-25T14:20:12.151" v="28864" actId="790"/>
          <ac:spMkLst>
            <pc:docMk/>
            <pc:sldMk cId="3056474185" sldId="10363"/>
            <ac:spMk id="160" creationId="{A8A94204-7780-44D2-9F69-E6D88D81CCC9}"/>
          </ac:spMkLst>
        </pc:spChg>
        <pc:spChg chg="mod">
          <ac:chgData name="Ugo MANTEL" userId="2d5b7065-31bb-4181-a7f8-a73bf0c30211" providerId="ADAL" clId="{9344D105-636D-4857-BD0F-AFC44A54BCCF}" dt="2021-05-25T14:20:12.152" v="28865" actId="790"/>
          <ac:spMkLst>
            <pc:docMk/>
            <pc:sldMk cId="3056474185" sldId="10363"/>
            <ac:spMk id="162" creationId="{7C77AD03-3049-47E7-8DA8-DA2A5283D6AD}"/>
          </ac:spMkLst>
        </pc:spChg>
        <pc:spChg chg="mod">
          <ac:chgData name="Ugo MANTEL" userId="2d5b7065-31bb-4181-a7f8-a73bf0c30211" providerId="ADAL" clId="{9344D105-636D-4857-BD0F-AFC44A54BCCF}" dt="2021-05-25T14:20:12.158" v="28872" actId="790"/>
          <ac:spMkLst>
            <pc:docMk/>
            <pc:sldMk cId="3056474185" sldId="10363"/>
            <ac:spMk id="188" creationId="{CBFDB5A1-F4BF-4077-B85B-DCBB511D131F}"/>
          </ac:spMkLst>
        </pc:spChg>
      </pc:sldChg>
      <pc:sldChg chg="modSp mod">
        <pc:chgData name="Ugo MANTEL" userId="2d5b7065-31bb-4181-a7f8-a73bf0c30211" providerId="ADAL" clId="{9344D105-636D-4857-BD0F-AFC44A54BCCF}" dt="2021-05-25T14:20:12.224" v="28949" actId="790"/>
        <pc:sldMkLst>
          <pc:docMk/>
          <pc:sldMk cId="511254166" sldId="10364"/>
        </pc:sldMkLst>
        <pc:spChg chg="mod">
          <ac:chgData name="Ugo MANTEL" userId="2d5b7065-31bb-4181-a7f8-a73bf0c30211" providerId="ADAL" clId="{9344D105-636D-4857-BD0F-AFC44A54BCCF}" dt="2021-05-25T14:20:12.186" v="28908" actId="790"/>
          <ac:spMkLst>
            <pc:docMk/>
            <pc:sldMk cId="511254166" sldId="10364"/>
            <ac:spMk id="2" creationId="{806A24BD-A309-4114-BCBE-1F8520216A75}"/>
          </ac:spMkLst>
        </pc:spChg>
        <pc:spChg chg="mod">
          <ac:chgData name="Ugo MANTEL" userId="2d5b7065-31bb-4181-a7f8-a73bf0c30211" providerId="ADAL" clId="{9344D105-636D-4857-BD0F-AFC44A54BCCF}" dt="2021-05-25T14:20:12.187" v="28909" actId="790"/>
          <ac:spMkLst>
            <pc:docMk/>
            <pc:sldMk cId="511254166" sldId="10364"/>
            <ac:spMk id="6" creationId="{4E6E5141-7FBC-4E06-91AB-778C41045C7B}"/>
          </ac:spMkLst>
        </pc:spChg>
        <pc:spChg chg="mod">
          <ac:chgData name="Ugo MANTEL" userId="2d5b7065-31bb-4181-a7f8-a73bf0c30211" providerId="ADAL" clId="{9344D105-636D-4857-BD0F-AFC44A54BCCF}" dt="2021-05-25T14:20:12.188" v="28910" actId="790"/>
          <ac:spMkLst>
            <pc:docMk/>
            <pc:sldMk cId="511254166" sldId="10364"/>
            <ac:spMk id="7" creationId="{8D09AD6F-BFA9-4E94-83DF-0661F98B9019}"/>
          </ac:spMkLst>
        </pc:spChg>
        <pc:spChg chg="mod">
          <ac:chgData name="Ugo MANTEL" userId="2d5b7065-31bb-4181-a7f8-a73bf0c30211" providerId="ADAL" clId="{9344D105-636D-4857-BD0F-AFC44A54BCCF}" dt="2021-05-25T14:20:12.189" v="28911" actId="790"/>
          <ac:spMkLst>
            <pc:docMk/>
            <pc:sldMk cId="511254166" sldId="10364"/>
            <ac:spMk id="8" creationId="{77A429D6-B3A3-42B0-BAD3-1B353FC28B08}"/>
          </ac:spMkLst>
        </pc:spChg>
        <pc:spChg chg="mod">
          <ac:chgData name="Ugo MANTEL" userId="2d5b7065-31bb-4181-a7f8-a73bf0c30211" providerId="ADAL" clId="{9344D105-636D-4857-BD0F-AFC44A54BCCF}" dt="2021-05-25T14:20:12.189" v="28912" actId="790"/>
          <ac:spMkLst>
            <pc:docMk/>
            <pc:sldMk cId="511254166" sldId="10364"/>
            <ac:spMk id="9" creationId="{C1790DA0-3655-475E-9CEE-4FBE153BB3F2}"/>
          </ac:spMkLst>
        </pc:spChg>
        <pc:spChg chg="mod">
          <ac:chgData name="Ugo MANTEL" userId="2d5b7065-31bb-4181-a7f8-a73bf0c30211" providerId="ADAL" clId="{9344D105-636D-4857-BD0F-AFC44A54BCCF}" dt="2021-05-25T14:20:12.203" v="28925" actId="790"/>
          <ac:spMkLst>
            <pc:docMk/>
            <pc:sldMk cId="511254166" sldId="10364"/>
            <ac:spMk id="12" creationId="{D8C440F0-5663-4EAC-8964-248F32036591}"/>
          </ac:spMkLst>
        </pc:spChg>
        <pc:spChg chg="mod">
          <ac:chgData name="Ugo MANTEL" userId="2d5b7065-31bb-4181-a7f8-a73bf0c30211" providerId="ADAL" clId="{9344D105-636D-4857-BD0F-AFC44A54BCCF}" dt="2021-05-25T14:20:12.190" v="28913" actId="790"/>
          <ac:spMkLst>
            <pc:docMk/>
            <pc:sldMk cId="511254166" sldId="10364"/>
            <ac:spMk id="15" creationId="{BD17CEC9-4298-48C2-A07A-B6966AE88E71}"/>
          </ac:spMkLst>
        </pc:spChg>
        <pc:spChg chg="mod">
          <ac:chgData name="Ugo MANTEL" userId="2d5b7065-31bb-4181-a7f8-a73bf0c30211" providerId="ADAL" clId="{9344D105-636D-4857-BD0F-AFC44A54BCCF}" dt="2021-05-25T14:20:12.191" v="28914" actId="790"/>
          <ac:spMkLst>
            <pc:docMk/>
            <pc:sldMk cId="511254166" sldId="10364"/>
            <ac:spMk id="22" creationId="{F54D9E31-C7E1-4619-8AB2-AF3F57E25D8C}"/>
          </ac:spMkLst>
        </pc:spChg>
        <pc:spChg chg="mod">
          <ac:chgData name="Ugo MANTEL" userId="2d5b7065-31bb-4181-a7f8-a73bf0c30211" providerId="ADAL" clId="{9344D105-636D-4857-BD0F-AFC44A54BCCF}" dt="2021-05-25T14:20:12.193" v="28915" actId="790"/>
          <ac:spMkLst>
            <pc:docMk/>
            <pc:sldMk cId="511254166" sldId="10364"/>
            <ac:spMk id="23" creationId="{E942F219-9D1D-4A73-B97D-EC48BD66AF15}"/>
          </ac:spMkLst>
        </pc:spChg>
        <pc:spChg chg="mod">
          <ac:chgData name="Ugo MANTEL" userId="2d5b7065-31bb-4181-a7f8-a73bf0c30211" providerId="ADAL" clId="{9344D105-636D-4857-BD0F-AFC44A54BCCF}" dt="2021-05-25T14:20:12.194" v="28916" actId="790"/>
          <ac:spMkLst>
            <pc:docMk/>
            <pc:sldMk cId="511254166" sldId="10364"/>
            <ac:spMk id="24" creationId="{C2FF144E-7C70-4F58-8690-D05F03C7B743}"/>
          </ac:spMkLst>
        </pc:spChg>
        <pc:spChg chg="mod">
          <ac:chgData name="Ugo MANTEL" userId="2d5b7065-31bb-4181-a7f8-a73bf0c30211" providerId="ADAL" clId="{9344D105-636D-4857-BD0F-AFC44A54BCCF}" dt="2021-05-25T14:20:12.195" v="28917" actId="790"/>
          <ac:spMkLst>
            <pc:docMk/>
            <pc:sldMk cId="511254166" sldId="10364"/>
            <ac:spMk id="43" creationId="{C59EF210-5B50-40A7-A6B4-DDAD799020BA}"/>
          </ac:spMkLst>
        </pc:spChg>
        <pc:spChg chg="mod">
          <ac:chgData name="Ugo MANTEL" userId="2d5b7065-31bb-4181-a7f8-a73bf0c30211" providerId="ADAL" clId="{9344D105-636D-4857-BD0F-AFC44A54BCCF}" dt="2021-05-25T14:20:12.196" v="28918" actId="790"/>
          <ac:spMkLst>
            <pc:docMk/>
            <pc:sldMk cId="511254166" sldId="10364"/>
            <ac:spMk id="45" creationId="{A30046C9-7286-442E-B5D2-9182D2F71B12}"/>
          </ac:spMkLst>
        </pc:spChg>
        <pc:spChg chg="mod">
          <ac:chgData name="Ugo MANTEL" userId="2d5b7065-31bb-4181-a7f8-a73bf0c30211" providerId="ADAL" clId="{9344D105-636D-4857-BD0F-AFC44A54BCCF}" dt="2021-05-25T14:20:12.198" v="28919" actId="790"/>
          <ac:spMkLst>
            <pc:docMk/>
            <pc:sldMk cId="511254166" sldId="10364"/>
            <ac:spMk id="56" creationId="{F37F2C7C-4651-46F1-B548-F75D15102AEA}"/>
          </ac:spMkLst>
        </pc:spChg>
        <pc:spChg chg="mod">
          <ac:chgData name="Ugo MANTEL" userId="2d5b7065-31bb-4181-a7f8-a73bf0c30211" providerId="ADAL" clId="{9344D105-636D-4857-BD0F-AFC44A54BCCF}" dt="2021-05-25T14:20:12.218" v="28941" actId="790"/>
          <ac:spMkLst>
            <pc:docMk/>
            <pc:sldMk cId="511254166" sldId="10364"/>
            <ac:spMk id="59" creationId="{E9DD7081-9497-4CB5-9A8D-3B1D818747D9}"/>
          </ac:spMkLst>
        </pc:spChg>
        <pc:spChg chg="mod">
          <ac:chgData name="Ugo MANTEL" userId="2d5b7065-31bb-4181-a7f8-a73bf0c30211" providerId="ADAL" clId="{9344D105-636D-4857-BD0F-AFC44A54BCCF}" dt="2021-05-25T14:20:12.219" v="28942" actId="790"/>
          <ac:spMkLst>
            <pc:docMk/>
            <pc:sldMk cId="511254166" sldId="10364"/>
            <ac:spMk id="60" creationId="{6486CA03-FF59-4183-9DA0-8D77062A94DB}"/>
          </ac:spMkLst>
        </pc:spChg>
        <pc:spChg chg="mod">
          <ac:chgData name="Ugo MANTEL" userId="2d5b7065-31bb-4181-a7f8-a73bf0c30211" providerId="ADAL" clId="{9344D105-636D-4857-BD0F-AFC44A54BCCF}" dt="2021-05-25T14:20:12.199" v="28920" actId="790"/>
          <ac:spMkLst>
            <pc:docMk/>
            <pc:sldMk cId="511254166" sldId="10364"/>
            <ac:spMk id="61" creationId="{86718822-02E2-4F9A-B0D6-5A2C08F0884A}"/>
          </ac:spMkLst>
        </pc:spChg>
        <pc:spChg chg="mod">
          <ac:chgData name="Ugo MANTEL" userId="2d5b7065-31bb-4181-a7f8-a73bf0c30211" providerId="ADAL" clId="{9344D105-636D-4857-BD0F-AFC44A54BCCF}" dt="2021-05-25T14:20:12.224" v="28949" actId="790"/>
          <ac:spMkLst>
            <pc:docMk/>
            <pc:sldMk cId="511254166" sldId="10364"/>
            <ac:spMk id="62" creationId="{79C87638-3FCC-4CDB-9AA2-DB98B1D15143}"/>
          </ac:spMkLst>
        </pc:spChg>
        <pc:spChg chg="mod">
          <ac:chgData name="Ugo MANTEL" userId="2d5b7065-31bb-4181-a7f8-a73bf0c30211" providerId="ADAL" clId="{9344D105-636D-4857-BD0F-AFC44A54BCCF}" dt="2021-05-25T14:20:12.219" v="28943" actId="790"/>
          <ac:spMkLst>
            <pc:docMk/>
            <pc:sldMk cId="511254166" sldId="10364"/>
            <ac:spMk id="64" creationId="{1089F2A6-D239-4C3A-AD45-C08911A80D82}"/>
          </ac:spMkLst>
        </pc:spChg>
        <pc:spChg chg="mod">
          <ac:chgData name="Ugo MANTEL" userId="2d5b7065-31bb-4181-a7f8-a73bf0c30211" providerId="ADAL" clId="{9344D105-636D-4857-BD0F-AFC44A54BCCF}" dt="2021-05-25T14:20:12.220" v="28944" actId="790"/>
          <ac:spMkLst>
            <pc:docMk/>
            <pc:sldMk cId="511254166" sldId="10364"/>
            <ac:spMk id="65" creationId="{2675BB59-C17E-400B-9555-ADF6AE8ABB41}"/>
          </ac:spMkLst>
        </pc:spChg>
        <pc:spChg chg="mod">
          <ac:chgData name="Ugo MANTEL" userId="2d5b7065-31bb-4181-a7f8-a73bf0c30211" providerId="ADAL" clId="{9344D105-636D-4857-BD0F-AFC44A54BCCF}" dt="2021-05-25T14:20:12.221" v="28945" actId="790"/>
          <ac:spMkLst>
            <pc:docMk/>
            <pc:sldMk cId="511254166" sldId="10364"/>
            <ac:spMk id="66" creationId="{68124A35-6E5D-40F6-A0BB-91A8B4125C7B}"/>
          </ac:spMkLst>
        </pc:spChg>
        <pc:spChg chg="mod">
          <ac:chgData name="Ugo MANTEL" userId="2d5b7065-31bb-4181-a7f8-a73bf0c30211" providerId="ADAL" clId="{9344D105-636D-4857-BD0F-AFC44A54BCCF}" dt="2021-05-25T14:20:12.222" v="28946" actId="790"/>
          <ac:spMkLst>
            <pc:docMk/>
            <pc:sldMk cId="511254166" sldId="10364"/>
            <ac:spMk id="67" creationId="{14DBD2BF-71F7-477C-BD84-A4BEF3A1255F}"/>
          </ac:spMkLst>
        </pc:spChg>
        <pc:spChg chg="mod">
          <ac:chgData name="Ugo MANTEL" userId="2d5b7065-31bb-4181-a7f8-a73bf0c30211" providerId="ADAL" clId="{9344D105-636D-4857-BD0F-AFC44A54BCCF}" dt="2021-05-25T14:20:12.222" v="28947" actId="790"/>
          <ac:spMkLst>
            <pc:docMk/>
            <pc:sldMk cId="511254166" sldId="10364"/>
            <ac:spMk id="68" creationId="{D3B7C6B4-06E8-42C2-83C4-8C0C0FCA814E}"/>
          </ac:spMkLst>
        </pc:spChg>
        <pc:spChg chg="mod">
          <ac:chgData name="Ugo MANTEL" userId="2d5b7065-31bb-4181-a7f8-a73bf0c30211" providerId="ADAL" clId="{9344D105-636D-4857-BD0F-AFC44A54BCCF}" dt="2021-05-25T14:20:12.223" v="28948" actId="790"/>
          <ac:spMkLst>
            <pc:docMk/>
            <pc:sldMk cId="511254166" sldId="10364"/>
            <ac:spMk id="69" creationId="{32EDACA9-787C-4252-8EE4-4D23F3D66534}"/>
          </ac:spMkLst>
        </pc:spChg>
        <pc:spChg chg="mod">
          <ac:chgData name="Ugo MANTEL" userId="2d5b7065-31bb-4181-a7f8-a73bf0c30211" providerId="ADAL" clId="{9344D105-636D-4857-BD0F-AFC44A54BCCF}" dt="2021-05-25T14:20:12.203" v="28926" actId="790"/>
          <ac:spMkLst>
            <pc:docMk/>
            <pc:sldMk cId="511254166" sldId="10364"/>
            <ac:spMk id="87" creationId="{B12B01F7-2C02-43C2-81BF-CA4C399D06F4}"/>
          </ac:spMkLst>
        </pc:spChg>
        <pc:spChg chg="mod">
          <ac:chgData name="Ugo MANTEL" userId="2d5b7065-31bb-4181-a7f8-a73bf0c30211" providerId="ADAL" clId="{9344D105-636D-4857-BD0F-AFC44A54BCCF}" dt="2021-05-25T14:20:12.204" v="28927" actId="790"/>
          <ac:spMkLst>
            <pc:docMk/>
            <pc:sldMk cId="511254166" sldId="10364"/>
            <ac:spMk id="88" creationId="{23735882-1AA1-4E74-8AC7-A468BFE35F3C}"/>
          </ac:spMkLst>
        </pc:spChg>
        <pc:spChg chg="mod">
          <ac:chgData name="Ugo MANTEL" userId="2d5b7065-31bb-4181-a7f8-a73bf0c30211" providerId="ADAL" clId="{9344D105-636D-4857-BD0F-AFC44A54BCCF}" dt="2021-05-25T14:20:12.205" v="28928" actId="790"/>
          <ac:spMkLst>
            <pc:docMk/>
            <pc:sldMk cId="511254166" sldId="10364"/>
            <ac:spMk id="92" creationId="{175224E4-B9F3-466D-BBE2-3AD95EAFDEF3}"/>
          </ac:spMkLst>
        </pc:spChg>
        <pc:spChg chg="mod">
          <ac:chgData name="Ugo MANTEL" userId="2d5b7065-31bb-4181-a7f8-a73bf0c30211" providerId="ADAL" clId="{9344D105-636D-4857-BD0F-AFC44A54BCCF}" dt="2021-05-25T14:20:12.206" v="28929" actId="790"/>
          <ac:spMkLst>
            <pc:docMk/>
            <pc:sldMk cId="511254166" sldId="10364"/>
            <ac:spMk id="93" creationId="{071E6E2D-787C-478A-B85D-6B8795BCABBF}"/>
          </ac:spMkLst>
        </pc:spChg>
        <pc:spChg chg="mod">
          <ac:chgData name="Ugo MANTEL" userId="2d5b7065-31bb-4181-a7f8-a73bf0c30211" providerId="ADAL" clId="{9344D105-636D-4857-BD0F-AFC44A54BCCF}" dt="2021-05-25T14:20:12.207" v="28930" actId="790"/>
          <ac:spMkLst>
            <pc:docMk/>
            <pc:sldMk cId="511254166" sldId="10364"/>
            <ac:spMk id="94" creationId="{51D1811C-B66B-419E-9ABA-EA4C922F5446}"/>
          </ac:spMkLst>
        </pc:spChg>
        <pc:spChg chg="mod">
          <ac:chgData name="Ugo MANTEL" userId="2d5b7065-31bb-4181-a7f8-a73bf0c30211" providerId="ADAL" clId="{9344D105-636D-4857-BD0F-AFC44A54BCCF}" dt="2021-05-25T14:20:12.208" v="28931" actId="790"/>
          <ac:spMkLst>
            <pc:docMk/>
            <pc:sldMk cId="511254166" sldId="10364"/>
            <ac:spMk id="95" creationId="{F3B897A9-107D-4E9F-A970-BDA202F8026B}"/>
          </ac:spMkLst>
        </pc:spChg>
        <pc:spChg chg="mod">
          <ac:chgData name="Ugo MANTEL" userId="2d5b7065-31bb-4181-a7f8-a73bf0c30211" providerId="ADAL" clId="{9344D105-636D-4857-BD0F-AFC44A54BCCF}" dt="2021-05-25T14:20:12.208" v="28932" actId="790"/>
          <ac:spMkLst>
            <pc:docMk/>
            <pc:sldMk cId="511254166" sldId="10364"/>
            <ac:spMk id="96" creationId="{8D78B14F-64C7-43F3-8AF6-03F038FEC429}"/>
          </ac:spMkLst>
        </pc:spChg>
        <pc:spChg chg="mod">
          <ac:chgData name="Ugo MANTEL" userId="2d5b7065-31bb-4181-a7f8-a73bf0c30211" providerId="ADAL" clId="{9344D105-636D-4857-BD0F-AFC44A54BCCF}" dt="2021-05-25T14:20:12.211" v="28933" actId="790"/>
          <ac:spMkLst>
            <pc:docMk/>
            <pc:sldMk cId="511254166" sldId="10364"/>
            <ac:spMk id="103" creationId="{F2635A05-557C-4DF8-9DAB-C0A75150008D}"/>
          </ac:spMkLst>
        </pc:spChg>
        <pc:spChg chg="mod">
          <ac:chgData name="Ugo MANTEL" userId="2d5b7065-31bb-4181-a7f8-a73bf0c30211" providerId="ADAL" clId="{9344D105-636D-4857-BD0F-AFC44A54BCCF}" dt="2021-05-25T14:20:12.211" v="28934" actId="790"/>
          <ac:spMkLst>
            <pc:docMk/>
            <pc:sldMk cId="511254166" sldId="10364"/>
            <ac:spMk id="104" creationId="{1AA4E0C4-1C43-4B17-A6A7-3CBF5A7A550C}"/>
          </ac:spMkLst>
        </pc:spChg>
        <pc:spChg chg="mod">
          <ac:chgData name="Ugo MANTEL" userId="2d5b7065-31bb-4181-a7f8-a73bf0c30211" providerId="ADAL" clId="{9344D105-636D-4857-BD0F-AFC44A54BCCF}" dt="2021-05-25T14:20:12.200" v="28921" actId="790"/>
          <ac:spMkLst>
            <pc:docMk/>
            <pc:sldMk cId="511254166" sldId="10364"/>
            <ac:spMk id="110" creationId="{D112EAE9-1C24-4AF0-B3DD-273BF2FF5A59}"/>
          </ac:spMkLst>
        </pc:spChg>
        <pc:spChg chg="mod">
          <ac:chgData name="Ugo MANTEL" userId="2d5b7065-31bb-4181-a7f8-a73bf0c30211" providerId="ADAL" clId="{9344D105-636D-4857-BD0F-AFC44A54BCCF}" dt="2021-05-25T14:20:12.212" v="28935" actId="790"/>
          <ac:spMkLst>
            <pc:docMk/>
            <pc:sldMk cId="511254166" sldId="10364"/>
            <ac:spMk id="115" creationId="{DC7E2D8A-29A3-44C4-8371-FF818D017905}"/>
          </ac:spMkLst>
        </pc:spChg>
        <pc:spChg chg="mod">
          <ac:chgData name="Ugo MANTEL" userId="2d5b7065-31bb-4181-a7f8-a73bf0c30211" providerId="ADAL" clId="{9344D105-636D-4857-BD0F-AFC44A54BCCF}" dt="2021-05-25T14:20:12.214" v="28936" actId="790"/>
          <ac:spMkLst>
            <pc:docMk/>
            <pc:sldMk cId="511254166" sldId="10364"/>
            <ac:spMk id="116" creationId="{0FD3FE0D-C57C-45A0-B908-600B41E06491}"/>
          </ac:spMkLst>
        </pc:spChg>
        <pc:spChg chg="mod">
          <ac:chgData name="Ugo MANTEL" userId="2d5b7065-31bb-4181-a7f8-a73bf0c30211" providerId="ADAL" clId="{9344D105-636D-4857-BD0F-AFC44A54BCCF}" dt="2021-05-25T14:20:12.215" v="28937" actId="790"/>
          <ac:spMkLst>
            <pc:docMk/>
            <pc:sldMk cId="511254166" sldId="10364"/>
            <ac:spMk id="121" creationId="{E99EBA96-FB36-49CA-ACEA-74F5EC949F8F}"/>
          </ac:spMkLst>
        </pc:spChg>
        <pc:spChg chg="mod">
          <ac:chgData name="Ugo MANTEL" userId="2d5b7065-31bb-4181-a7f8-a73bf0c30211" providerId="ADAL" clId="{9344D105-636D-4857-BD0F-AFC44A54BCCF}" dt="2021-05-25T14:20:12.216" v="28938" actId="790"/>
          <ac:spMkLst>
            <pc:docMk/>
            <pc:sldMk cId="511254166" sldId="10364"/>
            <ac:spMk id="122" creationId="{42742870-E854-4251-A47C-41413DEDB0F1}"/>
          </ac:spMkLst>
        </pc:spChg>
        <pc:spChg chg="mod">
          <ac:chgData name="Ugo MANTEL" userId="2d5b7065-31bb-4181-a7f8-a73bf0c30211" providerId="ADAL" clId="{9344D105-636D-4857-BD0F-AFC44A54BCCF}" dt="2021-05-25T14:20:12.216" v="28939" actId="790"/>
          <ac:spMkLst>
            <pc:docMk/>
            <pc:sldMk cId="511254166" sldId="10364"/>
            <ac:spMk id="123" creationId="{D96542B9-EDC6-4ED8-A3C6-D367FDA0E05C}"/>
          </ac:spMkLst>
        </pc:spChg>
        <pc:spChg chg="mod">
          <ac:chgData name="Ugo MANTEL" userId="2d5b7065-31bb-4181-a7f8-a73bf0c30211" providerId="ADAL" clId="{9344D105-636D-4857-BD0F-AFC44A54BCCF}" dt="2021-05-25T14:20:12.200" v="28922" actId="790"/>
          <ac:spMkLst>
            <pc:docMk/>
            <pc:sldMk cId="511254166" sldId="10364"/>
            <ac:spMk id="132" creationId="{1A3DE5F6-DC50-4B3E-8712-4F7931E9D3D4}"/>
          </ac:spMkLst>
        </pc:spChg>
        <pc:spChg chg="mod">
          <ac:chgData name="Ugo MANTEL" userId="2d5b7065-31bb-4181-a7f8-a73bf0c30211" providerId="ADAL" clId="{9344D105-636D-4857-BD0F-AFC44A54BCCF}" dt="2021-05-25T14:20:12.201" v="28923" actId="790"/>
          <ac:spMkLst>
            <pc:docMk/>
            <pc:sldMk cId="511254166" sldId="10364"/>
            <ac:spMk id="133" creationId="{DC661DF3-2B60-4258-8A3C-6DA55E7974BD}"/>
          </ac:spMkLst>
        </pc:spChg>
        <pc:spChg chg="mod">
          <ac:chgData name="Ugo MANTEL" userId="2d5b7065-31bb-4181-a7f8-a73bf0c30211" providerId="ADAL" clId="{9344D105-636D-4857-BD0F-AFC44A54BCCF}" dt="2021-05-25T14:20:12.202" v="28924" actId="790"/>
          <ac:spMkLst>
            <pc:docMk/>
            <pc:sldMk cId="511254166" sldId="10364"/>
            <ac:spMk id="134" creationId="{D5795A40-7B7E-4315-876A-A38D6610B661}"/>
          </ac:spMkLst>
        </pc:spChg>
        <pc:spChg chg="mod">
          <ac:chgData name="Ugo MANTEL" userId="2d5b7065-31bb-4181-a7f8-a73bf0c30211" providerId="ADAL" clId="{9344D105-636D-4857-BD0F-AFC44A54BCCF}" dt="2021-05-25T14:20:12.217" v="28940" actId="790"/>
          <ac:spMkLst>
            <pc:docMk/>
            <pc:sldMk cId="511254166" sldId="10364"/>
            <ac:spMk id="151" creationId="{945919F5-1F6F-4979-90CA-397384E59334}"/>
          </ac:spMkLst>
        </pc:spChg>
      </pc:sldChg>
      <pc:sldChg chg="modSp mod">
        <pc:chgData name="Ugo MANTEL" userId="2d5b7065-31bb-4181-a7f8-a73bf0c30211" providerId="ADAL" clId="{9344D105-636D-4857-BD0F-AFC44A54BCCF}" dt="2021-05-25T14:20:12.326" v="29066" actId="790"/>
        <pc:sldMkLst>
          <pc:docMk/>
          <pc:sldMk cId="3481177109" sldId="10365"/>
        </pc:sldMkLst>
        <pc:spChg chg="mod">
          <ac:chgData name="Ugo MANTEL" userId="2d5b7065-31bb-4181-a7f8-a73bf0c30211" providerId="ADAL" clId="{9344D105-636D-4857-BD0F-AFC44A54BCCF}" dt="2021-05-25T14:20:12.276" v="29007" actId="790"/>
          <ac:spMkLst>
            <pc:docMk/>
            <pc:sldMk cId="3481177109" sldId="10365"/>
            <ac:spMk id="2" creationId="{806A24BD-A309-4114-BCBE-1F8520216A75}"/>
          </ac:spMkLst>
        </pc:spChg>
        <pc:spChg chg="mod">
          <ac:chgData name="Ugo MANTEL" userId="2d5b7065-31bb-4181-a7f8-a73bf0c30211" providerId="ADAL" clId="{9344D105-636D-4857-BD0F-AFC44A54BCCF}" dt="2021-05-25T14:20:12.303" v="29040" actId="790"/>
          <ac:spMkLst>
            <pc:docMk/>
            <pc:sldMk cId="3481177109" sldId="10365"/>
            <ac:spMk id="5" creationId="{13E5CBFB-209B-4F56-956E-E99A02FE36C6}"/>
          </ac:spMkLst>
        </pc:spChg>
        <pc:spChg chg="mod">
          <ac:chgData name="Ugo MANTEL" userId="2d5b7065-31bb-4181-a7f8-a73bf0c30211" providerId="ADAL" clId="{9344D105-636D-4857-BD0F-AFC44A54BCCF}" dt="2021-05-25T14:20:12.277" v="29008" actId="790"/>
          <ac:spMkLst>
            <pc:docMk/>
            <pc:sldMk cId="3481177109" sldId="10365"/>
            <ac:spMk id="6" creationId="{4E6E5141-7FBC-4E06-91AB-778C41045C7B}"/>
          </ac:spMkLst>
        </pc:spChg>
        <pc:spChg chg="mod">
          <ac:chgData name="Ugo MANTEL" userId="2d5b7065-31bb-4181-a7f8-a73bf0c30211" providerId="ADAL" clId="{9344D105-636D-4857-BD0F-AFC44A54BCCF}" dt="2021-05-25T14:20:12.278" v="29009" actId="790"/>
          <ac:spMkLst>
            <pc:docMk/>
            <pc:sldMk cId="3481177109" sldId="10365"/>
            <ac:spMk id="7" creationId="{8D09AD6F-BFA9-4E94-83DF-0661F98B9019}"/>
          </ac:spMkLst>
        </pc:spChg>
        <pc:spChg chg="mod">
          <ac:chgData name="Ugo MANTEL" userId="2d5b7065-31bb-4181-a7f8-a73bf0c30211" providerId="ADAL" clId="{9344D105-636D-4857-BD0F-AFC44A54BCCF}" dt="2021-05-25T14:20:12.279" v="29010" actId="790"/>
          <ac:spMkLst>
            <pc:docMk/>
            <pc:sldMk cId="3481177109" sldId="10365"/>
            <ac:spMk id="8" creationId="{77A429D6-B3A3-42B0-BAD3-1B353FC28B08}"/>
          </ac:spMkLst>
        </pc:spChg>
        <pc:spChg chg="mod">
          <ac:chgData name="Ugo MANTEL" userId="2d5b7065-31bb-4181-a7f8-a73bf0c30211" providerId="ADAL" clId="{9344D105-636D-4857-BD0F-AFC44A54BCCF}" dt="2021-05-25T14:20:12.279" v="29011" actId="790"/>
          <ac:spMkLst>
            <pc:docMk/>
            <pc:sldMk cId="3481177109" sldId="10365"/>
            <ac:spMk id="9" creationId="{C1790DA0-3655-475E-9CEE-4FBE153BB3F2}"/>
          </ac:spMkLst>
        </pc:spChg>
        <pc:spChg chg="mod">
          <ac:chgData name="Ugo MANTEL" userId="2d5b7065-31bb-4181-a7f8-a73bf0c30211" providerId="ADAL" clId="{9344D105-636D-4857-BD0F-AFC44A54BCCF}" dt="2021-05-25T14:20:12.298" v="29034" actId="790"/>
          <ac:spMkLst>
            <pc:docMk/>
            <pc:sldMk cId="3481177109" sldId="10365"/>
            <ac:spMk id="12" creationId="{D8C440F0-5663-4EAC-8964-248F32036591}"/>
          </ac:spMkLst>
        </pc:spChg>
        <pc:spChg chg="mod">
          <ac:chgData name="Ugo MANTEL" userId="2d5b7065-31bb-4181-a7f8-a73bf0c30211" providerId="ADAL" clId="{9344D105-636D-4857-BD0F-AFC44A54BCCF}" dt="2021-05-25T14:20:12.304" v="29042" actId="790"/>
          <ac:spMkLst>
            <pc:docMk/>
            <pc:sldMk cId="3481177109" sldId="10365"/>
            <ac:spMk id="13" creationId="{58C15C1C-7B0D-4DD0-BF55-D67B02416600}"/>
          </ac:spMkLst>
        </pc:spChg>
        <pc:spChg chg="mod">
          <ac:chgData name="Ugo MANTEL" userId="2d5b7065-31bb-4181-a7f8-a73bf0c30211" providerId="ADAL" clId="{9344D105-636D-4857-BD0F-AFC44A54BCCF}" dt="2021-05-25T14:20:12.280" v="29012" actId="790"/>
          <ac:spMkLst>
            <pc:docMk/>
            <pc:sldMk cId="3481177109" sldId="10365"/>
            <ac:spMk id="14" creationId="{B8D529E0-B56F-42E9-9413-B04B09D1BC35}"/>
          </ac:spMkLst>
        </pc:spChg>
        <pc:spChg chg="mod">
          <ac:chgData name="Ugo MANTEL" userId="2d5b7065-31bb-4181-a7f8-a73bf0c30211" providerId="ADAL" clId="{9344D105-636D-4857-BD0F-AFC44A54BCCF}" dt="2021-05-25T14:20:12.281" v="29013" actId="790"/>
          <ac:spMkLst>
            <pc:docMk/>
            <pc:sldMk cId="3481177109" sldId="10365"/>
            <ac:spMk id="15" creationId="{BD17CEC9-4298-48C2-A07A-B6966AE88E71}"/>
          </ac:spMkLst>
        </pc:spChg>
        <pc:spChg chg="mod">
          <ac:chgData name="Ugo MANTEL" userId="2d5b7065-31bb-4181-a7f8-a73bf0c30211" providerId="ADAL" clId="{9344D105-636D-4857-BD0F-AFC44A54BCCF}" dt="2021-05-25T14:20:12.282" v="29014" actId="790"/>
          <ac:spMkLst>
            <pc:docMk/>
            <pc:sldMk cId="3481177109" sldId="10365"/>
            <ac:spMk id="16" creationId="{B886F05E-DC2A-4B28-89B2-BAEBC0591254}"/>
          </ac:spMkLst>
        </pc:spChg>
        <pc:spChg chg="mod">
          <ac:chgData name="Ugo MANTEL" userId="2d5b7065-31bb-4181-a7f8-a73bf0c30211" providerId="ADAL" clId="{9344D105-636D-4857-BD0F-AFC44A54BCCF}" dt="2021-05-25T14:20:12.282" v="29015" actId="790"/>
          <ac:spMkLst>
            <pc:docMk/>
            <pc:sldMk cId="3481177109" sldId="10365"/>
            <ac:spMk id="17" creationId="{FD9BD1A8-B133-4ED7-9402-59FE79DE23EC}"/>
          </ac:spMkLst>
        </pc:spChg>
        <pc:spChg chg="mod">
          <ac:chgData name="Ugo MANTEL" userId="2d5b7065-31bb-4181-a7f8-a73bf0c30211" providerId="ADAL" clId="{9344D105-636D-4857-BD0F-AFC44A54BCCF}" dt="2021-05-25T14:20:12.283" v="29016" actId="790"/>
          <ac:spMkLst>
            <pc:docMk/>
            <pc:sldMk cId="3481177109" sldId="10365"/>
            <ac:spMk id="18" creationId="{4373ED4E-D1FF-488D-BEFE-69AC7F528CA4}"/>
          </ac:spMkLst>
        </pc:spChg>
        <pc:spChg chg="mod">
          <ac:chgData name="Ugo MANTEL" userId="2d5b7065-31bb-4181-a7f8-a73bf0c30211" providerId="ADAL" clId="{9344D105-636D-4857-BD0F-AFC44A54BCCF}" dt="2021-05-25T14:20:12.284" v="29017" actId="790"/>
          <ac:spMkLst>
            <pc:docMk/>
            <pc:sldMk cId="3481177109" sldId="10365"/>
            <ac:spMk id="19" creationId="{BC760060-ABD5-412D-8045-EF97EC543341}"/>
          </ac:spMkLst>
        </pc:spChg>
        <pc:spChg chg="mod">
          <ac:chgData name="Ugo MANTEL" userId="2d5b7065-31bb-4181-a7f8-a73bf0c30211" providerId="ADAL" clId="{9344D105-636D-4857-BD0F-AFC44A54BCCF}" dt="2021-05-25T14:20:12.284" v="29018" actId="790"/>
          <ac:spMkLst>
            <pc:docMk/>
            <pc:sldMk cId="3481177109" sldId="10365"/>
            <ac:spMk id="20" creationId="{388BECFA-DD33-47B0-8DCF-EFF4D8D243DB}"/>
          </ac:spMkLst>
        </pc:spChg>
        <pc:spChg chg="mod">
          <ac:chgData name="Ugo MANTEL" userId="2d5b7065-31bb-4181-a7f8-a73bf0c30211" providerId="ADAL" clId="{9344D105-636D-4857-BD0F-AFC44A54BCCF}" dt="2021-05-25T14:20:12.285" v="29019" actId="790"/>
          <ac:spMkLst>
            <pc:docMk/>
            <pc:sldMk cId="3481177109" sldId="10365"/>
            <ac:spMk id="21" creationId="{F90680D2-5DA9-4AD6-8E64-FE8EA1410BC0}"/>
          </ac:spMkLst>
        </pc:spChg>
        <pc:spChg chg="mod">
          <ac:chgData name="Ugo MANTEL" userId="2d5b7065-31bb-4181-a7f8-a73bf0c30211" providerId="ADAL" clId="{9344D105-636D-4857-BD0F-AFC44A54BCCF}" dt="2021-05-25T14:20:12.286" v="29020" actId="790"/>
          <ac:spMkLst>
            <pc:docMk/>
            <pc:sldMk cId="3481177109" sldId="10365"/>
            <ac:spMk id="22" creationId="{F54D9E31-C7E1-4619-8AB2-AF3F57E25D8C}"/>
          </ac:spMkLst>
        </pc:spChg>
        <pc:spChg chg="mod">
          <ac:chgData name="Ugo MANTEL" userId="2d5b7065-31bb-4181-a7f8-a73bf0c30211" providerId="ADAL" clId="{9344D105-636D-4857-BD0F-AFC44A54BCCF}" dt="2021-05-25T14:20:12.287" v="29021" actId="790"/>
          <ac:spMkLst>
            <pc:docMk/>
            <pc:sldMk cId="3481177109" sldId="10365"/>
            <ac:spMk id="23" creationId="{E942F219-9D1D-4A73-B97D-EC48BD66AF15}"/>
          </ac:spMkLst>
        </pc:spChg>
        <pc:spChg chg="mod">
          <ac:chgData name="Ugo MANTEL" userId="2d5b7065-31bb-4181-a7f8-a73bf0c30211" providerId="ADAL" clId="{9344D105-636D-4857-BD0F-AFC44A54BCCF}" dt="2021-05-25T14:20:12.288" v="29022" actId="790"/>
          <ac:spMkLst>
            <pc:docMk/>
            <pc:sldMk cId="3481177109" sldId="10365"/>
            <ac:spMk id="24" creationId="{C2FF144E-7C70-4F58-8690-D05F03C7B743}"/>
          </ac:spMkLst>
        </pc:spChg>
        <pc:spChg chg="mod">
          <ac:chgData name="Ugo MANTEL" userId="2d5b7065-31bb-4181-a7f8-a73bf0c30211" providerId="ADAL" clId="{9344D105-636D-4857-BD0F-AFC44A54BCCF}" dt="2021-05-25T14:20:12.300" v="29036" actId="790"/>
          <ac:spMkLst>
            <pc:docMk/>
            <pc:sldMk cId="3481177109" sldId="10365"/>
            <ac:spMk id="25" creationId="{C1B3C97E-2579-4FEA-8968-54D9B75B13A4}"/>
          </ac:spMkLst>
        </pc:spChg>
        <pc:spChg chg="mod">
          <ac:chgData name="Ugo MANTEL" userId="2d5b7065-31bb-4181-a7f8-a73bf0c30211" providerId="ADAL" clId="{9344D105-636D-4857-BD0F-AFC44A54BCCF}" dt="2021-05-25T14:20:12.289" v="29023" actId="790"/>
          <ac:spMkLst>
            <pc:docMk/>
            <pc:sldMk cId="3481177109" sldId="10365"/>
            <ac:spMk id="43" creationId="{C59EF210-5B50-40A7-A6B4-DDAD799020BA}"/>
          </ac:spMkLst>
        </pc:spChg>
        <pc:spChg chg="mod">
          <ac:chgData name="Ugo MANTEL" userId="2d5b7065-31bb-4181-a7f8-a73bf0c30211" providerId="ADAL" clId="{9344D105-636D-4857-BD0F-AFC44A54BCCF}" dt="2021-05-25T14:20:12.290" v="29024" actId="790"/>
          <ac:spMkLst>
            <pc:docMk/>
            <pc:sldMk cId="3481177109" sldId="10365"/>
            <ac:spMk id="45" creationId="{A30046C9-7286-442E-B5D2-9182D2F71B12}"/>
          </ac:spMkLst>
        </pc:spChg>
        <pc:spChg chg="mod">
          <ac:chgData name="Ugo MANTEL" userId="2d5b7065-31bb-4181-a7f8-a73bf0c30211" providerId="ADAL" clId="{9344D105-636D-4857-BD0F-AFC44A54BCCF}" dt="2021-05-25T14:20:12.291" v="29025" actId="790"/>
          <ac:spMkLst>
            <pc:docMk/>
            <pc:sldMk cId="3481177109" sldId="10365"/>
            <ac:spMk id="56" creationId="{F37F2C7C-4651-46F1-B548-F75D15102AEA}"/>
          </ac:spMkLst>
        </pc:spChg>
        <pc:spChg chg="mod">
          <ac:chgData name="Ugo MANTEL" userId="2d5b7065-31bb-4181-a7f8-a73bf0c30211" providerId="ADAL" clId="{9344D105-636D-4857-BD0F-AFC44A54BCCF}" dt="2021-05-25T14:20:12.291" v="29026" actId="790"/>
          <ac:spMkLst>
            <pc:docMk/>
            <pc:sldMk cId="3481177109" sldId="10365"/>
            <ac:spMk id="61" creationId="{86718822-02E2-4F9A-B0D6-5A2C08F0884A}"/>
          </ac:spMkLst>
        </pc:spChg>
        <pc:spChg chg="mod">
          <ac:chgData name="Ugo MANTEL" userId="2d5b7065-31bb-4181-a7f8-a73bf0c30211" providerId="ADAL" clId="{9344D105-636D-4857-BD0F-AFC44A54BCCF}" dt="2021-05-25T14:20:12.292" v="29027" actId="790"/>
          <ac:spMkLst>
            <pc:docMk/>
            <pc:sldMk cId="3481177109" sldId="10365"/>
            <ac:spMk id="74" creationId="{DD8929B4-3FC0-4A80-B005-DECF49E5F03E}"/>
          </ac:spMkLst>
        </pc:spChg>
        <pc:spChg chg="mod">
          <ac:chgData name="Ugo MANTEL" userId="2d5b7065-31bb-4181-a7f8-a73bf0c30211" providerId="ADAL" clId="{9344D105-636D-4857-BD0F-AFC44A54BCCF}" dt="2021-05-25T14:20:12.320" v="29058" actId="790"/>
          <ac:spMkLst>
            <pc:docMk/>
            <pc:sldMk cId="3481177109" sldId="10365"/>
            <ac:spMk id="84" creationId="{F3F4C91C-743E-4444-AECA-0D6841521732}"/>
          </ac:spMkLst>
        </pc:spChg>
        <pc:spChg chg="mod">
          <ac:chgData name="Ugo MANTEL" userId="2d5b7065-31bb-4181-a7f8-a73bf0c30211" providerId="ADAL" clId="{9344D105-636D-4857-BD0F-AFC44A54BCCF}" dt="2021-05-25T14:20:12.294" v="29028" actId="790"/>
          <ac:spMkLst>
            <pc:docMk/>
            <pc:sldMk cId="3481177109" sldId="10365"/>
            <ac:spMk id="85" creationId="{2D2CFECC-1DAE-45A7-BC98-5B3781537431}"/>
          </ac:spMkLst>
        </pc:spChg>
        <pc:spChg chg="mod">
          <ac:chgData name="Ugo MANTEL" userId="2d5b7065-31bb-4181-a7f8-a73bf0c30211" providerId="ADAL" clId="{9344D105-636D-4857-BD0F-AFC44A54BCCF}" dt="2021-05-25T14:20:12.321" v="29059" actId="790"/>
          <ac:spMkLst>
            <pc:docMk/>
            <pc:sldMk cId="3481177109" sldId="10365"/>
            <ac:spMk id="86" creationId="{652974F9-0AD6-4BFB-AFF5-C0C3FC6F5C77}"/>
          </ac:spMkLst>
        </pc:spChg>
        <pc:spChg chg="mod">
          <ac:chgData name="Ugo MANTEL" userId="2d5b7065-31bb-4181-a7f8-a73bf0c30211" providerId="ADAL" clId="{9344D105-636D-4857-BD0F-AFC44A54BCCF}" dt="2021-05-25T14:20:12.309" v="29045" actId="790"/>
          <ac:spMkLst>
            <pc:docMk/>
            <pc:sldMk cId="3481177109" sldId="10365"/>
            <ac:spMk id="89" creationId="{B47A3DB8-9139-48EF-A1D5-332DFA662FE1}"/>
          </ac:spMkLst>
        </pc:spChg>
        <pc:spChg chg="mod">
          <ac:chgData name="Ugo MANTEL" userId="2d5b7065-31bb-4181-a7f8-a73bf0c30211" providerId="ADAL" clId="{9344D105-636D-4857-BD0F-AFC44A54BCCF}" dt="2021-05-25T14:20:12.310" v="29046" actId="790"/>
          <ac:spMkLst>
            <pc:docMk/>
            <pc:sldMk cId="3481177109" sldId="10365"/>
            <ac:spMk id="90" creationId="{C66CF5E1-B6D0-4D96-BE64-98F9EAE4B375}"/>
          </ac:spMkLst>
        </pc:spChg>
        <pc:spChg chg="mod">
          <ac:chgData name="Ugo MANTEL" userId="2d5b7065-31bb-4181-a7f8-a73bf0c30211" providerId="ADAL" clId="{9344D105-636D-4857-BD0F-AFC44A54BCCF}" dt="2021-05-25T14:20:12.295" v="29029" actId="790"/>
          <ac:spMkLst>
            <pc:docMk/>
            <pc:sldMk cId="3481177109" sldId="10365"/>
            <ac:spMk id="91" creationId="{7D5F7D48-55E2-4B20-BCE4-576336C3156A}"/>
          </ac:spMkLst>
        </pc:spChg>
        <pc:spChg chg="mod">
          <ac:chgData name="Ugo MANTEL" userId="2d5b7065-31bb-4181-a7f8-a73bf0c30211" providerId="ADAL" clId="{9344D105-636D-4857-BD0F-AFC44A54BCCF}" dt="2021-05-25T14:20:12.311" v="29047" actId="790"/>
          <ac:spMkLst>
            <pc:docMk/>
            <pc:sldMk cId="3481177109" sldId="10365"/>
            <ac:spMk id="92" creationId="{67FF61C9-18C3-4997-B836-C9A4DE5C0B1A}"/>
          </ac:spMkLst>
        </pc:spChg>
        <pc:spChg chg="mod">
          <ac:chgData name="Ugo MANTEL" userId="2d5b7065-31bb-4181-a7f8-a73bf0c30211" providerId="ADAL" clId="{9344D105-636D-4857-BD0F-AFC44A54BCCF}" dt="2021-05-25T14:20:12.321" v="29060" actId="790"/>
          <ac:spMkLst>
            <pc:docMk/>
            <pc:sldMk cId="3481177109" sldId="10365"/>
            <ac:spMk id="98" creationId="{9CBF02D0-6E6C-443D-BD28-BADFE60CE816}"/>
          </ac:spMkLst>
        </pc:spChg>
        <pc:spChg chg="mod">
          <ac:chgData name="Ugo MANTEL" userId="2d5b7065-31bb-4181-a7f8-a73bf0c30211" providerId="ADAL" clId="{9344D105-636D-4857-BD0F-AFC44A54BCCF}" dt="2021-05-25T14:20:12.318" v="29056" actId="790"/>
          <ac:spMkLst>
            <pc:docMk/>
            <pc:sldMk cId="3481177109" sldId="10365"/>
            <ac:spMk id="99" creationId="{0728E46C-D470-4FB7-8B67-755380F9091D}"/>
          </ac:spMkLst>
        </pc:spChg>
        <pc:spChg chg="mod">
          <ac:chgData name="Ugo MANTEL" userId="2d5b7065-31bb-4181-a7f8-a73bf0c30211" providerId="ADAL" clId="{9344D105-636D-4857-BD0F-AFC44A54BCCF}" dt="2021-05-25T14:20:12.319" v="29057" actId="790"/>
          <ac:spMkLst>
            <pc:docMk/>
            <pc:sldMk cId="3481177109" sldId="10365"/>
            <ac:spMk id="100" creationId="{0A7B2634-5762-429B-9619-91CD098127C7}"/>
          </ac:spMkLst>
        </pc:spChg>
        <pc:spChg chg="mod">
          <ac:chgData name="Ugo MANTEL" userId="2d5b7065-31bb-4181-a7f8-a73bf0c30211" providerId="ADAL" clId="{9344D105-636D-4857-BD0F-AFC44A54BCCF}" dt="2021-05-25T14:20:12.312" v="29048" actId="790"/>
          <ac:spMkLst>
            <pc:docMk/>
            <pc:sldMk cId="3481177109" sldId="10365"/>
            <ac:spMk id="101" creationId="{47E5C573-2437-48D3-83C0-A62206F6167E}"/>
          </ac:spMkLst>
        </pc:spChg>
        <pc:spChg chg="mod">
          <ac:chgData name="Ugo MANTEL" userId="2d5b7065-31bb-4181-a7f8-a73bf0c30211" providerId="ADAL" clId="{9344D105-636D-4857-BD0F-AFC44A54BCCF}" dt="2021-05-25T14:20:12.313" v="29049" actId="790"/>
          <ac:spMkLst>
            <pc:docMk/>
            <pc:sldMk cId="3481177109" sldId="10365"/>
            <ac:spMk id="102" creationId="{0EF112A9-506F-46B1-918C-7F37B35F42FF}"/>
          </ac:spMkLst>
        </pc:spChg>
        <pc:spChg chg="mod">
          <ac:chgData name="Ugo MANTEL" userId="2d5b7065-31bb-4181-a7f8-a73bf0c30211" providerId="ADAL" clId="{9344D105-636D-4857-BD0F-AFC44A54BCCF}" dt="2021-05-25T14:20:12.296" v="29030" actId="790"/>
          <ac:spMkLst>
            <pc:docMk/>
            <pc:sldMk cId="3481177109" sldId="10365"/>
            <ac:spMk id="110" creationId="{D112EAE9-1C24-4AF0-B3DD-273BF2FF5A59}"/>
          </ac:spMkLst>
        </pc:spChg>
        <pc:spChg chg="mod">
          <ac:chgData name="Ugo MANTEL" userId="2d5b7065-31bb-4181-a7f8-a73bf0c30211" providerId="ADAL" clId="{9344D105-636D-4857-BD0F-AFC44A54BCCF}" dt="2021-05-25T14:20:12.314" v="29050" actId="790"/>
          <ac:spMkLst>
            <pc:docMk/>
            <pc:sldMk cId="3481177109" sldId="10365"/>
            <ac:spMk id="113" creationId="{8AB2B031-55F1-456D-A367-EF921531395A}"/>
          </ac:spMkLst>
        </pc:spChg>
        <pc:spChg chg="mod">
          <ac:chgData name="Ugo MANTEL" userId="2d5b7065-31bb-4181-a7f8-a73bf0c30211" providerId="ADAL" clId="{9344D105-636D-4857-BD0F-AFC44A54BCCF}" dt="2021-05-25T14:20:12.315" v="29051" actId="790"/>
          <ac:spMkLst>
            <pc:docMk/>
            <pc:sldMk cId="3481177109" sldId="10365"/>
            <ac:spMk id="114" creationId="{06590379-9741-4022-9133-AEC4DE224495}"/>
          </ac:spMkLst>
        </pc:spChg>
        <pc:spChg chg="mod">
          <ac:chgData name="Ugo MANTEL" userId="2d5b7065-31bb-4181-a7f8-a73bf0c30211" providerId="ADAL" clId="{9344D105-636D-4857-BD0F-AFC44A54BCCF}" dt="2021-05-25T14:20:12.322" v="29061" actId="790"/>
          <ac:spMkLst>
            <pc:docMk/>
            <pc:sldMk cId="3481177109" sldId="10365"/>
            <ac:spMk id="116" creationId="{8488B800-D5B0-40AD-B3A9-9617E760D44D}"/>
          </ac:spMkLst>
        </pc:spChg>
        <pc:spChg chg="mod">
          <ac:chgData name="Ugo MANTEL" userId="2d5b7065-31bb-4181-a7f8-a73bf0c30211" providerId="ADAL" clId="{9344D105-636D-4857-BD0F-AFC44A54BCCF}" dt="2021-05-25T14:20:12.323" v="29062" actId="790"/>
          <ac:spMkLst>
            <pc:docMk/>
            <pc:sldMk cId="3481177109" sldId="10365"/>
            <ac:spMk id="117" creationId="{77034DE9-3F95-4BC1-95CC-263F30060D00}"/>
          </ac:spMkLst>
        </pc:spChg>
        <pc:spChg chg="mod">
          <ac:chgData name="Ugo MANTEL" userId="2d5b7065-31bb-4181-a7f8-a73bf0c30211" providerId="ADAL" clId="{9344D105-636D-4857-BD0F-AFC44A54BCCF}" dt="2021-05-25T14:20:12.316" v="29052" actId="790"/>
          <ac:spMkLst>
            <pc:docMk/>
            <pc:sldMk cId="3481177109" sldId="10365"/>
            <ac:spMk id="118" creationId="{0F1E82D3-6478-4EF5-A235-941CA9AC7A9D}"/>
          </ac:spMkLst>
        </pc:spChg>
        <pc:spChg chg="mod">
          <ac:chgData name="Ugo MANTEL" userId="2d5b7065-31bb-4181-a7f8-a73bf0c30211" providerId="ADAL" clId="{9344D105-636D-4857-BD0F-AFC44A54BCCF}" dt="2021-05-25T14:20:12.316" v="29053" actId="790"/>
          <ac:spMkLst>
            <pc:docMk/>
            <pc:sldMk cId="3481177109" sldId="10365"/>
            <ac:spMk id="119" creationId="{B0FD5BF3-7754-42E2-BF6F-CA0E68277C45}"/>
          </ac:spMkLst>
        </pc:spChg>
        <pc:spChg chg="mod">
          <ac:chgData name="Ugo MANTEL" userId="2d5b7065-31bb-4181-a7f8-a73bf0c30211" providerId="ADAL" clId="{9344D105-636D-4857-BD0F-AFC44A54BCCF}" dt="2021-05-25T14:20:12.317" v="29054" actId="790"/>
          <ac:spMkLst>
            <pc:docMk/>
            <pc:sldMk cId="3481177109" sldId="10365"/>
            <ac:spMk id="120" creationId="{69E76E60-0392-4B3A-80C6-9F0B75723180}"/>
          </ac:spMkLst>
        </pc:spChg>
        <pc:spChg chg="mod">
          <ac:chgData name="Ugo MANTEL" userId="2d5b7065-31bb-4181-a7f8-a73bf0c30211" providerId="ADAL" clId="{9344D105-636D-4857-BD0F-AFC44A54BCCF}" dt="2021-05-25T14:20:12.324" v="29063" actId="790"/>
          <ac:spMkLst>
            <pc:docMk/>
            <pc:sldMk cId="3481177109" sldId="10365"/>
            <ac:spMk id="121" creationId="{265FE9A3-D207-4BB8-971F-530C2E3230F4}"/>
          </ac:spMkLst>
        </pc:spChg>
        <pc:spChg chg="mod">
          <ac:chgData name="Ugo MANTEL" userId="2d5b7065-31bb-4181-a7f8-a73bf0c30211" providerId="ADAL" clId="{9344D105-636D-4857-BD0F-AFC44A54BCCF}" dt="2021-05-25T14:20:12.324" v="29064" actId="790"/>
          <ac:spMkLst>
            <pc:docMk/>
            <pc:sldMk cId="3481177109" sldId="10365"/>
            <ac:spMk id="122" creationId="{DA342386-E20C-4E21-A3A1-6FC6959D5FE0}"/>
          </ac:spMkLst>
        </pc:spChg>
        <pc:spChg chg="mod">
          <ac:chgData name="Ugo MANTEL" userId="2d5b7065-31bb-4181-a7f8-a73bf0c30211" providerId="ADAL" clId="{9344D105-636D-4857-BD0F-AFC44A54BCCF}" dt="2021-05-25T14:20:12.325" v="29065" actId="790"/>
          <ac:spMkLst>
            <pc:docMk/>
            <pc:sldMk cId="3481177109" sldId="10365"/>
            <ac:spMk id="123" creationId="{7B7FAAE5-C0B8-4F91-A90C-5DA3A9782F98}"/>
          </ac:spMkLst>
        </pc:spChg>
        <pc:spChg chg="mod">
          <ac:chgData name="Ugo MANTEL" userId="2d5b7065-31bb-4181-a7f8-a73bf0c30211" providerId="ADAL" clId="{9344D105-636D-4857-BD0F-AFC44A54BCCF}" dt="2021-05-25T14:20:12.326" v="29066" actId="790"/>
          <ac:spMkLst>
            <pc:docMk/>
            <pc:sldMk cId="3481177109" sldId="10365"/>
            <ac:spMk id="124" creationId="{1A60081D-F278-496C-B815-C8CABE62B38F}"/>
          </ac:spMkLst>
        </pc:spChg>
        <pc:spChg chg="mod">
          <ac:chgData name="Ugo MANTEL" userId="2d5b7065-31bb-4181-a7f8-a73bf0c30211" providerId="ADAL" clId="{9344D105-636D-4857-BD0F-AFC44A54BCCF}" dt="2021-05-25T14:20:12.296" v="29031" actId="790"/>
          <ac:spMkLst>
            <pc:docMk/>
            <pc:sldMk cId="3481177109" sldId="10365"/>
            <ac:spMk id="132" creationId="{1A3DE5F6-DC50-4B3E-8712-4F7931E9D3D4}"/>
          </ac:spMkLst>
        </pc:spChg>
        <pc:spChg chg="mod">
          <ac:chgData name="Ugo MANTEL" userId="2d5b7065-31bb-4181-a7f8-a73bf0c30211" providerId="ADAL" clId="{9344D105-636D-4857-BD0F-AFC44A54BCCF}" dt="2021-05-25T14:20:12.297" v="29032" actId="790"/>
          <ac:spMkLst>
            <pc:docMk/>
            <pc:sldMk cId="3481177109" sldId="10365"/>
            <ac:spMk id="133" creationId="{DC661DF3-2B60-4258-8A3C-6DA55E7974BD}"/>
          </ac:spMkLst>
        </pc:spChg>
        <pc:spChg chg="mod">
          <ac:chgData name="Ugo MANTEL" userId="2d5b7065-31bb-4181-a7f8-a73bf0c30211" providerId="ADAL" clId="{9344D105-636D-4857-BD0F-AFC44A54BCCF}" dt="2021-05-25T14:20:12.297" v="29033" actId="790"/>
          <ac:spMkLst>
            <pc:docMk/>
            <pc:sldMk cId="3481177109" sldId="10365"/>
            <ac:spMk id="134" creationId="{D5795A40-7B7E-4315-876A-A38D6610B661}"/>
          </ac:spMkLst>
        </pc:spChg>
        <pc:spChg chg="mod">
          <ac:chgData name="Ugo MANTEL" userId="2d5b7065-31bb-4181-a7f8-a73bf0c30211" providerId="ADAL" clId="{9344D105-636D-4857-BD0F-AFC44A54BCCF}" dt="2021-05-25T14:20:12.302" v="29039" actId="790"/>
          <ac:spMkLst>
            <pc:docMk/>
            <pc:sldMk cId="3481177109" sldId="10365"/>
            <ac:spMk id="135" creationId="{B7212166-4E04-47ED-9DA9-C1A5FADABEC1}"/>
          </ac:spMkLst>
        </pc:spChg>
        <pc:spChg chg="mod">
          <ac:chgData name="Ugo MANTEL" userId="2d5b7065-31bb-4181-a7f8-a73bf0c30211" providerId="ADAL" clId="{9344D105-636D-4857-BD0F-AFC44A54BCCF}" dt="2021-05-25T14:20:12.299" v="29035" actId="790"/>
          <ac:spMkLst>
            <pc:docMk/>
            <pc:sldMk cId="3481177109" sldId="10365"/>
            <ac:spMk id="137" creationId="{AF67C425-8708-4B3E-9B2A-E5C85D989489}"/>
          </ac:spMkLst>
        </pc:spChg>
        <pc:spChg chg="mod">
          <ac:chgData name="Ugo MANTEL" userId="2d5b7065-31bb-4181-a7f8-a73bf0c30211" providerId="ADAL" clId="{9344D105-636D-4857-BD0F-AFC44A54BCCF}" dt="2021-05-25T14:20:12.303" v="29041" actId="790"/>
          <ac:spMkLst>
            <pc:docMk/>
            <pc:sldMk cId="3481177109" sldId="10365"/>
            <ac:spMk id="144" creationId="{A12B0534-66DF-4768-8E62-0C019FA2B7A6}"/>
          </ac:spMkLst>
        </pc:spChg>
        <pc:spChg chg="mod">
          <ac:chgData name="Ugo MANTEL" userId="2d5b7065-31bb-4181-a7f8-a73bf0c30211" providerId="ADAL" clId="{9344D105-636D-4857-BD0F-AFC44A54BCCF}" dt="2021-05-25T14:20:12.305" v="29043" actId="790"/>
          <ac:spMkLst>
            <pc:docMk/>
            <pc:sldMk cId="3481177109" sldId="10365"/>
            <ac:spMk id="147" creationId="{73C5DEEC-4B4E-4C6B-9A80-A63E183C6F34}"/>
          </ac:spMkLst>
        </pc:spChg>
        <pc:spChg chg="mod">
          <ac:chgData name="Ugo MANTEL" userId="2d5b7065-31bb-4181-a7f8-a73bf0c30211" providerId="ADAL" clId="{9344D105-636D-4857-BD0F-AFC44A54BCCF}" dt="2021-05-25T14:20:12.318" v="29055" actId="790"/>
          <ac:spMkLst>
            <pc:docMk/>
            <pc:sldMk cId="3481177109" sldId="10365"/>
            <ac:spMk id="151" creationId="{945919F5-1F6F-4979-90CA-397384E59334}"/>
          </ac:spMkLst>
        </pc:spChg>
        <pc:spChg chg="mod">
          <ac:chgData name="Ugo MANTEL" userId="2d5b7065-31bb-4181-a7f8-a73bf0c30211" providerId="ADAL" clId="{9344D105-636D-4857-BD0F-AFC44A54BCCF}" dt="2021-05-25T14:20:12.301" v="29037" actId="790"/>
          <ac:spMkLst>
            <pc:docMk/>
            <pc:sldMk cId="3481177109" sldId="10365"/>
            <ac:spMk id="160" creationId="{A8A94204-7780-44D2-9F69-E6D88D81CCC9}"/>
          </ac:spMkLst>
        </pc:spChg>
        <pc:spChg chg="mod">
          <ac:chgData name="Ugo MANTEL" userId="2d5b7065-31bb-4181-a7f8-a73bf0c30211" providerId="ADAL" clId="{9344D105-636D-4857-BD0F-AFC44A54BCCF}" dt="2021-05-25T14:20:12.301" v="29038" actId="790"/>
          <ac:spMkLst>
            <pc:docMk/>
            <pc:sldMk cId="3481177109" sldId="10365"/>
            <ac:spMk id="162" creationId="{7C77AD03-3049-47E7-8DA8-DA2A5283D6AD}"/>
          </ac:spMkLst>
        </pc:spChg>
        <pc:spChg chg="mod">
          <ac:chgData name="Ugo MANTEL" userId="2d5b7065-31bb-4181-a7f8-a73bf0c30211" providerId="ADAL" clId="{9344D105-636D-4857-BD0F-AFC44A54BCCF}" dt="2021-05-25T14:20:12.309" v="29044" actId="790"/>
          <ac:spMkLst>
            <pc:docMk/>
            <pc:sldMk cId="3481177109" sldId="10365"/>
            <ac:spMk id="174" creationId="{12430AE9-0E10-42CC-990F-04E0A3759BB1}"/>
          </ac:spMkLst>
        </pc:spChg>
      </pc:sldChg>
      <pc:sldChg chg="addSp modSp mod">
        <pc:chgData name="Ugo MANTEL" userId="2d5b7065-31bb-4181-a7f8-a73bf0c30211" providerId="ADAL" clId="{9344D105-636D-4857-BD0F-AFC44A54BCCF}" dt="2021-05-25T14:20:11.869" v="28574" actId="790"/>
        <pc:sldMkLst>
          <pc:docMk/>
          <pc:sldMk cId="330702512" sldId="10369"/>
        </pc:sldMkLst>
        <pc:spChg chg="mod">
          <ac:chgData name="Ugo MANTEL" userId="2d5b7065-31bb-4181-a7f8-a73bf0c30211" providerId="ADAL" clId="{9344D105-636D-4857-BD0F-AFC44A54BCCF}" dt="2021-05-25T14:20:11.858" v="28563" actId="790"/>
          <ac:spMkLst>
            <pc:docMk/>
            <pc:sldMk cId="330702512" sldId="10369"/>
            <ac:spMk id="6" creationId="{32B89438-97F1-4509-BECF-A6230F6CA9E2}"/>
          </ac:spMkLst>
        </pc:spChg>
        <pc:spChg chg="mod">
          <ac:chgData name="Ugo MANTEL" userId="2d5b7065-31bb-4181-a7f8-a73bf0c30211" providerId="ADAL" clId="{9344D105-636D-4857-BD0F-AFC44A54BCCF}" dt="2021-05-25T14:20:11.858" v="28562" actId="790"/>
          <ac:spMkLst>
            <pc:docMk/>
            <pc:sldMk cId="330702512" sldId="10369"/>
            <ac:spMk id="11" creationId="{2FAA6969-30E2-4F5B-AA44-122B557F5258}"/>
          </ac:spMkLst>
        </pc:spChg>
        <pc:spChg chg="mod">
          <ac:chgData name="Ugo MANTEL" userId="2d5b7065-31bb-4181-a7f8-a73bf0c30211" providerId="ADAL" clId="{9344D105-636D-4857-BD0F-AFC44A54BCCF}" dt="2021-05-25T14:20:11.859" v="28564" actId="790"/>
          <ac:spMkLst>
            <pc:docMk/>
            <pc:sldMk cId="330702512" sldId="10369"/>
            <ac:spMk id="12" creationId="{CAE59F71-3A11-45D3-91ED-BB7437BAF64F}"/>
          </ac:spMkLst>
        </pc:spChg>
        <pc:spChg chg="mod">
          <ac:chgData name="Ugo MANTEL" userId="2d5b7065-31bb-4181-a7f8-a73bf0c30211" providerId="ADAL" clId="{9344D105-636D-4857-BD0F-AFC44A54BCCF}" dt="2021-05-25T14:20:11.860" v="28565" actId="790"/>
          <ac:spMkLst>
            <pc:docMk/>
            <pc:sldMk cId="330702512" sldId="10369"/>
            <ac:spMk id="13" creationId="{97B677E7-CA86-4646-8BEC-57A1E9192264}"/>
          </ac:spMkLst>
        </pc:spChg>
        <pc:spChg chg="mod">
          <ac:chgData name="Ugo MANTEL" userId="2d5b7065-31bb-4181-a7f8-a73bf0c30211" providerId="ADAL" clId="{9344D105-636D-4857-BD0F-AFC44A54BCCF}" dt="2021-05-25T14:20:11.860" v="28566" actId="790"/>
          <ac:spMkLst>
            <pc:docMk/>
            <pc:sldMk cId="330702512" sldId="10369"/>
            <ac:spMk id="14" creationId="{26947D34-5013-4CB6-A3AF-DC921FFA9E88}"/>
          </ac:spMkLst>
        </pc:spChg>
        <pc:spChg chg="mod">
          <ac:chgData name="Ugo MANTEL" userId="2d5b7065-31bb-4181-a7f8-a73bf0c30211" providerId="ADAL" clId="{9344D105-636D-4857-BD0F-AFC44A54BCCF}" dt="2021-05-25T14:20:11.862" v="28567" actId="790"/>
          <ac:spMkLst>
            <pc:docMk/>
            <pc:sldMk cId="330702512" sldId="10369"/>
            <ac:spMk id="19" creationId="{75701275-CEEB-4CD6-A422-23B5CDE34CE8}"/>
          </ac:spMkLst>
        </pc:spChg>
        <pc:spChg chg="mod">
          <ac:chgData name="Ugo MANTEL" userId="2d5b7065-31bb-4181-a7f8-a73bf0c30211" providerId="ADAL" clId="{9344D105-636D-4857-BD0F-AFC44A54BCCF}" dt="2021-05-25T14:20:11.864" v="28568" actId="790"/>
          <ac:spMkLst>
            <pc:docMk/>
            <pc:sldMk cId="330702512" sldId="10369"/>
            <ac:spMk id="20" creationId="{92817152-9E7E-48EA-8A2A-34E92B8BB36D}"/>
          </ac:spMkLst>
        </pc:spChg>
        <pc:spChg chg="mod">
          <ac:chgData name="Ugo MANTEL" userId="2d5b7065-31bb-4181-a7f8-a73bf0c30211" providerId="ADAL" clId="{9344D105-636D-4857-BD0F-AFC44A54BCCF}" dt="2021-05-25T14:20:11.865" v="28569" actId="790"/>
          <ac:spMkLst>
            <pc:docMk/>
            <pc:sldMk cId="330702512" sldId="10369"/>
            <ac:spMk id="22" creationId="{8C718D08-FD9C-424C-BFCF-B4F41BB37EAA}"/>
          </ac:spMkLst>
        </pc:spChg>
        <pc:spChg chg="mod">
          <ac:chgData name="Ugo MANTEL" userId="2d5b7065-31bb-4181-a7f8-a73bf0c30211" providerId="ADAL" clId="{9344D105-636D-4857-BD0F-AFC44A54BCCF}" dt="2021-05-25T14:20:11.866" v="28570" actId="790"/>
          <ac:spMkLst>
            <pc:docMk/>
            <pc:sldMk cId="330702512" sldId="10369"/>
            <ac:spMk id="23" creationId="{BDFC3A87-06F7-4E23-859D-9C7286A7466E}"/>
          </ac:spMkLst>
        </pc:spChg>
        <pc:spChg chg="add mod">
          <ac:chgData name="Ugo MANTEL" userId="2d5b7065-31bb-4181-a7f8-a73bf0c30211" providerId="ADAL" clId="{9344D105-636D-4857-BD0F-AFC44A54BCCF}" dt="2021-05-24T11:59:28.523" v="5294"/>
          <ac:spMkLst>
            <pc:docMk/>
            <pc:sldMk cId="330702512" sldId="10369"/>
            <ac:spMk id="25" creationId="{66B5B82A-38EB-47E4-B4A1-53762F7FFB3D}"/>
          </ac:spMkLst>
        </pc:spChg>
        <pc:spChg chg="mod">
          <ac:chgData name="Ugo MANTEL" userId="2d5b7065-31bb-4181-a7f8-a73bf0c30211" providerId="ADAL" clId="{9344D105-636D-4857-BD0F-AFC44A54BCCF}" dt="2021-05-25T14:20:11.869" v="28574" actId="790"/>
          <ac:spMkLst>
            <pc:docMk/>
            <pc:sldMk cId="330702512" sldId="10369"/>
            <ac:spMk id="25" creationId="{6BD77359-D5F1-4455-8996-ECFACFC50F6D}"/>
          </ac:spMkLst>
        </pc:spChg>
        <pc:spChg chg="mod">
          <ac:chgData name="Ugo MANTEL" userId="2d5b7065-31bb-4181-a7f8-a73bf0c30211" providerId="ADAL" clId="{9344D105-636D-4857-BD0F-AFC44A54BCCF}" dt="2021-05-25T14:20:11.866" v="28571" actId="790"/>
          <ac:spMkLst>
            <pc:docMk/>
            <pc:sldMk cId="330702512" sldId="10369"/>
            <ac:spMk id="27" creationId="{2F8704B1-979B-4AEE-9C6A-D7E18ED9BF30}"/>
          </ac:spMkLst>
        </pc:spChg>
        <pc:spChg chg="mod">
          <ac:chgData name="Ugo MANTEL" userId="2d5b7065-31bb-4181-a7f8-a73bf0c30211" providerId="ADAL" clId="{9344D105-636D-4857-BD0F-AFC44A54BCCF}" dt="2021-05-25T14:20:11.867" v="28572" actId="790"/>
          <ac:spMkLst>
            <pc:docMk/>
            <pc:sldMk cId="330702512" sldId="10369"/>
            <ac:spMk id="28" creationId="{4031FE7F-8E48-42BA-A723-86E4FF433E47}"/>
          </ac:spMkLst>
        </pc:spChg>
        <pc:spChg chg="mod">
          <ac:chgData name="Ugo MANTEL" userId="2d5b7065-31bb-4181-a7f8-a73bf0c30211" providerId="ADAL" clId="{9344D105-636D-4857-BD0F-AFC44A54BCCF}" dt="2021-05-25T14:20:11.868" v="28573" actId="790"/>
          <ac:spMkLst>
            <pc:docMk/>
            <pc:sldMk cId="330702512" sldId="10369"/>
            <ac:spMk id="29" creationId="{D8C804FD-6C95-42A0-97FA-0CBF12409DEE}"/>
          </ac:spMkLst>
        </pc:spChg>
      </pc:sldChg>
      <pc:sldChg chg="modSp mod">
        <pc:chgData name="Ugo MANTEL" userId="2d5b7065-31bb-4181-a7f8-a73bf0c30211" providerId="ADAL" clId="{9344D105-636D-4857-BD0F-AFC44A54BCCF}" dt="2021-05-25T14:20:11.937" v="28626" actId="790"/>
        <pc:sldMkLst>
          <pc:docMk/>
          <pc:sldMk cId="2955721572" sldId="10370"/>
        </pc:sldMkLst>
        <pc:spChg chg="mod">
          <ac:chgData name="Ugo MANTEL" userId="2d5b7065-31bb-4181-a7f8-a73bf0c30211" providerId="ADAL" clId="{9344D105-636D-4857-BD0F-AFC44A54BCCF}" dt="2021-05-25T14:20:11.872" v="28577" actId="790"/>
          <ac:spMkLst>
            <pc:docMk/>
            <pc:sldMk cId="2955721572" sldId="10370"/>
            <ac:spMk id="7" creationId="{F59BFDDC-63FF-4CDF-9FA9-5814668C648B}"/>
          </ac:spMkLst>
        </pc:spChg>
        <pc:spChg chg="mod">
          <ac:chgData name="Ugo MANTEL" userId="2d5b7065-31bb-4181-a7f8-a73bf0c30211" providerId="ADAL" clId="{9344D105-636D-4857-BD0F-AFC44A54BCCF}" dt="2021-05-25T14:20:11.876" v="28582" actId="790"/>
          <ac:spMkLst>
            <pc:docMk/>
            <pc:sldMk cId="2955721572" sldId="10370"/>
            <ac:spMk id="15" creationId="{DD93510C-F212-4B9C-B4AA-7688C56AA57B}"/>
          </ac:spMkLst>
        </pc:spChg>
        <pc:spChg chg="mod">
          <ac:chgData name="Ugo MANTEL" userId="2d5b7065-31bb-4181-a7f8-a73bf0c30211" providerId="ADAL" clId="{9344D105-636D-4857-BD0F-AFC44A54BCCF}" dt="2021-05-25T14:20:11.877" v="28583" actId="790"/>
          <ac:spMkLst>
            <pc:docMk/>
            <pc:sldMk cId="2955721572" sldId="10370"/>
            <ac:spMk id="16" creationId="{DD2F7369-0B19-45E4-9E7D-D7A9CBB36DBF}"/>
          </ac:spMkLst>
        </pc:spChg>
        <pc:spChg chg="mod">
          <ac:chgData name="Ugo MANTEL" userId="2d5b7065-31bb-4181-a7f8-a73bf0c30211" providerId="ADAL" clId="{9344D105-636D-4857-BD0F-AFC44A54BCCF}" dt="2021-05-25T14:20:11.878" v="28584" actId="790"/>
          <ac:spMkLst>
            <pc:docMk/>
            <pc:sldMk cId="2955721572" sldId="10370"/>
            <ac:spMk id="17" creationId="{35A2D263-F1E8-4336-805C-3A3C90578B9A}"/>
          </ac:spMkLst>
        </pc:spChg>
        <pc:spChg chg="mod">
          <ac:chgData name="Ugo MANTEL" userId="2d5b7065-31bb-4181-a7f8-a73bf0c30211" providerId="ADAL" clId="{9344D105-636D-4857-BD0F-AFC44A54BCCF}" dt="2021-05-25T14:20:11.873" v="28578" actId="790"/>
          <ac:spMkLst>
            <pc:docMk/>
            <pc:sldMk cId="2955721572" sldId="10370"/>
            <ac:spMk id="30" creationId="{E210ECA7-4EC0-43B6-8991-3EE93D92563A}"/>
          </ac:spMkLst>
        </pc:spChg>
        <pc:spChg chg="mod">
          <ac:chgData name="Ugo MANTEL" userId="2d5b7065-31bb-4181-a7f8-a73bf0c30211" providerId="ADAL" clId="{9344D105-636D-4857-BD0F-AFC44A54BCCF}" dt="2021-05-25T14:20:11.874" v="28579" actId="790"/>
          <ac:spMkLst>
            <pc:docMk/>
            <pc:sldMk cId="2955721572" sldId="10370"/>
            <ac:spMk id="32" creationId="{3D718E0A-6EB5-4EB6-A469-033DED5862ED}"/>
          </ac:spMkLst>
        </pc:spChg>
        <pc:spChg chg="mod">
          <ac:chgData name="Ugo MANTEL" userId="2d5b7065-31bb-4181-a7f8-a73bf0c30211" providerId="ADAL" clId="{9344D105-636D-4857-BD0F-AFC44A54BCCF}" dt="2021-05-25T14:20:11.874" v="28580" actId="790"/>
          <ac:spMkLst>
            <pc:docMk/>
            <pc:sldMk cId="2955721572" sldId="10370"/>
            <ac:spMk id="33" creationId="{1425BC84-9BD6-40AE-8AA7-A449BE2DC074}"/>
          </ac:spMkLst>
        </pc:spChg>
        <pc:spChg chg="mod">
          <ac:chgData name="Ugo MANTEL" userId="2d5b7065-31bb-4181-a7f8-a73bf0c30211" providerId="ADAL" clId="{9344D105-636D-4857-BD0F-AFC44A54BCCF}" dt="2021-05-25T14:20:11.875" v="28581" actId="790"/>
          <ac:spMkLst>
            <pc:docMk/>
            <pc:sldMk cId="2955721572" sldId="10370"/>
            <ac:spMk id="34" creationId="{96BFF402-7EE2-467A-A9EE-FC406996A703}"/>
          </ac:spMkLst>
        </pc:spChg>
        <pc:spChg chg="mod">
          <ac:chgData name="Ugo MANTEL" userId="2d5b7065-31bb-4181-a7f8-a73bf0c30211" providerId="ADAL" clId="{9344D105-636D-4857-BD0F-AFC44A54BCCF}" dt="2021-05-25T14:20:11.880" v="28585" actId="790"/>
          <ac:spMkLst>
            <pc:docMk/>
            <pc:sldMk cId="2955721572" sldId="10370"/>
            <ac:spMk id="35" creationId="{6C60F887-CB3D-485B-83EC-84CECF5356FB}"/>
          </ac:spMkLst>
        </pc:spChg>
        <pc:spChg chg="mod">
          <ac:chgData name="Ugo MANTEL" userId="2d5b7065-31bb-4181-a7f8-a73bf0c30211" providerId="ADAL" clId="{9344D105-636D-4857-BD0F-AFC44A54BCCF}" dt="2021-05-25T14:20:11.882" v="28586" actId="790"/>
          <ac:spMkLst>
            <pc:docMk/>
            <pc:sldMk cId="2955721572" sldId="10370"/>
            <ac:spMk id="36" creationId="{5703B377-341D-4D43-B2C4-5232194F7B9E}"/>
          </ac:spMkLst>
        </pc:spChg>
        <pc:spChg chg="mod">
          <ac:chgData name="Ugo MANTEL" userId="2d5b7065-31bb-4181-a7f8-a73bf0c30211" providerId="ADAL" clId="{9344D105-636D-4857-BD0F-AFC44A54BCCF}" dt="2021-05-25T14:20:11.869" v="28575" actId="790"/>
          <ac:spMkLst>
            <pc:docMk/>
            <pc:sldMk cId="2955721572" sldId="10370"/>
            <ac:spMk id="40" creationId="{60EEC324-686F-4C2B-9A86-1FD757E7F20F}"/>
          </ac:spMkLst>
        </pc:spChg>
        <pc:spChg chg="mod">
          <ac:chgData name="Ugo MANTEL" userId="2d5b7065-31bb-4181-a7f8-a73bf0c30211" providerId="ADAL" clId="{9344D105-636D-4857-BD0F-AFC44A54BCCF}" dt="2021-05-25T14:20:11.870" v="28576" actId="790"/>
          <ac:spMkLst>
            <pc:docMk/>
            <pc:sldMk cId="2955721572" sldId="10370"/>
            <ac:spMk id="41" creationId="{6D8FCCD4-2F77-45E9-9A16-B87F84493FF2}"/>
          </ac:spMkLst>
        </pc:spChg>
        <pc:spChg chg="mod">
          <ac:chgData name="Ugo MANTEL" userId="2d5b7065-31bb-4181-a7f8-a73bf0c30211" providerId="ADAL" clId="{9344D105-636D-4857-BD0F-AFC44A54BCCF}" dt="2021-05-25T14:20:11.888" v="28587" actId="790"/>
          <ac:spMkLst>
            <pc:docMk/>
            <pc:sldMk cId="2955721572" sldId="10370"/>
            <ac:spMk id="51" creationId="{770595CE-56EA-4DD0-846F-DD1BB6804D57}"/>
          </ac:spMkLst>
        </pc:spChg>
        <pc:spChg chg="mod">
          <ac:chgData name="Ugo MANTEL" userId="2d5b7065-31bb-4181-a7f8-a73bf0c30211" providerId="ADAL" clId="{9344D105-636D-4857-BD0F-AFC44A54BCCF}" dt="2021-05-25T14:20:11.898" v="28588" actId="790"/>
          <ac:spMkLst>
            <pc:docMk/>
            <pc:sldMk cId="2955721572" sldId="10370"/>
            <ac:spMk id="68" creationId="{CB225B7D-E3BA-4249-84F2-8A9A346D1009}"/>
          </ac:spMkLst>
        </pc:spChg>
        <pc:spChg chg="mod">
          <ac:chgData name="Ugo MANTEL" userId="2d5b7065-31bb-4181-a7f8-a73bf0c30211" providerId="ADAL" clId="{9344D105-636D-4857-BD0F-AFC44A54BCCF}" dt="2021-05-25T14:20:11.899" v="28589" actId="790"/>
          <ac:spMkLst>
            <pc:docMk/>
            <pc:sldMk cId="2955721572" sldId="10370"/>
            <ac:spMk id="69" creationId="{4CD8C0CC-AD38-47AC-900B-0B49D1D26529}"/>
          </ac:spMkLst>
        </pc:spChg>
        <pc:spChg chg="mod">
          <ac:chgData name="Ugo MANTEL" userId="2d5b7065-31bb-4181-a7f8-a73bf0c30211" providerId="ADAL" clId="{9344D105-636D-4857-BD0F-AFC44A54BCCF}" dt="2021-05-25T14:20:11.900" v="28590" actId="790"/>
          <ac:spMkLst>
            <pc:docMk/>
            <pc:sldMk cId="2955721572" sldId="10370"/>
            <ac:spMk id="70" creationId="{EE95C7F8-515C-463E-8B44-7A99A290449C}"/>
          </ac:spMkLst>
        </pc:spChg>
        <pc:spChg chg="mod">
          <ac:chgData name="Ugo MANTEL" userId="2d5b7065-31bb-4181-a7f8-a73bf0c30211" providerId="ADAL" clId="{9344D105-636D-4857-BD0F-AFC44A54BCCF}" dt="2021-05-25T14:20:11.901" v="28591" actId="790"/>
          <ac:spMkLst>
            <pc:docMk/>
            <pc:sldMk cId="2955721572" sldId="10370"/>
            <ac:spMk id="71" creationId="{4DCA7A5D-8D39-4876-8242-00D476A95DFD}"/>
          </ac:spMkLst>
        </pc:spChg>
        <pc:spChg chg="mod">
          <ac:chgData name="Ugo MANTEL" userId="2d5b7065-31bb-4181-a7f8-a73bf0c30211" providerId="ADAL" clId="{9344D105-636D-4857-BD0F-AFC44A54BCCF}" dt="2021-05-25T14:20:11.901" v="28592" actId="790"/>
          <ac:spMkLst>
            <pc:docMk/>
            <pc:sldMk cId="2955721572" sldId="10370"/>
            <ac:spMk id="72" creationId="{73813AF5-2244-4CD9-9242-D0A844407EEA}"/>
          </ac:spMkLst>
        </pc:spChg>
        <pc:spChg chg="mod">
          <ac:chgData name="Ugo MANTEL" userId="2d5b7065-31bb-4181-a7f8-a73bf0c30211" providerId="ADAL" clId="{9344D105-636D-4857-BD0F-AFC44A54BCCF}" dt="2021-05-25T14:20:11.902" v="28593" actId="790"/>
          <ac:spMkLst>
            <pc:docMk/>
            <pc:sldMk cId="2955721572" sldId="10370"/>
            <ac:spMk id="73" creationId="{6F8B7784-0C35-461C-98F9-25894FE9E4D7}"/>
          </ac:spMkLst>
        </pc:spChg>
        <pc:spChg chg="mod">
          <ac:chgData name="Ugo MANTEL" userId="2d5b7065-31bb-4181-a7f8-a73bf0c30211" providerId="ADAL" clId="{9344D105-636D-4857-BD0F-AFC44A54BCCF}" dt="2021-05-25T14:20:11.903" v="28594" actId="790"/>
          <ac:spMkLst>
            <pc:docMk/>
            <pc:sldMk cId="2955721572" sldId="10370"/>
            <ac:spMk id="75" creationId="{052AA076-442D-4A70-9110-9952620C7892}"/>
          </ac:spMkLst>
        </pc:spChg>
        <pc:spChg chg="mod">
          <ac:chgData name="Ugo MANTEL" userId="2d5b7065-31bb-4181-a7f8-a73bf0c30211" providerId="ADAL" clId="{9344D105-636D-4857-BD0F-AFC44A54BCCF}" dt="2021-05-25T14:20:11.904" v="28595" actId="790"/>
          <ac:spMkLst>
            <pc:docMk/>
            <pc:sldMk cId="2955721572" sldId="10370"/>
            <ac:spMk id="76" creationId="{0CCE2D43-2F7B-4A75-BB81-6B42A1503859}"/>
          </ac:spMkLst>
        </pc:spChg>
        <pc:spChg chg="mod">
          <ac:chgData name="Ugo MANTEL" userId="2d5b7065-31bb-4181-a7f8-a73bf0c30211" providerId="ADAL" clId="{9344D105-636D-4857-BD0F-AFC44A54BCCF}" dt="2021-05-25T14:20:11.905" v="28596" actId="790"/>
          <ac:spMkLst>
            <pc:docMk/>
            <pc:sldMk cId="2955721572" sldId="10370"/>
            <ac:spMk id="77" creationId="{AA2343ED-B79C-4D54-B7A9-305C67F4F72B}"/>
          </ac:spMkLst>
        </pc:spChg>
        <pc:spChg chg="mod">
          <ac:chgData name="Ugo MANTEL" userId="2d5b7065-31bb-4181-a7f8-a73bf0c30211" providerId="ADAL" clId="{9344D105-636D-4857-BD0F-AFC44A54BCCF}" dt="2021-05-25T14:20:11.906" v="28597" actId="790"/>
          <ac:spMkLst>
            <pc:docMk/>
            <pc:sldMk cId="2955721572" sldId="10370"/>
            <ac:spMk id="78" creationId="{09EB7E70-E288-4D1F-874B-64A138590EE5}"/>
          </ac:spMkLst>
        </pc:spChg>
        <pc:spChg chg="mod">
          <ac:chgData name="Ugo MANTEL" userId="2d5b7065-31bb-4181-a7f8-a73bf0c30211" providerId="ADAL" clId="{9344D105-636D-4857-BD0F-AFC44A54BCCF}" dt="2021-05-25T14:20:11.909" v="28598" actId="790"/>
          <ac:spMkLst>
            <pc:docMk/>
            <pc:sldMk cId="2955721572" sldId="10370"/>
            <ac:spMk id="87" creationId="{D71FFEC0-7794-4D28-981E-1403FA8895E5}"/>
          </ac:spMkLst>
        </pc:spChg>
        <pc:spChg chg="mod">
          <ac:chgData name="Ugo MANTEL" userId="2d5b7065-31bb-4181-a7f8-a73bf0c30211" providerId="ADAL" clId="{9344D105-636D-4857-BD0F-AFC44A54BCCF}" dt="2021-05-25T14:20:11.910" v="28599" actId="790"/>
          <ac:spMkLst>
            <pc:docMk/>
            <pc:sldMk cId="2955721572" sldId="10370"/>
            <ac:spMk id="88" creationId="{DA06BE83-AD0A-48CF-B904-30432E68B274}"/>
          </ac:spMkLst>
        </pc:spChg>
        <pc:spChg chg="mod">
          <ac:chgData name="Ugo MANTEL" userId="2d5b7065-31bb-4181-a7f8-a73bf0c30211" providerId="ADAL" clId="{9344D105-636D-4857-BD0F-AFC44A54BCCF}" dt="2021-05-25T14:20:11.911" v="28600" actId="790"/>
          <ac:spMkLst>
            <pc:docMk/>
            <pc:sldMk cId="2955721572" sldId="10370"/>
            <ac:spMk id="89" creationId="{005E1D50-BFC5-4CA1-B008-782BA0A20D2E}"/>
          </ac:spMkLst>
        </pc:spChg>
        <pc:spChg chg="mod">
          <ac:chgData name="Ugo MANTEL" userId="2d5b7065-31bb-4181-a7f8-a73bf0c30211" providerId="ADAL" clId="{9344D105-636D-4857-BD0F-AFC44A54BCCF}" dt="2021-05-25T14:20:11.913" v="28601" actId="790"/>
          <ac:spMkLst>
            <pc:docMk/>
            <pc:sldMk cId="2955721572" sldId="10370"/>
            <ac:spMk id="90" creationId="{92D1D856-8175-4620-AD40-7791DEAEA0FE}"/>
          </ac:spMkLst>
        </pc:spChg>
        <pc:spChg chg="mod">
          <ac:chgData name="Ugo MANTEL" userId="2d5b7065-31bb-4181-a7f8-a73bf0c30211" providerId="ADAL" clId="{9344D105-636D-4857-BD0F-AFC44A54BCCF}" dt="2021-05-25T14:20:11.914" v="28602" actId="790"/>
          <ac:spMkLst>
            <pc:docMk/>
            <pc:sldMk cId="2955721572" sldId="10370"/>
            <ac:spMk id="91" creationId="{EC8A4F76-FD93-4C6B-934A-FB7C1AC379E2}"/>
          </ac:spMkLst>
        </pc:spChg>
        <pc:spChg chg="mod">
          <ac:chgData name="Ugo MANTEL" userId="2d5b7065-31bb-4181-a7f8-a73bf0c30211" providerId="ADAL" clId="{9344D105-636D-4857-BD0F-AFC44A54BCCF}" dt="2021-05-25T14:20:11.915" v="28603" actId="790"/>
          <ac:spMkLst>
            <pc:docMk/>
            <pc:sldMk cId="2955721572" sldId="10370"/>
            <ac:spMk id="92" creationId="{5DBD9F8B-563B-43A1-B3BB-A3552A3D3A79}"/>
          </ac:spMkLst>
        </pc:spChg>
        <pc:spChg chg="mod">
          <ac:chgData name="Ugo MANTEL" userId="2d5b7065-31bb-4181-a7f8-a73bf0c30211" providerId="ADAL" clId="{9344D105-636D-4857-BD0F-AFC44A54BCCF}" dt="2021-05-25T14:20:11.916" v="28604" actId="790"/>
          <ac:spMkLst>
            <pc:docMk/>
            <pc:sldMk cId="2955721572" sldId="10370"/>
            <ac:spMk id="93" creationId="{DD0AA138-44E1-4579-83DC-80DCF5B37037}"/>
          </ac:spMkLst>
        </pc:spChg>
        <pc:spChg chg="mod">
          <ac:chgData name="Ugo MANTEL" userId="2d5b7065-31bb-4181-a7f8-a73bf0c30211" providerId="ADAL" clId="{9344D105-636D-4857-BD0F-AFC44A54BCCF}" dt="2021-05-25T14:20:11.917" v="28605" actId="790"/>
          <ac:spMkLst>
            <pc:docMk/>
            <pc:sldMk cId="2955721572" sldId="10370"/>
            <ac:spMk id="95" creationId="{1FB352C0-1F8E-4E4D-A3F3-D87C6F1D5C4F}"/>
          </ac:spMkLst>
        </pc:spChg>
        <pc:spChg chg="mod">
          <ac:chgData name="Ugo MANTEL" userId="2d5b7065-31bb-4181-a7f8-a73bf0c30211" providerId="ADAL" clId="{9344D105-636D-4857-BD0F-AFC44A54BCCF}" dt="2021-05-25T14:20:11.918" v="28606" actId="790"/>
          <ac:spMkLst>
            <pc:docMk/>
            <pc:sldMk cId="2955721572" sldId="10370"/>
            <ac:spMk id="97" creationId="{15DB12A6-B5E2-43FF-932E-F0EA8EE26E58}"/>
          </ac:spMkLst>
        </pc:spChg>
        <pc:spChg chg="mod">
          <ac:chgData name="Ugo MANTEL" userId="2d5b7065-31bb-4181-a7f8-a73bf0c30211" providerId="ADAL" clId="{9344D105-636D-4857-BD0F-AFC44A54BCCF}" dt="2021-05-25T14:20:11.919" v="28607" actId="790"/>
          <ac:spMkLst>
            <pc:docMk/>
            <pc:sldMk cId="2955721572" sldId="10370"/>
            <ac:spMk id="99" creationId="{926DA456-7CF3-485F-BCBE-865D187117DA}"/>
          </ac:spMkLst>
        </pc:spChg>
        <pc:spChg chg="mod">
          <ac:chgData name="Ugo MANTEL" userId="2d5b7065-31bb-4181-a7f8-a73bf0c30211" providerId="ADAL" clId="{9344D105-636D-4857-BD0F-AFC44A54BCCF}" dt="2021-05-25T14:20:11.920" v="28608" actId="790"/>
          <ac:spMkLst>
            <pc:docMk/>
            <pc:sldMk cId="2955721572" sldId="10370"/>
            <ac:spMk id="101" creationId="{7F7BB965-1646-4AC3-9773-7C202DC198CB}"/>
          </ac:spMkLst>
        </pc:spChg>
        <pc:spChg chg="mod">
          <ac:chgData name="Ugo MANTEL" userId="2d5b7065-31bb-4181-a7f8-a73bf0c30211" providerId="ADAL" clId="{9344D105-636D-4857-BD0F-AFC44A54BCCF}" dt="2021-05-25T14:20:11.921" v="28609" actId="790"/>
          <ac:spMkLst>
            <pc:docMk/>
            <pc:sldMk cId="2955721572" sldId="10370"/>
            <ac:spMk id="103" creationId="{651785F5-4779-4A80-B920-961EC7066FA3}"/>
          </ac:spMkLst>
        </pc:spChg>
        <pc:spChg chg="mod">
          <ac:chgData name="Ugo MANTEL" userId="2d5b7065-31bb-4181-a7f8-a73bf0c30211" providerId="ADAL" clId="{9344D105-636D-4857-BD0F-AFC44A54BCCF}" dt="2021-05-25T14:20:11.922" v="28610" actId="790"/>
          <ac:spMkLst>
            <pc:docMk/>
            <pc:sldMk cId="2955721572" sldId="10370"/>
            <ac:spMk id="105" creationId="{0ACAFE08-962E-4BC8-8D72-1E07950C5209}"/>
          </ac:spMkLst>
        </pc:spChg>
        <pc:spChg chg="mod">
          <ac:chgData name="Ugo MANTEL" userId="2d5b7065-31bb-4181-a7f8-a73bf0c30211" providerId="ADAL" clId="{9344D105-636D-4857-BD0F-AFC44A54BCCF}" dt="2021-05-25T14:20:11.923" v="28611" actId="790"/>
          <ac:spMkLst>
            <pc:docMk/>
            <pc:sldMk cId="2955721572" sldId="10370"/>
            <ac:spMk id="106" creationId="{415C1887-4D6A-4BFA-A542-AB31F35B094F}"/>
          </ac:spMkLst>
        </pc:spChg>
        <pc:spChg chg="mod">
          <ac:chgData name="Ugo MANTEL" userId="2d5b7065-31bb-4181-a7f8-a73bf0c30211" providerId="ADAL" clId="{9344D105-636D-4857-BD0F-AFC44A54BCCF}" dt="2021-05-25T14:20:11.924" v="28612" actId="790"/>
          <ac:spMkLst>
            <pc:docMk/>
            <pc:sldMk cId="2955721572" sldId="10370"/>
            <ac:spMk id="109" creationId="{36D5C66A-85B6-4A41-A70D-74703A42ADC6}"/>
          </ac:spMkLst>
        </pc:spChg>
        <pc:spChg chg="mod">
          <ac:chgData name="Ugo MANTEL" userId="2d5b7065-31bb-4181-a7f8-a73bf0c30211" providerId="ADAL" clId="{9344D105-636D-4857-BD0F-AFC44A54BCCF}" dt="2021-05-25T14:20:11.924" v="28613" actId="790"/>
          <ac:spMkLst>
            <pc:docMk/>
            <pc:sldMk cId="2955721572" sldId="10370"/>
            <ac:spMk id="110" creationId="{47E92894-6CE3-43BE-80DC-0F76B5DF980F}"/>
          </ac:spMkLst>
        </pc:spChg>
        <pc:spChg chg="mod">
          <ac:chgData name="Ugo MANTEL" userId="2d5b7065-31bb-4181-a7f8-a73bf0c30211" providerId="ADAL" clId="{9344D105-636D-4857-BD0F-AFC44A54BCCF}" dt="2021-05-25T14:20:11.925" v="28614" actId="790"/>
          <ac:spMkLst>
            <pc:docMk/>
            <pc:sldMk cId="2955721572" sldId="10370"/>
            <ac:spMk id="113" creationId="{0C095A33-38E5-462F-8A7A-E62A8E98D55C}"/>
          </ac:spMkLst>
        </pc:spChg>
        <pc:spChg chg="mod">
          <ac:chgData name="Ugo MANTEL" userId="2d5b7065-31bb-4181-a7f8-a73bf0c30211" providerId="ADAL" clId="{9344D105-636D-4857-BD0F-AFC44A54BCCF}" dt="2021-05-25T14:20:11.926" v="28615" actId="790"/>
          <ac:spMkLst>
            <pc:docMk/>
            <pc:sldMk cId="2955721572" sldId="10370"/>
            <ac:spMk id="114" creationId="{A85051FB-B96C-4561-9949-AE0A210DCEF7}"/>
          </ac:spMkLst>
        </pc:spChg>
        <pc:spChg chg="mod">
          <ac:chgData name="Ugo MANTEL" userId="2d5b7065-31bb-4181-a7f8-a73bf0c30211" providerId="ADAL" clId="{9344D105-636D-4857-BD0F-AFC44A54BCCF}" dt="2021-05-25T14:20:11.927" v="28616" actId="790"/>
          <ac:spMkLst>
            <pc:docMk/>
            <pc:sldMk cId="2955721572" sldId="10370"/>
            <ac:spMk id="117" creationId="{DBAD1338-6574-407E-A6BE-CF70C12CF161}"/>
          </ac:spMkLst>
        </pc:spChg>
        <pc:spChg chg="mod">
          <ac:chgData name="Ugo MANTEL" userId="2d5b7065-31bb-4181-a7f8-a73bf0c30211" providerId="ADAL" clId="{9344D105-636D-4857-BD0F-AFC44A54BCCF}" dt="2021-05-25T14:20:11.928" v="28617" actId="790"/>
          <ac:spMkLst>
            <pc:docMk/>
            <pc:sldMk cId="2955721572" sldId="10370"/>
            <ac:spMk id="118" creationId="{6CC80E4F-5AF6-43ED-BF86-E4E441DAE0FE}"/>
          </ac:spMkLst>
        </pc:spChg>
        <pc:spChg chg="mod">
          <ac:chgData name="Ugo MANTEL" userId="2d5b7065-31bb-4181-a7f8-a73bf0c30211" providerId="ADAL" clId="{9344D105-636D-4857-BD0F-AFC44A54BCCF}" dt="2021-05-25T14:20:11.929" v="28618" actId="790"/>
          <ac:spMkLst>
            <pc:docMk/>
            <pc:sldMk cId="2955721572" sldId="10370"/>
            <ac:spMk id="119" creationId="{7C8B8644-EF6E-4905-A0F5-5C2CD0B264C9}"/>
          </ac:spMkLst>
        </pc:spChg>
        <pc:spChg chg="mod">
          <ac:chgData name="Ugo MANTEL" userId="2d5b7065-31bb-4181-a7f8-a73bf0c30211" providerId="ADAL" clId="{9344D105-636D-4857-BD0F-AFC44A54BCCF}" dt="2021-05-25T14:20:11.931" v="28619" actId="790"/>
          <ac:spMkLst>
            <pc:docMk/>
            <pc:sldMk cId="2955721572" sldId="10370"/>
            <ac:spMk id="120" creationId="{EF6A0361-72CE-4976-81E6-23CA720B0E0B}"/>
          </ac:spMkLst>
        </pc:spChg>
        <pc:spChg chg="mod">
          <ac:chgData name="Ugo MANTEL" userId="2d5b7065-31bb-4181-a7f8-a73bf0c30211" providerId="ADAL" clId="{9344D105-636D-4857-BD0F-AFC44A54BCCF}" dt="2021-05-25T14:20:11.932" v="28620" actId="790"/>
          <ac:spMkLst>
            <pc:docMk/>
            <pc:sldMk cId="2955721572" sldId="10370"/>
            <ac:spMk id="121" creationId="{BFDCD2F7-D0DE-423D-8845-692BDD508BA2}"/>
          </ac:spMkLst>
        </pc:spChg>
        <pc:spChg chg="mod">
          <ac:chgData name="Ugo MANTEL" userId="2d5b7065-31bb-4181-a7f8-a73bf0c30211" providerId="ADAL" clId="{9344D105-636D-4857-BD0F-AFC44A54BCCF}" dt="2021-05-25T14:20:11.932" v="28621" actId="790"/>
          <ac:spMkLst>
            <pc:docMk/>
            <pc:sldMk cId="2955721572" sldId="10370"/>
            <ac:spMk id="122" creationId="{C3E37837-414F-4553-98C1-7875D7F39D63}"/>
          </ac:spMkLst>
        </pc:spChg>
        <pc:spChg chg="mod">
          <ac:chgData name="Ugo MANTEL" userId="2d5b7065-31bb-4181-a7f8-a73bf0c30211" providerId="ADAL" clId="{9344D105-636D-4857-BD0F-AFC44A54BCCF}" dt="2021-05-25T14:20:11.933" v="28622" actId="790"/>
          <ac:spMkLst>
            <pc:docMk/>
            <pc:sldMk cId="2955721572" sldId="10370"/>
            <ac:spMk id="123" creationId="{3EAEB141-8F44-4AC0-B379-C26EBB56770F}"/>
          </ac:spMkLst>
        </pc:spChg>
        <pc:spChg chg="mod">
          <ac:chgData name="Ugo MANTEL" userId="2d5b7065-31bb-4181-a7f8-a73bf0c30211" providerId="ADAL" clId="{9344D105-636D-4857-BD0F-AFC44A54BCCF}" dt="2021-05-25T14:20:11.934" v="28623" actId="790"/>
          <ac:spMkLst>
            <pc:docMk/>
            <pc:sldMk cId="2955721572" sldId="10370"/>
            <ac:spMk id="124" creationId="{F8B1BC02-5DA3-4414-A10C-B724559E0F9C}"/>
          </ac:spMkLst>
        </pc:spChg>
        <pc:spChg chg="mod">
          <ac:chgData name="Ugo MANTEL" userId="2d5b7065-31bb-4181-a7f8-a73bf0c30211" providerId="ADAL" clId="{9344D105-636D-4857-BD0F-AFC44A54BCCF}" dt="2021-05-25T14:20:11.935" v="28624" actId="790"/>
          <ac:spMkLst>
            <pc:docMk/>
            <pc:sldMk cId="2955721572" sldId="10370"/>
            <ac:spMk id="125" creationId="{065F8B71-F0F7-4D59-AB65-1218AEE2DAB7}"/>
          </ac:spMkLst>
        </pc:spChg>
        <pc:spChg chg="mod">
          <ac:chgData name="Ugo MANTEL" userId="2d5b7065-31bb-4181-a7f8-a73bf0c30211" providerId="ADAL" clId="{9344D105-636D-4857-BD0F-AFC44A54BCCF}" dt="2021-05-25T14:20:11.936" v="28625" actId="790"/>
          <ac:spMkLst>
            <pc:docMk/>
            <pc:sldMk cId="2955721572" sldId="10370"/>
            <ac:spMk id="126" creationId="{EEE45712-275C-4D06-97CB-221815075B44}"/>
          </ac:spMkLst>
        </pc:spChg>
        <pc:spChg chg="mod">
          <ac:chgData name="Ugo MANTEL" userId="2d5b7065-31bb-4181-a7f8-a73bf0c30211" providerId="ADAL" clId="{9344D105-636D-4857-BD0F-AFC44A54BCCF}" dt="2021-05-25T14:20:11.937" v="28626" actId="790"/>
          <ac:spMkLst>
            <pc:docMk/>
            <pc:sldMk cId="2955721572" sldId="10370"/>
            <ac:spMk id="128" creationId="{690DF736-25BF-47AC-863D-B5C04E5BFD09}"/>
          </ac:spMkLst>
        </pc:spChg>
      </pc:sldChg>
      <pc:sldChg chg="addSp delSp modSp mod ord">
        <pc:chgData name="Ugo MANTEL" userId="2d5b7065-31bb-4181-a7f8-a73bf0c30211" providerId="ADAL" clId="{9344D105-636D-4857-BD0F-AFC44A54BCCF}" dt="2021-05-25T14:44:08.371" v="35945" actId="12"/>
        <pc:sldMkLst>
          <pc:docMk/>
          <pc:sldMk cId="928014684" sldId="10381"/>
        </pc:sldMkLst>
        <pc:spChg chg="mod">
          <ac:chgData name="Ugo MANTEL" userId="2d5b7065-31bb-4181-a7f8-a73bf0c30211" providerId="ADAL" clId="{9344D105-636D-4857-BD0F-AFC44A54BCCF}" dt="2021-05-25T14:20:13.106" v="29826" actId="790"/>
          <ac:spMkLst>
            <pc:docMk/>
            <pc:sldMk cId="928014684" sldId="10381"/>
            <ac:spMk id="2" creationId="{F650F2D3-501E-420A-B1C2-0C0D75F1F375}"/>
          </ac:spMkLst>
        </pc:spChg>
        <pc:spChg chg="add del mod modVis">
          <ac:chgData name="Ugo MANTEL" userId="2d5b7065-31bb-4181-a7f8-a73bf0c30211" providerId="ADAL" clId="{9344D105-636D-4857-BD0F-AFC44A54BCCF}" dt="2021-05-24T14:53:55.956" v="8443"/>
          <ac:spMkLst>
            <pc:docMk/>
            <pc:sldMk cId="928014684" sldId="10381"/>
            <ac:spMk id="3" creationId="{61D04789-66C7-42C0-B645-AEACB86072B2}"/>
          </ac:spMkLst>
        </pc:spChg>
        <pc:spChg chg="mod">
          <ac:chgData name="Ugo MANTEL" userId="2d5b7065-31bb-4181-a7f8-a73bf0c30211" providerId="ADAL" clId="{9344D105-636D-4857-BD0F-AFC44A54BCCF}" dt="2021-05-25T14:20:13.119" v="29835" actId="790"/>
          <ac:spMkLst>
            <pc:docMk/>
            <pc:sldMk cId="928014684" sldId="10381"/>
            <ac:spMk id="5" creationId="{8D62D1CB-CECB-4FC8-AC33-69D9825C44E6}"/>
          </ac:spMkLst>
        </pc:spChg>
        <pc:spChg chg="add del mod modVis">
          <ac:chgData name="Ugo MANTEL" userId="2d5b7065-31bb-4181-a7f8-a73bf0c30211" providerId="ADAL" clId="{9344D105-636D-4857-BD0F-AFC44A54BCCF}" dt="2021-05-24T14:53:59.379" v="8503"/>
          <ac:spMkLst>
            <pc:docMk/>
            <pc:sldMk cId="928014684" sldId="10381"/>
            <ac:spMk id="6" creationId="{BA7E96AB-AF03-40CC-9380-69329790E9CB}"/>
          </ac:spMkLst>
        </pc:spChg>
        <pc:spChg chg="mod">
          <ac:chgData name="Ugo MANTEL" userId="2d5b7065-31bb-4181-a7f8-a73bf0c30211" providerId="ADAL" clId="{9344D105-636D-4857-BD0F-AFC44A54BCCF}" dt="2021-05-25T14:20:13.122" v="29838" actId="790"/>
          <ac:spMkLst>
            <pc:docMk/>
            <pc:sldMk cId="928014684" sldId="10381"/>
            <ac:spMk id="16" creationId="{4097B478-9F5D-45B4-A186-D4A1E6BB7550}"/>
          </ac:spMkLst>
        </pc:spChg>
        <pc:spChg chg="mod">
          <ac:chgData name="Ugo MANTEL" userId="2d5b7065-31bb-4181-a7f8-a73bf0c30211" providerId="ADAL" clId="{9344D105-636D-4857-BD0F-AFC44A54BCCF}" dt="2021-05-25T14:44:08.371" v="35945" actId="12"/>
          <ac:spMkLst>
            <pc:docMk/>
            <pc:sldMk cId="928014684" sldId="10381"/>
            <ac:spMk id="17" creationId="{C0789EFE-9637-4F49-9BF8-ADFC35ADADA8}"/>
          </ac:spMkLst>
        </pc:spChg>
        <pc:spChg chg="mod">
          <ac:chgData name="Ugo MANTEL" userId="2d5b7065-31bb-4181-a7f8-a73bf0c30211" providerId="ADAL" clId="{9344D105-636D-4857-BD0F-AFC44A54BCCF}" dt="2021-05-25T14:41:53.104" v="35932" actId="207"/>
          <ac:spMkLst>
            <pc:docMk/>
            <pc:sldMk cId="928014684" sldId="10381"/>
            <ac:spMk id="23" creationId="{A42B95F8-384C-428D-A9F7-F02119EB93B6}"/>
          </ac:spMkLst>
        </pc:spChg>
        <pc:spChg chg="mod">
          <ac:chgData name="Ugo MANTEL" userId="2d5b7065-31bb-4181-a7f8-a73bf0c30211" providerId="ADAL" clId="{9344D105-636D-4857-BD0F-AFC44A54BCCF}" dt="2021-05-25T14:20:13.118" v="29834" actId="790"/>
          <ac:spMkLst>
            <pc:docMk/>
            <pc:sldMk cId="928014684" sldId="10381"/>
            <ac:spMk id="24" creationId="{FD650C8B-4EE8-4338-B832-2CF0044FDC39}"/>
          </ac:spMkLst>
        </pc:spChg>
        <pc:spChg chg="mod">
          <ac:chgData name="Ugo MANTEL" userId="2d5b7065-31bb-4181-a7f8-a73bf0c30211" providerId="ADAL" clId="{9344D105-636D-4857-BD0F-AFC44A54BCCF}" dt="2021-05-25T14:20:13.121" v="29837" actId="790"/>
          <ac:spMkLst>
            <pc:docMk/>
            <pc:sldMk cId="928014684" sldId="10381"/>
            <ac:spMk id="48" creationId="{09E15757-5F08-4D22-BA2D-052419ABF6DC}"/>
          </ac:spMkLst>
        </pc:spChg>
        <pc:spChg chg="mod">
          <ac:chgData name="Ugo MANTEL" userId="2d5b7065-31bb-4181-a7f8-a73bf0c30211" providerId="ADAL" clId="{9344D105-636D-4857-BD0F-AFC44A54BCCF}" dt="2021-05-25T14:20:13.125" v="29840" actId="790"/>
          <ac:spMkLst>
            <pc:docMk/>
            <pc:sldMk cId="928014684" sldId="10381"/>
            <ac:spMk id="52" creationId="{490B1055-3257-475A-8999-47D9AB2EEC11}"/>
          </ac:spMkLst>
        </pc:spChg>
        <pc:spChg chg="mod">
          <ac:chgData name="Ugo MANTEL" userId="2d5b7065-31bb-4181-a7f8-a73bf0c30211" providerId="ADAL" clId="{9344D105-636D-4857-BD0F-AFC44A54BCCF}" dt="2021-05-25T14:20:13.126" v="29841" actId="790"/>
          <ac:spMkLst>
            <pc:docMk/>
            <pc:sldMk cId="928014684" sldId="10381"/>
            <ac:spMk id="54" creationId="{AEAA66D8-25CA-4D12-93D1-047EE256A639}"/>
          </ac:spMkLst>
        </pc:spChg>
        <pc:spChg chg="mod">
          <ac:chgData name="Ugo MANTEL" userId="2d5b7065-31bb-4181-a7f8-a73bf0c30211" providerId="ADAL" clId="{9344D105-636D-4857-BD0F-AFC44A54BCCF}" dt="2021-05-25T14:20:13.127" v="29842" actId="790"/>
          <ac:spMkLst>
            <pc:docMk/>
            <pc:sldMk cId="928014684" sldId="10381"/>
            <ac:spMk id="55" creationId="{E9B602BB-1502-49FD-8A14-BA77512B9D8E}"/>
          </ac:spMkLst>
        </pc:spChg>
        <pc:spChg chg="mod">
          <ac:chgData name="Ugo MANTEL" userId="2d5b7065-31bb-4181-a7f8-a73bf0c30211" providerId="ADAL" clId="{9344D105-636D-4857-BD0F-AFC44A54BCCF}" dt="2021-05-25T14:20:13.128" v="29843" actId="790"/>
          <ac:spMkLst>
            <pc:docMk/>
            <pc:sldMk cId="928014684" sldId="10381"/>
            <ac:spMk id="56" creationId="{3CC8D01A-4EA7-494E-ACE3-8A0556E31076}"/>
          </ac:spMkLst>
        </pc:spChg>
        <pc:spChg chg="mod">
          <ac:chgData name="Ugo MANTEL" userId="2d5b7065-31bb-4181-a7f8-a73bf0c30211" providerId="ADAL" clId="{9344D105-636D-4857-BD0F-AFC44A54BCCF}" dt="2021-05-25T14:20:13.129" v="29845" actId="790"/>
          <ac:spMkLst>
            <pc:docMk/>
            <pc:sldMk cId="928014684" sldId="10381"/>
            <ac:spMk id="66" creationId="{1EC5F6DB-8E93-48B7-BE1A-16C1C840253A}"/>
          </ac:spMkLst>
        </pc:spChg>
        <pc:spChg chg="mod">
          <ac:chgData name="Ugo MANTEL" userId="2d5b7065-31bb-4181-a7f8-a73bf0c30211" providerId="ADAL" clId="{9344D105-636D-4857-BD0F-AFC44A54BCCF}" dt="2021-05-25T14:20:13.129" v="29844" actId="790"/>
          <ac:spMkLst>
            <pc:docMk/>
            <pc:sldMk cId="928014684" sldId="10381"/>
            <ac:spMk id="67" creationId="{D15C3F86-EA1A-4CD3-8C0D-E4E1EFDD9561}"/>
          </ac:spMkLst>
        </pc:spChg>
        <pc:spChg chg="del mod">
          <ac:chgData name="Ugo MANTEL" userId="2d5b7065-31bb-4181-a7f8-a73bf0c30211" providerId="ADAL" clId="{9344D105-636D-4857-BD0F-AFC44A54BCCF}" dt="2021-05-25T14:36:37.419" v="35217" actId="478"/>
          <ac:spMkLst>
            <pc:docMk/>
            <pc:sldMk cId="928014684" sldId="10381"/>
            <ac:spMk id="74" creationId="{8BB96193-6DD2-4CD8-91F4-2A2DCB0A2B54}"/>
          </ac:spMkLst>
        </pc:spChg>
        <pc:spChg chg="add mod">
          <ac:chgData name="Ugo MANTEL" userId="2d5b7065-31bb-4181-a7f8-a73bf0c30211" providerId="ADAL" clId="{9344D105-636D-4857-BD0F-AFC44A54BCCF}" dt="2021-05-25T14:20:13.151" v="29869" actId="790"/>
          <ac:spMkLst>
            <pc:docMk/>
            <pc:sldMk cId="928014684" sldId="10381"/>
            <ac:spMk id="75" creationId="{A120C433-C765-4D27-B52A-61890D6B1F3A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76" creationId="{94AFA180-F0EF-4973-B420-21D7C3C63465}"/>
          </ac:spMkLst>
        </pc:spChg>
        <pc:spChg chg="mod">
          <ac:chgData name="Ugo MANTEL" userId="2d5b7065-31bb-4181-a7f8-a73bf0c30211" providerId="ADAL" clId="{9344D105-636D-4857-BD0F-AFC44A54BCCF}" dt="2021-05-25T14:20:13.130" v="29846" actId="790"/>
          <ac:spMkLst>
            <pc:docMk/>
            <pc:sldMk cId="928014684" sldId="10381"/>
            <ac:spMk id="77" creationId="{AA993906-7B0E-4FA0-A5CC-CB69B9064F5F}"/>
          </ac:spMkLst>
        </pc:spChg>
        <pc:spChg chg="mod">
          <ac:chgData name="Ugo MANTEL" userId="2d5b7065-31bb-4181-a7f8-a73bf0c30211" providerId="ADAL" clId="{9344D105-636D-4857-BD0F-AFC44A54BCCF}" dt="2021-05-25T14:41:24.067" v="35927" actId="207"/>
          <ac:spMkLst>
            <pc:docMk/>
            <pc:sldMk cId="928014684" sldId="10381"/>
            <ac:spMk id="78" creationId="{927B2CF9-23D7-4AC1-896F-53C294D443E0}"/>
          </ac:spMkLst>
        </pc:spChg>
        <pc:spChg chg="mod">
          <ac:chgData name="Ugo MANTEL" userId="2d5b7065-31bb-4181-a7f8-a73bf0c30211" providerId="ADAL" clId="{9344D105-636D-4857-BD0F-AFC44A54BCCF}" dt="2021-05-25T14:42:12.935" v="35935" actId="207"/>
          <ac:spMkLst>
            <pc:docMk/>
            <pc:sldMk cId="928014684" sldId="10381"/>
            <ac:spMk id="79" creationId="{743C0E1C-B0D6-49C7-83DA-2F31332150DB}"/>
          </ac:spMkLst>
        </pc:spChg>
        <pc:spChg chg="add del mod">
          <ac:chgData name="Ugo MANTEL" userId="2d5b7065-31bb-4181-a7f8-a73bf0c30211" providerId="ADAL" clId="{9344D105-636D-4857-BD0F-AFC44A54BCCF}" dt="2021-05-24T14:59:58.220" v="8702" actId="478"/>
          <ac:spMkLst>
            <pc:docMk/>
            <pc:sldMk cId="928014684" sldId="10381"/>
            <ac:spMk id="80" creationId="{635C7629-79DF-401B-9EC8-737F745609CE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81" creationId="{5FB50013-BA3E-4D8E-A519-7B0CD9DE4949}"/>
          </ac:spMkLst>
        </pc:spChg>
        <pc:spChg chg="mod">
          <ac:chgData name="Ugo MANTEL" userId="2d5b7065-31bb-4181-a7f8-a73bf0c30211" providerId="ADAL" clId="{9344D105-636D-4857-BD0F-AFC44A54BCCF}" dt="2021-05-25T14:20:13.134" v="29849" actId="790"/>
          <ac:spMkLst>
            <pc:docMk/>
            <pc:sldMk cId="928014684" sldId="10381"/>
            <ac:spMk id="82" creationId="{EB785ED8-42ED-404B-B83A-FFB565585F81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84" creationId="{A750383E-B692-49D6-BC4A-1FAB76FBB2E8}"/>
          </ac:spMkLst>
        </pc:spChg>
        <pc:spChg chg="mod">
          <ac:chgData name="Ugo MANTEL" userId="2d5b7065-31bb-4181-a7f8-a73bf0c30211" providerId="ADAL" clId="{9344D105-636D-4857-BD0F-AFC44A54BCCF}" dt="2021-05-25T14:20:13.107" v="29827" actId="790"/>
          <ac:spMkLst>
            <pc:docMk/>
            <pc:sldMk cId="928014684" sldId="10381"/>
            <ac:spMk id="85" creationId="{8A87828B-4DA3-4320-8F89-92B54C4F4105}"/>
          </ac:spMkLst>
        </pc:spChg>
        <pc:spChg chg="add del mod">
          <ac:chgData name="Ugo MANTEL" userId="2d5b7065-31bb-4181-a7f8-a73bf0c30211" providerId="ADAL" clId="{9344D105-636D-4857-BD0F-AFC44A54BCCF}" dt="2021-05-24T14:59:58.220" v="8702" actId="478"/>
          <ac:spMkLst>
            <pc:docMk/>
            <pc:sldMk cId="928014684" sldId="10381"/>
            <ac:spMk id="86" creationId="{259F1DBC-7977-4DAB-BEB2-48CD8FE0F1A1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93" creationId="{97C04EC9-123A-416B-BA46-756CFFFC6D8D}"/>
          </ac:spMkLst>
        </pc:spChg>
        <pc:spChg chg="mod">
          <ac:chgData name="Ugo MANTEL" userId="2d5b7065-31bb-4181-a7f8-a73bf0c30211" providerId="ADAL" clId="{9344D105-636D-4857-BD0F-AFC44A54BCCF}" dt="2021-05-25T14:20:13.111" v="29828" actId="790"/>
          <ac:spMkLst>
            <pc:docMk/>
            <pc:sldMk cId="928014684" sldId="10381"/>
            <ac:spMk id="94" creationId="{4ED8E281-6E50-4B86-8F57-CE6AF2076C8B}"/>
          </ac:spMkLst>
        </pc:spChg>
        <pc:spChg chg="mod">
          <ac:chgData name="Ugo MANTEL" userId="2d5b7065-31bb-4181-a7f8-a73bf0c30211" providerId="ADAL" clId="{9344D105-636D-4857-BD0F-AFC44A54BCCF}" dt="2021-05-25T14:42:43.150" v="35939" actId="207"/>
          <ac:spMkLst>
            <pc:docMk/>
            <pc:sldMk cId="928014684" sldId="10381"/>
            <ac:spMk id="95" creationId="{955C889B-E359-4C1C-ADE8-61F29406941A}"/>
          </ac:spMkLst>
        </pc:spChg>
        <pc:spChg chg="add del mod">
          <ac:chgData name="Ugo MANTEL" userId="2d5b7065-31bb-4181-a7f8-a73bf0c30211" providerId="ADAL" clId="{9344D105-636D-4857-BD0F-AFC44A54BCCF}" dt="2021-05-24T15:00:07.335" v="8704" actId="478"/>
          <ac:spMkLst>
            <pc:docMk/>
            <pc:sldMk cId="928014684" sldId="10381"/>
            <ac:spMk id="96" creationId="{CC192F20-FA88-42E5-AD62-C5F39E14D8BE}"/>
          </ac:spMkLst>
        </pc:spChg>
        <pc:spChg chg="add del mod">
          <ac:chgData name="Ugo MANTEL" userId="2d5b7065-31bb-4181-a7f8-a73bf0c30211" providerId="ADAL" clId="{9344D105-636D-4857-BD0F-AFC44A54BCCF}" dt="2021-05-24T15:00:07.335" v="8704" actId="478"/>
          <ac:spMkLst>
            <pc:docMk/>
            <pc:sldMk cId="928014684" sldId="10381"/>
            <ac:spMk id="97" creationId="{EF640422-5629-425C-8630-321AE8430E7A}"/>
          </ac:spMkLst>
        </pc:spChg>
        <pc:spChg chg="add del mod">
          <ac:chgData name="Ugo MANTEL" userId="2d5b7065-31bb-4181-a7f8-a73bf0c30211" providerId="ADAL" clId="{9344D105-636D-4857-BD0F-AFC44A54BCCF}" dt="2021-05-24T15:00:07.335" v="8704" actId="478"/>
          <ac:spMkLst>
            <pc:docMk/>
            <pc:sldMk cId="928014684" sldId="10381"/>
            <ac:spMk id="98" creationId="{C4CB1157-993C-451C-9E45-046FA6C3F45A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99" creationId="{270A34D1-92D1-4F74-ABE3-376D42424F1F}"/>
          </ac:spMkLst>
        </pc:spChg>
        <pc:spChg chg="mod">
          <ac:chgData name="Ugo MANTEL" userId="2d5b7065-31bb-4181-a7f8-a73bf0c30211" providerId="ADAL" clId="{9344D105-636D-4857-BD0F-AFC44A54BCCF}" dt="2021-05-25T14:20:13.112" v="29830" actId="790"/>
          <ac:spMkLst>
            <pc:docMk/>
            <pc:sldMk cId="928014684" sldId="10381"/>
            <ac:spMk id="100" creationId="{EBD54761-3F6A-42C5-A358-9B8C9AE709E6}"/>
          </ac:spMkLst>
        </pc:spChg>
        <pc:spChg chg="mod">
          <ac:chgData name="Ugo MANTEL" userId="2d5b7065-31bb-4181-a7f8-a73bf0c30211" providerId="ADAL" clId="{9344D105-636D-4857-BD0F-AFC44A54BCCF}" dt="2021-05-25T14:42:37.741" v="35938" actId="207"/>
          <ac:spMkLst>
            <pc:docMk/>
            <pc:sldMk cId="928014684" sldId="10381"/>
            <ac:spMk id="101" creationId="{8F0FA4AA-6979-4163-8211-4D3E2504D922}"/>
          </ac:spMkLst>
        </pc:spChg>
        <pc:spChg chg="mod">
          <ac:chgData name="Ugo MANTEL" userId="2d5b7065-31bb-4181-a7f8-a73bf0c30211" providerId="ADAL" clId="{9344D105-636D-4857-BD0F-AFC44A54BCCF}" dt="2021-05-25T14:42:55.639" v="35942" actId="207"/>
          <ac:spMkLst>
            <pc:docMk/>
            <pc:sldMk cId="928014684" sldId="10381"/>
            <ac:spMk id="103" creationId="{8EC109A0-55CE-4037-8B7D-7C591AB7496F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105" creationId="{F277B3B9-20AF-450F-8233-323EEFDD2A90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106" creationId="{C62739C6-872E-4B5C-90E5-12B906887E77}"/>
          </ac:spMkLst>
        </pc:spChg>
        <pc:spChg chg="mod">
          <ac:chgData name="Ugo MANTEL" userId="2d5b7065-31bb-4181-a7f8-a73bf0c30211" providerId="ADAL" clId="{9344D105-636D-4857-BD0F-AFC44A54BCCF}" dt="2021-05-25T14:20:13.135" v="29850" actId="790"/>
          <ac:spMkLst>
            <pc:docMk/>
            <pc:sldMk cId="928014684" sldId="10381"/>
            <ac:spMk id="107" creationId="{AFE04C33-D3C3-4729-B074-628462666000}"/>
          </ac:spMkLst>
        </pc:spChg>
        <pc:spChg chg="mod">
          <ac:chgData name="Ugo MANTEL" userId="2d5b7065-31bb-4181-a7f8-a73bf0c30211" providerId="ADAL" clId="{9344D105-636D-4857-BD0F-AFC44A54BCCF}" dt="2021-05-25T14:42:32.117" v="35937" actId="207"/>
          <ac:spMkLst>
            <pc:docMk/>
            <pc:sldMk cId="928014684" sldId="10381"/>
            <ac:spMk id="108" creationId="{84E50665-CFCF-4CAB-82A5-40ABF0DEBFF0}"/>
          </ac:spMkLst>
        </pc:spChg>
        <pc:spChg chg="mod">
          <ac:chgData name="Ugo MANTEL" userId="2d5b7065-31bb-4181-a7f8-a73bf0c30211" providerId="ADAL" clId="{9344D105-636D-4857-BD0F-AFC44A54BCCF}" dt="2021-05-25T14:42:29.386" v="35936" actId="207"/>
          <ac:spMkLst>
            <pc:docMk/>
            <pc:sldMk cId="928014684" sldId="10381"/>
            <ac:spMk id="109" creationId="{D5717F27-AFA6-482B-876D-BE7AC56A69A2}"/>
          </ac:spMkLst>
        </pc:spChg>
        <pc:spChg chg="add del mod">
          <ac:chgData name="Ugo MANTEL" userId="2d5b7065-31bb-4181-a7f8-a73bf0c30211" providerId="ADAL" clId="{9344D105-636D-4857-BD0F-AFC44A54BCCF}" dt="2021-05-24T15:09:19.844" v="8781" actId="478"/>
          <ac:spMkLst>
            <pc:docMk/>
            <pc:sldMk cId="928014684" sldId="10381"/>
            <ac:spMk id="111" creationId="{FD3BAA55-2C5B-437B-99F5-CC0E270ECFE1}"/>
          </ac:spMkLst>
        </pc:spChg>
        <pc:spChg chg="add mod">
          <ac:chgData name="Ugo MANTEL" userId="2d5b7065-31bb-4181-a7f8-a73bf0c30211" providerId="ADAL" clId="{9344D105-636D-4857-BD0F-AFC44A54BCCF}" dt="2021-05-25T14:20:13.152" v="29870" actId="790"/>
          <ac:spMkLst>
            <pc:docMk/>
            <pc:sldMk cId="928014684" sldId="10381"/>
            <ac:spMk id="112" creationId="{9B79AB7B-0DF7-4BE8-BFE1-5CF5CCEA16CD}"/>
          </ac:spMkLst>
        </pc:spChg>
        <pc:spChg chg="add mod">
          <ac:chgData name="Ugo MANTEL" userId="2d5b7065-31bb-4181-a7f8-a73bf0c30211" providerId="ADAL" clId="{9344D105-636D-4857-BD0F-AFC44A54BCCF}" dt="2021-05-25T14:20:13.152" v="29871" actId="790"/>
          <ac:spMkLst>
            <pc:docMk/>
            <pc:sldMk cId="928014684" sldId="10381"/>
            <ac:spMk id="113" creationId="{596CCD33-A7C7-494E-BEA1-04CE3549D870}"/>
          </ac:spMkLst>
        </pc:spChg>
        <pc:spChg chg="add mod">
          <ac:chgData name="Ugo MANTEL" userId="2d5b7065-31bb-4181-a7f8-a73bf0c30211" providerId="ADAL" clId="{9344D105-636D-4857-BD0F-AFC44A54BCCF}" dt="2021-05-25T14:20:13.153" v="29872" actId="790"/>
          <ac:spMkLst>
            <pc:docMk/>
            <pc:sldMk cId="928014684" sldId="10381"/>
            <ac:spMk id="114" creationId="{340CF0E8-5223-42E1-9FA5-DD02FA53A141}"/>
          </ac:spMkLst>
        </pc:spChg>
        <pc:spChg chg="add mod">
          <ac:chgData name="Ugo MANTEL" userId="2d5b7065-31bb-4181-a7f8-a73bf0c30211" providerId="ADAL" clId="{9344D105-636D-4857-BD0F-AFC44A54BCCF}" dt="2021-05-25T14:20:13.154" v="29873" actId="790"/>
          <ac:spMkLst>
            <pc:docMk/>
            <pc:sldMk cId="928014684" sldId="10381"/>
            <ac:spMk id="115" creationId="{A5AE030B-FE2B-4CE6-8F9C-42DE1D8C00F5}"/>
          </ac:spMkLst>
        </pc:spChg>
        <pc:spChg chg="add mod">
          <ac:chgData name="Ugo MANTEL" userId="2d5b7065-31bb-4181-a7f8-a73bf0c30211" providerId="ADAL" clId="{9344D105-636D-4857-BD0F-AFC44A54BCCF}" dt="2021-05-25T14:20:13.154" v="29874" actId="790"/>
          <ac:spMkLst>
            <pc:docMk/>
            <pc:sldMk cId="928014684" sldId="10381"/>
            <ac:spMk id="116" creationId="{3E9E5527-D18B-4C0F-9033-768C7E712997}"/>
          </ac:spMkLst>
        </pc:spChg>
        <pc:spChg chg="add mod">
          <ac:chgData name="Ugo MANTEL" userId="2d5b7065-31bb-4181-a7f8-a73bf0c30211" providerId="ADAL" clId="{9344D105-636D-4857-BD0F-AFC44A54BCCF}" dt="2021-05-25T14:20:13.155" v="29875" actId="790"/>
          <ac:spMkLst>
            <pc:docMk/>
            <pc:sldMk cId="928014684" sldId="10381"/>
            <ac:spMk id="117" creationId="{11321080-4DD2-4C51-B8C1-29C7DA0514AA}"/>
          </ac:spMkLst>
        </pc:spChg>
        <pc:spChg chg="add mod">
          <ac:chgData name="Ugo MANTEL" userId="2d5b7065-31bb-4181-a7f8-a73bf0c30211" providerId="ADAL" clId="{9344D105-636D-4857-BD0F-AFC44A54BCCF}" dt="2021-05-25T14:20:13.156" v="29876" actId="790"/>
          <ac:spMkLst>
            <pc:docMk/>
            <pc:sldMk cId="928014684" sldId="10381"/>
            <ac:spMk id="118" creationId="{F630FA7E-91CE-41ED-A13A-54AF98443939}"/>
          </ac:spMkLst>
        </pc:spChg>
        <pc:spChg chg="add mod">
          <ac:chgData name="Ugo MANTEL" userId="2d5b7065-31bb-4181-a7f8-a73bf0c30211" providerId="ADAL" clId="{9344D105-636D-4857-BD0F-AFC44A54BCCF}" dt="2021-05-25T14:20:13.157" v="29877" actId="790"/>
          <ac:spMkLst>
            <pc:docMk/>
            <pc:sldMk cId="928014684" sldId="10381"/>
            <ac:spMk id="119" creationId="{D7C1FB58-C6AB-4DA9-ADF8-A8F064F8DB5C}"/>
          </ac:spMkLst>
        </pc:spChg>
        <pc:spChg chg="mod">
          <ac:chgData name="Ugo MANTEL" userId="2d5b7065-31bb-4181-a7f8-a73bf0c30211" providerId="ADAL" clId="{9344D105-636D-4857-BD0F-AFC44A54BCCF}" dt="2021-05-25T14:20:13.138" v="29853" actId="790"/>
          <ac:spMkLst>
            <pc:docMk/>
            <pc:sldMk cId="928014684" sldId="10381"/>
            <ac:spMk id="133" creationId="{D4DB8A5D-4BC4-4B09-91B3-B431A56ADCF9}"/>
          </ac:spMkLst>
        </pc:spChg>
        <pc:spChg chg="mod">
          <ac:chgData name="Ugo MANTEL" userId="2d5b7065-31bb-4181-a7f8-a73bf0c30211" providerId="ADAL" clId="{9344D105-636D-4857-BD0F-AFC44A54BCCF}" dt="2021-05-25T14:20:13.139" v="29854" actId="790"/>
          <ac:spMkLst>
            <pc:docMk/>
            <pc:sldMk cId="928014684" sldId="10381"/>
            <ac:spMk id="134" creationId="{FAF0EF8E-999F-4DCA-8CCA-19966A02C618}"/>
          </ac:spMkLst>
        </pc:spChg>
        <pc:spChg chg="mod">
          <ac:chgData name="Ugo MANTEL" userId="2d5b7065-31bb-4181-a7f8-a73bf0c30211" providerId="ADAL" clId="{9344D105-636D-4857-BD0F-AFC44A54BCCF}" dt="2021-05-25T14:20:13.140" v="29855" actId="790"/>
          <ac:spMkLst>
            <pc:docMk/>
            <pc:sldMk cId="928014684" sldId="10381"/>
            <ac:spMk id="135" creationId="{43E6C2D0-9928-431F-937D-615E132EB4BF}"/>
          </ac:spMkLst>
        </pc:spChg>
        <pc:spChg chg="mod">
          <ac:chgData name="Ugo MANTEL" userId="2d5b7065-31bb-4181-a7f8-a73bf0c30211" providerId="ADAL" clId="{9344D105-636D-4857-BD0F-AFC44A54BCCF}" dt="2021-05-25T14:20:13.140" v="29856" actId="790"/>
          <ac:spMkLst>
            <pc:docMk/>
            <pc:sldMk cId="928014684" sldId="10381"/>
            <ac:spMk id="136" creationId="{366D0170-AB64-4883-B9AA-312F182F8513}"/>
          </ac:spMkLst>
        </pc:spChg>
        <pc:spChg chg="mod">
          <ac:chgData name="Ugo MANTEL" userId="2d5b7065-31bb-4181-a7f8-a73bf0c30211" providerId="ADAL" clId="{9344D105-636D-4857-BD0F-AFC44A54BCCF}" dt="2021-05-25T14:20:13.141" v="29857" actId="790"/>
          <ac:spMkLst>
            <pc:docMk/>
            <pc:sldMk cId="928014684" sldId="10381"/>
            <ac:spMk id="137" creationId="{20E1541B-CD49-4DC3-A47D-9BF3BEE5D76B}"/>
          </ac:spMkLst>
        </pc:spChg>
        <pc:spChg chg="mod">
          <ac:chgData name="Ugo MANTEL" userId="2d5b7065-31bb-4181-a7f8-a73bf0c30211" providerId="ADAL" clId="{9344D105-636D-4857-BD0F-AFC44A54BCCF}" dt="2021-05-25T14:20:13.142" v="29858" actId="790"/>
          <ac:spMkLst>
            <pc:docMk/>
            <pc:sldMk cId="928014684" sldId="10381"/>
            <ac:spMk id="138" creationId="{6566282D-6A08-4D37-9C6F-C0144233C521}"/>
          </ac:spMkLst>
        </pc:spChg>
        <pc:spChg chg="mod">
          <ac:chgData name="Ugo MANTEL" userId="2d5b7065-31bb-4181-a7f8-a73bf0c30211" providerId="ADAL" clId="{9344D105-636D-4857-BD0F-AFC44A54BCCF}" dt="2021-05-25T14:20:13.142" v="29859" actId="790"/>
          <ac:spMkLst>
            <pc:docMk/>
            <pc:sldMk cId="928014684" sldId="10381"/>
            <ac:spMk id="139" creationId="{DD4D1A13-04C6-45D7-A267-260B6125490C}"/>
          </ac:spMkLst>
        </pc:spChg>
        <pc:spChg chg="mod">
          <ac:chgData name="Ugo MANTEL" userId="2d5b7065-31bb-4181-a7f8-a73bf0c30211" providerId="ADAL" clId="{9344D105-636D-4857-BD0F-AFC44A54BCCF}" dt="2021-05-25T14:20:13.143" v="29860" actId="790"/>
          <ac:spMkLst>
            <pc:docMk/>
            <pc:sldMk cId="928014684" sldId="10381"/>
            <ac:spMk id="140" creationId="{123053B8-DBB1-4ACD-9BF9-D3394E0F671C}"/>
          </ac:spMkLst>
        </pc:spChg>
        <pc:spChg chg="mod">
          <ac:chgData name="Ugo MANTEL" userId="2d5b7065-31bb-4181-a7f8-a73bf0c30211" providerId="ADAL" clId="{9344D105-636D-4857-BD0F-AFC44A54BCCF}" dt="2021-05-25T14:20:13.144" v="29861" actId="790"/>
          <ac:spMkLst>
            <pc:docMk/>
            <pc:sldMk cId="928014684" sldId="10381"/>
            <ac:spMk id="141" creationId="{0E9BA964-4A8C-48D4-BF3B-82E4163F61C8}"/>
          </ac:spMkLst>
        </pc:spChg>
        <pc:spChg chg="mod">
          <ac:chgData name="Ugo MANTEL" userId="2d5b7065-31bb-4181-a7f8-a73bf0c30211" providerId="ADAL" clId="{9344D105-636D-4857-BD0F-AFC44A54BCCF}" dt="2021-05-25T14:20:13.144" v="29862" actId="790"/>
          <ac:spMkLst>
            <pc:docMk/>
            <pc:sldMk cId="928014684" sldId="10381"/>
            <ac:spMk id="142" creationId="{22F1D114-F450-40E1-8AED-90C2B1CFD597}"/>
          </ac:spMkLst>
        </pc:spChg>
        <pc:spChg chg="mod">
          <ac:chgData name="Ugo MANTEL" userId="2d5b7065-31bb-4181-a7f8-a73bf0c30211" providerId="ADAL" clId="{9344D105-636D-4857-BD0F-AFC44A54BCCF}" dt="2021-05-25T14:20:13.120" v="29836" actId="790"/>
          <ac:spMkLst>
            <pc:docMk/>
            <pc:sldMk cId="928014684" sldId="10381"/>
            <ac:spMk id="164" creationId="{DA05F630-FFE9-4248-BE36-AE488020EDEB}"/>
          </ac:spMkLst>
        </pc:spChg>
        <pc:spChg chg="mod">
          <ac:chgData name="Ugo MANTEL" userId="2d5b7065-31bb-4181-a7f8-a73bf0c30211" providerId="ADAL" clId="{9344D105-636D-4857-BD0F-AFC44A54BCCF}" dt="2021-05-25T14:20:13.145" v="29863" actId="790"/>
          <ac:spMkLst>
            <pc:docMk/>
            <pc:sldMk cId="928014684" sldId="10381"/>
            <ac:spMk id="214" creationId="{B892CA1A-6DD2-47AE-9A86-98AF5DFD08BF}"/>
          </ac:spMkLst>
        </pc:spChg>
        <pc:spChg chg="mod">
          <ac:chgData name="Ugo MANTEL" userId="2d5b7065-31bb-4181-a7f8-a73bf0c30211" providerId="ADAL" clId="{9344D105-636D-4857-BD0F-AFC44A54BCCF}" dt="2021-05-25T14:42:46.516" v="35940" actId="207"/>
          <ac:spMkLst>
            <pc:docMk/>
            <pc:sldMk cId="928014684" sldId="10381"/>
            <ac:spMk id="215" creationId="{9F3BC7FC-64FE-4264-9C2D-E28C85C00F3A}"/>
          </ac:spMkLst>
        </pc:spChg>
        <pc:spChg chg="mod">
          <ac:chgData name="Ugo MANTEL" userId="2d5b7065-31bb-4181-a7f8-a73bf0c30211" providerId="ADAL" clId="{9344D105-636D-4857-BD0F-AFC44A54BCCF}" dt="2021-05-25T14:20:13.147" v="29865" actId="790"/>
          <ac:spMkLst>
            <pc:docMk/>
            <pc:sldMk cId="928014684" sldId="10381"/>
            <ac:spMk id="216" creationId="{5994B9E0-8703-4DC8-AD95-9850C41AC14F}"/>
          </ac:spMkLst>
        </pc:spChg>
        <pc:spChg chg="mod">
          <ac:chgData name="Ugo MANTEL" userId="2d5b7065-31bb-4181-a7f8-a73bf0c30211" providerId="ADAL" clId="{9344D105-636D-4857-BD0F-AFC44A54BCCF}" dt="2021-05-25T14:20:13.148" v="29866" actId="790"/>
          <ac:spMkLst>
            <pc:docMk/>
            <pc:sldMk cId="928014684" sldId="10381"/>
            <ac:spMk id="217" creationId="{04205482-E273-4AE6-A802-6F85111ADD10}"/>
          </ac:spMkLst>
        </pc:spChg>
        <pc:spChg chg="mod">
          <ac:chgData name="Ugo MANTEL" userId="2d5b7065-31bb-4181-a7f8-a73bf0c30211" providerId="ADAL" clId="{9344D105-636D-4857-BD0F-AFC44A54BCCF}" dt="2021-05-25T14:43:07.938" v="35944" actId="207"/>
          <ac:spMkLst>
            <pc:docMk/>
            <pc:sldMk cId="928014684" sldId="10381"/>
            <ac:spMk id="218" creationId="{4E614FE6-7DC1-4158-A187-FB12FDC67AA7}"/>
          </ac:spMkLst>
        </pc:spChg>
        <pc:graphicFrameChg chg="mod">
          <ac:chgData name="Ugo MANTEL" userId="2d5b7065-31bb-4181-a7f8-a73bf0c30211" providerId="ADAL" clId="{9344D105-636D-4857-BD0F-AFC44A54BCCF}" dt="2021-05-24T14:53:59.380" v="8505"/>
          <ac:graphicFrameMkLst>
            <pc:docMk/>
            <pc:sldMk cId="928014684" sldId="10381"/>
            <ac:graphicFrameMk id="12" creationId="{87D5C6DE-3ECD-402A-B887-7E2C12F1C83E}"/>
          </ac:graphicFrameMkLst>
        </pc:graphicFrameChg>
        <pc:picChg chg="del">
          <ac:chgData name="Ugo MANTEL" userId="2d5b7065-31bb-4181-a7f8-a73bf0c30211" providerId="ADAL" clId="{9344D105-636D-4857-BD0F-AFC44A54BCCF}" dt="2021-05-25T14:36:37.419" v="35217" actId="478"/>
          <ac:picMkLst>
            <pc:docMk/>
            <pc:sldMk cId="928014684" sldId="10381"/>
            <ac:picMk id="110" creationId="{F3C178F4-E0CF-4FB2-8B81-F003F67BA9B2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4:20:12.518" v="29272" actId="790"/>
        <pc:sldMkLst>
          <pc:docMk/>
          <pc:sldMk cId="177760136" sldId="10387"/>
        </pc:sldMkLst>
        <pc:spChg chg="mod">
          <ac:chgData name="Ugo MANTEL" userId="2d5b7065-31bb-4181-a7f8-a73bf0c30211" providerId="ADAL" clId="{9344D105-636D-4857-BD0F-AFC44A54BCCF}" dt="2021-05-25T14:20:12.495" v="29253" actId="790"/>
          <ac:spMkLst>
            <pc:docMk/>
            <pc:sldMk cId="177760136" sldId="10387"/>
            <ac:spMk id="2" creationId="{436F6B45-BA2B-4C85-B5B6-28EC178522DD}"/>
          </ac:spMkLst>
        </pc:spChg>
        <pc:spChg chg="add del mod modVis">
          <ac:chgData name="Ugo MANTEL" userId="2d5b7065-31bb-4181-a7f8-a73bf0c30211" providerId="ADAL" clId="{9344D105-636D-4857-BD0F-AFC44A54BCCF}" dt="2021-05-25T09:01:52.449" v="11954"/>
          <ac:spMkLst>
            <pc:docMk/>
            <pc:sldMk cId="177760136" sldId="10387"/>
            <ac:spMk id="3" creationId="{D7799F38-B225-4D8E-A3FA-6C0DA96DBF85}"/>
          </ac:spMkLst>
        </pc:spChg>
        <pc:spChg chg="add del mod modVis">
          <ac:chgData name="Ugo MANTEL" userId="2d5b7065-31bb-4181-a7f8-a73bf0c30211" providerId="ADAL" clId="{9344D105-636D-4857-BD0F-AFC44A54BCCF}" dt="2021-05-25T09:01:53.719" v="12013"/>
          <ac:spMkLst>
            <pc:docMk/>
            <pc:sldMk cId="177760136" sldId="10387"/>
            <ac:spMk id="5" creationId="{B5F57DC4-AC8C-4A64-AB46-FF2A2F66560F}"/>
          </ac:spMkLst>
        </pc:spChg>
        <pc:spChg chg="add del mod modVis">
          <ac:chgData name="Ugo MANTEL" userId="2d5b7065-31bb-4181-a7f8-a73bf0c30211" providerId="ADAL" clId="{9344D105-636D-4857-BD0F-AFC44A54BCCF}" dt="2021-05-25T09:01:54.767" v="12080"/>
          <ac:spMkLst>
            <pc:docMk/>
            <pc:sldMk cId="177760136" sldId="10387"/>
            <ac:spMk id="6" creationId="{52F26A48-9829-4A5C-95D3-945759D9C73A}"/>
          </ac:spMkLst>
        </pc:spChg>
        <pc:spChg chg="add del mod modVis">
          <ac:chgData name="Ugo MANTEL" userId="2d5b7065-31bb-4181-a7f8-a73bf0c30211" providerId="ADAL" clId="{9344D105-636D-4857-BD0F-AFC44A54BCCF}" dt="2021-05-25T09:01:55.662" v="12139"/>
          <ac:spMkLst>
            <pc:docMk/>
            <pc:sldMk cId="177760136" sldId="10387"/>
            <ac:spMk id="8" creationId="{3055A87A-A4E7-48A0-AF50-56D7BE81D1B1}"/>
          </ac:spMkLst>
        </pc:spChg>
        <pc:spChg chg="mod">
          <ac:chgData name="Ugo MANTEL" userId="2d5b7065-31bb-4181-a7f8-a73bf0c30211" providerId="ADAL" clId="{9344D105-636D-4857-BD0F-AFC44A54BCCF}" dt="2021-05-25T14:20:12.496" v="29254" actId="790"/>
          <ac:spMkLst>
            <pc:docMk/>
            <pc:sldMk cId="177760136" sldId="10387"/>
            <ac:spMk id="10" creationId="{A1B2D03C-5DB5-4B41-ACB2-17648D06B456}"/>
          </ac:spMkLst>
        </pc:spChg>
        <pc:spChg chg="mod">
          <ac:chgData name="Ugo MANTEL" userId="2d5b7065-31bb-4181-a7f8-a73bf0c30211" providerId="ADAL" clId="{9344D105-636D-4857-BD0F-AFC44A54BCCF}" dt="2021-05-25T14:20:12.498" v="29255" actId="790"/>
          <ac:spMkLst>
            <pc:docMk/>
            <pc:sldMk cId="177760136" sldId="10387"/>
            <ac:spMk id="11" creationId="{B49118EE-CD7D-4A57-BFCC-CCA3BFA5EA0C}"/>
          </ac:spMkLst>
        </pc:spChg>
        <pc:spChg chg="mod">
          <ac:chgData name="Ugo MANTEL" userId="2d5b7065-31bb-4181-a7f8-a73bf0c30211" providerId="ADAL" clId="{9344D105-636D-4857-BD0F-AFC44A54BCCF}" dt="2021-05-25T14:20:12.498" v="29256" actId="790"/>
          <ac:spMkLst>
            <pc:docMk/>
            <pc:sldMk cId="177760136" sldId="10387"/>
            <ac:spMk id="12" creationId="{FEB1B1AD-9BFF-4534-9FA2-838BF0A5FAA4}"/>
          </ac:spMkLst>
        </pc:spChg>
        <pc:spChg chg="add del mod modVis">
          <ac:chgData name="Ugo MANTEL" userId="2d5b7065-31bb-4181-a7f8-a73bf0c30211" providerId="ADAL" clId="{9344D105-636D-4857-BD0F-AFC44A54BCCF}" dt="2021-05-25T09:01:57.339" v="12202"/>
          <ac:spMkLst>
            <pc:docMk/>
            <pc:sldMk cId="177760136" sldId="10387"/>
            <ac:spMk id="13" creationId="{105C3888-EF4D-4A5B-9F1C-E0E192C47159}"/>
          </ac:spMkLst>
        </pc:spChg>
        <pc:spChg chg="mod">
          <ac:chgData name="Ugo MANTEL" userId="2d5b7065-31bb-4181-a7f8-a73bf0c30211" providerId="ADAL" clId="{9344D105-636D-4857-BD0F-AFC44A54BCCF}" dt="2021-05-25T14:20:12.500" v="29257" actId="790"/>
          <ac:spMkLst>
            <pc:docMk/>
            <pc:sldMk cId="177760136" sldId="10387"/>
            <ac:spMk id="14" creationId="{7BDDF5AD-5B37-4B7B-8C30-7E5CA6CB4043}"/>
          </ac:spMkLst>
        </pc:spChg>
        <pc:spChg chg="mod">
          <ac:chgData name="Ugo MANTEL" userId="2d5b7065-31bb-4181-a7f8-a73bf0c30211" providerId="ADAL" clId="{9344D105-636D-4857-BD0F-AFC44A54BCCF}" dt="2021-05-25T14:20:12.501" v="29258" actId="790"/>
          <ac:spMkLst>
            <pc:docMk/>
            <pc:sldMk cId="177760136" sldId="10387"/>
            <ac:spMk id="16" creationId="{6AFB6F3B-617C-4E9A-BDB1-E66CE5E7BAF2}"/>
          </ac:spMkLst>
        </pc:spChg>
        <pc:spChg chg="add del mod modVis">
          <ac:chgData name="Ugo MANTEL" userId="2d5b7065-31bb-4181-a7f8-a73bf0c30211" providerId="ADAL" clId="{9344D105-636D-4857-BD0F-AFC44A54BCCF}" dt="2021-05-25T09:01:59.272" v="12269"/>
          <ac:spMkLst>
            <pc:docMk/>
            <pc:sldMk cId="177760136" sldId="10387"/>
            <ac:spMk id="17" creationId="{5338B0D5-9477-498B-B779-A51F0188D623}"/>
          </ac:spMkLst>
        </pc:spChg>
        <pc:spChg chg="mod">
          <ac:chgData name="Ugo MANTEL" userId="2d5b7065-31bb-4181-a7f8-a73bf0c30211" providerId="ADAL" clId="{9344D105-636D-4857-BD0F-AFC44A54BCCF}" dt="2021-05-25T14:20:12.502" v="29259" actId="790"/>
          <ac:spMkLst>
            <pc:docMk/>
            <pc:sldMk cId="177760136" sldId="10387"/>
            <ac:spMk id="19" creationId="{73CC2FF0-1620-4B7A-843B-3D3C2AE458FE}"/>
          </ac:spMkLst>
        </pc:spChg>
        <pc:spChg chg="mod">
          <ac:chgData name="Ugo MANTEL" userId="2d5b7065-31bb-4181-a7f8-a73bf0c30211" providerId="ADAL" clId="{9344D105-636D-4857-BD0F-AFC44A54BCCF}" dt="2021-05-25T14:20:12.503" v="29260" actId="790"/>
          <ac:spMkLst>
            <pc:docMk/>
            <pc:sldMk cId="177760136" sldId="10387"/>
            <ac:spMk id="20" creationId="{8EC25760-36A2-4025-9B9B-299007EC8CF7}"/>
          </ac:spMkLst>
        </pc:spChg>
        <pc:spChg chg="mod">
          <ac:chgData name="Ugo MANTEL" userId="2d5b7065-31bb-4181-a7f8-a73bf0c30211" providerId="ADAL" clId="{9344D105-636D-4857-BD0F-AFC44A54BCCF}" dt="2021-05-25T14:20:12.504" v="29261" actId="790"/>
          <ac:spMkLst>
            <pc:docMk/>
            <pc:sldMk cId="177760136" sldId="10387"/>
            <ac:spMk id="21" creationId="{20863C10-21C2-486C-936F-F9040E9C8476}"/>
          </ac:spMkLst>
        </pc:spChg>
        <pc:spChg chg="mod">
          <ac:chgData name="Ugo MANTEL" userId="2d5b7065-31bb-4181-a7f8-a73bf0c30211" providerId="ADAL" clId="{9344D105-636D-4857-BD0F-AFC44A54BCCF}" dt="2021-05-25T14:20:12.505" v="29262" actId="790"/>
          <ac:spMkLst>
            <pc:docMk/>
            <pc:sldMk cId="177760136" sldId="10387"/>
            <ac:spMk id="22" creationId="{117F0456-6AAE-46E2-83E3-977665874781}"/>
          </ac:spMkLst>
        </pc:spChg>
        <pc:spChg chg="mod">
          <ac:chgData name="Ugo MANTEL" userId="2d5b7065-31bb-4181-a7f8-a73bf0c30211" providerId="ADAL" clId="{9344D105-636D-4857-BD0F-AFC44A54BCCF}" dt="2021-05-25T14:20:12.506" v="29263" actId="790"/>
          <ac:spMkLst>
            <pc:docMk/>
            <pc:sldMk cId="177760136" sldId="10387"/>
            <ac:spMk id="23" creationId="{1BFA432E-B00A-410E-968D-9E0C6059E2B0}"/>
          </ac:spMkLst>
        </pc:spChg>
        <pc:spChg chg="mod">
          <ac:chgData name="Ugo MANTEL" userId="2d5b7065-31bb-4181-a7f8-a73bf0c30211" providerId="ADAL" clId="{9344D105-636D-4857-BD0F-AFC44A54BCCF}" dt="2021-05-25T14:20:12.506" v="29264" actId="790"/>
          <ac:spMkLst>
            <pc:docMk/>
            <pc:sldMk cId="177760136" sldId="10387"/>
            <ac:spMk id="24" creationId="{4D142772-C0FC-4E1B-8722-0710CB2D6A27}"/>
          </ac:spMkLst>
        </pc:spChg>
        <pc:spChg chg="mod">
          <ac:chgData name="Ugo MANTEL" userId="2d5b7065-31bb-4181-a7f8-a73bf0c30211" providerId="ADAL" clId="{9344D105-636D-4857-BD0F-AFC44A54BCCF}" dt="2021-05-25T14:20:12.507" v="29265" actId="790"/>
          <ac:spMkLst>
            <pc:docMk/>
            <pc:sldMk cId="177760136" sldId="10387"/>
            <ac:spMk id="25" creationId="{F7E3780D-07E3-49CB-A488-8D48D2DD727B}"/>
          </ac:spMkLst>
        </pc:spChg>
        <pc:spChg chg="mod">
          <ac:chgData name="Ugo MANTEL" userId="2d5b7065-31bb-4181-a7f8-a73bf0c30211" providerId="ADAL" clId="{9344D105-636D-4857-BD0F-AFC44A54BCCF}" dt="2021-05-25T14:20:12.508" v="29266" actId="790"/>
          <ac:spMkLst>
            <pc:docMk/>
            <pc:sldMk cId="177760136" sldId="10387"/>
            <ac:spMk id="26" creationId="{06355F29-BF53-45D1-8A9B-DD83D357F34D}"/>
          </ac:spMkLst>
        </pc:spChg>
        <pc:spChg chg="mod">
          <ac:chgData name="Ugo MANTEL" userId="2d5b7065-31bb-4181-a7f8-a73bf0c30211" providerId="ADAL" clId="{9344D105-636D-4857-BD0F-AFC44A54BCCF}" dt="2021-05-25T14:20:12.509" v="29267" actId="790"/>
          <ac:spMkLst>
            <pc:docMk/>
            <pc:sldMk cId="177760136" sldId="10387"/>
            <ac:spMk id="30" creationId="{242F26BC-48D8-467A-A6CD-331EC9B568C9}"/>
          </ac:spMkLst>
        </pc:spChg>
        <pc:spChg chg="mod">
          <ac:chgData name="Ugo MANTEL" userId="2d5b7065-31bb-4181-a7f8-a73bf0c30211" providerId="ADAL" clId="{9344D105-636D-4857-BD0F-AFC44A54BCCF}" dt="2021-05-25T14:20:12.509" v="29268" actId="790"/>
          <ac:spMkLst>
            <pc:docMk/>
            <pc:sldMk cId="177760136" sldId="10387"/>
            <ac:spMk id="33" creationId="{0C42220C-E0C0-4442-8C78-C607D32D7C6A}"/>
          </ac:spMkLst>
        </pc:spChg>
        <pc:spChg chg="mod">
          <ac:chgData name="Ugo MANTEL" userId="2d5b7065-31bb-4181-a7f8-a73bf0c30211" providerId="ADAL" clId="{9344D105-636D-4857-BD0F-AFC44A54BCCF}" dt="2021-05-25T14:20:12.510" v="29269" actId="790"/>
          <ac:spMkLst>
            <pc:docMk/>
            <pc:sldMk cId="177760136" sldId="10387"/>
            <ac:spMk id="34" creationId="{C83894F5-3A2A-4D54-AE15-3AE551436F84}"/>
          </ac:spMkLst>
        </pc:spChg>
        <pc:spChg chg="mod">
          <ac:chgData name="Ugo MANTEL" userId="2d5b7065-31bb-4181-a7f8-a73bf0c30211" providerId="ADAL" clId="{9344D105-636D-4857-BD0F-AFC44A54BCCF}" dt="2021-05-25T14:20:12.516" v="29270" actId="790"/>
          <ac:spMkLst>
            <pc:docMk/>
            <pc:sldMk cId="177760136" sldId="10387"/>
            <ac:spMk id="35" creationId="{6E7DE376-6590-44EF-AE1D-4EFDD8EAD509}"/>
          </ac:spMkLst>
        </pc:spChg>
        <pc:spChg chg="mod">
          <ac:chgData name="Ugo MANTEL" userId="2d5b7065-31bb-4181-a7f8-a73bf0c30211" providerId="ADAL" clId="{9344D105-636D-4857-BD0F-AFC44A54BCCF}" dt="2021-05-25T14:20:12.517" v="29271" actId="790"/>
          <ac:spMkLst>
            <pc:docMk/>
            <pc:sldMk cId="177760136" sldId="10387"/>
            <ac:spMk id="40" creationId="{7E1EA942-DCE8-4CB4-A6CD-F002A4046CDC}"/>
          </ac:spMkLst>
        </pc:spChg>
        <pc:spChg chg="mod">
          <ac:chgData name="Ugo MANTEL" userId="2d5b7065-31bb-4181-a7f8-a73bf0c30211" providerId="ADAL" clId="{9344D105-636D-4857-BD0F-AFC44A54BCCF}" dt="2021-05-25T14:20:12.518" v="29272" actId="790"/>
          <ac:spMkLst>
            <pc:docMk/>
            <pc:sldMk cId="177760136" sldId="10387"/>
            <ac:spMk id="41" creationId="{543133D6-14FE-4614-9937-A1C6BE4F5B59}"/>
          </ac:spMkLst>
        </pc:spChg>
        <pc:graphicFrameChg chg="mod">
          <ac:chgData name="Ugo MANTEL" userId="2d5b7065-31bb-4181-a7f8-a73bf0c30211" providerId="ADAL" clId="{9344D105-636D-4857-BD0F-AFC44A54BCCF}" dt="2021-05-25T09:01:59.274" v="12271"/>
          <ac:graphicFrameMkLst>
            <pc:docMk/>
            <pc:sldMk cId="177760136" sldId="10387"/>
            <ac:graphicFrameMk id="7" creationId="{27A143E5-1B56-49B8-BE74-B0DBB734F362}"/>
          </ac:graphicFrameMkLst>
        </pc:graphicFrameChg>
      </pc:sldChg>
      <pc:sldChg chg="addSp delSp modSp mod">
        <pc:chgData name="Ugo MANTEL" userId="2d5b7065-31bb-4181-a7f8-a73bf0c30211" providerId="ADAL" clId="{9344D105-636D-4857-BD0F-AFC44A54BCCF}" dt="2021-05-25T14:20:12.494" v="29252" actId="790"/>
        <pc:sldMkLst>
          <pc:docMk/>
          <pc:sldMk cId="2528439242" sldId="10388"/>
        </pc:sldMkLst>
        <pc:spChg chg="mod">
          <ac:chgData name="Ugo MANTEL" userId="2d5b7065-31bb-4181-a7f8-a73bf0c30211" providerId="ADAL" clId="{9344D105-636D-4857-BD0F-AFC44A54BCCF}" dt="2021-05-25T14:20:12.468" v="29227" actId="790"/>
          <ac:spMkLst>
            <pc:docMk/>
            <pc:sldMk cId="2528439242" sldId="10388"/>
            <ac:spMk id="2" creationId="{3B352272-A751-4371-9AD1-0EDAA488B5E8}"/>
          </ac:spMkLst>
        </pc:spChg>
        <pc:spChg chg="mod">
          <ac:chgData name="Ugo MANTEL" userId="2d5b7065-31bb-4181-a7f8-a73bf0c30211" providerId="ADAL" clId="{9344D105-636D-4857-BD0F-AFC44A54BCCF}" dt="2021-05-25T14:20:12.468" v="29228" actId="790"/>
          <ac:spMkLst>
            <pc:docMk/>
            <pc:sldMk cId="2528439242" sldId="10388"/>
            <ac:spMk id="10" creationId="{3CD560AD-8D0B-419C-AA90-58F40CB49620}"/>
          </ac:spMkLst>
        </pc:spChg>
        <pc:spChg chg="mod">
          <ac:chgData name="Ugo MANTEL" userId="2d5b7065-31bb-4181-a7f8-a73bf0c30211" providerId="ADAL" clId="{9344D105-636D-4857-BD0F-AFC44A54BCCF}" dt="2021-05-25T14:20:12.469" v="29229" actId="790"/>
          <ac:spMkLst>
            <pc:docMk/>
            <pc:sldMk cId="2528439242" sldId="10388"/>
            <ac:spMk id="44" creationId="{825CF11B-020D-44AE-8B0F-94296B87E5E2}"/>
          </ac:spMkLst>
        </pc:spChg>
        <pc:spChg chg="mod">
          <ac:chgData name="Ugo MANTEL" userId="2d5b7065-31bb-4181-a7f8-a73bf0c30211" providerId="ADAL" clId="{9344D105-636D-4857-BD0F-AFC44A54BCCF}" dt="2021-05-25T14:20:12.470" v="29230" actId="790"/>
          <ac:spMkLst>
            <pc:docMk/>
            <pc:sldMk cId="2528439242" sldId="10388"/>
            <ac:spMk id="45" creationId="{19C7679B-BDAB-4644-A933-4403268C4016}"/>
          </ac:spMkLst>
        </pc:spChg>
        <pc:spChg chg="add mod">
          <ac:chgData name="Ugo MANTEL" userId="2d5b7065-31bb-4181-a7f8-a73bf0c30211" providerId="ADAL" clId="{9344D105-636D-4857-BD0F-AFC44A54BCCF}" dt="2021-05-25T14:20:12.494" v="29252" actId="790"/>
          <ac:spMkLst>
            <pc:docMk/>
            <pc:sldMk cId="2528439242" sldId="10388"/>
            <ac:spMk id="46" creationId="{4CE5327B-D6D0-4298-870E-2AF2B516A9CA}"/>
          </ac:spMkLst>
        </pc:spChg>
        <pc:spChg chg="mod">
          <ac:chgData name="Ugo MANTEL" userId="2d5b7065-31bb-4181-a7f8-a73bf0c30211" providerId="ADAL" clId="{9344D105-636D-4857-BD0F-AFC44A54BCCF}" dt="2021-05-25T14:20:12.471" v="29231" actId="790"/>
          <ac:spMkLst>
            <pc:docMk/>
            <pc:sldMk cId="2528439242" sldId="10388"/>
            <ac:spMk id="47" creationId="{C0C9DCEC-47A0-4811-8A76-D04843C86F35}"/>
          </ac:spMkLst>
        </pc:spChg>
        <pc:spChg chg="mod">
          <ac:chgData name="Ugo MANTEL" userId="2d5b7065-31bb-4181-a7f8-a73bf0c30211" providerId="ADAL" clId="{9344D105-636D-4857-BD0F-AFC44A54BCCF}" dt="2021-05-25T14:20:12.472" v="29232" actId="790"/>
          <ac:spMkLst>
            <pc:docMk/>
            <pc:sldMk cId="2528439242" sldId="10388"/>
            <ac:spMk id="48" creationId="{ED2AA03F-F69F-4109-991C-D4EA22467928}"/>
          </ac:spMkLst>
        </pc:spChg>
        <pc:spChg chg="mod">
          <ac:chgData name="Ugo MANTEL" userId="2d5b7065-31bb-4181-a7f8-a73bf0c30211" providerId="ADAL" clId="{9344D105-636D-4857-BD0F-AFC44A54BCCF}" dt="2021-05-25T14:20:12.472" v="29233" actId="790"/>
          <ac:spMkLst>
            <pc:docMk/>
            <pc:sldMk cId="2528439242" sldId="10388"/>
            <ac:spMk id="49" creationId="{E292EA57-219F-446B-84E6-3859851D00A6}"/>
          </ac:spMkLst>
        </pc:spChg>
        <pc:spChg chg="mod">
          <ac:chgData name="Ugo MANTEL" userId="2d5b7065-31bb-4181-a7f8-a73bf0c30211" providerId="ADAL" clId="{9344D105-636D-4857-BD0F-AFC44A54BCCF}" dt="2021-05-25T14:20:12.473" v="29234" actId="790"/>
          <ac:spMkLst>
            <pc:docMk/>
            <pc:sldMk cId="2528439242" sldId="10388"/>
            <ac:spMk id="50" creationId="{4CC5E3A4-CFC1-47E7-85E4-E4EFAE07F51B}"/>
          </ac:spMkLst>
        </pc:spChg>
        <pc:spChg chg="mod">
          <ac:chgData name="Ugo MANTEL" userId="2d5b7065-31bb-4181-a7f8-a73bf0c30211" providerId="ADAL" clId="{9344D105-636D-4857-BD0F-AFC44A54BCCF}" dt="2021-05-25T14:20:12.474" v="29235" actId="790"/>
          <ac:spMkLst>
            <pc:docMk/>
            <pc:sldMk cId="2528439242" sldId="10388"/>
            <ac:spMk id="53" creationId="{8BC60B44-FC35-49C3-A67D-8C09E11BF871}"/>
          </ac:spMkLst>
        </pc:spChg>
        <pc:spChg chg="mod">
          <ac:chgData name="Ugo MANTEL" userId="2d5b7065-31bb-4181-a7f8-a73bf0c30211" providerId="ADAL" clId="{9344D105-636D-4857-BD0F-AFC44A54BCCF}" dt="2021-05-25T14:20:12.475" v="29236" actId="790"/>
          <ac:spMkLst>
            <pc:docMk/>
            <pc:sldMk cId="2528439242" sldId="10388"/>
            <ac:spMk id="60" creationId="{42959E40-E36F-47FF-AC7E-ABFFED50E051}"/>
          </ac:spMkLst>
        </pc:spChg>
        <pc:spChg chg="mod">
          <ac:chgData name="Ugo MANTEL" userId="2d5b7065-31bb-4181-a7f8-a73bf0c30211" providerId="ADAL" clId="{9344D105-636D-4857-BD0F-AFC44A54BCCF}" dt="2021-05-25T14:20:12.475" v="29237" actId="790"/>
          <ac:spMkLst>
            <pc:docMk/>
            <pc:sldMk cId="2528439242" sldId="10388"/>
            <ac:spMk id="75" creationId="{AC8EE432-C25E-45E1-A3C2-234AD2EA8AAD}"/>
          </ac:spMkLst>
        </pc:spChg>
        <pc:spChg chg="mod">
          <ac:chgData name="Ugo MANTEL" userId="2d5b7065-31bb-4181-a7f8-a73bf0c30211" providerId="ADAL" clId="{9344D105-636D-4857-BD0F-AFC44A54BCCF}" dt="2021-05-25T14:20:12.476" v="29238" actId="790"/>
          <ac:spMkLst>
            <pc:docMk/>
            <pc:sldMk cId="2528439242" sldId="10388"/>
            <ac:spMk id="81" creationId="{4B3A7871-D042-41DF-9E79-7E565E264575}"/>
          </ac:spMkLst>
        </pc:spChg>
        <pc:spChg chg="mod">
          <ac:chgData name="Ugo MANTEL" userId="2d5b7065-31bb-4181-a7f8-a73bf0c30211" providerId="ADAL" clId="{9344D105-636D-4857-BD0F-AFC44A54BCCF}" dt="2021-05-25T14:20:12.477" v="29239" actId="790"/>
          <ac:spMkLst>
            <pc:docMk/>
            <pc:sldMk cId="2528439242" sldId="10388"/>
            <ac:spMk id="86" creationId="{647AB55A-67E0-4E8B-BAEA-FB47DB36A6B9}"/>
          </ac:spMkLst>
        </pc:spChg>
        <pc:spChg chg="mod">
          <ac:chgData name="Ugo MANTEL" userId="2d5b7065-31bb-4181-a7f8-a73bf0c30211" providerId="ADAL" clId="{9344D105-636D-4857-BD0F-AFC44A54BCCF}" dt="2021-05-25T14:20:12.466" v="29226" actId="790"/>
          <ac:spMkLst>
            <pc:docMk/>
            <pc:sldMk cId="2528439242" sldId="10388"/>
            <ac:spMk id="87" creationId="{C9E07055-AC48-4337-B5C4-6806E36F3F9E}"/>
          </ac:spMkLst>
        </pc:spChg>
        <pc:spChg chg="mod">
          <ac:chgData name="Ugo MANTEL" userId="2d5b7065-31bb-4181-a7f8-a73bf0c30211" providerId="ADAL" clId="{9344D105-636D-4857-BD0F-AFC44A54BCCF}" dt="2021-05-25T14:20:12.480" v="29240" actId="790"/>
          <ac:spMkLst>
            <pc:docMk/>
            <pc:sldMk cId="2528439242" sldId="10388"/>
            <ac:spMk id="88" creationId="{9D09228C-7646-4BC5-BAD2-2D61E3E54D79}"/>
          </ac:spMkLst>
        </pc:spChg>
        <pc:spChg chg="mod">
          <ac:chgData name="Ugo MANTEL" userId="2d5b7065-31bb-4181-a7f8-a73bf0c30211" providerId="ADAL" clId="{9344D105-636D-4857-BD0F-AFC44A54BCCF}" dt="2021-05-25T14:20:12.481" v="29241" actId="790"/>
          <ac:spMkLst>
            <pc:docMk/>
            <pc:sldMk cId="2528439242" sldId="10388"/>
            <ac:spMk id="89" creationId="{C5E212F5-085B-4C52-B70C-29F107B2D040}"/>
          </ac:spMkLst>
        </pc:spChg>
        <pc:spChg chg="mod">
          <ac:chgData name="Ugo MANTEL" userId="2d5b7065-31bb-4181-a7f8-a73bf0c30211" providerId="ADAL" clId="{9344D105-636D-4857-BD0F-AFC44A54BCCF}" dt="2021-05-25T14:20:12.484" v="29242" actId="790"/>
          <ac:spMkLst>
            <pc:docMk/>
            <pc:sldMk cId="2528439242" sldId="10388"/>
            <ac:spMk id="90" creationId="{AA7DC620-97D4-48DE-A664-29FE4FE4CEE0}"/>
          </ac:spMkLst>
        </pc:spChg>
        <pc:spChg chg="mod">
          <ac:chgData name="Ugo MANTEL" userId="2d5b7065-31bb-4181-a7f8-a73bf0c30211" providerId="ADAL" clId="{9344D105-636D-4857-BD0F-AFC44A54BCCF}" dt="2021-05-25T14:20:12.485" v="29243" actId="790"/>
          <ac:spMkLst>
            <pc:docMk/>
            <pc:sldMk cId="2528439242" sldId="10388"/>
            <ac:spMk id="91" creationId="{7DB27FE9-EB88-44E0-94CE-3C9F00A5A79B}"/>
          </ac:spMkLst>
        </pc:spChg>
        <pc:spChg chg="mod">
          <ac:chgData name="Ugo MANTEL" userId="2d5b7065-31bb-4181-a7f8-a73bf0c30211" providerId="ADAL" clId="{9344D105-636D-4857-BD0F-AFC44A54BCCF}" dt="2021-05-25T14:20:12.486" v="29244" actId="790"/>
          <ac:spMkLst>
            <pc:docMk/>
            <pc:sldMk cId="2528439242" sldId="10388"/>
            <ac:spMk id="93" creationId="{A2D207EF-8BD0-44D3-A624-1DFFE05EABF1}"/>
          </ac:spMkLst>
        </pc:spChg>
        <pc:spChg chg="mod">
          <ac:chgData name="Ugo MANTEL" userId="2d5b7065-31bb-4181-a7f8-a73bf0c30211" providerId="ADAL" clId="{9344D105-636D-4857-BD0F-AFC44A54BCCF}" dt="2021-05-25T14:20:12.488" v="29245" actId="790"/>
          <ac:spMkLst>
            <pc:docMk/>
            <pc:sldMk cId="2528439242" sldId="10388"/>
            <ac:spMk id="94" creationId="{80AADE10-9CDF-44C5-9D0C-F4BE5573C2CB}"/>
          </ac:spMkLst>
        </pc:spChg>
        <pc:spChg chg="mod">
          <ac:chgData name="Ugo MANTEL" userId="2d5b7065-31bb-4181-a7f8-a73bf0c30211" providerId="ADAL" clId="{9344D105-636D-4857-BD0F-AFC44A54BCCF}" dt="2021-05-25T14:20:12.489" v="29246" actId="790"/>
          <ac:spMkLst>
            <pc:docMk/>
            <pc:sldMk cId="2528439242" sldId="10388"/>
            <ac:spMk id="95" creationId="{30A06502-CA72-44B0-9989-88A02C62242D}"/>
          </ac:spMkLst>
        </pc:spChg>
        <pc:spChg chg="mod">
          <ac:chgData name="Ugo MANTEL" userId="2d5b7065-31bb-4181-a7f8-a73bf0c30211" providerId="ADAL" clId="{9344D105-636D-4857-BD0F-AFC44A54BCCF}" dt="2021-05-25T14:20:12.492" v="29250" actId="790"/>
          <ac:spMkLst>
            <pc:docMk/>
            <pc:sldMk cId="2528439242" sldId="10388"/>
            <ac:spMk id="96" creationId="{11D4BEF8-7D64-4110-B927-2D2241B2ACD1}"/>
          </ac:spMkLst>
        </pc:spChg>
        <pc:spChg chg="mod">
          <ac:chgData name="Ugo MANTEL" userId="2d5b7065-31bb-4181-a7f8-a73bf0c30211" providerId="ADAL" clId="{9344D105-636D-4857-BD0F-AFC44A54BCCF}" dt="2021-05-25T14:20:12.493" v="29251" actId="790"/>
          <ac:spMkLst>
            <pc:docMk/>
            <pc:sldMk cId="2528439242" sldId="10388"/>
            <ac:spMk id="97" creationId="{515D236C-2659-4BD5-937E-79D9E704302D}"/>
          </ac:spMkLst>
        </pc:spChg>
        <pc:spChg chg="mod">
          <ac:chgData name="Ugo MANTEL" userId="2d5b7065-31bb-4181-a7f8-a73bf0c30211" providerId="ADAL" clId="{9344D105-636D-4857-BD0F-AFC44A54BCCF}" dt="2021-05-25T14:20:12.490" v="29247" actId="790"/>
          <ac:spMkLst>
            <pc:docMk/>
            <pc:sldMk cId="2528439242" sldId="10388"/>
            <ac:spMk id="98" creationId="{05365063-0175-4B93-AFCD-4B0E8A70538E}"/>
          </ac:spMkLst>
        </pc:spChg>
        <pc:spChg chg="mod">
          <ac:chgData name="Ugo MANTEL" userId="2d5b7065-31bb-4181-a7f8-a73bf0c30211" providerId="ADAL" clId="{9344D105-636D-4857-BD0F-AFC44A54BCCF}" dt="2021-05-25T14:20:12.490" v="29248" actId="790"/>
          <ac:spMkLst>
            <pc:docMk/>
            <pc:sldMk cId="2528439242" sldId="10388"/>
            <ac:spMk id="104" creationId="{29510A5E-9BDC-4463-8D19-55AB8604B20E}"/>
          </ac:spMkLst>
        </pc:spChg>
        <pc:spChg chg="mod">
          <ac:chgData name="Ugo MANTEL" userId="2d5b7065-31bb-4181-a7f8-a73bf0c30211" providerId="ADAL" clId="{9344D105-636D-4857-BD0F-AFC44A54BCCF}" dt="2021-05-25T14:20:12.491" v="29249" actId="790"/>
          <ac:spMkLst>
            <pc:docMk/>
            <pc:sldMk cId="2528439242" sldId="10388"/>
            <ac:spMk id="107" creationId="{E622BEC9-977B-45CD-8F2B-0CBF440BC9B1}"/>
          </ac:spMkLst>
        </pc:spChg>
        <pc:picChg chg="mod">
          <ac:chgData name="Ugo MANTEL" userId="2d5b7065-31bb-4181-a7f8-a73bf0c30211" providerId="ADAL" clId="{9344D105-636D-4857-BD0F-AFC44A54BCCF}" dt="2021-05-25T09:00:55.356" v="11861" actId="555"/>
          <ac:picMkLst>
            <pc:docMk/>
            <pc:sldMk cId="2528439242" sldId="10388"/>
            <ac:picMk id="88066" creationId="{B47B4767-7917-4CA4-8B46-8CE87E7C0FF6}"/>
          </ac:picMkLst>
        </pc:picChg>
        <pc:picChg chg="del">
          <ac:chgData name="Ugo MANTEL" userId="2d5b7065-31bb-4181-a7f8-a73bf0c30211" providerId="ADAL" clId="{9344D105-636D-4857-BD0F-AFC44A54BCCF}" dt="2021-05-25T09:01:27.694" v="11888" actId="478"/>
          <ac:picMkLst>
            <pc:docMk/>
            <pc:sldMk cId="2528439242" sldId="10388"/>
            <ac:picMk id="88076" creationId="{42D13415-2793-4AE1-8EC3-9174F5F81F74}"/>
          </ac:picMkLst>
        </pc:picChg>
        <pc:picChg chg="mod">
          <ac:chgData name="Ugo MANTEL" userId="2d5b7065-31bb-4181-a7f8-a73bf0c30211" providerId="ADAL" clId="{9344D105-636D-4857-BD0F-AFC44A54BCCF}" dt="2021-05-25T09:00:55.356" v="11861" actId="555"/>
          <ac:picMkLst>
            <pc:docMk/>
            <pc:sldMk cId="2528439242" sldId="10388"/>
            <ac:picMk id="88078" creationId="{01E2E5D1-0842-43F0-B223-F7EB024C51EE}"/>
          </ac:picMkLst>
        </pc:picChg>
      </pc:sldChg>
      <pc:sldChg chg="modSp mod">
        <pc:chgData name="Ugo MANTEL" userId="2d5b7065-31bb-4181-a7f8-a73bf0c30211" providerId="ADAL" clId="{9344D105-636D-4857-BD0F-AFC44A54BCCF}" dt="2021-05-25T14:20:12.571" v="29314" actId="790"/>
        <pc:sldMkLst>
          <pc:docMk/>
          <pc:sldMk cId="2291217259" sldId="10389"/>
        </pc:sldMkLst>
        <pc:spChg chg="mod">
          <ac:chgData name="Ugo MANTEL" userId="2d5b7065-31bb-4181-a7f8-a73bf0c30211" providerId="ADAL" clId="{9344D105-636D-4857-BD0F-AFC44A54BCCF}" dt="2021-05-25T14:20:12.553" v="29302" actId="790"/>
          <ac:spMkLst>
            <pc:docMk/>
            <pc:sldMk cId="2291217259" sldId="10389"/>
            <ac:spMk id="2" creationId="{3B352272-A751-4371-9AD1-0EDAA488B5E8}"/>
          </ac:spMkLst>
        </pc:spChg>
        <pc:spChg chg="mod">
          <ac:chgData name="Ugo MANTEL" userId="2d5b7065-31bb-4181-a7f8-a73bf0c30211" providerId="ADAL" clId="{9344D105-636D-4857-BD0F-AFC44A54BCCF}" dt="2021-05-25T14:20:12.556" v="29303" actId="790"/>
          <ac:spMkLst>
            <pc:docMk/>
            <pc:sldMk cId="2291217259" sldId="10389"/>
            <ac:spMk id="3" creationId="{12B1867D-7FC0-41D7-B16A-252CAC322DC3}"/>
          </ac:spMkLst>
        </pc:spChg>
        <pc:spChg chg="mod">
          <ac:chgData name="Ugo MANTEL" userId="2d5b7065-31bb-4181-a7f8-a73bf0c30211" providerId="ADAL" clId="{9344D105-636D-4857-BD0F-AFC44A54BCCF}" dt="2021-05-25T14:20:12.559" v="29304" actId="790"/>
          <ac:spMkLst>
            <pc:docMk/>
            <pc:sldMk cId="2291217259" sldId="10389"/>
            <ac:spMk id="8" creationId="{978B0D85-EA24-49FC-AC13-F92A746B9E0F}"/>
          </ac:spMkLst>
        </pc:spChg>
        <pc:spChg chg="mod">
          <ac:chgData name="Ugo MANTEL" userId="2d5b7065-31bb-4181-a7f8-a73bf0c30211" providerId="ADAL" clId="{9344D105-636D-4857-BD0F-AFC44A54BCCF}" dt="2021-05-25T14:20:12.563" v="29305" actId="790"/>
          <ac:spMkLst>
            <pc:docMk/>
            <pc:sldMk cId="2291217259" sldId="10389"/>
            <ac:spMk id="9" creationId="{9A6993AB-2507-445A-85BB-0A267AF64F0A}"/>
          </ac:spMkLst>
        </pc:spChg>
        <pc:spChg chg="mod">
          <ac:chgData name="Ugo MANTEL" userId="2d5b7065-31bb-4181-a7f8-a73bf0c30211" providerId="ADAL" clId="{9344D105-636D-4857-BD0F-AFC44A54BCCF}" dt="2021-05-25T14:20:12.564" v="29306" actId="790"/>
          <ac:spMkLst>
            <pc:docMk/>
            <pc:sldMk cId="2291217259" sldId="10389"/>
            <ac:spMk id="12" creationId="{3F2CDE39-4AC6-4699-8B07-1ABF26133FE5}"/>
          </ac:spMkLst>
        </pc:spChg>
        <pc:spChg chg="mod">
          <ac:chgData name="Ugo MANTEL" userId="2d5b7065-31bb-4181-a7f8-a73bf0c30211" providerId="ADAL" clId="{9344D105-636D-4857-BD0F-AFC44A54BCCF}" dt="2021-05-25T14:20:12.565" v="29307" actId="790"/>
          <ac:spMkLst>
            <pc:docMk/>
            <pc:sldMk cId="2291217259" sldId="10389"/>
            <ac:spMk id="13" creationId="{64367A5B-BB94-4167-9C66-8135A52BBE42}"/>
          </ac:spMkLst>
        </pc:spChg>
        <pc:spChg chg="mod">
          <ac:chgData name="Ugo MANTEL" userId="2d5b7065-31bb-4181-a7f8-a73bf0c30211" providerId="ADAL" clId="{9344D105-636D-4857-BD0F-AFC44A54BCCF}" dt="2021-05-25T14:20:12.566" v="29308" actId="790"/>
          <ac:spMkLst>
            <pc:docMk/>
            <pc:sldMk cId="2291217259" sldId="10389"/>
            <ac:spMk id="24" creationId="{57ABB67D-0AFF-4868-A992-707AE87BE54E}"/>
          </ac:spMkLst>
        </pc:spChg>
        <pc:spChg chg="mod">
          <ac:chgData name="Ugo MANTEL" userId="2d5b7065-31bb-4181-a7f8-a73bf0c30211" providerId="ADAL" clId="{9344D105-636D-4857-BD0F-AFC44A54BCCF}" dt="2021-05-25T14:20:12.567" v="29309" actId="790"/>
          <ac:spMkLst>
            <pc:docMk/>
            <pc:sldMk cId="2291217259" sldId="10389"/>
            <ac:spMk id="25" creationId="{7CD32595-D728-448F-9B85-F3CA600A3C2B}"/>
          </ac:spMkLst>
        </pc:spChg>
        <pc:spChg chg="mod">
          <ac:chgData name="Ugo MANTEL" userId="2d5b7065-31bb-4181-a7f8-a73bf0c30211" providerId="ADAL" clId="{9344D105-636D-4857-BD0F-AFC44A54BCCF}" dt="2021-05-25T14:20:12.567" v="29310" actId="790"/>
          <ac:spMkLst>
            <pc:docMk/>
            <pc:sldMk cId="2291217259" sldId="10389"/>
            <ac:spMk id="26" creationId="{4B825778-5C85-4371-8748-208C09A2BE6D}"/>
          </ac:spMkLst>
        </pc:spChg>
        <pc:spChg chg="mod">
          <ac:chgData name="Ugo MANTEL" userId="2d5b7065-31bb-4181-a7f8-a73bf0c30211" providerId="ADAL" clId="{9344D105-636D-4857-BD0F-AFC44A54BCCF}" dt="2021-05-25T14:20:12.569" v="29311" actId="790"/>
          <ac:spMkLst>
            <pc:docMk/>
            <pc:sldMk cId="2291217259" sldId="10389"/>
            <ac:spMk id="27" creationId="{553FE55F-4861-49E1-8748-B6AA0F422D3C}"/>
          </ac:spMkLst>
        </pc:spChg>
        <pc:spChg chg="mod">
          <ac:chgData name="Ugo MANTEL" userId="2d5b7065-31bb-4181-a7f8-a73bf0c30211" providerId="ADAL" clId="{9344D105-636D-4857-BD0F-AFC44A54BCCF}" dt="2021-05-25T14:20:12.570" v="29312" actId="790"/>
          <ac:spMkLst>
            <pc:docMk/>
            <pc:sldMk cId="2291217259" sldId="10389"/>
            <ac:spMk id="28" creationId="{2948C625-FF0D-4674-B942-3B8C1142FD9E}"/>
          </ac:spMkLst>
        </pc:spChg>
        <pc:spChg chg="mod">
          <ac:chgData name="Ugo MANTEL" userId="2d5b7065-31bb-4181-a7f8-a73bf0c30211" providerId="ADAL" clId="{9344D105-636D-4857-BD0F-AFC44A54BCCF}" dt="2021-05-25T14:20:12.571" v="29313" actId="790"/>
          <ac:spMkLst>
            <pc:docMk/>
            <pc:sldMk cId="2291217259" sldId="10389"/>
            <ac:spMk id="32" creationId="{87DC370F-246E-49A6-9BEE-38641DE2212A}"/>
          </ac:spMkLst>
        </pc:spChg>
        <pc:spChg chg="mod">
          <ac:chgData name="Ugo MANTEL" userId="2d5b7065-31bb-4181-a7f8-a73bf0c30211" providerId="ADAL" clId="{9344D105-636D-4857-BD0F-AFC44A54BCCF}" dt="2021-05-25T14:20:12.571" v="29314" actId="790"/>
          <ac:spMkLst>
            <pc:docMk/>
            <pc:sldMk cId="2291217259" sldId="10389"/>
            <ac:spMk id="33" creationId="{333F0985-FD07-4FC4-ABD0-0CA27B7F45F6}"/>
          </ac:spMkLst>
        </pc:spChg>
      </pc:sldChg>
      <pc:sldChg chg="modSp mod">
        <pc:chgData name="Ugo MANTEL" userId="2d5b7065-31bb-4181-a7f8-a73bf0c30211" providerId="ADAL" clId="{9344D105-636D-4857-BD0F-AFC44A54BCCF}" dt="2021-05-25T14:20:12.465" v="29225" actId="790"/>
        <pc:sldMkLst>
          <pc:docMk/>
          <pc:sldMk cId="1963154161" sldId="10390"/>
        </pc:sldMkLst>
        <pc:spChg chg="mod">
          <ac:chgData name="Ugo MANTEL" userId="2d5b7065-31bb-4181-a7f8-a73bf0c30211" providerId="ADAL" clId="{9344D105-636D-4857-BD0F-AFC44A54BCCF}" dt="2021-05-25T14:20:12.431" v="29192" actId="790"/>
          <ac:spMkLst>
            <pc:docMk/>
            <pc:sldMk cId="1963154161" sldId="10390"/>
            <ac:spMk id="2" creationId="{3B352272-A751-4371-9AD1-0EDAA488B5E8}"/>
          </ac:spMkLst>
        </pc:spChg>
        <pc:spChg chg="mod">
          <ac:chgData name="Ugo MANTEL" userId="2d5b7065-31bb-4181-a7f8-a73bf0c30211" providerId="ADAL" clId="{9344D105-636D-4857-BD0F-AFC44A54BCCF}" dt="2021-05-25T14:20:12.432" v="29193" actId="790"/>
          <ac:spMkLst>
            <pc:docMk/>
            <pc:sldMk cId="1963154161" sldId="10390"/>
            <ac:spMk id="27" creationId="{82A97B99-F7FE-4B4A-8D64-80E6C8EF07CA}"/>
          </ac:spMkLst>
        </pc:spChg>
        <pc:spChg chg="mod">
          <ac:chgData name="Ugo MANTEL" userId="2d5b7065-31bb-4181-a7f8-a73bf0c30211" providerId="ADAL" clId="{9344D105-636D-4857-BD0F-AFC44A54BCCF}" dt="2021-05-25T14:20:12.433" v="29194" actId="790"/>
          <ac:spMkLst>
            <pc:docMk/>
            <pc:sldMk cId="1963154161" sldId="10390"/>
            <ac:spMk id="28" creationId="{19518F5B-5922-4379-B8C3-76136ADF97B5}"/>
          </ac:spMkLst>
        </pc:spChg>
        <pc:spChg chg="mod">
          <ac:chgData name="Ugo MANTEL" userId="2d5b7065-31bb-4181-a7f8-a73bf0c30211" providerId="ADAL" clId="{9344D105-636D-4857-BD0F-AFC44A54BCCF}" dt="2021-05-25T14:20:12.434" v="29195" actId="790"/>
          <ac:spMkLst>
            <pc:docMk/>
            <pc:sldMk cId="1963154161" sldId="10390"/>
            <ac:spMk id="30" creationId="{77660FB8-EA69-47A9-AEA2-E46F353BFB2B}"/>
          </ac:spMkLst>
        </pc:spChg>
        <pc:spChg chg="mod">
          <ac:chgData name="Ugo MANTEL" userId="2d5b7065-31bb-4181-a7f8-a73bf0c30211" providerId="ADAL" clId="{9344D105-636D-4857-BD0F-AFC44A54BCCF}" dt="2021-05-25T14:20:12.434" v="29196" actId="790"/>
          <ac:spMkLst>
            <pc:docMk/>
            <pc:sldMk cId="1963154161" sldId="10390"/>
            <ac:spMk id="31" creationId="{2945FCFB-194B-4D8E-9287-57E6954828F4}"/>
          </ac:spMkLst>
        </pc:spChg>
        <pc:spChg chg="mod">
          <ac:chgData name="Ugo MANTEL" userId="2d5b7065-31bb-4181-a7f8-a73bf0c30211" providerId="ADAL" clId="{9344D105-636D-4857-BD0F-AFC44A54BCCF}" dt="2021-05-25T14:20:12.435" v="29197" actId="790"/>
          <ac:spMkLst>
            <pc:docMk/>
            <pc:sldMk cId="1963154161" sldId="10390"/>
            <ac:spMk id="32" creationId="{14904770-A5AE-43F0-8FD2-DB1AA1533E73}"/>
          </ac:spMkLst>
        </pc:spChg>
        <pc:spChg chg="mod">
          <ac:chgData name="Ugo MANTEL" userId="2d5b7065-31bb-4181-a7f8-a73bf0c30211" providerId="ADAL" clId="{9344D105-636D-4857-BD0F-AFC44A54BCCF}" dt="2021-05-25T14:20:12.436" v="29198" actId="790"/>
          <ac:spMkLst>
            <pc:docMk/>
            <pc:sldMk cId="1963154161" sldId="10390"/>
            <ac:spMk id="33" creationId="{19D9E617-B15A-4755-83E0-08BA2DC4E237}"/>
          </ac:spMkLst>
        </pc:spChg>
        <pc:spChg chg="mod">
          <ac:chgData name="Ugo MANTEL" userId="2d5b7065-31bb-4181-a7f8-a73bf0c30211" providerId="ADAL" clId="{9344D105-636D-4857-BD0F-AFC44A54BCCF}" dt="2021-05-25T14:20:12.445" v="29209" actId="790"/>
          <ac:spMkLst>
            <pc:docMk/>
            <pc:sldMk cId="1963154161" sldId="10390"/>
            <ac:spMk id="41" creationId="{54C6D71C-835B-41AF-BD7B-F25384D089AB}"/>
          </ac:spMkLst>
        </pc:spChg>
        <pc:spChg chg="mod">
          <ac:chgData name="Ugo MANTEL" userId="2d5b7065-31bb-4181-a7f8-a73bf0c30211" providerId="ADAL" clId="{9344D105-636D-4857-BD0F-AFC44A54BCCF}" dt="2021-05-25T14:20:12.436" v="29199" actId="790"/>
          <ac:spMkLst>
            <pc:docMk/>
            <pc:sldMk cId="1963154161" sldId="10390"/>
            <ac:spMk id="43" creationId="{92F77E9E-DEF8-4DA4-9D26-0AE70C9DE90E}"/>
          </ac:spMkLst>
        </pc:spChg>
        <pc:spChg chg="mod">
          <ac:chgData name="Ugo MANTEL" userId="2d5b7065-31bb-4181-a7f8-a73bf0c30211" providerId="ADAL" clId="{9344D105-636D-4857-BD0F-AFC44A54BCCF}" dt="2021-05-25T14:20:12.440" v="29204" actId="790"/>
          <ac:spMkLst>
            <pc:docMk/>
            <pc:sldMk cId="1963154161" sldId="10390"/>
            <ac:spMk id="44" creationId="{116EFBFE-5EFB-41E3-95D1-78CE66639AD5}"/>
          </ac:spMkLst>
        </pc:spChg>
        <pc:spChg chg="mod">
          <ac:chgData name="Ugo MANTEL" userId="2d5b7065-31bb-4181-a7f8-a73bf0c30211" providerId="ADAL" clId="{9344D105-636D-4857-BD0F-AFC44A54BCCF}" dt="2021-05-25T14:20:12.437" v="29200" actId="790"/>
          <ac:spMkLst>
            <pc:docMk/>
            <pc:sldMk cId="1963154161" sldId="10390"/>
            <ac:spMk id="45" creationId="{2628F15C-FA42-46CA-A5D0-B427ED91699B}"/>
          </ac:spMkLst>
        </pc:spChg>
        <pc:spChg chg="mod">
          <ac:chgData name="Ugo MANTEL" userId="2d5b7065-31bb-4181-a7f8-a73bf0c30211" providerId="ADAL" clId="{9344D105-636D-4857-BD0F-AFC44A54BCCF}" dt="2021-05-25T14:20:12.438" v="29201" actId="790"/>
          <ac:spMkLst>
            <pc:docMk/>
            <pc:sldMk cId="1963154161" sldId="10390"/>
            <ac:spMk id="46" creationId="{36D9C9E6-524B-49C2-AA2D-02E040F87033}"/>
          </ac:spMkLst>
        </pc:spChg>
        <pc:spChg chg="mod">
          <ac:chgData name="Ugo MANTEL" userId="2d5b7065-31bb-4181-a7f8-a73bf0c30211" providerId="ADAL" clId="{9344D105-636D-4857-BD0F-AFC44A54BCCF}" dt="2021-05-25T14:20:12.438" v="29202" actId="790"/>
          <ac:spMkLst>
            <pc:docMk/>
            <pc:sldMk cId="1963154161" sldId="10390"/>
            <ac:spMk id="47" creationId="{DD7C368F-0FEE-4F0D-8F9C-DBA7253E24B1}"/>
          </ac:spMkLst>
        </pc:spChg>
        <pc:spChg chg="mod">
          <ac:chgData name="Ugo MANTEL" userId="2d5b7065-31bb-4181-a7f8-a73bf0c30211" providerId="ADAL" clId="{9344D105-636D-4857-BD0F-AFC44A54BCCF}" dt="2021-05-25T14:20:12.439" v="29203" actId="790"/>
          <ac:spMkLst>
            <pc:docMk/>
            <pc:sldMk cId="1963154161" sldId="10390"/>
            <ac:spMk id="52" creationId="{B16F1296-3CA8-4D05-A0CB-EB1F1345CE9D}"/>
          </ac:spMkLst>
        </pc:spChg>
        <pc:spChg chg="mod">
          <ac:chgData name="Ugo MANTEL" userId="2d5b7065-31bb-4181-a7f8-a73bf0c30211" providerId="ADAL" clId="{9344D105-636D-4857-BD0F-AFC44A54BCCF}" dt="2021-05-25T14:20:12.441" v="29205" actId="790"/>
          <ac:spMkLst>
            <pc:docMk/>
            <pc:sldMk cId="1963154161" sldId="10390"/>
            <ac:spMk id="54" creationId="{A2082C76-78A8-4C37-BB51-E0C640F2292A}"/>
          </ac:spMkLst>
        </pc:spChg>
        <pc:spChg chg="mod">
          <ac:chgData name="Ugo MANTEL" userId="2d5b7065-31bb-4181-a7f8-a73bf0c30211" providerId="ADAL" clId="{9344D105-636D-4857-BD0F-AFC44A54BCCF}" dt="2021-05-25T14:20:12.443" v="29206" actId="790"/>
          <ac:spMkLst>
            <pc:docMk/>
            <pc:sldMk cId="1963154161" sldId="10390"/>
            <ac:spMk id="55" creationId="{C6C920E7-246D-45F6-B655-A54B6C35E79B}"/>
          </ac:spMkLst>
        </pc:spChg>
        <pc:spChg chg="mod">
          <ac:chgData name="Ugo MANTEL" userId="2d5b7065-31bb-4181-a7f8-a73bf0c30211" providerId="ADAL" clId="{9344D105-636D-4857-BD0F-AFC44A54BCCF}" dt="2021-05-25T14:20:12.443" v="29207" actId="790"/>
          <ac:spMkLst>
            <pc:docMk/>
            <pc:sldMk cId="1963154161" sldId="10390"/>
            <ac:spMk id="56" creationId="{8DCB1BB5-D1C7-480F-B436-01199E4277B0}"/>
          </ac:spMkLst>
        </pc:spChg>
        <pc:spChg chg="mod">
          <ac:chgData name="Ugo MANTEL" userId="2d5b7065-31bb-4181-a7f8-a73bf0c30211" providerId="ADAL" clId="{9344D105-636D-4857-BD0F-AFC44A54BCCF}" dt="2021-05-25T14:20:12.444" v="29208" actId="790"/>
          <ac:spMkLst>
            <pc:docMk/>
            <pc:sldMk cId="1963154161" sldId="10390"/>
            <ac:spMk id="57" creationId="{B7C8E92E-FAA7-4F80-A624-AB8657706AFA}"/>
          </ac:spMkLst>
        </pc:spChg>
        <pc:spChg chg="mod">
          <ac:chgData name="Ugo MANTEL" userId="2d5b7065-31bb-4181-a7f8-a73bf0c30211" providerId="ADAL" clId="{9344D105-636D-4857-BD0F-AFC44A54BCCF}" dt="2021-05-25T14:20:12.446" v="29210" actId="790"/>
          <ac:spMkLst>
            <pc:docMk/>
            <pc:sldMk cId="1963154161" sldId="10390"/>
            <ac:spMk id="58" creationId="{7EC3C80C-8342-4DA2-BB03-07D115C0D737}"/>
          </ac:spMkLst>
        </pc:spChg>
        <pc:spChg chg="mod">
          <ac:chgData name="Ugo MANTEL" userId="2d5b7065-31bb-4181-a7f8-a73bf0c30211" providerId="ADAL" clId="{9344D105-636D-4857-BD0F-AFC44A54BCCF}" dt="2021-05-25T14:20:12.447" v="29211" actId="790"/>
          <ac:spMkLst>
            <pc:docMk/>
            <pc:sldMk cId="1963154161" sldId="10390"/>
            <ac:spMk id="59" creationId="{D718E44E-FCF2-4E7F-B0E0-D177DAD0F758}"/>
          </ac:spMkLst>
        </pc:spChg>
        <pc:spChg chg="mod">
          <ac:chgData name="Ugo MANTEL" userId="2d5b7065-31bb-4181-a7f8-a73bf0c30211" providerId="ADAL" clId="{9344D105-636D-4857-BD0F-AFC44A54BCCF}" dt="2021-05-25T14:20:12.448" v="29212" actId="790"/>
          <ac:spMkLst>
            <pc:docMk/>
            <pc:sldMk cId="1963154161" sldId="10390"/>
            <ac:spMk id="62" creationId="{5F61D7DE-7D72-4337-85CA-0C48811AC112}"/>
          </ac:spMkLst>
        </pc:spChg>
        <pc:spChg chg="mod">
          <ac:chgData name="Ugo MANTEL" userId="2d5b7065-31bb-4181-a7f8-a73bf0c30211" providerId="ADAL" clId="{9344D105-636D-4857-BD0F-AFC44A54BCCF}" dt="2021-05-25T14:20:12.449" v="29213" actId="790"/>
          <ac:spMkLst>
            <pc:docMk/>
            <pc:sldMk cId="1963154161" sldId="10390"/>
            <ac:spMk id="63" creationId="{22E66DAA-CD24-43AB-BE5E-780D7BC379AE}"/>
          </ac:spMkLst>
        </pc:spChg>
        <pc:spChg chg="mod">
          <ac:chgData name="Ugo MANTEL" userId="2d5b7065-31bb-4181-a7f8-a73bf0c30211" providerId="ADAL" clId="{9344D105-636D-4857-BD0F-AFC44A54BCCF}" dt="2021-05-25T14:20:12.450" v="29214" actId="790"/>
          <ac:spMkLst>
            <pc:docMk/>
            <pc:sldMk cId="1963154161" sldId="10390"/>
            <ac:spMk id="64" creationId="{6CC9CC00-4FC8-4B17-BD89-326E74CBFC14}"/>
          </ac:spMkLst>
        </pc:spChg>
        <pc:spChg chg="mod">
          <ac:chgData name="Ugo MANTEL" userId="2d5b7065-31bb-4181-a7f8-a73bf0c30211" providerId="ADAL" clId="{9344D105-636D-4857-BD0F-AFC44A54BCCF}" dt="2021-05-25T14:20:12.464" v="29223" actId="790"/>
          <ac:spMkLst>
            <pc:docMk/>
            <pc:sldMk cId="1963154161" sldId="10390"/>
            <ac:spMk id="65" creationId="{BD22A475-DE7F-4951-9178-30B1FB2E070D}"/>
          </ac:spMkLst>
        </pc:spChg>
        <pc:spChg chg="mod">
          <ac:chgData name="Ugo MANTEL" userId="2d5b7065-31bb-4181-a7f8-a73bf0c30211" providerId="ADAL" clId="{9344D105-636D-4857-BD0F-AFC44A54BCCF}" dt="2021-05-25T14:20:12.454" v="29215" actId="790"/>
          <ac:spMkLst>
            <pc:docMk/>
            <pc:sldMk cId="1963154161" sldId="10390"/>
            <ac:spMk id="67" creationId="{5A2EED6F-A68C-4C8B-9058-933E554A3399}"/>
          </ac:spMkLst>
        </pc:spChg>
        <pc:spChg chg="mod">
          <ac:chgData name="Ugo MANTEL" userId="2d5b7065-31bb-4181-a7f8-a73bf0c30211" providerId="ADAL" clId="{9344D105-636D-4857-BD0F-AFC44A54BCCF}" dt="2021-05-25T14:20:12.458" v="29216" actId="790"/>
          <ac:spMkLst>
            <pc:docMk/>
            <pc:sldMk cId="1963154161" sldId="10390"/>
            <ac:spMk id="69" creationId="{9426D2C0-7317-4715-89A4-B73DFFD9C218}"/>
          </ac:spMkLst>
        </pc:spChg>
        <pc:spChg chg="mod">
          <ac:chgData name="Ugo MANTEL" userId="2d5b7065-31bb-4181-a7f8-a73bf0c30211" providerId="ADAL" clId="{9344D105-636D-4857-BD0F-AFC44A54BCCF}" dt="2021-05-25T14:20:12.458" v="29217" actId="790"/>
          <ac:spMkLst>
            <pc:docMk/>
            <pc:sldMk cId="1963154161" sldId="10390"/>
            <ac:spMk id="71" creationId="{FCCA4A3B-0ACB-40EF-A467-43534267466C}"/>
          </ac:spMkLst>
        </pc:spChg>
        <pc:spChg chg="mod">
          <ac:chgData name="Ugo MANTEL" userId="2d5b7065-31bb-4181-a7f8-a73bf0c30211" providerId="ADAL" clId="{9344D105-636D-4857-BD0F-AFC44A54BCCF}" dt="2021-05-25T14:20:12.460" v="29218" actId="790"/>
          <ac:spMkLst>
            <pc:docMk/>
            <pc:sldMk cId="1963154161" sldId="10390"/>
            <ac:spMk id="74" creationId="{F88E2EA3-6091-4A8A-994C-49E2EB973B35}"/>
          </ac:spMkLst>
        </pc:spChg>
        <pc:spChg chg="mod">
          <ac:chgData name="Ugo MANTEL" userId="2d5b7065-31bb-4181-a7f8-a73bf0c30211" providerId="ADAL" clId="{9344D105-636D-4857-BD0F-AFC44A54BCCF}" dt="2021-05-25T14:20:12.460" v="29219" actId="790"/>
          <ac:spMkLst>
            <pc:docMk/>
            <pc:sldMk cId="1963154161" sldId="10390"/>
            <ac:spMk id="75" creationId="{16DB687C-AA72-473D-A094-DCD0C5C16671}"/>
          </ac:spMkLst>
        </pc:spChg>
        <pc:spChg chg="mod">
          <ac:chgData name="Ugo MANTEL" userId="2d5b7065-31bb-4181-a7f8-a73bf0c30211" providerId="ADAL" clId="{9344D105-636D-4857-BD0F-AFC44A54BCCF}" dt="2021-05-25T14:20:12.461" v="29220" actId="790"/>
          <ac:spMkLst>
            <pc:docMk/>
            <pc:sldMk cId="1963154161" sldId="10390"/>
            <ac:spMk id="79" creationId="{FE04AFC6-9715-4315-A93E-ABC27CEE6560}"/>
          </ac:spMkLst>
        </pc:spChg>
        <pc:spChg chg="mod">
          <ac:chgData name="Ugo MANTEL" userId="2d5b7065-31bb-4181-a7f8-a73bf0c30211" providerId="ADAL" clId="{9344D105-636D-4857-BD0F-AFC44A54BCCF}" dt="2021-05-25T14:20:12.462" v="29221" actId="790"/>
          <ac:spMkLst>
            <pc:docMk/>
            <pc:sldMk cId="1963154161" sldId="10390"/>
            <ac:spMk id="84" creationId="{56A6BEE0-27B6-4F24-BF86-F23470581D0F}"/>
          </ac:spMkLst>
        </pc:spChg>
        <pc:spChg chg="mod">
          <ac:chgData name="Ugo MANTEL" userId="2d5b7065-31bb-4181-a7f8-a73bf0c30211" providerId="ADAL" clId="{9344D105-636D-4857-BD0F-AFC44A54BCCF}" dt="2021-05-25T14:20:12.463" v="29222" actId="790"/>
          <ac:spMkLst>
            <pc:docMk/>
            <pc:sldMk cId="1963154161" sldId="10390"/>
            <ac:spMk id="89" creationId="{707E897B-BB28-4ADF-8F14-A1011D93E6D0}"/>
          </ac:spMkLst>
        </pc:spChg>
        <pc:spChg chg="mod">
          <ac:chgData name="Ugo MANTEL" userId="2d5b7065-31bb-4181-a7f8-a73bf0c30211" providerId="ADAL" clId="{9344D105-636D-4857-BD0F-AFC44A54BCCF}" dt="2021-05-25T14:20:12.464" v="29224" actId="790"/>
          <ac:spMkLst>
            <pc:docMk/>
            <pc:sldMk cId="1963154161" sldId="10390"/>
            <ac:spMk id="119" creationId="{B53369F6-F9C6-416E-8F1A-870B940A0116}"/>
          </ac:spMkLst>
        </pc:spChg>
        <pc:spChg chg="mod">
          <ac:chgData name="Ugo MANTEL" userId="2d5b7065-31bb-4181-a7f8-a73bf0c30211" providerId="ADAL" clId="{9344D105-636D-4857-BD0F-AFC44A54BCCF}" dt="2021-05-25T14:20:12.465" v="29225" actId="790"/>
          <ac:spMkLst>
            <pc:docMk/>
            <pc:sldMk cId="1963154161" sldId="10390"/>
            <ac:spMk id="120" creationId="{6B6976CB-6637-41B9-8C38-9423EB049FAD}"/>
          </ac:spMkLst>
        </pc:spChg>
        <pc:picChg chg="mod">
          <ac:chgData name="Ugo MANTEL" userId="2d5b7065-31bb-4181-a7f8-a73bf0c30211" providerId="ADAL" clId="{9344D105-636D-4857-BD0F-AFC44A54BCCF}" dt="2021-05-25T10:02:52.346" v="15805" actId="108"/>
          <ac:picMkLst>
            <pc:docMk/>
            <pc:sldMk cId="1963154161" sldId="10390"/>
            <ac:picMk id="39" creationId="{DE289D12-7F2B-4D99-83DC-0C21B642502F}"/>
          </ac:picMkLst>
        </pc:picChg>
        <pc:picChg chg="mod">
          <ac:chgData name="Ugo MANTEL" userId="2d5b7065-31bb-4181-a7f8-a73bf0c30211" providerId="ADAL" clId="{9344D105-636D-4857-BD0F-AFC44A54BCCF}" dt="2021-05-25T09:58:04.610" v="15802"/>
          <ac:picMkLst>
            <pc:docMk/>
            <pc:sldMk cId="1963154161" sldId="10390"/>
            <ac:picMk id="49" creationId="{7769D1EA-3E80-4EDF-AF6D-D8CF5FFAF370}"/>
          </ac:picMkLst>
        </pc:picChg>
        <pc:picChg chg="mod">
          <ac:chgData name="Ugo MANTEL" userId="2d5b7065-31bb-4181-a7f8-a73bf0c30211" providerId="ADAL" clId="{9344D105-636D-4857-BD0F-AFC44A54BCCF}" dt="2021-05-25T09:57:53.005" v="15801" actId="1076"/>
          <ac:picMkLst>
            <pc:docMk/>
            <pc:sldMk cId="1963154161" sldId="10390"/>
            <ac:picMk id="3074" creationId="{AFEAAE82-3824-4CA0-B023-C2C7F7FF2A49}"/>
          </ac:picMkLst>
        </pc:picChg>
      </pc:sldChg>
      <pc:sldChg chg="addSp delSp modSp mod ord">
        <pc:chgData name="Ugo MANTEL" userId="2d5b7065-31bb-4181-a7f8-a73bf0c30211" providerId="ADAL" clId="{9344D105-636D-4857-BD0F-AFC44A54BCCF}" dt="2021-05-25T14:35:54.997" v="35210" actId="1035"/>
        <pc:sldMkLst>
          <pc:docMk/>
          <pc:sldMk cId="957352529" sldId="10393"/>
        </pc:sldMkLst>
        <pc:spChg chg="mod">
          <ac:chgData name="Ugo MANTEL" userId="2d5b7065-31bb-4181-a7f8-a73bf0c30211" providerId="ADAL" clId="{9344D105-636D-4857-BD0F-AFC44A54BCCF}" dt="2021-05-25T14:34:14.948" v="35147" actId="948"/>
          <ac:spMkLst>
            <pc:docMk/>
            <pc:sldMk cId="957352529" sldId="10393"/>
            <ac:spMk id="2" creationId="{F86535CF-1A65-469E-AB4E-24F3D533381F}"/>
          </ac:spMkLst>
        </pc:spChg>
        <pc:spChg chg="add del mod modVis">
          <ac:chgData name="Ugo MANTEL" userId="2d5b7065-31bb-4181-a7f8-a73bf0c30211" providerId="ADAL" clId="{9344D105-636D-4857-BD0F-AFC44A54BCCF}" dt="2021-05-25T14:33:52.968" v="34669"/>
          <ac:spMkLst>
            <pc:docMk/>
            <pc:sldMk cId="957352529" sldId="10393"/>
            <ac:spMk id="3" creationId="{436949F4-BA01-47C4-91A0-7904079D8A05}"/>
          </ac:spMkLst>
        </pc:spChg>
        <pc:spChg chg="mod">
          <ac:chgData name="Ugo MANTEL" userId="2d5b7065-31bb-4181-a7f8-a73bf0c30211" providerId="ADAL" clId="{9344D105-636D-4857-BD0F-AFC44A54BCCF}" dt="2021-05-25T14:20:13.016" v="29734" actId="790"/>
          <ac:spMkLst>
            <pc:docMk/>
            <pc:sldMk cId="957352529" sldId="10393"/>
            <ac:spMk id="4" creationId="{8D0673D8-58F3-4C92-BE58-BE86886857C4}"/>
          </ac:spMkLst>
        </pc:spChg>
        <pc:spChg chg="add del mod modVis">
          <ac:chgData name="Ugo MANTEL" userId="2d5b7065-31bb-4181-a7f8-a73bf0c30211" providerId="ADAL" clId="{9344D105-636D-4857-BD0F-AFC44A54BCCF}" dt="2021-05-25T14:33:54.900" v="34743"/>
          <ac:spMkLst>
            <pc:docMk/>
            <pc:sldMk cId="957352529" sldId="10393"/>
            <ac:spMk id="6" creationId="{F45EED3B-13AF-4E1F-A64A-A0E5A208BB79}"/>
          </ac:spMkLst>
        </pc:spChg>
        <pc:spChg chg="add del mod modVis">
          <ac:chgData name="Ugo MANTEL" userId="2d5b7065-31bb-4181-a7f8-a73bf0c30211" providerId="ADAL" clId="{9344D105-636D-4857-BD0F-AFC44A54BCCF}" dt="2021-05-25T14:33:57.998" v="34821"/>
          <ac:spMkLst>
            <pc:docMk/>
            <pc:sldMk cId="957352529" sldId="10393"/>
            <ac:spMk id="8" creationId="{C8EA86C3-C656-4194-B343-2654D6A76DFA}"/>
          </ac:spMkLst>
        </pc:spChg>
        <pc:spChg chg="add del mod modVis">
          <ac:chgData name="Ugo MANTEL" userId="2d5b7065-31bb-4181-a7f8-a73bf0c30211" providerId="ADAL" clId="{9344D105-636D-4857-BD0F-AFC44A54BCCF}" dt="2021-05-25T14:33:58.668" v="34895"/>
          <ac:spMkLst>
            <pc:docMk/>
            <pc:sldMk cId="957352529" sldId="10393"/>
            <ac:spMk id="20" creationId="{E6B8BA3C-16A7-49E0-B294-5225ACE3E0CF}"/>
          </ac:spMkLst>
        </pc:spChg>
        <pc:spChg chg="add del mod modVis">
          <ac:chgData name="Ugo MANTEL" userId="2d5b7065-31bb-4181-a7f8-a73bf0c30211" providerId="ADAL" clId="{9344D105-636D-4857-BD0F-AFC44A54BCCF}" dt="2021-05-25T14:34:01.721" v="34980"/>
          <ac:spMkLst>
            <pc:docMk/>
            <pc:sldMk cId="957352529" sldId="10393"/>
            <ac:spMk id="25" creationId="{E9B16D19-1B3B-4FD4-8D2E-626A74EA8D3E}"/>
          </ac:spMkLst>
        </pc:spChg>
        <pc:spChg chg="mod">
          <ac:chgData name="Ugo MANTEL" userId="2d5b7065-31bb-4181-a7f8-a73bf0c30211" providerId="ADAL" clId="{9344D105-636D-4857-BD0F-AFC44A54BCCF}" dt="2021-05-25T14:20:13.015" v="29733" actId="790"/>
          <ac:spMkLst>
            <pc:docMk/>
            <pc:sldMk cId="957352529" sldId="10393"/>
            <ac:spMk id="26" creationId="{4D39C270-ACE8-427E-A326-79B07CDDAE45}"/>
          </ac:spMkLst>
        </pc:spChg>
        <pc:spChg chg="add del mod modVis">
          <ac:chgData name="Ugo MANTEL" userId="2d5b7065-31bb-4181-a7f8-a73bf0c30211" providerId="ADAL" clId="{9344D105-636D-4857-BD0F-AFC44A54BCCF}" dt="2021-05-25T14:34:02.453" v="35054"/>
          <ac:spMkLst>
            <pc:docMk/>
            <pc:sldMk cId="957352529" sldId="10393"/>
            <ac:spMk id="27" creationId="{EC0FB4DB-EC9D-4676-BA21-E49087FA56B0}"/>
          </ac:spMkLst>
        </pc:spChg>
        <pc:spChg chg="add del mod modVis">
          <ac:chgData name="Ugo MANTEL" userId="2d5b7065-31bb-4181-a7f8-a73bf0c30211" providerId="ADAL" clId="{9344D105-636D-4857-BD0F-AFC44A54BCCF}" dt="2021-05-24T14:52:56.717" v="8190"/>
          <ac:spMkLst>
            <pc:docMk/>
            <pc:sldMk cId="957352529" sldId="10393"/>
            <ac:spMk id="28" creationId="{133A3371-AEBE-466A-9EAD-6842B1C5E445}"/>
          </ac:spMkLst>
        </pc:spChg>
        <pc:spChg chg="add del mod modVis">
          <ac:chgData name="Ugo MANTEL" userId="2d5b7065-31bb-4181-a7f8-a73bf0c30211" providerId="ADAL" clId="{9344D105-636D-4857-BD0F-AFC44A54BCCF}" dt="2021-05-25T14:34:08.172" v="35098"/>
          <ac:spMkLst>
            <pc:docMk/>
            <pc:sldMk cId="957352529" sldId="10393"/>
            <ac:spMk id="28" creationId="{29FCA86E-CB23-4970-8641-D7C2B7B35DBB}"/>
          </ac:spMkLst>
        </pc:spChg>
        <pc:spChg chg="add del mod modVis">
          <ac:chgData name="Ugo MANTEL" userId="2d5b7065-31bb-4181-a7f8-a73bf0c30211" providerId="ADAL" clId="{9344D105-636D-4857-BD0F-AFC44A54BCCF}" dt="2021-05-25T14:34:11.419" v="35143"/>
          <ac:spMkLst>
            <pc:docMk/>
            <pc:sldMk cId="957352529" sldId="10393"/>
            <ac:spMk id="30" creationId="{83FB83BF-D416-4221-A1C7-E290A88F780C}"/>
          </ac:spMkLst>
        </pc:spChg>
        <pc:spChg chg="add del mod modVis">
          <ac:chgData name="Ugo MANTEL" userId="2d5b7065-31bb-4181-a7f8-a73bf0c30211" providerId="ADAL" clId="{9344D105-636D-4857-BD0F-AFC44A54BCCF}" dt="2021-05-24T14:53:11.533" v="8235"/>
          <ac:spMkLst>
            <pc:docMk/>
            <pc:sldMk cId="957352529" sldId="10393"/>
            <ac:spMk id="30" creationId="{F9550733-E09F-4A00-8BF1-E644AFE34CF6}"/>
          </ac:spMkLst>
        </pc:spChg>
        <pc:spChg chg="add del mod modVis">
          <ac:chgData name="Ugo MANTEL" userId="2d5b7065-31bb-4181-a7f8-a73bf0c30211" providerId="ADAL" clId="{9344D105-636D-4857-BD0F-AFC44A54BCCF}" dt="2021-05-25T14:34:15.027" v="35187"/>
          <ac:spMkLst>
            <pc:docMk/>
            <pc:sldMk cId="957352529" sldId="10393"/>
            <ac:spMk id="35" creationId="{23714F74-7D82-4894-8AED-D6F5D9AA5C32}"/>
          </ac:spMkLst>
        </pc:spChg>
        <pc:spChg chg="mod">
          <ac:chgData name="Ugo MANTEL" userId="2d5b7065-31bb-4181-a7f8-a73bf0c30211" providerId="ADAL" clId="{9344D105-636D-4857-BD0F-AFC44A54BCCF}" dt="2021-05-25T14:20:13.016" v="29735" actId="790"/>
          <ac:spMkLst>
            <pc:docMk/>
            <pc:sldMk cId="957352529" sldId="10393"/>
            <ac:spMk id="61" creationId="{3A77C3B4-4234-494E-B3AF-E2D230D559B9}"/>
          </ac:spMkLst>
        </pc:spChg>
        <pc:spChg chg="mod">
          <ac:chgData name="Ugo MANTEL" userId="2d5b7065-31bb-4181-a7f8-a73bf0c30211" providerId="ADAL" clId="{9344D105-636D-4857-BD0F-AFC44A54BCCF}" dt="2021-05-25T14:20:13.018" v="29737" actId="790"/>
          <ac:spMkLst>
            <pc:docMk/>
            <pc:sldMk cId="957352529" sldId="10393"/>
            <ac:spMk id="64" creationId="{691BA92F-2D07-4894-BC16-248A09E7B8E7}"/>
          </ac:spMkLst>
        </pc:spChg>
        <pc:spChg chg="mod">
          <ac:chgData name="Ugo MANTEL" userId="2d5b7065-31bb-4181-a7f8-a73bf0c30211" providerId="ADAL" clId="{9344D105-636D-4857-BD0F-AFC44A54BCCF}" dt="2021-05-25T14:20:13.017" v="29736" actId="790"/>
          <ac:spMkLst>
            <pc:docMk/>
            <pc:sldMk cId="957352529" sldId="10393"/>
            <ac:spMk id="65" creationId="{76ED0108-7E7B-4C9D-89F2-A614F653A231}"/>
          </ac:spMkLst>
        </pc:spChg>
        <pc:spChg chg="mod">
          <ac:chgData name="Ugo MANTEL" userId="2d5b7065-31bb-4181-a7f8-a73bf0c30211" providerId="ADAL" clId="{9344D105-636D-4857-BD0F-AFC44A54BCCF}" dt="2021-05-25T14:20:13.019" v="29738" actId="790"/>
          <ac:spMkLst>
            <pc:docMk/>
            <pc:sldMk cId="957352529" sldId="10393"/>
            <ac:spMk id="67" creationId="{2F88E149-890C-439D-A411-E74C5028D4DB}"/>
          </ac:spMkLst>
        </pc:spChg>
        <pc:spChg chg="mod">
          <ac:chgData name="Ugo MANTEL" userId="2d5b7065-31bb-4181-a7f8-a73bf0c30211" providerId="ADAL" clId="{9344D105-636D-4857-BD0F-AFC44A54BCCF}" dt="2021-05-25T14:20:13.020" v="29739" actId="790"/>
          <ac:spMkLst>
            <pc:docMk/>
            <pc:sldMk cId="957352529" sldId="10393"/>
            <ac:spMk id="68" creationId="{2DC6D0C2-73C5-4906-ADC1-16EE93DFC98A}"/>
          </ac:spMkLst>
        </pc:spChg>
        <pc:spChg chg="add mod">
          <ac:chgData name="Ugo MANTEL" userId="2d5b7065-31bb-4181-a7f8-a73bf0c30211" providerId="ADAL" clId="{9344D105-636D-4857-BD0F-AFC44A54BCCF}" dt="2021-05-25T14:20:13.021" v="29740" actId="790"/>
          <ac:spMkLst>
            <pc:docMk/>
            <pc:sldMk cId="957352529" sldId="10393"/>
            <ac:spMk id="69" creationId="{5EBB11DB-C104-4333-8834-EAE667C89105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70" creationId="{C7C96482-D856-4EF3-B399-67C61F6063DB}"/>
          </ac:spMkLst>
        </pc:spChg>
        <pc:spChg chg="mod">
          <ac:chgData name="Ugo MANTEL" userId="2d5b7065-31bb-4181-a7f8-a73bf0c30211" providerId="ADAL" clId="{9344D105-636D-4857-BD0F-AFC44A54BCCF}" dt="2021-05-25T14:20:13.027" v="29749" actId="790"/>
          <ac:spMkLst>
            <pc:docMk/>
            <pc:sldMk cId="957352529" sldId="10393"/>
            <ac:spMk id="70" creationId="{CD93BD11-97EA-48B2-92A2-D7BDA271F048}"/>
          </ac:spMkLst>
        </pc:spChg>
        <pc:spChg chg="add del mod">
          <ac:chgData name="Ugo MANTEL" userId="2d5b7065-31bb-4181-a7f8-a73bf0c30211" providerId="ADAL" clId="{9344D105-636D-4857-BD0F-AFC44A54BCCF}" dt="2021-05-24T15:00:26.398" v="8710" actId="478"/>
          <ac:spMkLst>
            <pc:docMk/>
            <pc:sldMk cId="957352529" sldId="10393"/>
            <ac:spMk id="71" creationId="{CC96C191-F782-4387-9912-C24496966431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72" creationId="{40F71E6C-CFC9-44E6-9156-C08A9F95630B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73" creationId="{52485C07-B997-4D98-A719-E511DE2E4935}"/>
          </ac:spMkLst>
        </pc:spChg>
        <pc:spChg chg="add del mod">
          <ac:chgData name="Ugo MANTEL" userId="2d5b7065-31bb-4181-a7f8-a73bf0c30211" providerId="ADAL" clId="{9344D105-636D-4857-BD0F-AFC44A54BCCF}" dt="2021-05-24T15:00:26.398" v="8710" actId="478"/>
          <ac:spMkLst>
            <pc:docMk/>
            <pc:sldMk cId="957352529" sldId="10393"/>
            <ac:spMk id="74" creationId="{037B7F4A-40C3-4218-973E-1B2E35EDBA2E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75" creationId="{A8D88B09-43C0-4836-8968-BED69983A941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77" creationId="{443B9C92-03B1-448C-8816-1FAA0C14C66E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78" creationId="{5035275A-50A9-4950-991D-3A3D003B8FC5}"/>
          </ac:spMkLst>
        </pc:spChg>
        <pc:spChg chg="add mod">
          <ac:chgData name="Ugo MANTEL" userId="2d5b7065-31bb-4181-a7f8-a73bf0c30211" providerId="ADAL" clId="{9344D105-636D-4857-BD0F-AFC44A54BCCF}" dt="2021-05-25T14:35:54.997" v="35210" actId="1035"/>
          <ac:spMkLst>
            <pc:docMk/>
            <pc:sldMk cId="957352529" sldId="10393"/>
            <ac:spMk id="79" creationId="{1CBA9F3D-3E13-45BD-820F-C591145294E9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79" creationId="{8F3157E7-B9FC-4DAA-87EA-08530D38394C}"/>
          </ac:spMkLst>
        </pc:spChg>
        <pc:spChg chg="add del mod">
          <ac:chgData name="Ugo MANTEL" userId="2d5b7065-31bb-4181-a7f8-a73bf0c30211" providerId="ADAL" clId="{9344D105-636D-4857-BD0F-AFC44A54BCCF}" dt="2021-05-24T15:09:00.445" v="8773" actId="478"/>
          <ac:spMkLst>
            <pc:docMk/>
            <pc:sldMk cId="957352529" sldId="10393"/>
            <ac:spMk id="80" creationId="{AA76E2C8-4F81-4138-8A92-036BD3A275D0}"/>
          </ac:spMkLst>
        </pc:spChg>
        <pc:spChg chg="add mod">
          <ac:chgData name="Ugo MANTEL" userId="2d5b7065-31bb-4181-a7f8-a73bf0c30211" providerId="ADAL" clId="{9344D105-636D-4857-BD0F-AFC44A54BCCF}" dt="2021-05-25T14:20:13.021" v="29741" actId="790"/>
          <ac:spMkLst>
            <pc:docMk/>
            <pc:sldMk cId="957352529" sldId="10393"/>
            <ac:spMk id="81" creationId="{0FBF1E32-B6D0-4348-A648-BF12F780300D}"/>
          </ac:spMkLst>
        </pc:spChg>
        <pc:spChg chg="add mod">
          <ac:chgData name="Ugo MANTEL" userId="2d5b7065-31bb-4181-a7f8-a73bf0c30211" providerId="ADAL" clId="{9344D105-636D-4857-BD0F-AFC44A54BCCF}" dt="2021-05-25T14:20:13.022" v="29742" actId="790"/>
          <ac:spMkLst>
            <pc:docMk/>
            <pc:sldMk cId="957352529" sldId="10393"/>
            <ac:spMk id="82" creationId="{B7B8953C-D149-47D5-960F-235DAF55AECF}"/>
          </ac:spMkLst>
        </pc:spChg>
        <pc:spChg chg="add mod">
          <ac:chgData name="Ugo MANTEL" userId="2d5b7065-31bb-4181-a7f8-a73bf0c30211" providerId="ADAL" clId="{9344D105-636D-4857-BD0F-AFC44A54BCCF}" dt="2021-05-25T14:20:13.023" v="29743" actId="790"/>
          <ac:spMkLst>
            <pc:docMk/>
            <pc:sldMk cId="957352529" sldId="10393"/>
            <ac:spMk id="83" creationId="{B26FA1B6-823F-4D05-9001-5B804381DFBA}"/>
          </ac:spMkLst>
        </pc:spChg>
        <pc:spChg chg="add mod">
          <ac:chgData name="Ugo MANTEL" userId="2d5b7065-31bb-4181-a7f8-a73bf0c30211" providerId="ADAL" clId="{9344D105-636D-4857-BD0F-AFC44A54BCCF}" dt="2021-05-25T14:20:13.024" v="29744" actId="790"/>
          <ac:spMkLst>
            <pc:docMk/>
            <pc:sldMk cId="957352529" sldId="10393"/>
            <ac:spMk id="84" creationId="{D880890D-D484-44B2-A230-177108C3F1BC}"/>
          </ac:spMkLst>
        </pc:spChg>
        <pc:spChg chg="add mod">
          <ac:chgData name="Ugo MANTEL" userId="2d5b7065-31bb-4181-a7f8-a73bf0c30211" providerId="ADAL" clId="{9344D105-636D-4857-BD0F-AFC44A54BCCF}" dt="2021-05-25T14:20:13.024" v="29745" actId="790"/>
          <ac:spMkLst>
            <pc:docMk/>
            <pc:sldMk cId="957352529" sldId="10393"/>
            <ac:spMk id="85" creationId="{FB985EB4-EFAF-4CFE-AAC8-3BFEF86CD305}"/>
          </ac:spMkLst>
        </pc:spChg>
        <pc:spChg chg="add mod">
          <ac:chgData name="Ugo MANTEL" userId="2d5b7065-31bb-4181-a7f8-a73bf0c30211" providerId="ADAL" clId="{9344D105-636D-4857-BD0F-AFC44A54BCCF}" dt="2021-05-25T14:20:13.025" v="29746" actId="790"/>
          <ac:spMkLst>
            <pc:docMk/>
            <pc:sldMk cId="957352529" sldId="10393"/>
            <ac:spMk id="86" creationId="{D33079FA-0FE4-4F50-9CB5-E57CCD4A3E6D}"/>
          </ac:spMkLst>
        </pc:spChg>
        <pc:spChg chg="add mod">
          <ac:chgData name="Ugo MANTEL" userId="2d5b7065-31bb-4181-a7f8-a73bf0c30211" providerId="ADAL" clId="{9344D105-636D-4857-BD0F-AFC44A54BCCF}" dt="2021-05-25T14:20:13.026" v="29747" actId="790"/>
          <ac:spMkLst>
            <pc:docMk/>
            <pc:sldMk cId="957352529" sldId="10393"/>
            <ac:spMk id="87" creationId="{D0C7EF25-F41C-4D5A-8D5F-89222470364F}"/>
          </ac:spMkLst>
        </pc:spChg>
        <pc:spChg chg="add mod">
          <ac:chgData name="Ugo MANTEL" userId="2d5b7065-31bb-4181-a7f8-a73bf0c30211" providerId="ADAL" clId="{9344D105-636D-4857-BD0F-AFC44A54BCCF}" dt="2021-05-25T14:20:13.027" v="29748" actId="790"/>
          <ac:spMkLst>
            <pc:docMk/>
            <pc:sldMk cId="957352529" sldId="10393"/>
            <ac:spMk id="88" creationId="{33CC15C5-E426-425E-8CA8-58B5F0AF7407}"/>
          </ac:spMkLst>
        </pc:spChg>
        <pc:graphicFrameChg chg="mod">
          <ac:chgData name="Ugo MANTEL" userId="2d5b7065-31bb-4181-a7f8-a73bf0c30211" providerId="ADAL" clId="{9344D105-636D-4857-BD0F-AFC44A54BCCF}" dt="2021-05-25T14:34:15.030" v="35189"/>
          <ac:graphicFrameMkLst>
            <pc:docMk/>
            <pc:sldMk cId="957352529" sldId="10393"/>
            <ac:graphicFrameMk id="5" creationId="{973664F8-DF86-4225-8CB9-42E888DA9E93}"/>
          </ac:graphicFrameMkLst>
        </pc:graphicFrameChg>
        <pc:graphicFrameChg chg="modGraphic">
          <ac:chgData name="Ugo MANTEL" userId="2d5b7065-31bb-4181-a7f8-a73bf0c30211" providerId="ADAL" clId="{9344D105-636D-4857-BD0F-AFC44A54BCCF}" dt="2021-05-24T15:47:41.399" v="9093" actId="207"/>
          <ac:graphicFrameMkLst>
            <pc:docMk/>
            <pc:sldMk cId="957352529" sldId="10393"/>
            <ac:graphicFrameMk id="15" creationId="{9F498932-4CCF-4B8A-8787-99F5420B02A5}"/>
          </ac:graphicFrameMkLst>
        </pc:graphicFrameChg>
        <pc:picChg chg="mod">
          <ac:chgData name="Ugo MANTEL" userId="2d5b7065-31bb-4181-a7f8-a73bf0c30211" providerId="ADAL" clId="{9344D105-636D-4857-BD0F-AFC44A54BCCF}" dt="2021-05-24T15:48:10.776" v="9095" actId="1076"/>
          <ac:picMkLst>
            <pc:docMk/>
            <pc:sldMk cId="957352529" sldId="10393"/>
            <ac:picMk id="31" creationId="{B863573C-CBB3-4E05-AAD5-9CF1958A35A3}"/>
          </ac:picMkLst>
        </pc:picChg>
        <pc:picChg chg="mod">
          <ac:chgData name="Ugo MANTEL" userId="2d5b7065-31bb-4181-a7f8-a73bf0c30211" providerId="ADAL" clId="{9344D105-636D-4857-BD0F-AFC44A54BCCF}" dt="2021-05-24T08:33:40.175" v="2"/>
          <ac:picMkLst>
            <pc:docMk/>
            <pc:sldMk cId="957352529" sldId="10393"/>
            <ac:picMk id="40" creationId="{82159A97-21E7-495D-AC7F-88C69C659672}"/>
          </ac:picMkLst>
        </pc:picChg>
        <pc:picChg chg="mod">
          <ac:chgData name="Ugo MANTEL" userId="2d5b7065-31bb-4181-a7f8-a73bf0c30211" providerId="ADAL" clId="{9344D105-636D-4857-BD0F-AFC44A54BCCF}" dt="2021-05-24T08:33:47.277" v="3"/>
          <ac:picMkLst>
            <pc:docMk/>
            <pc:sldMk cId="957352529" sldId="10393"/>
            <ac:picMk id="45" creationId="{6817E525-2302-4695-94DE-2C307F9C8AE3}"/>
          </ac:picMkLst>
        </pc:picChg>
        <pc:picChg chg="del">
          <ac:chgData name="Ugo MANTEL" userId="2d5b7065-31bb-4181-a7f8-a73bf0c30211" providerId="ADAL" clId="{9344D105-636D-4857-BD0F-AFC44A54BCCF}" dt="2021-05-24T15:48:12.801" v="9096" actId="478"/>
          <ac:picMkLst>
            <pc:docMk/>
            <pc:sldMk cId="957352529" sldId="10393"/>
            <ac:picMk id="66" creationId="{654FB4EA-718F-457C-9E66-E434DED43E9B}"/>
          </ac:picMkLst>
        </pc:picChg>
        <pc:picChg chg="add mod">
          <ac:chgData name="Ugo MANTEL" userId="2d5b7065-31bb-4181-a7f8-a73bf0c30211" providerId="ADAL" clId="{9344D105-636D-4857-BD0F-AFC44A54BCCF}" dt="2021-05-25T14:33:38.603" v="34597"/>
          <ac:picMkLst>
            <pc:docMk/>
            <pc:sldMk cId="957352529" sldId="10393"/>
            <ac:picMk id="71" creationId="{D6875A61-0132-4855-BAFA-47C1EDCCC320}"/>
          </ac:picMkLst>
        </pc:picChg>
        <pc:picChg chg="add mod">
          <ac:chgData name="Ugo MANTEL" userId="2d5b7065-31bb-4181-a7f8-a73bf0c30211" providerId="ADAL" clId="{9344D105-636D-4857-BD0F-AFC44A54BCCF}" dt="2021-05-24T15:48:16.625" v="9097" actId="571"/>
          <ac:picMkLst>
            <pc:docMk/>
            <pc:sldMk cId="957352529" sldId="10393"/>
            <ac:picMk id="89" creationId="{9EBE027D-8EAA-4C2A-A27E-E736F1F4D783}"/>
          </ac:picMkLst>
        </pc:picChg>
        <pc:picChg chg="mod">
          <ac:chgData name="Ugo MANTEL" userId="2d5b7065-31bb-4181-a7f8-a73bf0c30211" providerId="ADAL" clId="{9344D105-636D-4857-BD0F-AFC44A54BCCF}" dt="2021-05-24T08:33:52.168" v="4"/>
          <ac:picMkLst>
            <pc:docMk/>
            <pc:sldMk cId="957352529" sldId="10393"/>
            <ac:picMk id="1046" creationId="{11F3490D-9D7A-4B3C-AEEE-E4B3BDC8DB58}"/>
          </ac:picMkLst>
        </pc:picChg>
      </pc:sldChg>
      <pc:sldChg chg="addSp delSp modSp mod ord">
        <pc:chgData name="Ugo MANTEL" userId="2d5b7065-31bb-4181-a7f8-a73bf0c30211" providerId="ADAL" clId="{9344D105-636D-4857-BD0F-AFC44A54BCCF}" dt="2021-05-25T14:20:12.843" v="29572" actId="790"/>
        <pc:sldMkLst>
          <pc:docMk/>
          <pc:sldMk cId="3996239782" sldId="10399"/>
        </pc:sldMkLst>
        <pc:spChg chg="mod">
          <ac:chgData name="Ugo MANTEL" userId="2d5b7065-31bb-4181-a7f8-a73bf0c30211" providerId="ADAL" clId="{9344D105-636D-4857-BD0F-AFC44A54BCCF}" dt="2021-05-25T14:20:12.813" v="29544" actId="790"/>
          <ac:spMkLst>
            <pc:docMk/>
            <pc:sldMk cId="3996239782" sldId="10399"/>
            <ac:spMk id="2" creationId="{8ECED2BA-32CC-4045-8D14-78B10AEA12FB}"/>
          </ac:spMkLst>
        </pc:spChg>
        <pc:spChg chg="mod">
          <ac:chgData name="Ugo MANTEL" userId="2d5b7065-31bb-4181-a7f8-a73bf0c30211" providerId="ADAL" clId="{9344D105-636D-4857-BD0F-AFC44A54BCCF}" dt="2021-05-25T14:20:12.814" v="29545" actId="790"/>
          <ac:spMkLst>
            <pc:docMk/>
            <pc:sldMk cId="3996239782" sldId="10399"/>
            <ac:spMk id="3" creationId="{B501C848-A2DC-4147-8A2D-73995C4BC00F}"/>
          </ac:spMkLst>
        </pc:spChg>
        <pc:spChg chg="mod">
          <ac:chgData name="Ugo MANTEL" userId="2d5b7065-31bb-4181-a7f8-a73bf0c30211" providerId="ADAL" clId="{9344D105-636D-4857-BD0F-AFC44A54BCCF}" dt="2021-05-25T14:20:12.815" v="29546" actId="790"/>
          <ac:spMkLst>
            <pc:docMk/>
            <pc:sldMk cId="3996239782" sldId="10399"/>
            <ac:spMk id="4" creationId="{F7D6FC23-B579-4054-8BE5-06AAB333B6F1}"/>
          </ac:spMkLst>
        </pc:spChg>
        <pc:spChg chg="mod">
          <ac:chgData name="Ugo MANTEL" userId="2d5b7065-31bb-4181-a7f8-a73bf0c30211" providerId="ADAL" clId="{9344D105-636D-4857-BD0F-AFC44A54BCCF}" dt="2021-05-25T14:20:12.816" v="29547" actId="790"/>
          <ac:spMkLst>
            <pc:docMk/>
            <pc:sldMk cId="3996239782" sldId="10399"/>
            <ac:spMk id="5" creationId="{E05AFE09-2ECE-45A0-B1A6-917994C4A573}"/>
          </ac:spMkLst>
        </pc:spChg>
        <pc:spChg chg="mod">
          <ac:chgData name="Ugo MANTEL" userId="2d5b7065-31bb-4181-a7f8-a73bf0c30211" providerId="ADAL" clId="{9344D105-636D-4857-BD0F-AFC44A54BCCF}" dt="2021-05-25T14:20:12.817" v="29548" actId="790"/>
          <ac:spMkLst>
            <pc:docMk/>
            <pc:sldMk cId="3996239782" sldId="10399"/>
            <ac:spMk id="6" creationId="{97ECC932-E904-4A9B-8E43-A105D088ABBA}"/>
          </ac:spMkLst>
        </pc:spChg>
        <pc:spChg chg="mod">
          <ac:chgData name="Ugo MANTEL" userId="2d5b7065-31bb-4181-a7f8-a73bf0c30211" providerId="ADAL" clId="{9344D105-636D-4857-BD0F-AFC44A54BCCF}" dt="2021-05-25T14:20:12.819" v="29549" actId="790"/>
          <ac:spMkLst>
            <pc:docMk/>
            <pc:sldMk cId="3996239782" sldId="10399"/>
            <ac:spMk id="7" creationId="{7F4369D1-89B8-488C-A693-6DCA73F7A083}"/>
          </ac:spMkLst>
        </pc:spChg>
        <pc:spChg chg="add del mod modVis">
          <ac:chgData name="Ugo MANTEL" userId="2d5b7065-31bb-4181-a7f8-a73bf0c30211" providerId="ADAL" clId="{9344D105-636D-4857-BD0F-AFC44A54BCCF}" dt="2021-05-25T13:55:17" v="23166"/>
          <ac:spMkLst>
            <pc:docMk/>
            <pc:sldMk cId="3996239782" sldId="10399"/>
            <ac:spMk id="8" creationId="{503E60F4-7C74-435E-BA1F-BC1397EC4D38}"/>
          </ac:spMkLst>
        </pc:spChg>
        <pc:spChg chg="mod">
          <ac:chgData name="Ugo MANTEL" userId="2d5b7065-31bb-4181-a7f8-a73bf0c30211" providerId="ADAL" clId="{9344D105-636D-4857-BD0F-AFC44A54BCCF}" dt="2021-05-25T14:20:12.821" v="29550" actId="790"/>
          <ac:spMkLst>
            <pc:docMk/>
            <pc:sldMk cId="3996239782" sldId="10399"/>
            <ac:spMk id="10" creationId="{BAC2F0DB-4A90-42A5-824F-1E510EB9DCB5}"/>
          </ac:spMkLst>
        </pc:spChg>
        <pc:spChg chg="add del mod modVis">
          <ac:chgData name="Ugo MANTEL" userId="2d5b7065-31bb-4181-a7f8-a73bf0c30211" providerId="ADAL" clId="{9344D105-636D-4857-BD0F-AFC44A54BCCF}" dt="2021-05-24T14:51:56.227" v="8004"/>
          <ac:spMkLst>
            <pc:docMk/>
            <pc:sldMk cId="3996239782" sldId="10399"/>
            <ac:spMk id="11" creationId="{32EA0B3B-6F8E-48A6-9C7A-1BA59F9E3D87}"/>
          </ac:spMkLst>
        </pc:spChg>
        <pc:spChg chg="mod">
          <ac:chgData name="Ugo MANTEL" userId="2d5b7065-31bb-4181-a7f8-a73bf0c30211" providerId="ADAL" clId="{9344D105-636D-4857-BD0F-AFC44A54BCCF}" dt="2021-05-25T14:20:12.821" v="29551" actId="790"/>
          <ac:spMkLst>
            <pc:docMk/>
            <pc:sldMk cId="3996239782" sldId="10399"/>
            <ac:spMk id="12" creationId="{B3C0B329-0DB4-4820-80B0-697179429242}"/>
          </ac:spMkLst>
        </pc:spChg>
        <pc:spChg chg="del">
          <ac:chgData name="Ugo MANTEL" userId="2d5b7065-31bb-4181-a7f8-a73bf0c30211" providerId="ADAL" clId="{9344D105-636D-4857-BD0F-AFC44A54BCCF}" dt="2021-05-24T16:16:57.806" v="11010" actId="478"/>
          <ac:spMkLst>
            <pc:docMk/>
            <pc:sldMk cId="3996239782" sldId="10399"/>
            <ac:spMk id="13" creationId="{1465C513-F61B-493B-A85C-0744F92F52A3}"/>
          </ac:spMkLst>
        </pc:spChg>
        <pc:spChg chg="add del mod modVis">
          <ac:chgData name="Ugo MANTEL" userId="2d5b7065-31bb-4181-a7f8-a73bf0c30211" providerId="ADAL" clId="{9344D105-636D-4857-BD0F-AFC44A54BCCF}" dt="2021-05-25T13:55:18.297" v="23215"/>
          <ac:spMkLst>
            <pc:docMk/>
            <pc:sldMk cId="3996239782" sldId="10399"/>
            <ac:spMk id="13" creationId="{42E51AA7-4259-4136-B858-4DCC3B27D018}"/>
          </ac:spMkLst>
        </pc:spChg>
        <pc:spChg chg="mod">
          <ac:chgData name="Ugo MANTEL" userId="2d5b7065-31bb-4181-a7f8-a73bf0c30211" providerId="ADAL" clId="{9344D105-636D-4857-BD0F-AFC44A54BCCF}" dt="2021-05-25T14:20:12.823" v="29552" actId="790"/>
          <ac:spMkLst>
            <pc:docMk/>
            <pc:sldMk cId="3996239782" sldId="10399"/>
            <ac:spMk id="14" creationId="{6F40B73C-ED48-415F-9826-3160F048C49D}"/>
          </ac:spMkLst>
        </pc:spChg>
        <pc:spChg chg="mod">
          <ac:chgData name="Ugo MANTEL" userId="2d5b7065-31bb-4181-a7f8-a73bf0c30211" providerId="ADAL" clId="{9344D105-636D-4857-BD0F-AFC44A54BCCF}" dt="2021-05-25T14:20:12.824" v="29553" actId="790"/>
          <ac:spMkLst>
            <pc:docMk/>
            <pc:sldMk cId="3996239782" sldId="10399"/>
            <ac:spMk id="15" creationId="{1EAFF699-192B-46E9-B8E8-C0838CC08C2C}"/>
          </ac:spMkLst>
        </pc:spChg>
        <pc:spChg chg="add del mod modVis">
          <ac:chgData name="Ugo MANTEL" userId="2d5b7065-31bb-4181-a7f8-a73bf0c30211" providerId="ADAL" clId="{9344D105-636D-4857-BD0F-AFC44A54BCCF}" dt="2021-05-25T13:55:19.515" v="23260"/>
          <ac:spMkLst>
            <pc:docMk/>
            <pc:sldMk cId="3996239782" sldId="10399"/>
            <ac:spMk id="16" creationId="{0B9FA18E-A3EB-4812-BCC3-294002E5FBD4}"/>
          </ac:spMkLst>
        </pc:spChg>
        <pc:spChg chg="add del mod modVis">
          <ac:chgData name="Ugo MANTEL" userId="2d5b7065-31bb-4181-a7f8-a73bf0c30211" providerId="ADAL" clId="{9344D105-636D-4857-BD0F-AFC44A54BCCF}" dt="2021-05-24T14:51:59.290" v="8049"/>
          <ac:spMkLst>
            <pc:docMk/>
            <pc:sldMk cId="3996239782" sldId="10399"/>
            <ac:spMk id="16" creationId="{5BAC29D4-EA27-44D7-8E33-1ACEC4455141}"/>
          </ac:spMkLst>
        </pc:spChg>
        <pc:spChg chg="mod">
          <ac:chgData name="Ugo MANTEL" userId="2d5b7065-31bb-4181-a7f8-a73bf0c30211" providerId="ADAL" clId="{9344D105-636D-4857-BD0F-AFC44A54BCCF}" dt="2021-05-25T14:20:12.825" v="29554" actId="790"/>
          <ac:spMkLst>
            <pc:docMk/>
            <pc:sldMk cId="3996239782" sldId="10399"/>
            <ac:spMk id="17" creationId="{8D2A536B-772E-484E-8D44-1AC57A161AF0}"/>
          </ac:spMkLst>
        </pc:spChg>
        <pc:spChg chg="mod">
          <ac:chgData name="Ugo MANTEL" userId="2d5b7065-31bb-4181-a7f8-a73bf0c30211" providerId="ADAL" clId="{9344D105-636D-4857-BD0F-AFC44A54BCCF}" dt="2021-05-25T14:20:12.826" v="29555" actId="790"/>
          <ac:spMkLst>
            <pc:docMk/>
            <pc:sldMk cId="3996239782" sldId="10399"/>
            <ac:spMk id="18" creationId="{C87F9580-72EF-4198-9D8A-320AB7543801}"/>
          </ac:spMkLst>
        </pc:spChg>
        <pc:spChg chg="mod">
          <ac:chgData name="Ugo MANTEL" userId="2d5b7065-31bb-4181-a7f8-a73bf0c30211" providerId="ADAL" clId="{9344D105-636D-4857-BD0F-AFC44A54BCCF}" dt="2021-05-25T14:20:12.827" v="29556" actId="790"/>
          <ac:spMkLst>
            <pc:docMk/>
            <pc:sldMk cId="3996239782" sldId="10399"/>
            <ac:spMk id="19" creationId="{FBC7EDC3-999F-41DB-BAE4-EC07B2C7B35B}"/>
          </ac:spMkLst>
        </pc:spChg>
        <pc:spChg chg="add del mod modVis">
          <ac:chgData name="Ugo MANTEL" userId="2d5b7065-31bb-4181-a7f8-a73bf0c30211" providerId="ADAL" clId="{9344D105-636D-4857-BD0F-AFC44A54BCCF}" dt="2021-05-25T13:55:25.196" v="23304"/>
          <ac:spMkLst>
            <pc:docMk/>
            <pc:sldMk cId="3996239782" sldId="10399"/>
            <ac:spMk id="20" creationId="{BDEF3177-5A92-4459-AB8D-40E6900CEE39}"/>
          </ac:spMkLst>
        </pc:spChg>
        <pc:spChg chg="mod">
          <ac:chgData name="Ugo MANTEL" userId="2d5b7065-31bb-4181-a7f8-a73bf0c30211" providerId="ADAL" clId="{9344D105-636D-4857-BD0F-AFC44A54BCCF}" dt="2021-05-25T14:20:12.830" v="29559" actId="790"/>
          <ac:spMkLst>
            <pc:docMk/>
            <pc:sldMk cId="3996239782" sldId="10399"/>
            <ac:spMk id="21" creationId="{1B0FB440-CD14-4D76-8D20-CF2F87E8BD3F}"/>
          </ac:spMkLst>
        </pc:spChg>
        <pc:spChg chg="add del mod modVis">
          <ac:chgData name="Ugo MANTEL" userId="2d5b7065-31bb-4181-a7f8-a73bf0c30211" providerId="ADAL" clId="{9344D105-636D-4857-BD0F-AFC44A54BCCF}" dt="2021-05-25T13:55:51.211" v="23350"/>
          <ac:spMkLst>
            <pc:docMk/>
            <pc:sldMk cId="3996239782" sldId="10399"/>
            <ac:spMk id="22" creationId="{8E45E8D9-893E-44B2-BE42-E81278EC6CE9}"/>
          </ac:spMkLst>
        </pc:spChg>
        <pc:spChg chg="mod">
          <ac:chgData name="Ugo MANTEL" userId="2d5b7065-31bb-4181-a7f8-a73bf0c30211" providerId="ADAL" clId="{9344D105-636D-4857-BD0F-AFC44A54BCCF}" dt="2021-05-25T14:20:12.833" v="29560" actId="790"/>
          <ac:spMkLst>
            <pc:docMk/>
            <pc:sldMk cId="3996239782" sldId="10399"/>
            <ac:spMk id="23" creationId="{7A7B45BB-0C39-4952-96D9-943DAC289519}"/>
          </ac:spMkLst>
        </pc:spChg>
        <pc:spChg chg="add del mod modVis">
          <ac:chgData name="Ugo MANTEL" userId="2d5b7065-31bb-4181-a7f8-a73bf0c30211" providerId="ADAL" clId="{9344D105-636D-4857-BD0F-AFC44A54BCCF}" dt="2021-05-25T13:55:53.537" v="23400"/>
          <ac:spMkLst>
            <pc:docMk/>
            <pc:sldMk cId="3996239782" sldId="10399"/>
            <ac:spMk id="24" creationId="{9FF973D5-0959-4426-AEA4-4347D1A17093}"/>
          </ac:spMkLst>
        </pc:spChg>
        <pc:spChg chg="add del mod modVis">
          <ac:chgData name="Ugo MANTEL" userId="2d5b7065-31bb-4181-a7f8-a73bf0c30211" providerId="ADAL" clId="{9344D105-636D-4857-BD0F-AFC44A54BCCF}" dt="2021-05-25T13:56:02.266" v="23444"/>
          <ac:spMkLst>
            <pc:docMk/>
            <pc:sldMk cId="3996239782" sldId="10399"/>
            <ac:spMk id="25" creationId="{55F1A0F0-0C11-4581-AD73-15DE451ADA08}"/>
          </ac:spMkLst>
        </pc:spChg>
        <pc:spChg chg="add del mod modVis">
          <ac:chgData name="Ugo MANTEL" userId="2d5b7065-31bb-4181-a7f8-a73bf0c30211" providerId="ADAL" clId="{9344D105-636D-4857-BD0F-AFC44A54BCCF}" dt="2021-05-25T13:56:04.379" v="23496"/>
          <ac:spMkLst>
            <pc:docMk/>
            <pc:sldMk cId="3996239782" sldId="10399"/>
            <ac:spMk id="26" creationId="{F01FA491-FB44-468B-B5BE-A1165E94406C}"/>
          </ac:spMkLst>
        </pc:spChg>
        <pc:spChg chg="mod">
          <ac:chgData name="Ugo MANTEL" userId="2d5b7065-31bb-4181-a7f8-a73bf0c30211" providerId="ADAL" clId="{9344D105-636D-4857-BD0F-AFC44A54BCCF}" dt="2021-05-25T14:20:12.833" v="29561" actId="790"/>
          <ac:spMkLst>
            <pc:docMk/>
            <pc:sldMk cId="3996239782" sldId="10399"/>
            <ac:spMk id="27" creationId="{499E31EE-17B3-461E-BC6B-3A41D42EEEAA}"/>
          </ac:spMkLst>
        </pc:spChg>
        <pc:spChg chg="mod">
          <ac:chgData name="Ugo MANTEL" userId="2d5b7065-31bb-4181-a7f8-a73bf0c30211" providerId="ADAL" clId="{9344D105-636D-4857-BD0F-AFC44A54BCCF}" dt="2021-05-25T13:57:11.277" v="23592" actId="1076"/>
          <ac:spMkLst>
            <pc:docMk/>
            <pc:sldMk cId="3996239782" sldId="10399"/>
            <ac:spMk id="29" creationId="{87D9EEEE-2DB2-4BE8-B4FF-CF31142AF647}"/>
          </ac:spMkLst>
        </pc:spChg>
        <pc:spChg chg="mod">
          <ac:chgData name="Ugo MANTEL" userId="2d5b7065-31bb-4181-a7f8-a73bf0c30211" providerId="ADAL" clId="{9344D105-636D-4857-BD0F-AFC44A54BCCF}" dt="2021-05-25T13:57:11.277" v="23592" actId="1076"/>
          <ac:spMkLst>
            <pc:docMk/>
            <pc:sldMk cId="3996239782" sldId="10399"/>
            <ac:spMk id="30" creationId="{378719CE-7CF6-4EBF-BCB1-3F658D35F6B7}"/>
          </ac:spMkLst>
        </pc:spChg>
        <pc:spChg chg="mod">
          <ac:chgData name="Ugo MANTEL" userId="2d5b7065-31bb-4181-a7f8-a73bf0c30211" providerId="ADAL" clId="{9344D105-636D-4857-BD0F-AFC44A54BCCF}" dt="2021-05-25T13:57:11.277" v="23592" actId="1076"/>
          <ac:spMkLst>
            <pc:docMk/>
            <pc:sldMk cId="3996239782" sldId="10399"/>
            <ac:spMk id="32" creationId="{1E699A05-6D19-4627-84E5-AC0E372F557B}"/>
          </ac:spMkLst>
        </pc:spChg>
        <pc:spChg chg="mod">
          <ac:chgData name="Ugo MANTEL" userId="2d5b7065-31bb-4181-a7f8-a73bf0c30211" providerId="ADAL" clId="{9344D105-636D-4857-BD0F-AFC44A54BCCF}" dt="2021-05-25T13:57:11.277" v="23592" actId="1076"/>
          <ac:spMkLst>
            <pc:docMk/>
            <pc:sldMk cId="3996239782" sldId="10399"/>
            <ac:spMk id="33" creationId="{ACF7BA69-B3C4-4438-AD0D-1AD5CED0E2D9}"/>
          </ac:spMkLst>
        </pc:spChg>
        <pc:spChg chg="mod">
          <ac:chgData name="Ugo MANTEL" userId="2d5b7065-31bb-4181-a7f8-a73bf0c30211" providerId="ADAL" clId="{9344D105-636D-4857-BD0F-AFC44A54BCCF}" dt="2021-05-25T13:57:11.277" v="23592" actId="1076"/>
          <ac:spMkLst>
            <pc:docMk/>
            <pc:sldMk cId="3996239782" sldId="10399"/>
            <ac:spMk id="35" creationId="{F6DBFAC3-D8F6-4DE0-8ECC-F45D37D2EF50}"/>
          </ac:spMkLst>
        </pc:spChg>
        <pc:spChg chg="mod">
          <ac:chgData name="Ugo MANTEL" userId="2d5b7065-31bb-4181-a7f8-a73bf0c30211" providerId="ADAL" clId="{9344D105-636D-4857-BD0F-AFC44A54BCCF}" dt="2021-05-25T13:57:11.277" v="23592" actId="1076"/>
          <ac:spMkLst>
            <pc:docMk/>
            <pc:sldMk cId="3996239782" sldId="10399"/>
            <ac:spMk id="36" creationId="{5BCB18A6-FD47-49D0-9C10-8A6AFF958C2F}"/>
          </ac:spMkLst>
        </pc:spChg>
        <pc:spChg chg="add mod">
          <ac:chgData name="Ugo MANTEL" userId="2d5b7065-31bb-4181-a7f8-a73bf0c30211" providerId="ADAL" clId="{9344D105-636D-4857-BD0F-AFC44A54BCCF}" dt="2021-05-25T14:20:12.834" v="29562" actId="790"/>
          <ac:spMkLst>
            <pc:docMk/>
            <pc:sldMk cId="3996239782" sldId="10399"/>
            <ac:spMk id="43" creationId="{EB6DEF52-496A-402C-8CF6-A5A3BF00AE8F}"/>
          </ac:spMkLst>
        </pc:spChg>
        <pc:spChg chg="add del mod modVis">
          <ac:chgData name="Ugo MANTEL" userId="2d5b7065-31bb-4181-a7f8-a73bf0c30211" providerId="ADAL" clId="{9344D105-636D-4857-BD0F-AFC44A54BCCF}" dt="2021-05-25T13:56:05.772" v="23542"/>
          <ac:spMkLst>
            <pc:docMk/>
            <pc:sldMk cId="3996239782" sldId="10399"/>
            <ac:spMk id="44" creationId="{5B90D260-D405-4022-B18E-A3806955AB5D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44" creationId="{B60C09C8-5444-41AF-956E-3F78D79C6620}"/>
          </ac:spMkLst>
        </pc:spChg>
        <pc:spChg chg="add del mod modVis">
          <ac:chgData name="Ugo MANTEL" userId="2d5b7065-31bb-4181-a7f8-a73bf0c30211" providerId="ADAL" clId="{9344D105-636D-4857-BD0F-AFC44A54BCCF}" dt="2021-05-25T13:56:07.590" v="23587"/>
          <ac:spMkLst>
            <pc:docMk/>
            <pc:sldMk cId="3996239782" sldId="10399"/>
            <ac:spMk id="45" creationId="{2E4C3CE3-01B2-4637-8878-1F75F1087AF0}"/>
          </ac:spMkLst>
        </pc:spChg>
        <pc:spChg chg="add del mod">
          <ac:chgData name="Ugo MANTEL" userId="2d5b7065-31bb-4181-a7f8-a73bf0c30211" providerId="ADAL" clId="{9344D105-636D-4857-BD0F-AFC44A54BCCF}" dt="2021-05-24T15:01:13.897" v="8722" actId="478"/>
          <ac:spMkLst>
            <pc:docMk/>
            <pc:sldMk cId="3996239782" sldId="10399"/>
            <ac:spMk id="45" creationId="{30189509-C86B-4796-A6B8-7F11C75D58AC}"/>
          </ac:spMkLst>
        </pc:spChg>
        <pc:spChg chg="mod">
          <ac:chgData name="Ugo MANTEL" userId="2d5b7065-31bb-4181-a7f8-a73bf0c30211" providerId="ADAL" clId="{9344D105-636D-4857-BD0F-AFC44A54BCCF}" dt="2021-05-25T14:20:12.828" v="29557" actId="790"/>
          <ac:spMkLst>
            <pc:docMk/>
            <pc:sldMk cId="3996239782" sldId="10399"/>
            <ac:spMk id="47" creationId="{C9CE8351-A7D3-4CFD-BA79-B676ED4E43BC}"/>
          </ac:spMkLst>
        </pc:spChg>
        <pc:spChg chg="mod">
          <ac:chgData name="Ugo MANTEL" userId="2d5b7065-31bb-4181-a7f8-a73bf0c30211" providerId="ADAL" clId="{9344D105-636D-4857-BD0F-AFC44A54BCCF}" dt="2021-05-25T14:20:12.829" v="29558" actId="790"/>
          <ac:spMkLst>
            <pc:docMk/>
            <pc:sldMk cId="3996239782" sldId="10399"/>
            <ac:spMk id="48" creationId="{751D535F-DDDF-4312-8041-6ED9DE21949C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49" creationId="{D9F0B490-654D-4204-8AD6-85AA55848110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50" creationId="{EA6A9E6A-5145-4008-810E-CA2EE7B691B1}"/>
          </ac:spMkLst>
        </pc:spChg>
        <pc:spChg chg="add del mod">
          <ac:chgData name="Ugo MANTEL" userId="2d5b7065-31bb-4181-a7f8-a73bf0c30211" providerId="ADAL" clId="{9344D105-636D-4857-BD0F-AFC44A54BCCF}" dt="2021-05-24T15:01:13.897" v="8722" actId="478"/>
          <ac:spMkLst>
            <pc:docMk/>
            <pc:sldMk cId="3996239782" sldId="10399"/>
            <ac:spMk id="51" creationId="{5E6C88B1-60D8-4726-9287-05FF9B85AEC4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52" creationId="{E0842AE9-829A-44F7-87A1-23E889CC32CE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53" creationId="{2E1A8DBC-527B-46B6-BD12-8D11B28B4118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54" creationId="{326DCB9E-6F07-4555-B35B-E22D043BE83D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55" creationId="{D0C3922B-8143-4C2A-9790-7F05CBFE7DAE}"/>
          </ac:spMkLst>
        </pc:spChg>
        <pc:spChg chg="add del mod">
          <ac:chgData name="Ugo MANTEL" userId="2d5b7065-31bb-4181-a7f8-a73bf0c30211" providerId="ADAL" clId="{9344D105-636D-4857-BD0F-AFC44A54BCCF}" dt="2021-05-24T15:05:49.379" v="8730" actId="478"/>
          <ac:spMkLst>
            <pc:docMk/>
            <pc:sldMk cId="3996239782" sldId="10399"/>
            <ac:spMk id="56" creationId="{A796228C-7DAA-4108-A475-036C9942D07A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57" creationId="{C5454D02-3306-4574-9203-2293410DDC01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58" creationId="{96EBF33F-BAAB-4FD2-92C4-7D18FFC66D1D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59" creationId="{9B0119B5-955E-438C-B921-3A525682EAAC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60" creationId="{C4B9E720-1188-4B3D-A932-8D37E64B2B18}"/>
          </ac:spMkLst>
        </pc:spChg>
        <pc:spChg chg="add mod">
          <ac:chgData name="Ugo MANTEL" userId="2d5b7065-31bb-4181-a7f8-a73bf0c30211" providerId="ADAL" clId="{9344D105-636D-4857-BD0F-AFC44A54BCCF}" dt="2021-05-25T14:20:12.841" v="29571" actId="790"/>
          <ac:spMkLst>
            <pc:docMk/>
            <pc:sldMk cId="3996239782" sldId="10399"/>
            <ac:spMk id="60" creationId="{E0DD7ACC-B725-4FC3-ACD8-42B4184CF801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61" creationId="{9DF1E3DF-5148-4450-BA5B-F69147BC5C31}"/>
          </ac:spMkLst>
        </pc:spChg>
        <pc:spChg chg="add mod">
          <ac:chgData name="Ugo MANTEL" userId="2d5b7065-31bb-4181-a7f8-a73bf0c30211" providerId="ADAL" clId="{9344D105-636D-4857-BD0F-AFC44A54BCCF}" dt="2021-05-25T14:20:12.843" v="29572" actId="790"/>
          <ac:spMkLst>
            <pc:docMk/>
            <pc:sldMk cId="3996239782" sldId="10399"/>
            <ac:spMk id="61" creationId="{B4C81F77-0B03-454F-B138-914D29C3FB42}"/>
          </ac:spMkLst>
        </pc:spChg>
        <pc:spChg chg="add del mod">
          <ac:chgData name="Ugo MANTEL" userId="2d5b7065-31bb-4181-a7f8-a73bf0c30211" providerId="ADAL" clId="{9344D105-636D-4857-BD0F-AFC44A54BCCF}" dt="2021-05-24T15:07:09.737" v="8737" actId="478"/>
          <ac:spMkLst>
            <pc:docMk/>
            <pc:sldMk cId="3996239782" sldId="10399"/>
            <ac:spMk id="62" creationId="{C93ECCFC-C6F9-4A74-B56A-7D27FDDDE742}"/>
          </ac:spMkLst>
        </pc:spChg>
        <pc:spChg chg="add del mod">
          <ac:chgData name="Ugo MANTEL" userId="2d5b7065-31bb-4181-a7f8-a73bf0c30211" providerId="ADAL" clId="{9344D105-636D-4857-BD0F-AFC44A54BCCF}" dt="2021-05-24T15:07:09.737" v="8737" actId="478"/>
          <ac:spMkLst>
            <pc:docMk/>
            <pc:sldMk cId="3996239782" sldId="10399"/>
            <ac:spMk id="63" creationId="{4BCDBD83-A5CB-4F22-B790-AA6B30070358}"/>
          </ac:spMkLst>
        </pc:spChg>
        <pc:spChg chg="mod">
          <ac:chgData name="Ugo MANTEL" userId="2d5b7065-31bb-4181-a7f8-a73bf0c30211" providerId="ADAL" clId="{9344D105-636D-4857-BD0F-AFC44A54BCCF}" dt="2021-05-25T14:15:33.940" v="27326" actId="1076"/>
          <ac:spMkLst>
            <pc:docMk/>
            <pc:sldMk cId="3996239782" sldId="10399"/>
            <ac:spMk id="63" creationId="{C4174B38-2A7E-44C8-98F3-1BA3A57D7995}"/>
          </ac:spMkLst>
        </pc:spChg>
        <pc:spChg chg="mod">
          <ac:chgData name="Ugo MANTEL" userId="2d5b7065-31bb-4181-a7f8-a73bf0c30211" providerId="ADAL" clId="{9344D105-636D-4857-BD0F-AFC44A54BCCF}" dt="2021-05-25T14:15:33.940" v="27326" actId="1076"/>
          <ac:spMkLst>
            <pc:docMk/>
            <pc:sldMk cId="3996239782" sldId="10399"/>
            <ac:spMk id="64" creationId="{A47A943F-5E90-4E3C-BB7B-7BE4DA44EB76}"/>
          </ac:spMkLst>
        </pc:spChg>
        <pc:spChg chg="add del mod">
          <ac:chgData name="Ugo MANTEL" userId="2d5b7065-31bb-4181-a7f8-a73bf0c30211" providerId="ADAL" clId="{9344D105-636D-4857-BD0F-AFC44A54BCCF}" dt="2021-05-24T15:07:09.737" v="8737" actId="478"/>
          <ac:spMkLst>
            <pc:docMk/>
            <pc:sldMk cId="3996239782" sldId="10399"/>
            <ac:spMk id="64" creationId="{E5B9A0B8-077E-4CA1-83A7-DD307CDE6636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65" creationId="{FDB7213F-9487-4940-B859-B689B3BE10C9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66" creationId="{E9B3ADC8-C7CD-40D4-815B-9A6F8EC7EE70}"/>
          </ac:spMkLst>
        </pc:spChg>
        <pc:spChg chg="add del mod">
          <ac:chgData name="Ugo MANTEL" userId="2d5b7065-31bb-4181-a7f8-a73bf0c30211" providerId="ADAL" clId="{9344D105-636D-4857-BD0F-AFC44A54BCCF}" dt="2021-05-24T15:07:48.142" v="8754" actId="478"/>
          <ac:spMkLst>
            <pc:docMk/>
            <pc:sldMk cId="3996239782" sldId="10399"/>
            <ac:spMk id="67" creationId="{63F63424-B8D6-4624-9629-A54D7F95E125}"/>
          </ac:spMkLst>
        </pc:spChg>
        <pc:spChg chg="add del mod">
          <ac:chgData name="Ugo MANTEL" userId="2d5b7065-31bb-4181-a7f8-a73bf0c30211" providerId="ADAL" clId="{9344D105-636D-4857-BD0F-AFC44A54BCCF}" dt="2021-05-24T16:10:21.671" v="10916" actId="478"/>
          <ac:spMkLst>
            <pc:docMk/>
            <pc:sldMk cId="3996239782" sldId="10399"/>
            <ac:spMk id="68" creationId="{7A0E9054-E8C7-4D89-AED5-21A5A47ECB5B}"/>
          </ac:spMkLst>
        </pc:spChg>
        <pc:spChg chg="add del mod">
          <ac:chgData name="Ugo MANTEL" userId="2d5b7065-31bb-4181-a7f8-a73bf0c30211" providerId="ADAL" clId="{9344D105-636D-4857-BD0F-AFC44A54BCCF}" dt="2021-05-24T16:10:19.185" v="10915" actId="478"/>
          <ac:spMkLst>
            <pc:docMk/>
            <pc:sldMk cId="3996239782" sldId="10399"/>
            <ac:spMk id="69" creationId="{7497476F-1859-47B9-BCF8-67A2268B9A1F}"/>
          </ac:spMkLst>
        </pc:spChg>
        <pc:spChg chg="add del mod">
          <ac:chgData name="Ugo MANTEL" userId="2d5b7065-31bb-4181-a7f8-a73bf0c30211" providerId="ADAL" clId="{9344D105-636D-4857-BD0F-AFC44A54BCCF}" dt="2021-05-24T16:10:19.185" v="10915" actId="478"/>
          <ac:spMkLst>
            <pc:docMk/>
            <pc:sldMk cId="3996239782" sldId="10399"/>
            <ac:spMk id="70" creationId="{14E0C41D-AF18-41C8-A46E-8B942505D65B}"/>
          </ac:spMkLst>
        </pc:spChg>
        <pc:spChg chg="add del mod">
          <ac:chgData name="Ugo MANTEL" userId="2d5b7065-31bb-4181-a7f8-a73bf0c30211" providerId="ADAL" clId="{9344D105-636D-4857-BD0F-AFC44A54BCCF}" dt="2021-05-24T16:10:19.185" v="10915" actId="478"/>
          <ac:spMkLst>
            <pc:docMk/>
            <pc:sldMk cId="3996239782" sldId="10399"/>
            <ac:spMk id="71" creationId="{E8DB25C9-8D61-4C6E-A043-BF4F36BB95D2}"/>
          </ac:spMkLst>
        </pc:spChg>
        <pc:spChg chg="add del mod">
          <ac:chgData name="Ugo MANTEL" userId="2d5b7065-31bb-4181-a7f8-a73bf0c30211" providerId="ADAL" clId="{9344D105-636D-4857-BD0F-AFC44A54BCCF}" dt="2021-05-24T16:10:19.185" v="10915" actId="478"/>
          <ac:spMkLst>
            <pc:docMk/>
            <pc:sldMk cId="3996239782" sldId="10399"/>
            <ac:spMk id="72" creationId="{9256FAB5-A77F-46FC-93D8-5ACC6BBDC974}"/>
          </ac:spMkLst>
        </pc:spChg>
        <pc:spChg chg="add del mod">
          <ac:chgData name="Ugo MANTEL" userId="2d5b7065-31bb-4181-a7f8-a73bf0c30211" providerId="ADAL" clId="{9344D105-636D-4857-BD0F-AFC44A54BCCF}" dt="2021-05-24T16:10:19.185" v="10915" actId="478"/>
          <ac:spMkLst>
            <pc:docMk/>
            <pc:sldMk cId="3996239782" sldId="10399"/>
            <ac:spMk id="73" creationId="{037F449A-FF6C-47AD-9DF0-3D3F42AA0A9E}"/>
          </ac:spMkLst>
        </pc:spChg>
        <pc:spChg chg="add del mod">
          <ac:chgData name="Ugo MANTEL" userId="2d5b7065-31bb-4181-a7f8-a73bf0c30211" providerId="ADAL" clId="{9344D105-636D-4857-BD0F-AFC44A54BCCF}" dt="2021-05-24T16:10:19.185" v="10915" actId="478"/>
          <ac:spMkLst>
            <pc:docMk/>
            <pc:sldMk cId="3996239782" sldId="10399"/>
            <ac:spMk id="74" creationId="{492B8667-47D0-4BC8-8302-691C476C84F1}"/>
          </ac:spMkLst>
        </pc:spChg>
        <pc:spChg chg="add del mod">
          <ac:chgData name="Ugo MANTEL" userId="2d5b7065-31bb-4181-a7f8-a73bf0c30211" providerId="ADAL" clId="{9344D105-636D-4857-BD0F-AFC44A54BCCF}" dt="2021-05-24T16:10:19.185" v="10915" actId="478"/>
          <ac:spMkLst>
            <pc:docMk/>
            <pc:sldMk cId="3996239782" sldId="10399"/>
            <ac:spMk id="75" creationId="{028D7A65-FC0A-4EB4-B1D9-02D68DCE6F27}"/>
          </ac:spMkLst>
        </pc:spChg>
        <pc:spChg chg="add mod">
          <ac:chgData name="Ugo MANTEL" userId="2d5b7065-31bb-4181-a7f8-a73bf0c30211" providerId="ADAL" clId="{9344D105-636D-4857-BD0F-AFC44A54BCCF}" dt="2021-05-25T14:20:12.835" v="29563" actId="790"/>
          <ac:spMkLst>
            <pc:docMk/>
            <pc:sldMk cId="3996239782" sldId="10399"/>
            <ac:spMk id="76" creationId="{77107393-3EF9-4A93-9242-E2793ED3728D}"/>
          </ac:spMkLst>
        </pc:spChg>
        <pc:spChg chg="add mod">
          <ac:chgData name="Ugo MANTEL" userId="2d5b7065-31bb-4181-a7f8-a73bf0c30211" providerId="ADAL" clId="{9344D105-636D-4857-BD0F-AFC44A54BCCF}" dt="2021-05-25T14:20:12.836" v="29564" actId="790"/>
          <ac:spMkLst>
            <pc:docMk/>
            <pc:sldMk cId="3996239782" sldId="10399"/>
            <ac:spMk id="77" creationId="{9C77AA33-721F-465C-A332-D3282743BF44}"/>
          </ac:spMkLst>
        </pc:spChg>
        <pc:spChg chg="add mod">
          <ac:chgData name="Ugo MANTEL" userId="2d5b7065-31bb-4181-a7f8-a73bf0c30211" providerId="ADAL" clId="{9344D105-636D-4857-BD0F-AFC44A54BCCF}" dt="2021-05-25T14:20:12.837" v="29565" actId="790"/>
          <ac:spMkLst>
            <pc:docMk/>
            <pc:sldMk cId="3996239782" sldId="10399"/>
            <ac:spMk id="78" creationId="{4A691939-F14E-4710-8B5F-A516FB479AC7}"/>
          </ac:spMkLst>
        </pc:spChg>
        <pc:spChg chg="add mod">
          <ac:chgData name="Ugo MANTEL" userId="2d5b7065-31bb-4181-a7f8-a73bf0c30211" providerId="ADAL" clId="{9344D105-636D-4857-BD0F-AFC44A54BCCF}" dt="2021-05-25T14:20:12.837" v="29566" actId="790"/>
          <ac:spMkLst>
            <pc:docMk/>
            <pc:sldMk cId="3996239782" sldId="10399"/>
            <ac:spMk id="79" creationId="{1E030DBF-C684-483E-A6A7-B3E6927781BA}"/>
          </ac:spMkLst>
        </pc:spChg>
        <pc:spChg chg="add mod">
          <ac:chgData name="Ugo MANTEL" userId="2d5b7065-31bb-4181-a7f8-a73bf0c30211" providerId="ADAL" clId="{9344D105-636D-4857-BD0F-AFC44A54BCCF}" dt="2021-05-25T14:20:12.838" v="29567" actId="790"/>
          <ac:spMkLst>
            <pc:docMk/>
            <pc:sldMk cId="3996239782" sldId="10399"/>
            <ac:spMk id="80" creationId="{5321F982-E9D4-4BDF-BDDD-ECBAC3482D23}"/>
          </ac:spMkLst>
        </pc:spChg>
        <pc:spChg chg="add mod">
          <ac:chgData name="Ugo MANTEL" userId="2d5b7065-31bb-4181-a7f8-a73bf0c30211" providerId="ADAL" clId="{9344D105-636D-4857-BD0F-AFC44A54BCCF}" dt="2021-05-25T14:20:12.839" v="29568" actId="790"/>
          <ac:spMkLst>
            <pc:docMk/>
            <pc:sldMk cId="3996239782" sldId="10399"/>
            <ac:spMk id="81" creationId="{D29EDD10-6FAE-4062-8731-34FEAFB3980B}"/>
          </ac:spMkLst>
        </pc:spChg>
        <pc:spChg chg="add mod">
          <ac:chgData name="Ugo MANTEL" userId="2d5b7065-31bb-4181-a7f8-a73bf0c30211" providerId="ADAL" clId="{9344D105-636D-4857-BD0F-AFC44A54BCCF}" dt="2021-05-25T14:20:12.839" v="29569" actId="790"/>
          <ac:spMkLst>
            <pc:docMk/>
            <pc:sldMk cId="3996239782" sldId="10399"/>
            <ac:spMk id="82" creationId="{5A23AB82-474A-44B4-BA43-BAFD29FCC899}"/>
          </ac:spMkLst>
        </pc:spChg>
        <pc:spChg chg="add mod">
          <ac:chgData name="Ugo MANTEL" userId="2d5b7065-31bb-4181-a7f8-a73bf0c30211" providerId="ADAL" clId="{9344D105-636D-4857-BD0F-AFC44A54BCCF}" dt="2021-05-25T14:20:12.840" v="29570" actId="790"/>
          <ac:spMkLst>
            <pc:docMk/>
            <pc:sldMk cId="3996239782" sldId="10399"/>
            <ac:spMk id="83" creationId="{F0FAAC8D-84E2-47F1-8113-D604530B09F8}"/>
          </ac:spMkLst>
        </pc:spChg>
        <pc:grpChg chg="add del mod">
          <ac:chgData name="Ugo MANTEL" userId="2d5b7065-31bb-4181-a7f8-a73bf0c30211" providerId="ADAL" clId="{9344D105-636D-4857-BD0F-AFC44A54BCCF}" dt="2021-05-25T13:57:48.770" v="23595" actId="478"/>
          <ac:grpSpMkLst>
            <pc:docMk/>
            <pc:sldMk cId="3996239782" sldId="10399"/>
            <ac:grpSpMk id="28" creationId="{34FA7088-F94A-4F0D-8A93-DDF318187D55}"/>
          </ac:grpSpMkLst>
        </pc:grpChg>
        <pc:grpChg chg="add del mod">
          <ac:chgData name="Ugo MANTEL" userId="2d5b7065-31bb-4181-a7f8-a73bf0c30211" providerId="ADAL" clId="{9344D105-636D-4857-BD0F-AFC44A54BCCF}" dt="2021-05-25T13:57:48.770" v="23595" actId="478"/>
          <ac:grpSpMkLst>
            <pc:docMk/>
            <pc:sldMk cId="3996239782" sldId="10399"/>
            <ac:grpSpMk id="31" creationId="{763042DE-ABF4-4346-8ADB-A22587A3BBC9}"/>
          </ac:grpSpMkLst>
        </pc:grpChg>
        <pc:grpChg chg="add del mod">
          <ac:chgData name="Ugo MANTEL" userId="2d5b7065-31bb-4181-a7f8-a73bf0c30211" providerId="ADAL" clId="{9344D105-636D-4857-BD0F-AFC44A54BCCF}" dt="2021-05-25T13:57:48.770" v="23595" actId="478"/>
          <ac:grpSpMkLst>
            <pc:docMk/>
            <pc:sldMk cId="3996239782" sldId="10399"/>
            <ac:grpSpMk id="34" creationId="{883D1329-EA49-4D12-9DE9-1A2C14B9F87E}"/>
          </ac:grpSpMkLst>
        </pc:grpChg>
        <pc:grpChg chg="add mod">
          <ac:chgData name="Ugo MANTEL" userId="2d5b7065-31bb-4181-a7f8-a73bf0c30211" providerId="ADAL" clId="{9344D105-636D-4857-BD0F-AFC44A54BCCF}" dt="2021-05-25T14:15:37.342" v="27327" actId="207"/>
          <ac:grpSpMkLst>
            <pc:docMk/>
            <pc:sldMk cId="3996239782" sldId="10399"/>
            <ac:grpSpMk id="62" creationId="{78466DDD-BF9D-40C9-A311-00E96F7F3619}"/>
          </ac:grpSpMkLst>
        </pc:grpChg>
        <pc:graphicFrameChg chg="mod">
          <ac:chgData name="Ugo MANTEL" userId="2d5b7065-31bb-4181-a7f8-a73bf0c30211" providerId="ADAL" clId="{9344D105-636D-4857-BD0F-AFC44A54BCCF}" dt="2021-05-25T13:56:07.592" v="23589"/>
          <ac:graphicFrameMkLst>
            <pc:docMk/>
            <pc:sldMk cId="3996239782" sldId="10399"/>
            <ac:graphicFrameMk id="9" creationId="{4C9211EC-3DF0-469A-9BEA-6F9A1A2A7E7A}"/>
          </ac:graphicFrameMkLst>
        </pc:graphicFrameChg>
        <pc:picChg chg="add mod">
          <ac:chgData name="Ugo MANTEL" userId="2d5b7065-31bb-4181-a7f8-a73bf0c30211" providerId="ADAL" clId="{9344D105-636D-4857-BD0F-AFC44A54BCCF}" dt="2021-05-25T13:54:50.991" v="23118"/>
          <ac:picMkLst>
            <pc:docMk/>
            <pc:sldMk cId="3996239782" sldId="10399"/>
            <ac:picMk id="49" creationId="{76DA1242-8727-4BF0-9707-DD83BAE831E0}"/>
          </ac:picMkLst>
        </pc:picChg>
      </pc:sldChg>
      <pc:sldChg chg="modSp mod">
        <pc:chgData name="Ugo MANTEL" userId="2d5b7065-31bb-4181-a7f8-a73bf0c30211" providerId="ADAL" clId="{9344D105-636D-4857-BD0F-AFC44A54BCCF}" dt="2021-05-25T14:20:11.947" v="28634" actId="790"/>
        <pc:sldMkLst>
          <pc:docMk/>
          <pc:sldMk cId="2944806386" sldId="10400"/>
        </pc:sldMkLst>
        <pc:spChg chg="mod">
          <ac:chgData name="Ugo MANTEL" userId="2d5b7065-31bb-4181-a7f8-a73bf0c30211" providerId="ADAL" clId="{9344D105-636D-4857-BD0F-AFC44A54BCCF}" dt="2021-05-25T14:20:11.938" v="28627" actId="790"/>
          <ac:spMkLst>
            <pc:docMk/>
            <pc:sldMk cId="2944806386" sldId="10400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1.940" v="28628" actId="790"/>
          <ac:spMkLst>
            <pc:docMk/>
            <pc:sldMk cId="2944806386" sldId="10400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1.941" v="28629" actId="790"/>
          <ac:spMkLst>
            <pc:docMk/>
            <pc:sldMk cId="2944806386" sldId="10400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1.947" v="28634" actId="790"/>
          <ac:spMkLst>
            <pc:docMk/>
            <pc:sldMk cId="2944806386" sldId="10400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1.942" v="28630" actId="790"/>
          <ac:spMkLst>
            <pc:docMk/>
            <pc:sldMk cId="2944806386" sldId="10400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1.943" v="28631" actId="790"/>
          <ac:spMkLst>
            <pc:docMk/>
            <pc:sldMk cId="2944806386" sldId="10400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1.944" v="28632" actId="790"/>
          <ac:spMkLst>
            <pc:docMk/>
            <pc:sldMk cId="2944806386" sldId="10400"/>
            <ac:spMk id="22" creationId="{C002634F-3FA9-4AC3-90E2-0D253FC97BF7}"/>
          </ac:spMkLst>
        </pc:spChg>
        <pc:spChg chg="mod">
          <ac:chgData name="Ugo MANTEL" userId="2d5b7065-31bb-4181-a7f8-a73bf0c30211" providerId="ADAL" clId="{9344D105-636D-4857-BD0F-AFC44A54BCCF}" dt="2021-05-25T14:20:11.946" v="28633" actId="790"/>
          <ac:spMkLst>
            <pc:docMk/>
            <pc:sldMk cId="2944806386" sldId="10400"/>
            <ac:spMk id="24" creationId="{9523976D-7994-4445-A7A3-F04F6C533708}"/>
          </ac:spMkLst>
        </pc:spChg>
      </pc:sldChg>
      <pc:sldChg chg="modSp mod">
        <pc:chgData name="Ugo MANTEL" userId="2d5b7065-31bb-4181-a7f8-a73bf0c30211" providerId="ADAL" clId="{9344D105-636D-4857-BD0F-AFC44A54BCCF}" dt="2021-05-25T14:20:12.580" v="29322" actId="790"/>
        <pc:sldMkLst>
          <pc:docMk/>
          <pc:sldMk cId="184650485" sldId="10401"/>
        </pc:sldMkLst>
        <pc:spChg chg="mod">
          <ac:chgData name="Ugo MANTEL" userId="2d5b7065-31bb-4181-a7f8-a73bf0c30211" providerId="ADAL" clId="{9344D105-636D-4857-BD0F-AFC44A54BCCF}" dt="2021-05-25T14:20:12.572" v="29315" actId="790"/>
          <ac:spMkLst>
            <pc:docMk/>
            <pc:sldMk cId="184650485" sldId="10401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2.574" v="29316" actId="790"/>
          <ac:spMkLst>
            <pc:docMk/>
            <pc:sldMk cId="184650485" sldId="10401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2.574" v="29317" actId="790"/>
          <ac:spMkLst>
            <pc:docMk/>
            <pc:sldMk cId="184650485" sldId="10401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2.580" v="29322" actId="790"/>
          <ac:spMkLst>
            <pc:docMk/>
            <pc:sldMk cId="184650485" sldId="10401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2.576" v="29318" actId="790"/>
          <ac:spMkLst>
            <pc:docMk/>
            <pc:sldMk cId="184650485" sldId="10401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2.577" v="29319" actId="790"/>
          <ac:spMkLst>
            <pc:docMk/>
            <pc:sldMk cId="184650485" sldId="10401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2.578" v="29320" actId="790"/>
          <ac:spMkLst>
            <pc:docMk/>
            <pc:sldMk cId="184650485" sldId="10401"/>
            <ac:spMk id="22" creationId="{C002634F-3FA9-4AC3-90E2-0D253FC97BF7}"/>
          </ac:spMkLst>
        </pc:spChg>
        <pc:spChg chg="mod">
          <ac:chgData name="Ugo MANTEL" userId="2d5b7065-31bb-4181-a7f8-a73bf0c30211" providerId="ADAL" clId="{9344D105-636D-4857-BD0F-AFC44A54BCCF}" dt="2021-05-25T14:20:12.579" v="29321" actId="790"/>
          <ac:spMkLst>
            <pc:docMk/>
            <pc:sldMk cId="184650485" sldId="10401"/>
            <ac:spMk id="24" creationId="{9523976D-7994-4445-A7A3-F04F6C533708}"/>
          </ac:spMkLst>
        </pc:spChg>
      </pc:sldChg>
      <pc:sldChg chg="modSp mod">
        <pc:chgData name="Ugo MANTEL" userId="2d5b7065-31bb-4181-a7f8-a73bf0c30211" providerId="ADAL" clId="{9344D105-636D-4857-BD0F-AFC44A54BCCF}" dt="2021-05-25T14:20:12.952" v="29675" actId="790"/>
        <pc:sldMkLst>
          <pc:docMk/>
          <pc:sldMk cId="1205771456" sldId="10404"/>
        </pc:sldMkLst>
        <pc:spChg chg="mod">
          <ac:chgData name="Ugo MANTEL" userId="2d5b7065-31bb-4181-a7f8-a73bf0c30211" providerId="ADAL" clId="{9344D105-636D-4857-BD0F-AFC44A54BCCF}" dt="2021-05-25T14:20:12.945" v="29669" actId="790"/>
          <ac:spMkLst>
            <pc:docMk/>
            <pc:sldMk cId="1205771456" sldId="10404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2.947" v="29670" actId="790"/>
          <ac:spMkLst>
            <pc:docMk/>
            <pc:sldMk cId="1205771456" sldId="10404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2.948" v="29671" actId="790"/>
          <ac:spMkLst>
            <pc:docMk/>
            <pc:sldMk cId="1205771456" sldId="10404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2.949" v="29672" actId="790"/>
          <ac:spMkLst>
            <pc:docMk/>
            <pc:sldMk cId="1205771456" sldId="10404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2.950" v="29673" actId="790"/>
          <ac:spMkLst>
            <pc:docMk/>
            <pc:sldMk cId="1205771456" sldId="10404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2.951" v="29674" actId="790"/>
          <ac:spMkLst>
            <pc:docMk/>
            <pc:sldMk cId="1205771456" sldId="10404"/>
            <ac:spMk id="24" creationId="{9523976D-7994-4445-A7A3-F04F6C533708}"/>
          </ac:spMkLst>
        </pc:spChg>
        <pc:spChg chg="mod">
          <ac:chgData name="Ugo MANTEL" userId="2d5b7065-31bb-4181-a7f8-a73bf0c30211" providerId="ADAL" clId="{9344D105-636D-4857-BD0F-AFC44A54BCCF}" dt="2021-05-25T14:20:12.952" v="29675" actId="790"/>
          <ac:spMkLst>
            <pc:docMk/>
            <pc:sldMk cId="1205771456" sldId="10404"/>
            <ac:spMk id="26" creationId="{D70D99D8-5440-4867-B8A0-57942A3EA3D2}"/>
          </ac:spMkLst>
        </pc:spChg>
      </pc:sldChg>
      <pc:sldChg chg="modSp mod">
        <pc:chgData name="Ugo MANTEL" userId="2d5b7065-31bb-4181-a7f8-a73bf0c30211" providerId="ADAL" clId="{9344D105-636D-4857-BD0F-AFC44A54BCCF}" dt="2021-05-25T14:20:13.455" v="30172" actId="790"/>
        <pc:sldMkLst>
          <pc:docMk/>
          <pc:sldMk cId="1339838536" sldId="10405"/>
        </pc:sldMkLst>
        <pc:spChg chg="mod">
          <ac:chgData name="Ugo MANTEL" userId="2d5b7065-31bb-4181-a7f8-a73bf0c30211" providerId="ADAL" clId="{9344D105-636D-4857-BD0F-AFC44A54BCCF}" dt="2021-05-25T14:20:13.447" v="30165" actId="790"/>
          <ac:spMkLst>
            <pc:docMk/>
            <pc:sldMk cId="1339838536" sldId="10405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3.449" v="30166" actId="790"/>
          <ac:spMkLst>
            <pc:docMk/>
            <pc:sldMk cId="1339838536" sldId="10405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3.450" v="30167" actId="790"/>
          <ac:spMkLst>
            <pc:docMk/>
            <pc:sldMk cId="1339838536" sldId="10405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3.455" v="30172" actId="790"/>
          <ac:spMkLst>
            <pc:docMk/>
            <pc:sldMk cId="1339838536" sldId="10405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3.451" v="30168" actId="790"/>
          <ac:spMkLst>
            <pc:docMk/>
            <pc:sldMk cId="1339838536" sldId="10405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3.452" v="30169" actId="790"/>
          <ac:spMkLst>
            <pc:docMk/>
            <pc:sldMk cId="1339838536" sldId="10405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3.453" v="30170" actId="790"/>
          <ac:spMkLst>
            <pc:docMk/>
            <pc:sldMk cId="1339838536" sldId="10405"/>
            <ac:spMk id="24" creationId="{9523976D-7994-4445-A7A3-F04F6C533708}"/>
          </ac:spMkLst>
        </pc:spChg>
        <pc:spChg chg="mod">
          <ac:chgData name="Ugo MANTEL" userId="2d5b7065-31bb-4181-a7f8-a73bf0c30211" providerId="ADAL" clId="{9344D105-636D-4857-BD0F-AFC44A54BCCF}" dt="2021-05-25T14:20:13.454" v="30171" actId="790"/>
          <ac:spMkLst>
            <pc:docMk/>
            <pc:sldMk cId="1339838536" sldId="10405"/>
            <ac:spMk id="26" creationId="{D70D99D8-5440-4867-B8A0-57942A3EA3D2}"/>
          </ac:spMkLst>
        </pc:spChg>
      </pc:sldChg>
      <pc:sldChg chg="addSp delSp modSp mod">
        <pc:chgData name="Ugo MANTEL" userId="2d5b7065-31bb-4181-a7f8-a73bf0c30211" providerId="ADAL" clId="{9344D105-636D-4857-BD0F-AFC44A54BCCF}" dt="2021-05-25T14:20:11.044" v="27679" actId="790"/>
        <pc:sldMkLst>
          <pc:docMk/>
          <pc:sldMk cId="2868900962" sldId="10407"/>
        </pc:sldMkLst>
        <pc:spChg chg="mod">
          <ac:chgData name="Ugo MANTEL" userId="2d5b7065-31bb-4181-a7f8-a73bf0c30211" providerId="ADAL" clId="{9344D105-636D-4857-BD0F-AFC44A54BCCF}" dt="2021-05-25T14:20:11.021" v="27646" actId="790"/>
          <ac:spMkLst>
            <pc:docMk/>
            <pc:sldMk cId="2868900962" sldId="10407"/>
            <ac:spMk id="2" creationId="{6141F854-3009-40D7-9038-56590105A49E}"/>
          </ac:spMkLst>
        </pc:spChg>
        <pc:spChg chg="mod">
          <ac:chgData name="Ugo MANTEL" userId="2d5b7065-31bb-4181-a7f8-a73bf0c30211" providerId="ADAL" clId="{9344D105-636D-4857-BD0F-AFC44A54BCCF}" dt="2021-05-25T14:20:11.037" v="27669" actId="790"/>
          <ac:spMkLst>
            <pc:docMk/>
            <pc:sldMk cId="2868900962" sldId="10407"/>
            <ac:spMk id="3" creationId="{4FAF7BC9-62CE-4C21-8936-6030B817531A}"/>
          </ac:spMkLst>
        </pc:spChg>
        <pc:spChg chg="mod">
          <ac:chgData name="Ugo MANTEL" userId="2d5b7065-31bb-4181-a7f8-a73bf0c30211" providerId="ADAL" clId="{9344D105-636D-4857-BD0F-AFC44A54BCCF}" dt="2021-05-25T14:20:11.021" v="27647" actId="790"/>
          <ac:spMkLst>
            <pc:docMk/>
            <pc:sldMk cId="2868900962" sldId="10407"/>
            <ac:spMk id="8" creationId="{850EB23D-4D8A-4214-A83F-5AE74846D409}"/>
          </ac:spMkLst>
        </pc:spChg>
        <pc:spChg chg="mod">
          <ac:chgData name="Ugo MANTEL" userId="2d5b7065-31bb-4181-a7f8-a73bf0c30211" providerId="ADAL" clId="{9344D105-636D-4857-BD0F-AFC44A54BCCF}" dt="2021-05-25T14:20:11.022" v="27648" actId="790"/>
          <ac:spMkLst>
            <pc:docMk/>
            <pc:sldMk cId="2868900962" sldId="10407"/>
            <ac:spMk id="11" creationId="{6CEA6CC3-5999-43BB-B318-05D09C7CD7DD}"/>
          </ac:spMkLst>
        </pc:spChg>
        <pc:spChg chg="mod">
          <ac:chgData name="Ugo MANTEL" userId="2d5b7065-31bb-4181-a7f8-a73bf0c30211" providerId="ADAL" clId="{9344D105-636D-4857-BD0F-AFC44A54BCCF}" dt="2021-05-25T14:20:11.023" v="27649" actId="790"/>
          <ac:spMkLst>
            <pc:docMk/>
            <pc:sldMk cId="2868900962" sldId="10407"/>
            <ac:spMk id="12" creationId="{D9771A74-F8F4-4744-B254-8782BC2FE79C}"/>
          </ac:spMkLst>
        </pc:spChg>
        <pc:spChg chg="mod">
          <ac:chgData name="Ugo MANTEL" userId="2d5b7065-31bb-4181-a7f8-a73bf0c30211" providerId="ADAL" clId="{9344D105-636D-4857-BD0F-AFC44A54BCCF}" dt="2021-05-25T14:20:11.023" v="27650" actId="790"/>
          <ac:spMkLst>
            <pc:docMk/>
            <pc:sldMk cId="2868900962" sldId="10407"/>
            <ac:spMk id="13" creationId="{ED00158F-1B0C-4AFB-8236-4FE970EA41BF}"/>
          </ac:spMkLst>
        </pc:spChg>
        <pc:spChg chg="mod">
          <ac:chgData name="Ugo MANTEL" userId="2d5b7065-31bb-4181-a7f8-a73bf0c30211" providerId="ADAL" clId="{9344D105-636D-4857-BD0F-AFC44A54BCCF}" dt="2021-05-25T14:20:11.024" v="27651" actId="790"/>
          <ac:spMkLst>
            <pc:docMk/>
            <pc:sldMk cId="2868900962" sldId="10407"/>
            <ac:spMk id="14" creationId="{94C97159-324B-456C-8BF0-974011EE92EC}"/>
          </ac:spMkLst>
        </pc:spChg>
        <pc:spChg chg="mod">
          <ac:chgData name="Ugo MANTEL" userId="2d5b7065-31bb-4181-a7f8-a73bf0c30211" providerId="ADAL" clId="{9344D105-636D-4857-BD0F-AFC44A54BCCF}" dt="2021-05-25T14:20:11.024" v="27652" actId="790"/>
          <ac:spMkLst>
            <pc:docMk/>
            <pc:sldMk cId="2868900962" sldId="10407"/>
            <ac:spMk id="15" creationId="{7FBAD714-395A-454F-A09A-8BB691E0D21B}"/>
          </ac:spMkLst>
        </pc:spChg>
        <pc:spChg chg="mod">
          <ac:chgData name="Ugo MANTEL" userId="2d5b7065-31bb-4181-a7f8-a73bf0c30211" providerId="ADAL" clId="{9344D105-636D-4857-BD0F-AFC44A54BCCF}" dt="2021-05-25T14:20:11.025" v="27653" actId="790"/>
          <ac:spMkLst>
            <pc:docMk/>
            <pc:sldMk cId="2868900962" sldId="10407"/>
            <ac:spMk id="16" creationId="{0F308A78-2D0E-4E1C-9132-A405BCD25727}"/>
          </ac:spMkLst>
        </pc:spChg>
        <pc:spChg chg="mod">
          <ac:chgData name="Ugo MANTEL" userId="2d5b7065-31bb-4181-a7f8-a73bf0c30211" providerId="ADAL" clId="{9344D105-636D-4857-BD0F-AFC44A54BCCF}" dt="2021-05-25T14:20:11.025" v="27654" actId="790"/>
          <ac:spMkLst>
            <pc:docMk/>
            <pc:sldMk cId="2868900962" sldId="10407"/>
            <ac:spMk id="19" creationId="{1DDBE6AD-B865-45EC-BC21-2763DDC2E241}"/>
          </ac:spMkLst>
        </pc:spChg>
        <pc:spChg chg="mod">
          <ac:chgData name="Ugo MANTEL" userId="2d5b7065-31bb-4181-a7f8-a73bf0c30211" providerId="ADAL" clId="{9344D105-636D-4857-BD0F-AFC44A54BCCF}" dt="2021-05-25T14:20:11.028" v="27655" actId="790"/>
          <ac:spMkLst>
            <pc:docMk/>
            <pc:sldMk cId="2868900962" sldId="10407"/>
            <ac:spMk id="28" creationId="{5132A318-B22A-4F36-9405-A99D72FA81A6}"/>
          </ac:spMkLst>
        </pc:spChg>
        <pc:spChg chg="mod">
          <ac:chgData name="Ugo MANTEL" userId="2d5b7065-31bb-4181-a7f8-a73bf0c30211" providerId="ADAL" clId="{9344D105-636D-4857-BD0F-AFC44A54BCCF}" dt="2021-05-25T14:20:11.029" v="27656" actId="790"/>
          <ac:spMkLst>
            <pc:docMk/>
            <pc:sldMk cId="2868900962" sldId="10407"/>
            <ac:spMk id="29" creationId="{A6A3E1CF-720D-4C9A-BD7F-8C50E0341DDB}"/>
          </ac:spMkLst>
        </pc:spChg>
        <pc:spChg chg="mod">
          <ac:chgData name="Ugo MANTEL" userId="2d5b7065-31bb-4181-a7f8-a73bf0c30211" providerId="ADAL" clId="{9344D105-636D-4857-BD0F-AFC44A54BCCF}" dt="2021-05-25T14:20:11.029" v="27657" actId="790"/>
          <ac:spMkLst>
            <pc:docMk/>
            <pc:sldMk cId="2868900962" sldId="10407"/>
            <ac:spMk id="30" creationId="{0E7628E6-82F2-4F4F-ACCC-E9F81D4D2637}"/>
          </ac:spMkLst>
        </pc:spChg>
        <pc:spChg chg="mod">
          <ac:chgData name="Ugo MANTEL" userId="2d5b7065-31bb-4181-a7f8-a73bf0c30211" providerId="ADAL" clId="{9344D105-636D-4857-BD0F-AFC44A54BCCF}" dt="2021-05-25T14:20:11.030" v="27658" actId="790"/>
          <ac:spMkLst>
            <pc:docMk/>
            <pc:sldMk cId="2868900962" sldId="10407"/>
            <ac:spMk id="32" creationId="{372AE45B-A900-460B-8494-80A452387A0C}"/>
          </ac:spMkLst>
        </pc:spChg>
        <pc:spChg chg="mod">
          <ac:chgData name="Ugo MANTEL" userId="2d5b7065-31bb-4181-a7f8-a73bf0c30211" providerId="ADAL" clId="{9344D105-636D-4857-BD0F-AFC44A54BCCF}" dt="2021-05-25T14:20:11.030" v="27659" actId="790"/>
          <ac:spMkLst>
            <pc:docMk/>
            <pc:sldMk cId="2868900962" sldId="10407"/>
            <ac:spMk id="35" creationId="{2632F02D-3B5C-472B-898A-E24B4D548E15}"/>
          </ac:spMkLst>
        </pc:spChg>
        <pc:spChg chg="mod">
          <ac:chgData name="Ugo MANTEL" userId="2d5b7065-31bb-4181-a7f8-a73bf0c30211" providerId="ADAL" clId="{9344D105-636D-4857-BD0F-AFC44A54BCCF}" dt="2021-05-25T14:20:11.030" v="27660" actId="790"/>
          <ac:spMkLst>
            <pc:docMk/>
            <pc:sldMk cId="2868900962" sldId="10407"/>
            <ac:spMk id="37" creationId="{78536066-311C-4011-B0A3-1470929016BB}"/>
          </ac:spMkLst>
        </pc:spChg>
        <pc:spChg chg="mod">
          <ac:chgData name="Ugo MANTEL" userId="2d5b7065-31bb-4181-a7f8-a73bf0c30211" providerId="ADAL" clId="{9344D105-636D-4857-BD0F-AFC44A54BCCF}" dt="2021-05-25T14:20:11.031" v="27661" actId="790"/>
          <ac:spMkLst>
            <pc:docMk/>
            <pc:sldMk cId="2868900962" sldId="10407"/>
            <ac:spMk id="38" creationId="{F5422B6B-E913-4A42-BE1F-CB551CBE99DE}"/>
          </ac:spMkLst>
        </pc:spChg>
        <pc:spChg chg="mod">
          <ac:chgData name="Ugo MANTEL" userId="2d5b7065-31bb-4181-a7f8-a73bf0c30211" providerId="ADAL" clId="{9344D105-636D-4857-BD0F-AFC44A54BCCF}" dt="2021-05-25T14:20:11.031" v="27662" actId="790"/>
          <ac:spMkLst>
            <pc:docMk/>
            <pc:sldMk cId="2868900962" sldId="10407"/>
            <ac:spMk id="43" creationId="{FE6CE972-C96F-452A-B9C9-3811D3474DE1}"/>
          </ac:spMkLst>
        </pc:spChg>
        <pc:spChg chg="mod">
          <ac:chgData name="Ugo MANTEL" userId="2d5b7065-31bb-4181-a7f8-a73bf0c30211" providerId="ADAL" clId="{9344D105-636D-4857-BD0F-AFC44A54BCCF}" dt="2021-05-25T14:20:11.032" v="27663" actId="790"/>
          <ac:spMkLst>
            <pc:docMk/>
            <pc:sldMk cId="2868900962" sldId="10407"/>
            <ac:spMk id="44" creationId="{200F0176-D12F-460A-A395-7B5AB6EFEEB8}"/>
          </ac:spMkLst>
        </pc:spChg>
        <pc:spChg chg="mod">
          <ac:chgData name="Ugo MANTEL" userId="2d5b7065-31bb-4181-a7f8-a73bf0c30211" providerId="ADAL" clId="{9344D105-636D-4857-BD0F-AFC44A54BCCF}" dt="2021-05-25T14:20:11.033" v="27664" actId="790"/>
          <ac:spMkLst>
            <pc:docMk/>
            <pc:sldMk cId="2868900962" sldId="10407"/>
            <ac:spMk id="52" creationId="{EC70FE7A-A694-4850-8F53-4FDEA21664B5}"/>
          </ac:spMkLst>
        </pc:spChg>
        <pc:spChg chg="mod">
          <ac:chgData name="Ugo MANTEL" userId="2d5b7065-31bb-4181-a7f8-a73bf0c30211" providerId="ADAL" clId="{9344D105-636D-4857-BD0F-AFC44A54BCCF}" dt="2021-05-25T14:20:11.033" v="27665" actId="790"/>
          <ac:spMkLst>
            <pc:docMk/>
            <pc:sldMk cId="2868900962" sldId="10407"/>
            <ac:spMk id="53" creationId="{AC0356E8-225D-4F4D-9A4F-CF0C676DF73E}"/>
          </ac:spMkLst>
        </pc:spChg>
        <pc:spChg chg="mod">
          <ac:chgData name="Ugo MANTEL" userId="2d5b7065-31bb-4181-a7f8-a73bf0c30211" providerId="ADAL" clId="{9344D105-636D-4857-BD0F-AFC44A54BCCF}" dt="2021-05-25T14:20:11.036" v="27668" actId="790"/>
          <ac:spMkLst>
            <pc:docMk/>
            <pc:sldMk cId="2868900962" sldId="10407"/>
            <ac:spMk id="61" creationId="{07F35A51-7B62-4B76-9D30-07EE2C092125}"/>
          </ac:spMkLst>
        </pc:spChg>
        <pc:spChg chg="mod">
          <ac:chgData name="Ugo MANTEL" userId="2d5b7065-31bb-4181-a7f8-a73bf0c30211" providerId="ADAL" clId="{9344D105-636D-4857-BD0F-AFC44A54BCCF}" dt="2021-05-25T14:20:11.037" v="27670" actId="790"/>
          <ac:spMkLst>
            <pc:docMk/>
            <pc:sldMk cId="2868900962" sldId="10407"/>
            <ac:spMk id="63" creationId="{78B151F9-8055-4877-8C39-D1FB2BC8D110}"/>
          </ac:spMkLst>
        </pc:spChg>
        <pc:spChg chg="mod">
          <ac:chgData name="Ugo MANTEL" userId="2d5b7065-31bb-4181-a7f8-a73bf0c30211" providerId="ADAL" clId="{9344D105-636D-4857-BD0F-AFC44A54BCCF}" dt="2021-05-25T14:20:11.034" v="27666" actId="790"/>
          <ac:spMkLst>
            <pc:docMk/>
            <pc:sldMk cId="2868900962" sldId="10407"/>
            <ac:spMk id="64" creationId="{24E63172-5657-470E-BCC7-1C550822C97F}"/>
          </ac:spMkLst>
        </pc:spChg>
        <pc:spChg chg="mod">
          <ac:chgData name="Ugo MANTEL" userId="2d5b7065-31bb-4181-a7f8-a73bf0c30211" providerId="ADAL" clId="{9344D105-636D-4857-BD0F-AFC44A54BCCF}" dt="2021-05-25T14:20:11.038" v="27671" actId="790"/>
          <ac:spMkLst>
            <pc:docMk/>
            <pc:sldMk cId="2868900962" sldId="10407"/>
            <ac:spMk id="65" creationId="{C9948D29-691C-4040-9006-9DD667687950}"/>
          </ac:spMkLst>
        </pc:spChg>
        <pc:spChg chg="mod">
          <ac:chgData name="Ugo MANTEL" userId="2d5b7065-31bb-4181-a7f8-a73bf0c30211" providerId="ADAL" clId="{9344D105-636D-4857-BD0F-AFC44A54BCCF}" dt="2021-05-25T14:20:11.039" v="27672" actId="790"/>
          <ac:spMkLst>
            <pc:docMk/>
            <pc:sldMk cId="2868900962" sldId="10407"/>
            <ac:spMk id="67" creationId="{5CB5CAFD-CBF6-4B09-9206-7594602E4B1E}"/>
          </ac:spMkLst>
        </pc:spChg>
        <pc:spChg chg="add del mod">
          <ac:chgData name="Ugo MANTEL" userId="2d5b7065-31bb-4181-a7f8-a73bf0c30211" providerId="ADAL" clId="{9344D105-636D-4857-BD0F-AFC44A54BCCF}" dt="2021-05-24T13:37:16.668" v="7475" actId="478"/>
          <ac:spMkLst>
            <pc:docMk/>
            <pc:sldMk cId="2868900962" sldId="10407"/>
            <ac:spMk id="68" creationId="{CC5E7179-D37D-4404-8895-56FAE0A2838D}"/>
          </ac:spMkLst>
        </pc:spChg>
        <pc:spChg chg="add del mod">
          <ac:chgData name="Ugo MANTEL" userId="2d5b7065-31bb-4181-a7f8-a73bf0c30211" providerId="ADAL" clId="{9344D105-636D-4857-BD0F-AFC44A54BCCF}" dt="2021-05-24T13:37:16.668" v="7475" actId="478"/>
          <ac:spMkLst>
            <pc:docMk/>
            <pc:sldMk cId="2868900962" sldId="10407"/>
            <ac:spMk id="70" creationId="{06F17509-A6C5-4D10-AD95-E46357A3BBF3}"/>
          </ac:spMkLst>
        </pc:spChg>
        <pc:spChg chg="del mod">
          <ac:chgData name="Ugo MANTEL" userId="2d5b7065-31bb-4181-a7f8-a73bf0c30211" providerId="ADAL" clId="{9344D105-636D-4857-BD0F-AFC44A54BCCF}" dt="2021-05-24T13:38:12.552" v="7484" actId="478"/>
          <ac:spMkLst>
            <pc:docMk/>
            <pc:sldMk cId="2868900962" sldId="10407"/>
            <ac:spMk id="71" creationId="{03498954-A368-43DD-9AF2-9BFDE163D995}"/>
          </ac:spMkLst>
        </pc:spChg>
        <pc:spChg chg="add mod">
          <ac:chgData name="Ugo MANTEL" userId="2d5b7065-31bb-4181-a7f8-a73bf0c30211" providerId="ADAL" clId="{9344D105-636D-4857-BD0F-AFC44A54BCCF}" dt="2021-05-24T13:36:42.305" v="7469" actId="164"/>
          <ac:spMkLst>
            <pc:docMk/>
            <pc:sldMk cId="2868900962" sldId="10407"/>
            <ac:spMk id="72" creationId="{53D1DDFC-250A-4F97-978F-08EED30FE51F}"/>
          </ac:spMkLst>
        </pc:spChg>
        <pc:spChg chg="add del mod">
          <ac:chgData name="Ugo MANTEL" userId="2d5b7065-31bb-4181-a7f8-a73bf0c30211" providerId="ADAL" clId="{9344D105-636D-4857-BD0F-AFC44A54BCCF}" dt="2021-05-24T13:37:16.668" v="7475" actId="478"/>
          <ac:spMkLst>
            <pc:docMk/>
            <pc:sldMk cId="2868900962" sldId="10407"/>
            <ac:spMk id="73" creationId="{FB4B405E-271C-470C-8255-5915BAD76B75}"/>
          </ac:spMkLst>
        </pc:spChg>
        <pc:spChg chg="add del mod">
          <ac:chgData name="Ugo MANTEL" userId="2d5b7065-31bb-4181-a7f8-a73bf0c30211" providerId="ADAL" clId="{9344D105-636D-4857-BD0F-AFC44A54BCCF}" dt="2021-05-24T13:37:16.668" v="7475" actId="478"/>
          <ac:spMkLst>
            <pc:docMk/>
            <pc:sldMk cId="2868900962" sldId="10407"/>
            <ac:spMk id="74" creationId="{56CC9A29-3A02-4509-9F73-0CD74BA0A581}"/>
          </ac:spMkLst>
        </pc:spChg>
        <pc:spChg chg="mod">
          <ac:chgData name="Ugo MANTEL" userId="2d5b7065-31bb-4181-a7f8-a73bf0c30211" providerId="ADAL" clId="{9344D105-636D-4857-BD0F-AFC44A54BCCF}" dt="2021-05-25T14:20:11.040" v="27673" actId="790"/>
          <ac:spMkLst>
            <pc:docMk/>
            <pc:sldMk cId="2868900962" sldId="10407"/>
            <ac:spMk id="76" creationId="{5F4FFF79-371E-4E5E-99B3-677CD02E93F1}"/>
          </ac:spMkLst>
        </pc:spChg>
        <pc:spChg chg="mod">
          <ac:chgData name="Ugo MANTEL" userId="2d5b7065-31bb-4181-a7f8-a73bf0c30211" providerId="ADAL" clId="{9344D105-636D-4857-BD0F-AFC44A54BCCF}" dt="2021-05-25T14:20:11.040" v="27674" actId="790"/>
          <ac:spMkLst>
            <pc:docMk/>
            <pc:sldMk cId="2868900962" sldId="10407"/>
            <ac:spMk id="77" creationId="{0F6E568C-FF1A-45D1-9296-A25B68BC83AD}"/>
          </ac:spMkLst>
        </pc:spChg>
        <pc:spChg chg="mod">
          <ac:chgData name="Ugo MANTEL" userId="2d5b7065-31bb-4181-a7f8-a73bf0c30211" providerId="ADAL" clId="{9344D105-636D-4857-BD0F-AFC44A54BCCF}" dt="2021-05-25T14:20:11.042" v="27675" actId="790"/>
          <ac:spMkLst>
            <pc:docMk/>
            <pc:sldMk cId="2868900962" sldId="10407"/>
            <ac:spMk id="78" creationId="{427C8590-C704-4B01-A689-71A872DD9101}"/>
          </ac:spMkLst>
        </pc:spChg>
        <pc:spChg chg="add mod">
          <ac:chgData name="Ugo MANTEL" userId="2d5b7065-31bb-4181-a7f8-a73bf0c30211" providerId="ADAL" clId="{9344D105-636D-4857-BD0F-AFC44A54BCCF}" dt="2021-05-24T13:36:42.305" v="7469" actId="164"/>
          <ac:spMkLst>
            <pc:docMk/>
            <pc:sldMk cId="2868900962" sldId="10407"/>
            <ac:spMk id="79" creationId="{F3DD9AF1-A5B9-4DD7-9489-1016F81CBDA0}"/>
          </ac:spMkLst>
        </pc:spChg>
        <pc:spChg chg="add mod">
          <ac:chgData name="Ugo MANTEL" userId="2d5b7065-31bb-4181-a7f8-a73bf0c30211" providerId="ADAL" clId="{9344D105-636D-4857-BD0F-AFC44A54BCCF}" dt="2021-05-24T13:36:42.305" v="7469" actId="164"/>
          <ac:spMkLst>
            <pc:docMk/>
            <pc:sldMk cId="2868900962" sldId="10407"/>
            <ac:spMk id="80" creationId="{0661184A-9CA6-4E3A-8E14-1954571EAE8A}"/>
          </ac:spMkLst>
        </pc:spChg>
        <pc:spChg chg="add mod">
          <ac:chgData name="Ugo MANTEL" userId="2d5b7065-31bb-4181-a7f8-a73bf0c30211" providerId="ADAL" clId="{9344D105-636D-4857-BD0F-AFC44A54BCCF}" dt="2021-05-24T13:36:42.305" v="7469" actId="164"/>
          <ac:spMkLst>
            <pc:docMk/>
            <pc:sldMk cId="2868900962" sldId="10407"/>
            <ac:spMk id="81" creationId="{8741B909-86F2-4677-9BF5-F5731022FE6F}"/>
          </ac:spMkLst>
        </pc:spChg>
        <pc:spChg chg="add mod">
          <ac:chgData name="Ugo MANTEL" userId="2d5b7065-31bb-4181-a7f8-a73bf0c30211" providerId="ADAL" clId="{9344D105-636D-4857-BD0F-AFC44A54BCCF}" dt="2021-05-24T13:36:42.305" v="7469" actId="164"/>
          <ac:spMkLst>
            <pc:docMk/>
            <pc:sldMk cId="2868900962" sldId="10407"/>
            <ac:spMk id="82" creationId="{55D680ED-B2A1-4717-9A05-88A8A115A615}"/>
          </ac:spMkLst>
        </pc:spChg>
        <pc:spChg chg="add mod">
          <ac:chgData name="Ugo MANTEL" userId="2d5b7065-31bb-4181-a7f8-a73bf0c30211" providerId="ADAL" clId="{9344D105-636D-4857-BD0F-AFC44A54BCCF}" dt="2021-05-24T13:36:42.305" v="7469" actId="164"/>
          <ac:spMkLst>
            <pc:docMk/>
            <pc:sldMk cId="2868900962" sldId="10407"/>
            <ac:spMk id="83" creationId="{AF6C8208-3740-4706-81D1-D9E11B31A01B}"/>
          </ac:spMkLst>
        </pc:spChg>
        <pc:spChg chg="add mod">
          <ac:chgData name="Ugo MANTEL" userId="2d5b7065-31bb-4181-a7f8-a73bf0c30211" providerId="ADAL" clId="{9344D105-636D-4857-BD0F-AFC44A54BCCF}" dt="2021-05-25T14:20:11.042" v="27676" actId="790"/>
          <ac:spMkLst>
            <pc:docMk/>
            <pc:sldMk cId="2868900962" sldId="10407"/>
            <ac:spMk id="84" creationId="{2E352F39-712F-4BC9-ADA9-781EF77D1FBB}"/>
          </ac:spMkLst>
        </pc:spChg>
        <pc:spChg chg="mod">
          <ac:chgData name="Ugo MANTEL" userId="2d5b7065-31bb-4181-a7f8-a73bf0c30211" providerId="ADAL" clId="{9344D105-636D-4857-BD0F-AFC44A54BCCF}" dt="2021-05-24T13:38:12.986" v="7485"/>
          <ac:spMkLst>
            <pc:docMk/>
            <pc:sldMk cId="2868900962" sldId="10407"/>
            <ac:spMk id="86" creationId="{B979ACF7-2B50-45DA-A1E7-FA45C7BF35F4}"/>
          </ac:spMkLst>
        </pc:spChg>
        <pc:spChg chg="mod">
          <ac:chgData name="Ugo MANTEL" userId="2d5b7065-31bb-4181-a7f8-a73bf0c30211" providerId="ADAL" clId="{9344D105-636D-4857-BD0F-AFC44A54BCCF}" dt="2021-05-25T14:20:11.043" v="27677" actId="790"/>
          <ac:spMkLst>
            <pc:docMk/>
            <pc:sldMk cId="2868900962" sldId="10407"/>
            <ac:spMk id="87" creationId="{849ACC58-2FA5-43E2-8089-59CB8D7ED689}"/>
          </ac:spMkLst>
        </pc:spChg>
        <pc:spChg chg="mod">
          <ac:chgData name="Ugo MANTEL" userId="2d5b7065-31bb-4181-a7f8-a73bf0c30211" providerId="ADAL" clId="{9344D105-636D-4857-BD0F-AFC44A54BCCF}" dt="2021-05-24T13:38:12.986" v="7485"/>
          <ac:spMkLst>
            <pc:docMk/>
            <pc:sldMk cId="2868900962" sldId="10407"/>
            <ac:spMk id="88" creationId="{433BFCD4-9B08-4FA8-AD94-D7A4FAAB81BD}"/>
          </ac:spMkLst>
        </pc:spChg>
        <pc:spChg chg="mod">
          <ac:chgData name="Ugo MANTEL" userId="2d5b7065-31bb-4181-a7f8-a73bf0c30211" providerId="ADAL" clId="{9344D105-636D-4857-BD0F-AFC44A54BCCF}" dt="2021-05-25T14:20:11.043" v="27678" actId="790"/>
          <ac:spMkLst>
            <pc:docMk/>
            <pc:sldMk cId="2868900962" sldId="10407"/>
            <ac:spMk id="89" creationId="{1EC9526A-D5E0-463C-A078-93D5223027DB}"/>
          </ac:spMkLst>
        </pc:spChg>
        <pc:spChg chg="mod">
          <ac:chgData name="Ugo MANTEL" userId="2d5b7065-31bb-4181-a7f8-a73bf0c30211" providerId="ADAL" clId="{9344D105-636D-4857-BD0F-AFC44A54BCCF}" dt="2021-05-24T13:38:12.986" v="7485"/>
          <ac:spMkLst>
            <pc:docMk/>
            <pc:sldMk cId="2868900962" sldId="10407"/>
            <ac:spMk id="90" creationId="{8FFAFC9E-8713-4870-8CEE-C202596A4DF6}"/>
          </ac:spMkLst>
        </pc:spChg>
        <pc:spChg chg="mod">
          <ac:chgData name="Ugo MANTEL" userId="2d5b7065-31bb-4181-a7f8-a73bf0c30211" providerId="ADAL" clId="{9344D105-636D-4857-BD0F-AFC44A54BCCF}" dt="2021-05-25T14:20:11.044" v="27679" actId="790"/>
          <ac:spMkLst>
            <pc:docMk/>
            <pc:sldMk cId="2868900962" sldId="10407"/>
            <ac:spMk id="91" creationId="{9EB3F53F-B3B4-4889-B966-F7AD5A1A15C6}"/>
          </ac:spMkLst>
        </pc:spChg>
        <pc:spChg chg="mod">
          <ac:chgData name="Ugo MANTEL" userId="2d5b7065-31bb-4181-a7f8-a73bf0c30211" providerId="ADAL" clId="{9344D105-636D-4857-BD0F-AFC44A54BCCF}" dt="2021-05-25T14:20:11.036" v="27667" actId="790"/>
          <ac:spMkLst>
            <pc:docMk/>
            <pc:sldMk cId="2868900962" sldId="10407"/>
            <ac:spMk id="102" creationId="{A2834B24-514E-43C3-B8D2-8BF2673C78D1}"/>
          </ac:spMkLst>
        </pc:spChg>
        <pc:grpChg chg="add del mod">
          <ac:chgData name="Ugo MANTEL" userId="2d5b7065-31bb-4181-a7f8-a73bf0c30211" providerId="ADAL" clId="{9344D105-636D-4857-BD0F-AFC44A54BCCF}" dt="2021-05-24T13:38:12.552" v="7484" actId="478"/>
          <ac:grpSpMkLst>
            <pc:docMk/>
            <pc:sldMk cId="2868900962" sldId="10407"/>
            <ac:grpSpMk id="6" creationId="{386D838F-BC99-48A2-B660-6E809F832491}"/>
          </ac:grpSpMkLst>
        </pc:grpChg>
        <pc:grpChg chg="add mod">
          <ac:chgData name="Ugo MANTEL" userId="2d5b7065-31bb-4181-a7f8-a73bf0c30211" providerId="ADAL" clId="{9344D105-636D-4857-BD0F-AFC44A54BCCF}" dt="2021-05-24T13:38:12.986" v="7485"/>
          <ac:grpSpMkLst>
            <pc:docMk/>
            <pc:sldMk cId="2868900962" sldId="10407"/>
            <ac:grpSpMk id="85" creationId="{1CD0B969-3255-46D4-8A4F-9038912EF613}"/>
          </ac:grpSpMkLst>
        </pc:grpChg>
      </pc:sldChg>
      <pc:sldChg chg="addSp delSp modSp mod">
        <pc:chgData name="Ugo MANTEL" userId="2d5b7065-31bb-4181-a7f8-a73bf0c30211" providerId="ADAL" clId="{9344D105-636D-4857-BD0F-AFC44A54BCCF}" dt="2021-05-25T15:17:58.681" v="37910" actId="207"/>
        <pc:sldMkLst>
          <pc:docMk/>
          <pc:sldMk cId="407516052" sldId="10409"/>
        </pc:sldMkLst>
        <pc:spChg chg="mod ord">
          <ac:chgData name="Ugo MANTEL" userId="2d5b7065-31bb-4181-a7f8-a73bf0c30211" providerId="ADAL" clId="{9344D105-636D-4857-BD0F-AFC44A54BCCF}" dt="2021-05-25T14:20:13.218" v="29932" actId="790"/>
          <ac:spMkLst>
            <pc:docMk/>
            <pc:sldMk cId="407516052" sldId="10409"/>
            <ac:spMk id="2" creationId="{1B8B41D0-3B5A-41F2-BD36-274CA5605C3A}"/>
          </ac:spMkLst>
        </pc:spChg>
        <pc:spChg chg="mod ord">
          <ac:chgData name="Ugo MANTEL" userId="2d5b7065-31bb-4181-a7f8-a73bf0c30211" providerId="ADAL" clId="{9344D105-636D-4857-BD0F-AFC44A54BCCF}" dt="2021-05-25T14:20:13.205" v="29918" actId="790"/>
          <ac:spMkLst>
            <pc:docMk/>
            <pc:sldMk cId="407516052" sldId="10409"/>
            <ac:spMk id="3" creationId="{F2961EB7-FC0B-4AEF-8BF3-7969101BE0A7}"/>
          </ac:spMkLst>
        </pc:spChg>
        <pc:spChg chg="mod ord">
          <ac:chgData name="Ugo MANTEL" userId="2d5b7065-31bb-4181-a7f8-a73bf0c30211" providerId="ADAL" clId="{9344D105-636D-4857-BD0F-AFC44A54BCCF}" dt="2021-05-25T14:20:13.245" v="29957" actId="790"/>
          <ac:spMkLst>
            <pc:docMk/>
            <pc:sldMk cId="407516052" sldId="10409"/>
            <ac:spMk id="4" creationId="{43E0D5C7-0986-42B1-8E8C-7B58D0CBD773}"/>
          </ac:spMkLst>
        </pc:spChg>
        <pc:spChg chg="mod ord">
          <ac:chgData name="Ugo MANTEL" userId="2d5b7065-31bb-4181-a7f8-a73bf0c30211" providerId="ADAL" clId="{9344D105-636D-4857-BD0F-AFC44A54BCCF}" dt="2021-05-25T14:20:13.219" v="29933" actId="790"/>
          <ac:spMkLst>
            <pc:docMk/>
            <pc:sldMk cId="407516052" sldId="10409"/>
            <ac:spMk id="5" creationId="{32E0BE14-B2E8-4A96-ADE4-0BE247A47D79}"/>
          </ac:spMkLst>
        </pc:spChg>
        <pc:spChg chg="mod ord">
          <ac:chgData name="Ugo MANTEL" userId="2d5b7065-31bb-4181-a7f8-a73bf0c30211" providerId="ADAL" clId="{9344D105-636D-4857-BD0F-AFC44A54BCCF}" dt="2021-05-25T14:20:13.220" v="29934" actId="790"/>
          <ac:spMkLst>
            <pc:docMk/>
            <pc:sldMk cId="407516052" sldId="10409"/>
            <ac:spMk id="6" creationId="{8AEA1672-C0F9-4DB2-A6F4-76831980F749}"/>
          </ac:spMkLst>
        </pc:spChg>
        <pc:spChg chg="mod ord">
          <ac:chgData name="Ugo MANTEL" userId="2d5b7065-31bb-4181-a7f8-a73bf0c30211" providerId="ADAL" clId="{9344D105-636D-4857-BD0F-AFC44A54BCCF}" dt="2021-05-25T14:20:13.216" v="29931" actId="790"/>
          <ac:spMkLst>
            <pc:docMk/>
            <pc:sldMk cId="407516052" sldId="10409"/>
            <ac:spMk id="7" creationId="{064EAC16-1947-4EB5-B699-F79BA984701D}"/>
          </ac:spMkLst>
        </pc:spChg>
        <pc:spChg chg="mod ord">
          <ac:chgData name="Ugo MANTEL" userId="2d5b7065-31bb-4181-a7f8-a73bf0c30211" providerId="ADAL" clId="{9344D105-636D-4857-BD0F-AFC44A54BCCF}" dt="2021-05-25T14:20:13.235" v="29947" actId="790"/>
          <ac:spMkLst>
            <pc:docMk/>
            <pc:sldMk cId="407516052" sldId="10409"/>
            <ac:spMk id="8" creationId="{17235FB0-B480-4F11-BAB2-ECCE97A0AE35}"/>
          </ac:spMkLst>
        </pc:spChg>
        <pc:spChg chg="mod ord">
          <ac:chgData name="Ugo MANTEL" userId="2d5b7065-31bb-4181-a7f8-a73bf0c30211" providerId="ADAL" clId="{9344D105-636D-4857-BD0F-AFC44A54BCCF}" dt="2021-05-25T14:20:13.221" v="29935" actId="790"/>
          <ac:spMkLst>
            <pc:docMk/>
            <pc:sldMk cId="407516052" sldId="10409"/>
            <ac:spMk id="9" creationId="{E57AC7D2-FC03-4826-B2B4-B86B10C8A912}"/>
          </ac:spMkLst>
        </pc:spChg>
        <pc:spChg chg="mod ord">
          <ac:chgData name="Ugo MANTEL" userId="2d5b7065-31bb-4181-a7f8-a73bf0c30211" providerId="ADAL" clId="{9344D105-636D-4857-BD0F-AFC44A54BCCF}" dt="2021-05-25T14:20:13.210" v="29923" actId="790"/>
          <ac:spMkLst>
            <pc:docMk/>
            <pc:sldMk cId="407516052" sldId="10409"/>
            <ac:spMk id="10" creationId="{EC4BC8E5-CDE6-4BDA-8B1B-E89284306AC8}"/>
          </ac:spMkLst>
        </pc:spChg>
        <pc:spChg chg="del mod">
          <ac:chgData name="Ugo MANTEL" userId="2d5b7065-31bb-4181-a7f8-a73bf0c30211" providerId="ADAL" clId="{9344D105-636D-4857-BD0F-AFC44A54BCCF}" dt="2021-05-24T12:38:20.982" v="5695" actId="478"/>
          <ac:spMkLst>
            <pc:docMk/>
            <pc:sldMk cId="407516052" sldId="10409"/>
            <ac:spMk id="11" creationId="{0416FF5A-62B4-4A51-9CD4-96B43F5F5980}"/>
          </ac:spMkLst>
        </pc:spChg>
        <pc:spChg chg="add del mod modVis">
          <ac:chgData name="Ugo MANTEL" userId="2d5b7065-31bb-4181-a7f8-a73bf0c30211" providerId="ADAL" clId="{9344D105-636D-4857-BD0F-AFC44A54BCCF}" dt="2021-05-25T11:14:16.620" v="17414"/>
          <ac:spMkLst>
            <pc:docMk/>
            <pc:sldMk cId="407516052" sldId="10409"/>
            <ac:spMk id="11" creationId="{4D3AE46A-F521-4DD5-8A16-E3D10EB4B388}"/>
          </ac:spMkLst>
        </pc:spChg>
        <pc:spChg chg="mod ord">
          <ac:chgData name="Ugo MANTEL" userId="2d5b7065-31bb-4181-a7f8-a73bf0c30211" providerId="ADAL" clId="{9344D105-636D-4857-BD0F-AFC44A54BCCF}" dt="2021-05-25T14:20:13.236" v="29948" actId="790"/>
          <ac:spMkLst>
            <pc:docMk/>
            <pc:sldMk cId="407516052" sldId="10409"/>
            <ac:spMk id="12" creationId="{06146879-726F-492D-B854-B9E140208671}"/>
          </ac:spMkLst>
        </pc:spChg>
        <pc:spChg chg="mod">
          <ac:chgData name="Ugo MANTEL" userId="2d5b7065-31bb-4181-a7f8-a73bf0c30211" providerId="ADAL" clId="{9344D105-636D-4857-BD0F-AFC44A54BCCF}" dt="2021-05-25T14:20:13.239" v="29953" actId="790"/>
          <ac:spMkLst>
            <pc:docMk/>
            <pc:sldMk cId="407516052" sldId="10409"/>
            <ac:spMk id="13" creationId="{E9F049B4-9F79-4754-AA4A-B557B2A6D3C9}"/>
          </ac:spMkLst>
        </pc:spChg>
        <pc:spChg chg="mod ord">
          <ac:chgData name="Ugo MANTEL" userId="2d5b7065-31bb-4181-a7f8-a73bf0c30211" providerId="ADAL" clId="{9344D105-636D-4857-BD0F-AFC44A54BCCF}" dt="2021-05-25T14:20:13.234" v="29946" actId="790"/>
          <ac:spMkLst>
            <pc:docMk/>
            <pc:sldMk cId="407516052" sldId="10409"/>
            <ac:spMk id="14" creationId="{0AF44C45-BA78-4B2B-8163-11B42E3CF6BE}"/>
          </ac:spMkLst>
        </pc:spChg>
        <pc:spChg chg="mod ord">
          <ac:chgData name="Ugo MANTEL" userId="2d5b7065-31bb-4181-a7f8-a73bf0c30211" providerId="ADAL" clId="{9344D105-636D-4857-BD0F-AFC44A54BCCF}" dt="2021-05-25T14:20:13.231" v="29941" actId="790"/>
          <ac:spMkLst>
            <pc:docMk/>
            <pc:sldMk cId="407516052" sldId="10409"/>
            <ac:spMk id="18" creationId="{E5E5B17C-AF5B-4FCB-935E-796FE66056AC}"/>
          </ac:spMkLst>
        </pc:spChg>
        <pc:spChg chg="mod ord">
          <ac:chgData name="Ugo MANTEL" userId="2d5b7065-31bb-4181-a7f8-a73bf0c30211" providerId="ADAL" clId="{9344D105-636D-4857-BD0F-AFC44A54BCCF}" dt="2021-05-25T14:20:13.221" v="29936" actId="790"/>
          <ac:spMkLst>
            <pc:docMk/>
            <pc:sldMk cId="407516052" sldId="10409"/>
            <ac:spMk id="19" creationId="{D183DC4A-A310-4818-8DE5-DD81DA31ACA2}"/>
          </ac:spMkLst>
        </pc:spChg>
        <pc:spChg chg="mod ord">
          <ac:chgData name="Ugo MANTEL" userId="2d5b7065-31bb-4181-a7f8-a73bf0c30211" providerId="ADAL" clId="{9344D105-636D-4857-BD0F-AFC44A54BCCF}" dt="2021-05-25T14:20:13.240" v="29954" actId="790"/>
          <ac:spMkLst>
            <pc:docMk/>
            <pc:sldMk cId="407516052" sldId="10409"/>
            <ac:spMk id="20" creationId="{54E8F179-87EF-4A92-9C29-92D7E20EB946}"/>
          </ac:spMkLst>
        </pc:spChg>
        <pc:spChg chg="mod ord">
          <ac:chgData name="Ugo MANTEL" userId="2d5b7065-31bb-4181-a7f8-a73bf0c30211" providerId="ADAL" clId="{9344D105-636D-4857-BD0F-AFC44A54BCCF}" dt="2021-05-25T14:20:13.246" v="29958" actId="790"/>
          <ac:spMkLst>
            <pc:docMk/>
            <pc:sldMk cId="407516052" sldId="10409"/>
            <ac:spMk id="21" creationId="{44BA4EC0-19D7-41DC-B319-396D8267BC37}"/>
          </ac:spMkLst>
        </pc:spChg>
        <pc:spChg chg="mod ord">
          <ac:chgData name="Ugo MANTEL" userId="2d5b7065-31bb-4181-a7f8-a73bf0c30211" providerId="ADAL" clId="{9344D105-636D-4857-BD0F-AFC44A54BCCF}" dt="2021-05-25T14:20:13.244" v="29956" actId="790"/>
          <ac:spMkLst>
            <pc:docMk/>
            <pc:sldMk cId="407516052" sldId="10409"/>
            <ac:spMk id="22" creationId="{43B8FABF-5816-42AC-8939-29224794884E}"/>
          </ac:spMkLst>
        </pc:spChg>
        <pc:spChg chg="add del mod modVis">
          <ac:chgData name="Ugo MANTEL" userId="2d5b7065-31bb-4181-a7f8-a73bf0c30211" providerId="ADAL" clId="{9344D105-636D-4857-BD0F-AFC44A54BCCF}" dt="2021-05-24T14:54:12.033" v="8667"/>
          <ac:spMkLst>
            <pc:docMk/>
            <pc:sldMk cId="407516052" sldId="10409"/>
            <ac:spMk id="23" creationId="{709A0B2D-37DE-48BE-AD72-FCFA3BCD13F6}"/>
          </ac:spMkLst>
        </pc:spChg>
        <pc:spChg chg="add del mod topLvl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24" creationId="{682E165E-E9E8-4050-BA93-4B6CFB4AE15A}"/>
          </ac:spMkLst>
        </pc:spChg>
        <pc:spChg chg="mod ord">
          <ac:chgData name="Ugo MANTEL" userId="2d5b7065-31bb-4181-a7f8-a73bf0c30211" providerId="ADAL" clId="{9344D105-636D-4857-BD0F-AFC44A54BCCF}" dt="2021-05-25T14:20:13.209" v="29921" actId="790"/>
          <ac:spMkLst>
            <pc:docMk/>
            <pc:sldMk cId="407516052" sldId="10409"/>
            <ac:spMk id="33" creationId="{243F8FAD-0118-4F1B-B40B-A7D84FD36396}"/>
          </ac:spMkLst>
        </pc:spChg>
        <pc:spChg chg="mod ord">
          <ac:chgData name="Ugo MANTEL" userId="2d5b7065-31bb-4181-a7f8-a73bf0c30211" providerId="ADAL" clId="{9344D105-636D-4857-BD0F-AFC44A54BCCF}" dt="2021-05-25T14:20:13.241" v="29955" actId="790"/>
          <ac:spMkLst>
            <pc:docMk/>
            <pc:sldMk cId="407516052" sldId="10409"/>
            <ac:spMk id="47" creationId="{9E10C541-E455-4AF2-AA1A-715E3DF2DDC1}"/>
          </ac:spMkLst>
        </pc:spChg>
        <pc:spChg chg="mod ord">
          <ac:chgData name="Ugo MANTEL" userId="2d5b7065-31bb-4181-a7f8-a73bf0c30211" providerId="ADAL" clId="{9344D105-636D-4857-BD0F-AFC44A54BCCF}" dt="2021-05-25T14:20:13.222" v="29937" actId="790"/>
          <ac:spMkLst>
            <pc:docMk/>
            <pc:sldMk cId="407516052" sldId="10409"/>
            <ac:spMk id="49" creationId="{B10468A4-1BAC-4153-BC9A-99B8715C0AD1}"/>
          </ac:spMkLst>
        </pc:spChg>
        <pc:spChg chg="mod ord">
          <ac:chgData name="Ugo MANTEL" userId="2d5b7065-31bb-4181-a7f8-a73bf0c30211" providerId="ADAL" clId="{9344D105-636D-4857-BD0F-AFC44A54BCCF}" dt="2021-05-25T14:20:13.216" v="29930" actId="790"/>
          <ac:spMkLst>
            <pc:docMk/>
            <pc:sldMk cId="407516052" sldId="10409"/>
            <ac:spMk id="50" creationId="{06AD3339-7557-4559-B2EA-6A391CF2BF0C}"/>
          </ac:spMkLst>
        </pc:spChg>
        <pc:spChg chg="mod ord">
          <ac:chgData name="Ugo MANTEL" userId="2d5b7065-31bb-4181-a7f8-a73bf0c30211" providerId="ADAL" clId="{9344D105-636D-4857-BD0F-AFC44A54BCCF}" dt="2021-05-25T14:20:13.209" v="29922" actId="790"/>
          <ac:spMkLst>
            <pc:docMk/>
            <pc:sldMk cId="407516052" sldId="10409"/>
            <ac:spMk id="88" creationId="{336D463B-B815-4500-8F61-78A091129044}"/>
          </ac:spMkLst>
        </pc:spChg>
        <pc:spChg chg="mod ord">
          <ac:chgData name="Ugo MANTEL" userId="2d5b7065-31bb-4181-a7f8-a73bf0c30211" providerId="ADAL" clId="{9344D105-636D-4857-BD0F-AFC44A54BCCF}" dt="2021-05-25T14:20:13.212" v="29925" actId="790"/>
          <ac:spMkLst>
            <pc:docMk/>
            <pc:sldMk cId="407516052" sldId="10409"/>
            <ac:spMk id="90" creationId="{C1682200-357E-4434-8AD7-5A0786BF6D1B}"/>
          </ac:spMkLst>
        </pc:spChg>
        <pc:spChg chg="mod ord">
          <ac:chgData name="Ugo MANTEL" userId="2d5b7065-31bb-4181-a7f8-a73bf0c30211" providerId="ADAL" clId="{9344D105-636D-4857-BD0F-AFC44A54BCCF}" dt="2021-05-25T14:20:13.238" v="29951" actId="790"/>
          <ac:spMkLst>
            <pc:docMk/>
            <pc:sldMk cId="407516052" sldId="10409"/>
            <ac:spMk id="96" creationId="{5BB653FA-7502-456B-9DD5-1867522D3A88}"/>
          </ac:spMkLst>
        </pc:spChg>
        <pc:spChg chg="mod ord">
          <ac:chgData name="Ugo MANTEL" userId="2d5b7065-31bb-4181-a7f8-a73bf0c30211" providerId="ADAL" clId="{9344D105-636D-4857-BD0F-AFC44A54BCCF}" dt="2021-05-25T14:20:13.223" v="29938" actId="790"/>
          <ac:spMkLst>
            <pc:docMk/>
            <pc:sldMk cId="407516052" sldId="10409"/>
            <ac:spMk id="100" creationId="{EF6C7B41-C54E-4684-BB9A-36701E115EBF}"/>
          </ac:spMkLst>
        </pc:spChg>
        <pc:spChg chg="mod ord">
          <ac:chgData name="Ugo MANTEL" userId="2d5b7065-31bb-4181-a7f8-a73bf0c30211" providerId="ADAL" clId="{9344D105-636D-4857-BD0F-AFC44A54BCCF}" dt="2021-05-25T14:20:13.207" v="29919" actId="790"/>
          <ac:spMkLst>
            <pc:docMk/>
            <pc:sldMk cId="407516052" sldId="10409"/>
            <ac:spMk id="107" creationId="{31D0AEAA-51DD-4312-8DD3-D5664A3B479D}"/>
          </ac:spMkLst>
        </pc:spChg>
        <pc:spChg chg="mod ord">
          <ac:chgData name="Ugo MANTEL" userId="2d5b7065-31bb-4181-a7f8-a73bf0c30211" providerId="ADAL" clId="{9344D105-636D-4857-BD0F-AFC44A54BCCF}" dt="2021-05-25T14:20:13.213" v="29927" actId="790"/>
          <ac:spMkLst>
            <pc:docMk/>
            <pc:sldMk cId="407516052" sldId="10409"/>
            <ac:spMk id="108" creationId="{B4E79E7D-0395-4CE2-8F8E-F7FFDE4BA106}"/>
          </ac:spMkLst>
        </pc:spChg>
        <pc:spChg chg="add del mod ord">
          <ac:chgData name="Ugo MANTEL" userId="2d5b7065-31bb-4181-a7f8-a73bf0c30211" providerId="ADAL" clId="{9344D105-636D-4857-BD0F-AFC44A54BCCF}" dt="2021-05-25T15:17:58.681" v="37910" actId="207"/>
          <ac:spMkLst>
            <pc:docMk/>
            <pc:sldMk cId="407516052" sldId="10409"/>
            <ac:spMk id="117" creationId="{FB5E74AA-473E-4A0F-97C6-4BAE2E9C9474}"/>
          </ac:spMkLst>
        </pc:spChg>
        <pc:spChg chg="mod ord">
          <ac:chgData name="Ugo MANTEL" userId="2d5b7065-31bb-4181-a7f8-a73bf0c30211" providerId="ADAL" clId="{9344D105-636D-4857-BD0F-AFC44A54BCCF}" dt="2021-05-25T14:20:13.211" v="29924" actId="790"/>
          <ac:spMkLst>
            <pc:docMk/>
            <pc:sldMk cId="407516052" sldId="10409"/>
            <ac:spMk id="119" creationId="{EEF55E94-FD53-41D7-A423-6B56C40D88A1}"/>
          </ac:spMkLst>
        </pc:spChg>
        <pc:spChg chg="mod ord">
          <ac:chgData name="Ugo MANTEL" userId="2d5b7065-31bb-4181-a7f8-a73bf0c30211" providerId="ADAL" clId="{9344D105-636D-4857-BD0F-AFC44A54BCCF}" dt="2021-05-25T14:20:13.237" v="29950" actId="790"/>
          <ac:spMkLst>
            <pc:docMk/>
            <pc:sldMk cId="407516052" sldId="10409"/>
            <ac:spMk id="120" creationId="{697B9F9F-BFD2-4BBC-A2BC-06F0D17B4298}"/>
          </ac:spMkLst>
        </pc:spChg>
        <pc:spChg chg="mod">
          <ac:chgData name="Ugo MANTEL" userId="2d5b7065-31bb-4181-a7f8-a73bf0c30211" providerId="ADAL" clId="{9344D105-636D-4857-BD0F-AFC44A54BCCF}" dt="2021-05-25T13:44:39.494" v="20333"/>
          <ac:spMkLst>
            <pc:docMk/>
            <pc:sldMk cId="407516052" sldId="10409"/>
            <ac:spMk id="121" creationId="{F04F0ACD-7349-4D32-9C1C-9C43D9AB91F1}"/>
          </ac:spMkLst>
        </pc:spChg>
        <pc:spChg chg="mod ord">
          <ac:chgData name="Ugo MANTEL" userId="2d5b7065-31bb-4181-a7f8-a73bf0c30211" providerId="ADAL" clId="{9344D105-636D-4857-BD0F-AFC44A54BCCF}" dt="2021-05-25T14:20:13.236" v="29949" actId="790"/>
          <ac:spMkLst>
            <pc:docMk/>
            <pc:sldMk cId="407516052" sldId="10409"/>
            <ac:spMk id="122" creationId="{7ED4A8D8-06EE-4620-B65B-5E3B52A3ABAE}"/>
          </ac:spMkLst>
        </pc:spChg>
        <pc:spChg chg="mod ord">
          <ac:chgData name="Ugo MANTEL" userId="2d5b7065-31bb-4181-a7f8-a73bf0c30211" providerId="ADAL" clId="{9344D105-636D-4857-BD0F-AFC44A54BCCF}" dt="2021-05-25T14:20:13.238" v="29952" actId="790"/>
          <ac:spMkLst>
            <pc:docMk/>
            <pc:sldMk cId="407516052" sldId="10409"/>
            <ac:spMk id="123" creationId="{CCD5F39F-64EB-4F4E-BE6B-002C617492EF}"/>
          </ac:spMkLst>
        </pc:spChg>
        <pc:spChg chg="add mod ord">
          <ac:chgData name="Ugo MANTEL" userId="2d5b7065-31bb-4181-a7f8-a73bf0c30211" providerId="ADAL" clId="{9344D105-636D-4857-BD0F-AFC44A54BCCF}" dt="2021-05-25T14:20:13.259" v="29965" actId="790"/>
          <ac:spMkLst>
            <pc:docMk/>
            <pc:sldMk cId="407516052" sldId="10409"/>
            <ac:spMk id="126" creationId="{B775FA57-09F4-4478-A0A7-34027B888D82}"/>
          </ac:spMkLst>
        </pc:spChg>
        <pc:spChg chg="add del mod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142" creationId="{C09E053D-0382-4235-8D51-2F8BCE2ECE9A}"/>
          </ac:spMkLst>
        </pc:spChg>
        <pc:spChg chg="add del mod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143" creationId="{2038EF77-0285-4AB0-AB0A-14D79B34E45E}"/>
          </ac:spMkLst>
        </pc:spChg>
        <pc:spChg chg="add mod">
          <ac:chgData name="Ugo MANTEL" userId="2d5b7065-31bb-4181-a7f8-a73bf0c30211" providerId="ADAL" clId="{9344D105-636D-4857-BD0F-AFC44A54BCCF}" dt="2021-05-25T13:44:39.480" v="20263"/>
          <ac:spMkLst>
            <pc:docMk/>
            <pc:sldMk cId="407516052" sldId="10409"/>
            <ac:spMk id="143" creationId="{E80DD477-BDFC-4F98-989F-3CE2D1133E47}"/>
          </ac:spMkLst>
        </pc:spChg>
        <pc:spChg chg="add del mod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145" creationId="{40D270B3-DD36-4124-9F91-CECB3846EEF8}"/>
          </ac:spMkLst>
        </pc:spChg>
        <pc:spChg chg="mod ord">
          <ac:chgData name="Ugo MANTEL" userId="2d5b7065-31bb-4181-a7f8-a73bf0c30211" providerId="ADAL" clId="{9344D105-636D-4857-BD0F-AFC44A54BCCF}" dt="2021-05-25T14:20:13.246" v="29959" actId="790"/>
          <ac:spMkLst>
            <pc:docMk/>
            <pc:sldMk cId="407516052" sldId="10409"/>
            <ac:spMk id="154" creationId="{A7269958-7FC5-479F-B17B-49D115F118B6}"/>
          </ac:spMkLst>
        </pc:spChg>
        <pc:spChg chg="add del mod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159" creationId="{194A3046-995D-4582-A42C-DDAE0E80AFA2}"/>
          </ac:spMkLst>
        </pc:spChg>
        <pc:spChg chg="mod">
          <ac:chgData name="Ugo MANTEL" userId="2d5b7065-31bb-4181-a7f8-a73bf0c30211" providerId="ADAL" clId="{9344D105-636D-4857-BD0F-AFC44A54BCCF}" dt="2021-05-25T14:54:47.766" v="37422"/>
          <ac:spMkLst>
            <pc:docMk/>
            <pc:sldMk cId="407516052" sldId="10409"/>
            <ac:spMk id="159" creationId="{431057BA-412D-430A-A473-765A1B1CACC7}"/>
          </ac:spMkLst>
        </pc:spChg>
        <pc:spChg chg="add del mod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160" creationId="{BA1BBA83-D2BC-4970-A381-DDED90DEEF93}"/>
          </ac:spMkLst>
        </pc:spChg>
        <pc:spChg chg="mod">
          <ac:chgData name="Ugo MANTEL" userId="2d5b7065-31bb-4181-a7f8-a73bf0c30211" providerId="ADAL" clId="{9344D105-636D-4857-BD0F-AFC44A54BCCF}" dt="2021-05-25T14:54:47.766" v="37422"/>
          <ac:spMkLst>
            <pc:docMk/>
            <pc:sldMk cId="407516052" sldId="10409"/>
            <ac:spMk id="160" creationId="{CD290D43-37DD-442F-8344-8A8CE30420B5}"/>
          </ac:spMkLst>
        </pc:spChg>
        <pc:spChg chg="add del mod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161" creationId="{E268532E-81FD-488D-B2B8-64E0A95856AA}"/>
          </ac:spMkLst>
        </pc:spChg>
        <pc:spChg chg="add del mod topLvl">
          <ac:chgData name="Ugo MANTEL" userId="2d5b7065-31bb-4181-a7f8-a73bf0c30211" providerId="ADAL" clId="{9344D105-636D-4857-BD0F-AFC44A54BCCF}" dt="2021-05-24T15:09:29.324" v="8785" actId="478"/>
          <ac:spMkLst>
            <pc:docMk/>
            <pc:sldMk cId="407516052" sldId="10409"/>
            <ac:spMk id="162" creationId="{257F2176-7CA6-4C30-AE82-5988C459085A}"/>
          </ac:spMkLst>
        </pc:spChg>
        <pc:spChg chg="mod">
          <ac:chgData name="Ugo MANTEL" userId="2d5b7065-31bb-4181-a7f8-a73bf0c30211" providerId="ADAL" clId="{9344D105-636D-4857-BD0F-AFC44A54BCCF}" dt="2021-05-25T14:54:47.766" v="37422"/>
          <ac:spMkLst>
            <pc:docMk/>
            <pc:sldMk cId="407516052" sldId="10409"/>
            <ac:spMk id="162" creationId="{F9EAE4B2-98B6-4AE1-A060-FA0EFE0F1DD7}"/>
          </ac:spMkLst>
        </pc:spChg>
        <pc:spChg chg="add mod ord">
          <ac:chgData name="Ugo MANTEL" userId="2d5b7065-31bb-4181-a7f8-a73bf0c30211" providerId="ADAL" clId="{9344D105-636D-4857-BD0F-AFC44A54BCCF}" dt="2021-05-25T14:20:13.260" v="29966" actId="790"/>
          <ac:spMkLst>
            <pc:docMk/>
            <pc:sldMk cId="407516052" sldId="10409"/>
            <ac:spMk id="163" creationId="{3A0D07FC-22C9-49A2-8495-E4477EFA8AD7}"/>
          </ac:spMkLst>
        </pc:spChg>
        <pc:spChg chg="add mod ord">
          <ac:chgData name="Ugo MANTEL" userId="2d5b7065-31bb-4181-a7f8-a73bf0c30211" providerId="ADAL" clId="{9344D105-636D-4857-BD0F-AFC44A54BCCF}" dt="2021-05-25T14:20:13.261" v="29967" actId="790"/>
          <ac:spMkLst>
            <pc:docMk/>
            <pc:sldMk cId="407516052" sldId="10409"/>
            <ac:spMk id="164" creationId="{45B3DC26-1827-4A19-9BB9-1F3BBFDB5426}"/>
          </ac:spMkLst>
        </pc:spChg>
        <pc:spChg chg="mod ord">
          <ac:chgData name="Ugo MANTEL" userId="2d5b7065-31bb-4181-a7f8-a73bf0c30211" providerId="ADAL" clId="{9344D105-636D-4857-BD0F-AFC44A54BCCF}" dt="2021-05-25T14:20:13.232" v="29942" actId="790"/>
          <ac:spMkLst>
            <pc:docMk/>
            <pc:sldMk cId="407516052" sldId="10409"/>
            <ac:spMk id="165" creationId="{C389F3EC-7313-454E-9942-F14FD0BD4C77}"/>
          </ac:spMkLst>
        </pc:spChg>
        <pc:spChg chg="mod ord">
          <ac:chgData name="Ugo MANTEL" userId="2d5b7065-31bb-4181-a7f8-a73bf0c30211" providerId="ADAL" clId="{9344D105-636D-4857-BD0F-AFC44A54BCCF}" dt="2021-05-25T14:20:13.208" v="29920" actId="790"/>
          <ac:spMkLst>
            <pc:docMk/>
            <pc:sldMk cId="407516052" sldId="10409"/>
            <ac:spMk id="166" creationId="{A3938D6F-1923-42FF-B2ED-6C2BEA79BA03}"/>
          </ac:spMkLst>
        </pc:spChg>
        <pc:spChg chg="mod ord">
          <ac:chgData name="Ugo MANTEL" userId="2d5b7065-31bb-4181-a7f8-a73bf0c30211" providerId="ADAL" clId="{9344D105-636D-4857-BD0F-AFC44A54BCCF}" dt="2021-05-25T14:20:13.232" v="29943" actId="790"/>
          <ac:spMkLst>
            <pc:docMk/>
            <pc:sldMk cId="407516052" sldId="10409"/>
            <ac:spMk id="168" creationId="{C423BD9F-9E4A-46B8-89D7-67C1FE84B168}"/>
          </ac:spMkLst>
        </pc:spChg>
        <pc:spChg chg="mod ord">
          <ac:chgData name="Ugo MANTEL" userId="2d5b7065-31bb-4181-a7f8-a73bf0c30211" providerId="ADAL" clId="{9344D105-636D-4857-BD0F-AFC44A54BCCF}" dt="2021-05-25T14:20:13.214" v="29928" actId="790"/>
          <ac:spMkLst>
            <pc:docMk/>
            <pc:sldMk cId="407516052" sldId="10409"/>
            <ac:spMk id="169" creationId="{7881ABC3-A97B-4E90-939F-E48D9595FFFF}"/>
          </ac:spMkLst>
        </pc:spChg>
        <pc:spChg chg="mod ord">
          <ac:chgData name="Ugo MANTEL" userId="2d5b7065-31bb-4181-a7f8-a73bf0c30211" providerId="ADAL" clId="{9344D105-636D-4857-BD0F-AFC44A54BCCF}" dt="2021-05-25T14:20:13.213" v="29926" actId="790"/>
          <ac:spMkLst>
            <pc:docMk/>
            <pc:sldMk cId="407516052" sldId="10409"/>
            <ac:spMk id="170" creationId="{A886CA56-9620-415B-9489-A004AB6EB706}"/>
          </ac:spMkLst>
        </pc:spChg>
        <pc:spChg chg="mod ord">
          <ac:chgData name="Ugo MANTEL" userId="2d5b7065-31bb-4181-a7f8-a73bf0c30211" providerId="ADAL" clId="{9344D105-636D-4857-BD0F-AFC44A54BCCF}" dt="2021-05-25T14:20:13.233" v="29944" actId="790"/>
          <ac:spMkLst>
            <pc:docMk/>
            <pc:sldMk cId="407516052" sldId="10409"/>
            <ac:spMk id="171" creationId="{BCC6DEFD-6FEB-4777-9432-E3B2F5C51000}"/>
          </ac:spMkLst>
        </pc:spChg>
        <pc:spChg chg="mod ord">
          <ac:chgData name="Ugo MANTEL" userId="2d5b7065-31bb-4181-a7f8-a73bf0c30211" providerId="ADAL" clId="{9344D105-636D-4857-BD0F-AFC44A54BCCF}" dt="2021-05-25T14:20:13.234" v="29945" actId="790"/>
          <ac:spMkLst>
            <pc:docMk/>
            <pc:sldMk cId="407516052" sldId="10409"/>
            <ac:spMk id="172" creationId="{04568322-5012-422B-991D-C9A4712E25C9}"/>
          </ac:spMkLst>
        </pc:spChg>
        <pc:spChg chg="add mod ord">
          <ac:chgData name="Ugo MANTEL" userId="2d5b7065-31bb-4181-a7f8-a73bf0c30211" providerId="ADAL" clId="{9344D105-636D-4857-BD0F-AFC44A54BCCF}" dt="2021-05-25T14:20:13.262" v="29968" actId="790"/>
          <ac:spMkLst>
            <pc:docMk/>
            <pc:sldMk cId="407516052" sldId="10409"/>
            <ac:spMk id="173" creationId="{8CD6CBBD-11CE-42DF-84FB-AADE7AE166F4}"/>
          </ac:spMkLst>
        </pc:spChg>
        <pc:spChg chg="add mod ord">
          <ac:chgData name="Ugo MANTEL" userId="2d5b7065-31bb-4181-a7f8-a73bf0c30211" providerId="ADAL" clId="{9344D105-636D-4857-BD0F-AFC44A54BCCF}" dt="2021-05-25T14:20:13.263" v="29969" actId="790"/>
          <ac:spMkLst>
            <pc:docMk/>
            <pc:sldMk cId="407516052" sldId="10409"/>
            <ac:spMk id="174" creationId="{291707F1-A86E-4428-9CA3-A2CF01A2E4E6}"/>
          </ac:spMkLst>
        </pc:spChg>
        <pc:spChg chg="add mod ord">
          <ac:chgData name="Ugo MANTEL" userId="2d5b7065-31bb-4181-a7f8-a73bf0c30211" providerId="ADAL" clId="{9344D105-636D-4857-BD0F-AFC44A54BCCF}" dt="2021-05-25T14:20:13.264" v="29970" actId="790"/>
          <ac:spMkLst>
            <pc:docMk/>
            <pc:sldMk cId="407516052" sldId="10409"/>
            <ac:spMk id="175" creationId="{1C503FC7-4ED7-4733-917B-304AB825202B}"/>
          </ac:spMkLst>
        </pc:spChg>
        <pc:spChg chg="add mod ord">
          <ac:chgData name="Ugo MANTEL" userId="2d5b7065-31bb-4181-a7f8-a73bf0c30211" providerId="ADAL" clId="{9344D105-636D-4857-BD0F-AFC44A54BCCF}" dt="2021-05-25T14:20:13.264" v="29971" actId="790"/>
          <ac:spMkLst>
            <pc:docMk/>
            <pc:sldMk cId="407516052" sldId="10409"/>
            <ac:spMk id="176" creationId="{E97BB183-A78F-41E4-B6CF-95563991C411}"/>
          </ac:spMkLst>
        </pc:spChg>
        <pc:spChg chg="add mod ord">
          <ac:chgData name="Ugo MANTEL" userId="2d5b7065-31bb-4181-a7f8-a73bf0c30211" providerId="ADAL" clId="{9344D105-636D-4857-BD0F-AFC44A54BCCF}" dt="2021-05-25T14:20:13.265" v="29972" actId="790"/>
          <ac:spMkLst>
            <pc:docMk/>
            <pc:sldMk cId="407516052" sldId="10409"/>
            <ac:spMk id="177" creationId="{2B68C32F-C2AD-400A-8C8D-B9682D57B838}"/>
          </ac:spMkLst>
        </pc:spChg>
        <pc:spChg chg="add mod ord">
          <ac:chgData name="Ugo MANTEL" userId="2d5b7065-31bb-4181-a7f8-a73bf0c30211" providerId="ADAL" clId="{9344D105-636D-4857-BD0F-AFC44A54BCCF}" dt="2021-05-25T14:20:13.266" v="29973" actId="790"/>
          <ac:spMkLst>
            <pc:docMk/>
            <pc:sldMk cId="407516052" sldId="10409"/>
            <ac:spMk id="178" creationId="{5A8AC7B5-F0BC-495E-BDDE-31227A11846F}"/>
          </ac:spMkLst>
        </pc:spChg>
        <pc:spChg chg="del mod ord">
          <ac:chgData name="Ugo MANTEL" userId="2d5b7065-31bb-4181-a7f8-a73bf0c30211" providerId="ADAL" clId="{9344D105-636D-4857-BD0F-AFC44A54BCCF}" dt="2021-05-25T14:54:47.403" v="37421" actId="478"/>
          <ac:spMkLst>
            <pc:docMk/>
            <pc:sldMk cId="407516052" sldId="10409"/>
            <ac:spMk id="188" creationId="{3D8A8032-97B9-4BBE-B927-45BC220C8D1A}"/>
          </ac:spMkLst>
        </pc:spChg>
        <pc:spChg chg="del mod ord">
          <ac:chgData name="Ugo MANTEL" userId="2d5b7065-31bb-4181-a7f8-a73bf0c30211" providerId="ADAL" clId="{9344D105-636D-4857-BD0F-AFC44A54BCCF}" dt="2021-05-25T14:54:47.403" v="37421" actId="478"/>
          <ac:spMkLst>
            <pc:docMk/>
            <pc:sldMk cId="407516052" sldId="10409"/>
            <ac:spMk id="189" creationId="{56497B0A-483E-4AAB-905A-C3F0FDEC0D02}"/>
          </ac:spMkLst>
        </pc:spChg>
        <pc:spChg chg="mod">
          <ac:chgData name="Ugo MANTEL" userId="2d5b7065-31bb-4181-a7f8-a73bf0c30211" providerId="ADAL" clId="{9344D105-636D-4857-BD0F-AFC44A54BCCF}" dt="2021-05-25T14:54:47.766" v="37422"/>
          <ac:spMkLst>
            <pc:docMk/>
            <pc:sldMk cId="407516052" sldId="10409"/>
            <ac:spMk id="190" creationId="{8E12A1D3-5D36-4574-822C-40EBEE8EEBEE}"/>
          </ac:spMkLst>
        </pc:spChg>
        <pc:spChg chg="add mod">
          <ac:chgData name="Ugo MANTEL" userId="2d5b7065-31bb-4181-a7f8-a73bf0c30211" providerId="ADAL" clId="{9344D105-636D-4857-BD0F-AFC44A54BCCF}" dt="2021-05-25T14:54:47.766" v="37422"/>
          <ac:spMkLst>
            <pc:docMk/>
            <pc:sldMk cId="407516052" sldId="10409"/>
            <ac:spMk id="191" creationId="{6E5AAC04-65DB-4FC9-A58E-2113EC7734CF}"/>
          </ac:spMkLst>
        </pc:spChg>
        <pc:spChg chg="add mod">
          <ac:chgData name="Ugo MANTEL" userId="2d5b7065-31bb-4181-a7f8-a73bf0c30211" providerId="ADAL" clId="{9344D105-636D-4857-BD0F-AFC44A54BCCF}" dt="2021-05-25T14:54:47.766" v="37422"/>
          <ac:spMkLst>
            <pc:docMk/>
            <pc:sldMk cId="407516052" sldId="10409"/>
            <ac:spMk id="192" creationId="{CB83C42B-1E78-4379-AC54-9237C3FCE0DD}"/>
          </ac:spMkLst>
        </pc:spChg>
        <pc:spChg chg="add del mod">
          <ac:chgData name="Ugo MANTEL" userId="2d5b7065-31bb-4181-a7f8-a73bf0c30211" providerId="ADAL" clId="{9344D105-636D-4857-BD0F-AFC44A54BCCF}" dt="2021-05-25T14:55:07.708" v="37423" actId="478"/>
          <ac:spMkLst>
            <pc:docMk/>
            <pc:sldMk cId="407516052" sldId="10409"/>
            <ac:spMk id="194" creationId="{BAFA7C2D-625C-4CFB-9935-104FA7AADCE9}"/>
          </ac:spMkLst>
        </pc:spChg>
        <pc:spChg chg="mod ord">
          <ac:chgData name="Ugo MANTEL" userId="2d5b7065-31bb-4181-a7f8-a73bf0c30211" providerId="ADAL" clId="{9344D105-636D-4857-BD0F-AFC44A54BCCF}" dt="2021-05-25T14:20:13.247" v="29960" actId="790"/>
          <ac:spMkLst>
            <pc:docMk/>
            <pc:sldMk cId="407516052" sldId="10409"/>
            <ac:spMk id="197" creationId="{EB1ED8EE-1371-4F31-B475-A7FD22F01C88}"/>
          </ac:spMkLst>
        </pc:spChg>
        <pc:spChg chg="mod ord">
          <ac:chgData name="Ugo MANTEL" userId="2d5b7065-31bb-4181-a7f8-a73bf0c30211" providerId="ADAL" clId="{9344D105-636D-4857-BD0F-AFC44A54BCCF}" dt="2021-05-25T14:20:13.248" v="29961" actId="790"/>
          <ac:spMkLst>
            <pc:docMk/>
            <pc:sldMk cId="407516052" sldId="10409"/>
            <ac:spMk id="212" creationId="{F492C173-DFD6-47CF-9BB4-C8925127E1EE}"/>
          </ac:spMkLst>
        </pc:spChg>
        <pc:spChg chg="del mod">
          <ac:chgData name="Ugo MANTEL" userId="2d5b7065-31bb-4181-a7f8-a73bf0c30211" providerId="ADAL" clId="{9344D105-636D-4857-BD0F-AFC44A54BCCF}" dt="2021-05-25T13:43:41.190" v="20255" actId="478"/>
          <ac:spMkLst>
            <pc:docMk/>
            <pc:sldMk cId="407516052" sldId="10409"/>
            <ac:spMk id="1025" creationId="{308FC967-D46E-4BB5-97B6-0297E9035F94}"/>
          </ac:spMkLst>
        </pc:spChg>
        <pc:spChg chg="mod ord">
          <ac:chgData name="Ugo MANTEL" userId="2d5b7065-31bb-4181-a7f8-a73bf0c30211" providerId="ADAL" clId="{9344D105-636D-4857-BD0F-AFC44A54BCCF}" dt="2021-05-25T14:20:13.230" v="29939" actId="790"/>
          <ac:spMkLst>
            <pc:docMk/>
            <pc:sldMk cId="407516052" sldId="10409"/>
            <ac:spMk id="1031" creationId="{A3845A5C-C65F-4C44-AE3B-D3285DF51268}"/>
          </ac:spMkLst>
        </pc:spChg>
        <pc:spChg chg="mod ord">
          <ac:chgData name="Ugo MANTEL" userId="2d5b7065-31bb-4181-a7f8-a73bf0c30211" providerId="ADAL" clId="{9344D105-636D-4857-BD0F-AFC44A54BCCF}" dt="2021-05-25T14:20:13.230" v="29940" actId="790"/>
          <ac:spMkLst>
            <pc:docMk/>
            <pc:sldMk cId="407516052" sldId="10409"/>
            <ac:spMk id="1035" creationId="{9164A53F-4711-41A4-BE3D-8D2F4243A495}"/>
          </ac:spMkLst>
        </pc:spChg>
        <pc:spChg chg="mod ord">
          <ac:chgData name="Ugo MANTEL" userId="2d5b7065-31bb-4181-a7f8-a73bf0c30211" providerId="ADAL" clId="{9344D105-636D-4857-BD0F-AFC44A54BCCF}" dt="2021-05-25T14:20:13.215" v="29929" actId="790"/>
          <ac:spMkLst>
            <pc:docMk/>
            <pc:sldMk cId="407516052" sldId="10409"/>
            <ac:spMk id="4107" creationId="{EBC573C8-C4E3-432A-81F7-B99236DF594A}"/>
          </ac:spMkLst>
        </pc:spChg>
        <pc:grpChg chg="mod">
          <ac:chgData name="Ugo MANTEL" userId="2d5b7065-31bb-4181-a7f8-a73bf0c30211" providerId="ADAL" clId="{9344D105-636D-4857-BD0F-AFC44A54BCCF}" dt="2021-05-25T13:44:39.503" v="20372"/>
          <ac:grpSpMkLst>
            <pc:docMk/>
            <pc:sldMk cId="407516052" sldId="10409"/>
            <ac:grpSpMk id="15" creationId="{3A493680-7E8B-413F-855F-F6986323747B}"/>
          </ac:grpSpMkLst>
        </pc:grpChg>
        <pc:grpChg chg="add del mod">
          <ac:chgData name="Ugo MANTEL" userId="2d5b7065-31bb-4181-a7f8-a73bf0c30211" providerId="ADAL" clId="{9344D105-636D-4857-BD0F-AFC44A54BCCF}" dt="2021-05-24T14:58:46.831" v="8692" actId="165"/>
          <ac:grpSpMkLst>
            <pc:docMk/>
            <pc:sldMk cId="407516052" sldId="10409"/>
            <ac:grpSpMk id="25" creationId="{719F3FBB-04BD-4F74-9E6A-D46721F38E87}"/>
          </ac:grpSpMkLst>
        </pc:grpChg>
        <pc:grpChg chg="mod">
          <ac:chgData name="Ugo MANTEL" userId="2d5b7065-31bb-4181-a7f8-a73bf0c30211" providerId="ADAL" clId="{9344D105-636D-4857-BD0F-AFC44A54BCCF}" dt="2021-05-25T13:44:39.494" v="20332"/>
          <ac:grpSpMkLst>
            <pc:docMk/>
            <pc:sldMk cId="407516052" sldId="10409"/>
            <ac:grpSpMk id="109" creationId="{DA05C7C7-7C16-496C-87D6-257145CDEEC2}"/>
          </ac:grpSpMkLst>
        </pc:grpChg>
        <pc:grpChg chg="mod">
          <ac:chgData name="Ugo MANTEL" userId="2d5b7065-31bb-4181-a7f8-a73bf0c30211" providerId="ADAL" clId="{9344D105-636D-4857-BD0F-AFC44A54BCCF}" dt="2021-05-25T13:44:39.507" v="20396"/>
          <ac:grpSpMkLst>
            <pc:docMk/>
            <pc:sldMk cId="407516052" sldId="10409"/>
            <ac:grpSpMk id="118" creationId="{BC25C9F3-79A7-4095-AE8A-647B9EB47ED2}"/>
          </ac:grpSpMkLst>
        </pc:grpChg>
        <pc:grpChg chg="mod">
          <ac:chgData name="Ugo MANTEL" userId="2d5b7065-31bb-4181-a7f8-a73bf0c30211" providerId="ADAL" clId="{9344D105-636D-4857-BD0F-AFC44A54BCCF}" dt="2021-05-25T13:44:39.494" v="20334"/>
          <ac:grpSpMkLst>
            <pc:docMk/>
            <pc:sldMk cId="407516052" sldId="10409"/>
            <ac:grpSpMk id="127" creationId="{F8B61F7D-3CEC-4816-9A96-4F8E6B9C9272}"/>
          </ac:grpSpMkLst>
        </pc:grpChg>
        <pc:grpChg chg="add mod">
          <ac:chgData name="Ugo MANTEL" userId="2d5b7065-31bb-4181-a7f8-a73bf0c30211" providerId="ADAL" clId="{9344D105-636D-4857-BD0F-AFC44A54BCCF}" dt="2021-05-25T14:54:47.766" v="37422"/>
          <ac:grpSpMkLst>
            <pc:docMk/>
            <pc:sldMk cId="407516052" sldId="10409"/>
            <ac:grpSpMk id="145" creationId="{37B1BF92-A388-4016-862D-0E20631426F0}"/>
          </ac:grpSpMkLst>
        </pc:grpChg>
        <pc:grpChg chg="mod">
          <ac:chgData name="Ugo MANTEL" userId="2d5b7065-31bb-4181-a7f8-a73bf0c30211" providerId="ADAL" clId="{9344D105-636D-4857-BD0F-AFC44A54BCCF}" dt="2021-05-25T13:44:39.504" v="20377"/>
          <ac:grpSpMkLst>
            <pc:docMk/>
            <pc:sldMk cId="407516052" sldId="10409"/>
            <ac:grpSpMk id="147" creationId="{0EAFAB15-20CA-4736-9CC6-0CC44E23C5DB}"/>
          </ac:grpSpMkLst>
        </pc:grpChg>
        <pc:grpChg chg="add mod">
          <ac:chgData name="Ugo MANTEL" userId="2d5b7065-31bb-4181-a7f8-a73bf0c30211" providerId="ADAL" clId="{9344D105-636D-4857-BD0F-AFC44A54BCCF}" dt="2021-05-25T14:54:47.766" v="37422"/>
          <ac:grpSpMkLst>
            <pc:docMk/>
            <pc:sldMk cId="407516052" sldId="10409"/>
            <ac:grpSpMk id="161" creationId="{A86226DA-F227-4807-95CF-DD0009D5C561}"/>
          </ac:grpSpMkLst>
        </pc:grpChg>
        <pc:grpChg chg="del mod">
          <ac:chgData name="Ugo MANTEL" userId="2d5b7065-31bb-4181-a7f8-a73bf0c30211" providerId="ADAL" clId="{9344D105-636D-4857-BD0F-AFC44A54BCCF}" dt="2021-05-25T14:54:47.403" v="37421" actId="478"/>
          <ac:grpSpMkLst>
            <pc:docMk/>
            <pc:sldMk cId="407516052" sldId="10409"/>
            <ac:grpSpMk id="182" creationId="{3C171D3A-68AB-4320-A46E-A53E191F10BE}"/>
          </ac:grpSpMkLst>
        </pc:grpChg>
        <pc:grpChg chg="del mod">
          <ac:chgData name="Ugo MANTEL" userId="2d5b7065-31bb-4181-a7f8-a73bf0c30211" providerId="ADAL" clId="{9344D105-636D-4857-BD0F-AFC44A54BCCF}" dt="2021-05-25T14:54:47.403" v="37421" actId="478"/>
          <ac:grpSpMkLst>
            <pc:docMk/>
            <pc:sldMk cId="407516052" sldId="10409"/>
            <ac:grpSpMk id="185" creationId="{E94D70B1-B176-414C-B536-9BB23966D43E}"/>
          </ac:grpSpMkLst>
        </pc:grpChg>
        <pc:graphicFrameChg chg="mod">
          <ac:chgData name="Ugo MANTEL" userId="2d5b7065-31bb-4181-a7f8-a73bf0c30211" providerId="ADAL" clId="{9344D105-636D-4857-BD0F-AFC44A54BCCF}" dt="2021-05-25T13:44:39.517" v="20441"/>
          <ac:graphicFrameMkLst>
            <pc:docMk/>
            <pc:sldMk cId="407516052" sldId="10409"/>
            <ac:graphicFrameMk id="17" creationId="{FF44A7FF-DA1D-48E9-88AF-BFA57A1D74D1}"/>
          </ac:graphicFrameMkLst>
        </pc:graphicFrameChg>
        <pc:picChg chg="mod">
          <ac:chgData name="Ugo MANTEL" userId="2d5b7065-31bb-4181-a7f8-a73bf0c30211" providerId="ADAL" clId="{9344D105-636D-4857-BD0F-AFC44A54BCCF}" dt="2021-05-25T13:44:39.486" v="20288"/>
          <ac:picMkLst>
            <pc:docMk/>
            <pc:sldMk cId="407516052" sldId="10409"/>
            <ac:picMk id="40" creationId="{6973F59E-1207-42B8-8B66-3703D3A33B05}"/>
          </ac:picMkLst>
        </pc:picChg>
        <pc:picChg chg="mod">
          <ac:chgData name="Ugo MANTEL" userId="2d5b7065-31bb-4181-a7f8-a73bf0c30211" providerId="ADAL" clId="{9344D105-636D-4857-BD0F-AFC44A54BCCF}" dt="2021-05-25T13:44:39.486" v="20289"/>
          <ac:picMkLst>
            <pc:docMk/>
            <pc:sldMk cId="407516052" sldId="10409"/>
            <ac:picMk id="41" creationId="{8ADC216A-F93F-421D-872E-AFDDDE309ED2}"/>
          </ac:picMkLst>
        </pc:picChg>
        <pc:picChg chg="mod ord">
          <ac:chgData name="Ugo MANTEL" userId="2d5b7065-31bb-4181-a7f8-a73bf0c30211" providerId="ADAL" clId="{9344D105-636D-4857-BD0F-AFC44A54BCCF}" dt="2021-05-25T13:44:39.492" v="20325"/>
          <ac:picMkLst>
            <pc:docMk/>
            <pc:sldMk cId="407516052" sldId="10409"/>
            <ac:picMk id="57" creationId="{7942C9D1-CC4E-494E-B1BA-B41C956CB052}"/>
          </ac:picMkLst>
        </pc:picChg>
        <pc:picChg chg="mod ord">
          <ac:chgData name="Ugo MANTEL" userId="2d5b7065-31bb-4181-a7f8-a73bf0c30211" providerId="ADAL" clId="{9344D105-636D-4857-BD0F-AFC44A54BCCF}" dt="2021-05-25T13:44:39.492" v="20320"/>
          <ac:picMkLst>
            <pc:docMk/>
            <pc:sldMk cId="407516052" sldId="10409"/>
            <ac:picMk id="60" creationId="{7AEB38C8-2556-4BC2-9E79-6253524A0CCD}"/>
          </ac:picMkLst>
        </pc:picChg>
        <pc:picChg chg="mod ord">
          <ac:chgData name="Ugo MANTEL" userId="2d5b7065-31bb-4181-a7f8-a73bf0c30211" providerId="ADAL" clId="{9344D105-636D-4857-BD0F-AFC44A54BCCF}" dt="2021-05-25T13:44:39.492" v="20322"/>
          <ac:picMkLst>
            <pc:docMk/>
            <pc:sldMk cId="407516052" sldId="10409"/>
            <ac:picMk id="61" creationId="{FF1C9A56-12FF-44D7-90CE-6B642AC09E35}"/>
          </ac:picMkLst>
        </pc:picChg>
        <pc:picChg chg="mod ord">
          <ac:chgData name="Ugo MANTEL" userId="2d5b7065-31bb-4181-a7f8-a73bf0c30211" providerId="ADAL" clId="{9344D105-636D-4857-BD0F-AFC44A54BCCF}" dt="2021-05-25T13:44:39.485" v="20283"/>
          <ac:picMkLst>
            <pc:docMk/>
            <pc:sldMk cId="407516052" sldId="10409"/>
            <ac:picMk id="65" creationId="{245D2F08-96C5-499A-9CAA-7A69709E63DB}"/>
          </ac:picMkLst>
        </pc:picChg>
        <pc:picChg chg="mod ord">
          <ac:chgData name="Ugo MANTEL" userId="2d5b7065-31bb-4181-a7f8-a73bf0c30211" providerId="ADAL" clId="{9344D105-636D-4857-BD0F-AFC44A54BCCF}" dt="2021-05-25T13:44:39.494" v="20331"/>
          <ac:picMkLst>
            <pc:docMk/>
            <pc:sldMk cId="407516052" sldId="10409"/>
            <ac:picMk id="103" creationId="{520C1FAC-FCFE-4A89-9DA8-09CB29181CA9}"/>
          </ac:picMkLst>
        </pc:picChg>
        <pc:picChg chg="mod">
          <ac:chgData name="Ugo MANTEL" userId="2d5b7065-31bb-4181-a7f8-a73bf0c30211" providerId="ADAL" clId="{9344D105-636D-4857-BD0F-AFC44A54BCCF}" dt="2021-05-25T13:44:39.497" v="20351"/>
          <ac:picMkLst>
            <pc:docMk/>
            <pc:sldMk cId="407516052" sldId="10409"/>
            <ac:picMk id="105" creationId="{3DA39742-9DCB-4AB2-9681-35F7ACA3416B}"/>
          </ac:picMkLst>
        </pc:picChg>
        <pc:picChg chg="mod ord">
          <ac:chgData name="Ugo MANTEL" userId="2d5b7065-31bb-4181-a7f8-a73bf0c30211" providerId="ADAL" clId="{9344D105-636D-4857-BD0F-AFC44A54BCCF}" dt="2021-05-25T13:44:39.506" v="20387"/>
          <ac:picMkLst>
            <pc:docMk/>
            <pc:sldMk cId="407516052" sldId="10409"/>
            <ac:picMk id="106" creationId="{45AA7DA4-1D8B-49F9-8B16-D31A557ECCB2}"/>
          </ac:picMkLst>
        </pc:picChg>
        <pc:picChg chg="mod ord">
          <ac:chgData name="Ugo MANTEL" userId="2d5b7065-31bb-4181-a7f8-a73bf0c30211" providerId="ADAL" clId="{9344D105-636D-4857-BD0F-AFC44A54BCCF}" dt="2021-05-25T13:44:39.499" v="20358"/>
          <ac:picMkLst>
            <pc:docMk/>
            <pc:sldMk cId="407516052" sldId="10409"/>
            <ac:picMk id="110" creationId="{0CA5CCEF-DC39-4724-9838-CB259D062516}"/>
          </ac:picMkLst>
        </pc:picChg>
        <pc:picChg chg="mod">
          <ac:chgData name="Ugo MANTEL" userId="2d5b7065-31bb-4181-a7f8-a73bf0c30211" providerId="ADAL" clId="{9344D105-636D-4857-BD0F-AFC44A54BCCF}" dt="2021-05-25T13:44:39.487" v="20292"/>
          <ac:picMkLst>
            <pc:docMk/>
            <pc:sldMk cId="407516052" sldId="10409"/>
            <ac:picMk id="133" creationId="{7F1DB51F-C3C4-4004-BEC5-B5A70E27A587}"/>
          </ac:picMkLst>
        </pc:picChg>
        <pc:picChg chg="mod ord">
          <ac:chgData name="Ugo MANTEL" userId="2d5b7065-31bb-4181-a7f8-a73bf0c30211" providerId="ADAL" clId="{9344D105-636D-4857-BD0F-AFC44A54BCCF}" dt="2021-05-25T13:44:39.487" v="20294"/>
          <ac:picMkLst>
            <pc:docMk/>
            <pc:sldMk cId="407516052" sldId="10409"/>
            <ac:picMk id="135" creationId="{F5FDB84F-EBA7-4981-8B69-6515109C67B8}"/>
          </ac:picMkLst>
        </pc:picChg>
        <pc:picChg chg="mod">
          <ac:chgData name="Ugo MANTEL" userId="2d5b7065-31bb-4181-a7f8-a73bf0c30211" providerId="ADAL" clId="{9344D105-636D-4857-BD0F-AFC44A54BCCF}" dt="2021-05-25T13:44:39.507" v="20397"/>
          <ac:picMkLst>
            <pc:docMk/>
            <pc:sldMk cId="407516052" sldId="10409"/>
            <ac:picMk id="136" creationId="{C1C4D9A0-B3FD-4D1A-889E-ECC5426C839C}"/>
          </ac:picMkLst>
        </pc:picChg>
        <pc:picChg chg="mod ord">
          <ac:chgData name="Ugo MANTEL" userId="2d5b7065-31bb-4181-a7f8-a73bf0c30211" providerId="ADAL" clId="{9344D105-636D-4857-BD0F-AFC44A54BCCF}" dt="2021-05-25T13:44:39.508" v="20399"/>
          <ac:picMkLst>
            <pc:docMk/>
            <pc:sldMk cId="407516052" sldId="10409"/>
            <ac:picMk id="137" creationId="{A370B89E-4F8E-436B-9893-32EDEBD8B655}"/>
          </ac:picMkLst>
        </pc:picChg>
        <pc:picChg chg="mod ord">
          <ac:chgData name="Ugo MANTEL" userId="2d5b7065-31bb-4181-a7f8-a73bf0c30211" providerId="ADAL" clId="{9344D105-636D-4857-BD0F-AFC44A54BCCF}" dt="2021-05-25T13:44:39.508" v="20401"/>
          <ac:picMkLst>
            <pc:docMk/>
            <pc:sldMk cId="407516052" sldId="10409"/>
            <ac:picMk id="138" creationId="{CBB90DF5-A81B-4769-8721-F633C335BBD2}"/>
          </ac:picMkLst>
        </pc:picChg>
        <pc:picChg chg="mod ord">
          <ac:chgData name="Ugo MANTEL" userId="2d5b7065-31bb-4181-a7f8-a73bf0c30211" providerId="ADAL" clId="{9344D105-636D-4857-BD0F-AFC44A54BCCF}" dt="2021-05-25T13:44:39.508" v="20403"/>
          <ac:picMkLst>
            <pc:docMk/>
            <pc:sldMk cId="407516052" sldId="10409"/>
            <ac:picMk id="139" creationId="{0B7F1094-9A91-4762-96EF-56F823FFA3CE}"/>
          </ac:picMkLst>
        </pc:picChg>
        <pc:picChg chg="mod ord">
          <ac:chgData name="Ugo MANTEL" userId="2d5b7065-31bb-4181-a7f8-a73bf0c30211" providerId="ADAL" clId="{9344D105-636D-4857-BD0F-AFC44A54BCCF}" dt="2021-05-25T13:44:39.487" v="20296"/>
          <ac:picMkLst>
            <pc:docMk/>
            <pc:sldMk cId="407516052" sldId="10409"/>
            <ac:picMk id="140" creationId="{BDDFF07A-3F81-4810-BD89-00A6B35E2F45}"/>
          </ac:picMkLst>
        </pc:picChg>
        <pc:picChg chg="mod ord">
          <ac:chgData name="Ugo MANTEL" userId="2d5b7065-31bb-4181-a7f8-a73bf0c30211" providerId="ADAL" clId="{9344D105-636D-4857-BD0F-AFC44A54BCCF}" dt="2021-05-25T13:44:39.488" v="20298"/>
          <ac:picMkLst>
            <pc:docMk/>
            <pc:sldMk cId="407516052" sldId="10409"/>
            <ac:picMk id="141" creationId="{0F37936A-CC86-414F-B499-97301D50D3BA}"/>
          </ac:picMkLst>
        </pc:picChg>
        <pc:picChg chg="add mod ord">
          <ac:chgData name="Ugo MANTEL" userId="2d5b7065-31bb-4181-a7f8-a73bf0c30211" providerId="ADAL" clId="{9344D105-636D-4857-BD0F-AFC44A54BCCF}" dt="2021-05-25T13:44:39.481" v="20269"/>
          <ac:picMkLst>
            <pc:docMk/>
            <pc:sldMk cId="407516052" sldId="10409"/>
            <ac:picMk id="142" creationId="{D3686E4D-577B-4742-B91A-A9E82993D6B1}"/>
          </ac:picMkLst>
        </pc:picChg>
        <pc:picChg chg="mod ord">
          <ac:chgData name="Ugo MANTEL" userId="2d5b7065-31bb-4181-a7f8-a73bf0c30211" providerId="ADAL" clId="{9344D105-636D-4857-BD0F-AFC44A54BCCF}" dt="2021-05-25T13:44:39.488" v="20300"/>
          <ac:picMkLst>
            <pc:docMk/>
            <pc:sldMk cId="407516052" sldId="10409"/>
            <ac:picMk id="144" creationId="{C3978EDA-C662-4868-8A2C-663543998CB1}"/>
          </ac:picMkLst>
        </pc:picChg>
        <pc:picChg chg="mod">
          <ac:chgData name="Ugo MANTEL" userId="2d5b7065-31bb-4181-a7f8-a73bf0c30211" providerId="ADAL" clId="{9344D105-636D-4857-BD0F-AFC44A54BCCF}" dt="2021-05-25T13:44:39.509" v="20404"/>
          <ac:picMkLst>
            <pc:docMk/>
            <pc:sldMk cId="407516052" sldId="10409"/>
            <ac:picMk id="146" creationId="{C58542C7-3C3D-496B-BFFE-843216B5F31C}"/>
          </ac:picMkLst>
        </pc:picChg>
        <pc:picChg chg="mod ord">
          <ac:chgData name="Ugo MANTEL" userId="2d5b7065-31bb-4181-a7f8-a73bf0c30211" providerId="ADAL" clId="{9344D105-636D-4857-BD0F-AFC44A54BCCF}" dt="2021-05-25T13:44:39.509" v="20406"/>
          <ac:picMkLst>
            <pc:docMk/>
            <pc:sldMk cId="407516052" sldId="10409"/>
            <ac:picMk id="153" creationId="{FA990F37-D4B0-493A-8D69-669C2E8103C7}"/>
          </ac:picMkLst>
        </pc:picChg>
        <pc:picChg chg="mod">
          <ac:chgData name="Ugo MANTEL" userId="2d5b7065-31bb-4181-a7f8-a73bf0c30211" providerId="ADAL" clId="{9344D105-636D-4857-BD0F-AFC44A54BCCF}" dt="2021-05-25T13:44:39.509" v="20407"/>
          <ac:picMkLst>
            <pc:docMk/>
            <pc:sldMk cId="407516052" sldId="10409"/>
            <ac:picMk id="155" creationId="{14B39C0C-8DB3-45E4-A732-D02C24319E07}"/>
          </ac:picMkLst>
        </pc:picChg>
        <pc:picChg chg="mod ord">
          <ac:chgData name="Ugo MANTEL" userId="2d5b7065-31bb-4181-a7f8-a73bf0c30211" providerId="ADAL" clId="{9344D105-636D-4857-BD0F-AFC44A54BCCF}" dt="2021-05-25T13:44:39.510" v="20409"/>
          <ac:picMkLst>
            <pc:docMk/>
            <pc:sldMk cId="407516052" sldId="10409"/>
            <ac:picMk id="156" creationId="{668936B5-E71A-476A-9263-D2F15AC7B385}"/>
          </ac:picMkLst>
        </pc:picChg>
        <pc:picChg chg="mod">
          <ac:chgData name="Ugo MANTEL" userId="2d5b7065-31bb-4181-a7f8-a73bf0c30211" providerId="ADAL" clId="{9344D105-636D-4857-BD0F-AFC44A54BCCF}" dt="2021-05-25T13:44:39.510" v="20410"/>
          <ac:picMkLst>
            <pc:docMk/>
            <pc:sldMk cId="407516052" sldId="10409"/>
            <ac:picMk id="157" creationId="{4CC2688E-9654-49D6-842D-BA71488DCCE0}"/>
          </ac:picMkLst>
        </pc:picChg>
        <pc:picChg chg="mod ord">
          <ac:chgData name="Ugo MANTEL" userId="2d5b7065-31bb-4181-a7f8-a73bf0c30211" providerId="ADAL" clId="{9344D105-636D-4857-BD0F-AFC44A54BCCF}" dt="2021-05-25T13:44:39.510" v="20412"/>
          <ac:picMkLst>
            <pc:docMk/>
            <pc:sldMk cId="407516052" sldId="10409"/>
            <ac:picMk id="158" creationId="{64B78A6A-0B42-4CBD-A11F-F2E2734AB4F6}"/>
          </ac:picMkLst>
        </pc:picChg>
        <pc:picChg chg="mod ord">
          <ac:chgData name="Ugo MANTEL" userId="2d5b7065-31bb-4181-a7f8-a73bf0c30211" providerId="ADAL" clId="{9344D105-636D-4857-BD0F-AFC44A54BCCF}" dt="2021-05-25T13:44:39.496" v="20344"/>
          <ac:picMkLst>
            <pc:docMk/>
            <pc:sldMk cId="407516052" sldId="10409"/>
            <ac:picMk id="167" creationId="{BC814D15-0E72-41F9-9944-FFAFD64289C8}"/>
          </ac:picMkLst>
        </pc:picChg>
        <pc:picChg chg="mod">
          <ac:chgData name="Ugo MANTEL" userId="2d5b7065-31bb-4181-a7f8-a73bf0c30211" providerId="ADAL" clId="{9344D105-636D-4857-BD0F-AFC44A54BCCF}" dt="2021-05-25T13:44:39.510" v="20413"/>
          <ac:picMkLst>
            <pc:docMk/>
            <pc:sldMk cId="407516052" sldId="10409"/>
            <ac:picMk id="179" creationId="{2DF48139-CE46-4EE0-86ED-894DDA70D284}"/>
          </ac:picMkLst>
        </pc:picChg>
        <pc:picChg chg="mod">
          <ac:chgData name="Ugo MANTEL" userId="2d5b7065-31bb-4181-a7f8-a73bf0c30211" providerId="ADAL" clId="{9344D105-636D-4857-BD0F-AFC44A54BCCF}" dt="2021-05-25T13:44:39.511" v="20414"/>
          <ac:picMkLst>
            <pc:docMk/>
            <pc:sldMk cId="407516052" sldId="10409"/>
            <ac:picMk id="180" creationId="{1D52A254-BE00-475B-A1AF-450F691E213A}"/>
          </ac:picMkLst>
        </pc:picChg>
        <pc:picChg chg="mod">
          <ac:chgData name="Ugo MANTEL" userId="2d5b7065-31bb-4181-a7f8-a73bf0c30211" providerId="ADAL" clId="{9344D105-636D-4857-BD0F-AFC44A54BCCF}" dt="2021-05-25T13:44:39.511" v="20415"/>
          <ac:picMkLst>
            <pc:docMk/>
            <pc:sldMk cId="407516052" sldId="10409"/>
            <ac:picMk id="181" creationId="{F2029AFC-1CA6-48EC-ADF9-D18052875FB3}"/>
          </ac:picMkLst>
        </pc:picChg>
        <pc:picChg chg="add del mod">
          <ac:chgData name="Ugo MANTEL" userId="2d5b7065-31bb-4181-a7f8-a73bf0c30211" providerId="ADAL" clId="{9344D105-636D-4857-BD0F-AFC44A54BCCF}" dt="2021-05-25T14:55:07.708" v="37423" actId="478"/>
          <ac:picMkLst>
            <pc:docMk/>
            <pc:sldMk cId="407516052" sldId="10409"/>
            <ac:picMk id="193" creationId="{548F8C71-6C82-453D-9573-8644F126D8D8}"/>
          </ac:picMkLst>
        </pc:picChg>
        <pc:picChg chg="mod ord">
          <ac:chgData name="Ugo MANTEL" userId="2d5b7065-31bb-4181-a7f8-a73bf0c30211" providerId="ADAL" clId="{9344D105-636D-4857-BD0F-AFC44A54BCCF}" dt="2021-05-25T13:44:39.483" v="20275"/>
          <ac:picMkLst>
            <pc:docMk/>
            <pc:sldMk cId="407516052" sldId="10409"/>
            <ac:picMk id="1029" creationId="{A54F61C6-B2D6-44DA-8C71-B936C281E248}"/>
          </ac:picMkLst>
        </pc:picChg>
        <pc:picChg chg="mod">
          <ac:chgData name="Ugo MANTEL" userId="2d5b7065-31bb-4181-a7f8-a73bf0c30211" providerId="ADAL" clId="{9344D105-636D-4857-BD0F-AFC44A54BCCF}" dt="2021-05-25T13:44:39.501" v="20365"/>
          <ac:picMkLst>
            <pc:docMk/>
            <pc:sldMk cId="407516052" sldId="10409"/>
            <ac:picMk id="1032" creationId="{640BA389-2424-46DF-8D8C-43B4D0603B0F}"/>
          </ac:picMkLst>
        </pc:picChg>
        <pc:picChg chg="mod">
          <ac:chgData name="Ugo MANTEL" userId="2d5b7065-31bb-4181-a7f8-a73bf0c30211" providerId="ADAL" clId="{9344D105-636D-4857-BD0F-AFC44A54BCCF}" dt="2021-05-25T13:44:39.492" v="20323"/>
          <ac:picMkLst>
            <pc:docMk/>
            <pc:sldMk cId="407516052" sldId="10409"/>
            <ac:picMk id="1034" creationId="{6AD63904-CC83-445F-AEAA-4856B3E8FEC2}"/>
          </ac:picMkLst>
        </pc:picChg>
        <pc:picChg chg="mod">
          <ac:chgData name="Ugo MANTEL" userId="2d5b7065-31bb-4181-a7f8-a73bf0c30211" providerId="ADAL" clId="{9344D105-636D-4857-BD0F-AFC44A54BCCF}" dt="2021-05-25T13:44:39.498" v="20352"/>
          <ac:picMkLst>
            <pc:docMk/>
            <pc:sldMk cId="407516052" sldId="10409"/>
            <ac:picMk id="4096" creationId="{89737987-2421-4267-8CCA-DCD14179A700}"/>
          </ac:picMkLst>
        </pc:picChg>
        <pc:cxnChg chg="mod ord">
          <ac:chgData name="Ugo MANTEL" userId="2d5b7065-31bb-4181-a7f8-a73bf0c30211" providerId="ADAL" clId="{9344D105-636D-4857-BD0F-AFC44A54BCCF}" dt="2021-05-25T13:44:39.502" v="20371"/>
          <ac:cxnSpMkLst>
            <pc:docMk/>
            <pc:sldMk cId="407516052" sldId="10409"/>
            <ac:cxnSpMk id="63" creationId="{72DCBA9D-CCF5-4471-A961-C9AA259894A1}"/>
          </ac:cxnSpMkLst>
        </pc:cxnChg>
        <pc:cxnChg chg="mod ord">
          <ac:chgData name="Ugo MANTEL" userId="2d5b7065-31bb-4181-a7f8-a73bf0c30211" providerId="ADAL" clId="{9344D105-636D-4857-BD0F-AFC44A54BCCF}" dt="2021-05-25T13:44:39.493" v="20327"/>
          <ac:cxnSpMkLst>
            <pc:docMk/>
            <pc:sldMk cId="407516052" sldId="10409"/>
            <ac:cxnSpMk id="99" creationId="{FA4D10C6-B565-4FB9-A5A3-2BBB57BBDE42}"/>
          </ac:cxnSpMkLst>
        </pc:cxnChg>
        <pc:cxnChg chg="mod ord">
          <ac:chgData name="Ugo MANTEL" userId="2d5b7065-31bb-4181-a7f8-a73bf0c30211" providerId="ADAL" clId="{9344D105-636D-4857-BD0F-AFC44A54BCCF}" dt="2021-05-25T13:44:39.504" v="20381"/>
          <ac:cxnSpMkLst>
            <pc:docMk/>
            <pc:sldMk cId="407516052" sldId="10409"/>
            <ac:cxnSpMk id="125" creationId="{381F0FDF-7736-40B2-9322-BFC2F9BA5EF3}"/>
          </ac:cxnSpMkLst>
        </pc:cxnChg>
      </pc:sldChg>
      <pc:sldChg chg="addSp delSp modSp mod">
        <pc:chgData name="Ugo MANTEL" userId="2d5b7065-31bb-4181-a7f8-a73bf0c30211" providerId="ADAL" clId="{9344D105-636D-4857-BD0F-AFC44A54BCCF}" dt="2021-05-25T14:20:12.773" v="29512" actId="790"/>
        <pc:sldMkLst>
          <pc:docMk/>
          <pc:sldMk cId="4003625964" sldId="10410"/>
        </pc:sldMkLst>
        <pc:spChg chg="mod">
          <ac:chgData name="Ugo MANTEL" userId="2d5b7065-31bb-4181-a7f8-a73bf0c30211" providerId="ADAL" clId="{9344D105-636D-4857-BD0F-AFC44A54BCCF}" dt="2021-05-25T14:20:12.724" v="29466" actId="790"/>
          <ac:spMkLst>
            <pc:docMk/>
            <pc:sldMk cId="4003625964" sldId="10410"/>
            <ac:spMk id="2" creationId="{1B8B41D0-3B5A-41F2-BD36-274CA5605C3A}"/>
          </ac:spMkLst>
        </pc:spChg>
        <pc:spChg chg="mod">
          <ac:chgData name="Ugo MANTEL" userId="2d5b7065-31bb-4181-a7f8-a73bf0c30211" providerId="ADAL" clId="{9344D105-636D-4857-BD0F-AFC44A54BCCF}" dt="2021-05-25T14:20:12.715" v="29456" actId="790"/>
          <ac:spMkLst>
            <pc:docMk/>
            <pc:sldMk cId="4003625964" sldId="10410"/>
            <ac:spMk id="3" creationId="{F2961EB7-FC0B-4AEF-8BF3-7969101BE0A7}"/>
          </ac:spMkLst>
        </pc:spChg>
        <pc:spChg chg="mod">
          <ac:chgData name="Ugo MANTEL" userId="2d5b7065-31bb-4181-a7f8-a73bf0c30211" providerId="ADAL" clId="{9344D105-636D-4857-BD0F-AFC44A54BCCF}" dt="2021-05-25T14:20:12.747" v="29486" actId="790"/>
          <ac:spMkLst>
            <pc:docMk/>
            <pc:sldMk cId="4003625964" sldId="10410"/>
            <ac:spMk id="4" creationId="{43E0D5C7-0986-42B1-8E8C-7B58D0CBD773}"/>
          </ac:spMkLst>
        </pc:spChg>
        <pc:spChg chg="mod">
          <ac:chgData name="Ugo MANTEL" userId="2d5b7065-31bb-4181-a7f8-a73bf0c30211" providerId="ADAL" clId="{9344D105-636D-4857-BD0F-AFC44A54BCCF}" dt="2021-05-25T14:20:12.725" v="29467" actId="790"/>
          <ac:spMkLst>
            <pc:docMk/>
            <pc:sldMk cId="4003625964" sldId="10410"/>
            <ac:spMk id="5" creationId="{32E0BE14-B2E8-4A96-ADE4-0BE247A47D79}"/>
          </ac:spMkLst>
        </pc:spChg>
        <pc:spChg chg="mod">
          <ac:chgData name="Ugo MANTEL" userId="2d5b7065-31bb-4181-a7f8-a73bf0c30211" providerId="ADAL" clId="{9344D105-636D-4857-BD0F-AFC44A54BCCF}" dt="2021-05-25T14:20:12.725" v="29468" actId="790"/>
          <ac:spMkLst>
            <pc:docMk/>
            <pc:sldMk cId="4003625964" sldId="10410"/>
            <ac:spMk id="6" creationId="{8AEA1672-C0F9-4DB2-A6F4-76831980F749}"/>
          </ac:spMkLst>
        </pc:spChg>
        <pc:spChg chg="mod">
          <ac:chgData name="Ugo MANTEL" userId="2d5b7065-31bb-4181-a7f8-a73bf0c30211" providerId="ADAL" clId="{9344D105-636D-4857-BD0F-AFC44A54BCCF}" dt="2021-05-25T14:20:12.739" v="29478" actId="790"/>
          <ac:spMkLst>
            <pc:docMk/>
            <pc:sldMk cId="4003625964" sldId="10410"/>
            <ac:spMk id="7" creationId="{064EAC16-1947-4EB5-B699-F79BA984701D}"/>
          </ac:spMkLst>
        </pc:spChg>
        <pc:spChg chg="mod">
          <ac:chgData name="Ugo MANTEL" userId="2d5b7065-31bb-4181-a7f8-a73bf0c30211" providerId="ADAL" clId="{9344D105-636D-4857-BD0F-AFC44A54BCCF}" dt="2021-05-25T14:20:12.740" v="29479" actId="790"/>
          <ac:spMkLst>
            <pc:docMk/>
            <pc:sldMk cId="4003625964" sldId="10410"/>
            <ac:spMk id="8" creationId="{17235FB0-B480-4F11-BAB2-ECCE97A0AE35}"/>
          </ac:spMkLst>
        </pc:spChg>
        <pc:spChg chg="mod">
          <ac:chgData name="Ugo MANTEL" userId="2d5b7065-31bb-4181-a7f8-a73bf0c30211" providerId="ADAL" clId="{9344D105-636D-4857-BD0F-AFC44A54BCCF}" dt="2021-05-25T14:20:12.726" v="29469" actId="790"/>
          <ac:spMkLst>
            <pc:docMk/>
            <pc:sldMk cId="4003625964" sldId="10410"/>
            <ac:spMk id="9" creationId="{E57AC7D2-FC03-4826-B2B4-B86B10C8A912}"/>
          </ac:spMkLst>
        </pc:spChg>
        <pc:spChg chg="mod">
          <ac:chgData name="Ugo MANTEL" userId="2d5b7065-31bb-4181-a7f8-a73bf0c30211" providerId="ADAL" clId="{9344D105-636D-4857-BD0F-AFC44A54BCCF}" dt="2021-05-25T14:20:12.753" v="29494" actId="790"/>
          <ac:spMkLst>
            <pc:docMk/>
            <pc:sldMk cId="4003625964" sldId="10410"/>
            <ac:spMk id="10" creationId="{EC4BC8E5-CDE6-4BDA-8B1B-E89284306AC8}"/>
          </ac:spMkLst>
        </pc:spChg>
        <pc:spChg chg="add del mod modVis">
          <ac:chgData name="Ugo MANTEL" userId="2d5b7065-31bb-4181-a7f8-a73bf0c30211" providerId="ADAL" clId="{9344D105-636D-4857-BD0F-AFC44A54BCCF}" dt="2021-05-25T13:45:52.090" v="20486"/>
          <ac:spMkLst>
            <pc:docMk/>
            <pc:sldMk cId="4003625964" sldId="10410"/>
            <ac:spMk id="11" creationId="{0FE9EEC4-EFB4-481E-9068-17E1EC005473}"/>
          </ac:spMkLst>
        </pc:spChg>
        <pc:spChg chg="mod">
          <ac:chgData name="Ugo MANTEL" userId="2d5b7065-31bb-4181-a7f8-a73bf0c30211" providerId="ADAL" clId="{9344D105-636D-4857-BD0F-AFC44A54BCCF}" dt="2021-05-25T14:20:12.716" v="29457" actId="790"/>
          <ac:spMkLst>
            <pc:docMk/>
            <pc:sldMk cId="4003625964" sldId="10410"/>
            <ac:spMk id="12" creationId="{06146879-726F-492D-B854-B9E140208671}"/>
          </ac:spMkLst>
        </pc:spChg>
        <pc:spChg chg="mod">
          <ac:chgData name="Ugo MANTEL" userId="2d5b7065-31bb-4181-a7f8-a73bf0c30211" providerId="ADAL" clId="{9344D105-636D-4857-BD0F-AFC44A54BCCF}" dt="2021-05-25T14:20:12.720" v="29463" actId="790"/>
          <ac:spMkLst>
            <pc:docMk/>
            <pc:sldMk cId="4003625964" sldId="10410"/>
            <ac:spMk id="13" creationId="{E9F049B4-9F79-4754-AA4A-B557B2A6D3C9}"/>
          </ac:spMkLst>
        </pc:spChg>
        <pc:spChg chg="add del mod modVis">
          <ac:chgData name="Ugo MANTEL" userId="2d5b7065-31bb-4181-a7f8-a73bf0c30211" providerId="ADAL" clId="{9344D105-636D-4857-BD0F-AFC44A54BCCF}" dt="2021-05-25T13:45:53.082" v="20532"/>
          <ac:spMkLst>
            <pc:docMk/>
            <pc:sldMk cId="4003625964" sldId="10410"/>
            <ac:spMk id="14" creationId="{E0E734FE-AEEF-478A-9BD8-E3C079017A38}"/>
          </ac:spMkLst>
        </pc:spChg>
        <pc:spChg chg="add del mod modVis">
          <ac:chgData name="Ugo MANTEL" userId="2d5b7065-31bb-4181-a7f8-a73bf0c30211" providerId="ADAL" clId="{9344D105-636D-4857-BD0F-AFC44A54BCCF}" dt="2021-05-25T13:45:59.840" v="20578"/>
          <ac:spMkLst>
            <pc:docMk/>
            <pc:sldMk cId="4003625964" sldId="10410"/>
            <ac:spMk id="15" creationId="{6BE03E9C-1148-4430-9391-2AD8A2BC12D2}"/>
          </ac:spMkLst>
        </pc:spChg>
        <pc:spChg chg="add del mod modVis">
          <ac:chgData name="Ugo MANTEL" userId="2d5b7065-31bb-4181-a7f8-a73bf0c30211" providerId="ADAL" clId="{9344D105-636D-4857-BD0F-AFC44A54BCCF}" dt="2021-05-25T13:46:01.169" v="20626"/>
          <ac:spMkLst>
            <pc:docMk/>
            <pc:sldMk cId="4003625964" sldId="10410"/>
            <ac:spMk id="16" creationId="{32DC248C-4F0B-47D2-8114-4CFE2BEDC938}"/>
          </ac:spMkLst>
        </pc:spChg>
        <pc:spChg chg="mod">
          <ac:chgData name="Ugo MANTEL" userId="2d5b7065-31bb-4181-a7f8-a73bf0c30211" providerId="ADAL" clId="{9344D105-636D-4857-BD0F-AFC44A54BCCF}" dt="2021-05-25T14:20:12.735" v="29473" actId="790"/>
          <ac:spMkLst>
            <pc:docMk/>
            <pc:sldMk cId="4003625964" sldId="10410"/>
            <ac:spMk id="18" creationId="{E5E5B17C-AF5B-4FCB-935E-796FE66056AC}"/>
          </ac:spMkLst>
        </pc:spChg>
        <pc:spChg chg="mod">
          <ac:chgData name="Ugo MANTEL" userId="2d5b7065-31bb-4181-a7f8-a73bf0c30211" providerId="ADAL" clId="{9344D105-636D-4857-BD0F-AFC44A54BCCF}" dt="2021-05-25T14:20:12.740" v="29480" actId="790"/>
          <ac:spMkLst>
            <pc:docMk/>
            <pc:sldMk cId="4003625964" sldId="10410"/>
            <ac:spMk id="19" creationId="{D183DC4A-A310-4818-8DE5-DD81DA31ACA2}"/>
          </ac:spMkLst>
        </pc:spChg>
        <pc:spChg chg="mod">
          <ac:chgData name="Ugo MANTEL" userId="2d5b7065-31bb-4181-a7f8-a73bf0c30211" providerId="ADAL" clId="{9344D105-636D-4857-BD0F-AFC44A54BCCF}" dt="2021-05-25T14:20:12.743" v="29484" actId="790"/>
          <ac:spMkLst>
            <pc:docMk/>
            <pc:sldMk cId="4003625964" sldId="10410"/>
            <ac:spMk id="20" creationId="{54E8F179-87EF-4A92-9C29-92D7E20EB946}"/>
          </ac:spMkLst>
        </pc:spChg>
        <pc:spChg chg="mod">
          <ac:chgData name="Ugo MANTEL" userId="2d5b7065-31bb-4181-a7f8-a73bf0c30211" providerId="ADAL" clId="{9344D105-636D-4857-BD0F-AFC44A54BCCF}" dt="2021-05-25T14:20:12.748" v="29487" actId="790"/>
          <ac:spMkLst>
            <pc:docMk/>
            <pc:sldMk cId="4003625964" sldId="10410"/>
            <ac:spMk id="21" creationId="{44BA4EC0-19D7-41DC-B319-396D8267BC37}"/>
          </ac:spMkLst>
        </pc:spChg>
        <pc:spChg chg="mod">
          <ac:chgData name="Ugo MANTEL" userId="2d5b7065-31bb-4181-a7f8-a73bf0c30211" providerId="ADAL" clId="{9344D105-636D-4857-BD0F-AFC44A54BCCF}" dt="2021-05-25T14:20:12.741" v="29481" actId="790"/>
          <ac:spMkLst>
            <pc:docMk/>
            <pc:sldMk cId="4003625964" sldId="10410"/>
            <ac:spMk id="22" creationId="{43B8FABF-5816-42AC-8939-29224794884E}"/>
          </ac:spMkLst>
        </pc:spChg>
        <pc:spChg chg="add del mod modVis">
          <ac:chgData name="Ugo MANTEL" userId="2d5b7065-31bb-4181-a7f8-a73bf0c30211" providerId="ADAL" clId="{9344D105-636D-4857-BD0F-AFC44A54BCCF}" dt="2021-05-25T13:46:02.385" v="20672"/>
          <ac:spMkLst>
            <pc:docMk/>
            <pc:sldMk cId="4003625964" sldId="10410"/>
            <ac:spMk id="23" creationId="{E7B79461-8CF1-4AC8-BC90-178433CCDDDC}"/>
          </ac:spMkLst>
        </pc:spChg>
        <pc:spChg chg="add del mod modVis">
          <ac:chgData name="Ugo MANTEL" userId="2d5b7065-31bb-4181-a7f8-a73bf0c30211" providerId="ADAL" clId="{9344D105-636D-4857-BD0F-AFC44A54BCCF}" dt="2021-05-25T13:46:02.993" v="20716"/>
          <ac:spMkLst>
            <pc:docMk/>
            <pc:sldMk cId="4003625964" sldId="10410"/>
            <ac:spMk id="24" creationId="{5AE2D9A3-33C4-4C58-A722-3F4DF18294D6}"/>
          </ac:spMkLst>
        </pc:spChg>
        <pc:spChg chg="add del mod modVis">
          <ac:chgData name="Ugo MANTEL" userId="2d5b7065-31bb-4181-a7f8-a73bf0c30211" providerId="ADAL" clId="{9344D105-636D-4857-BD0F-AFC44A54BCCF}" dt="2021-05-25T13:46:10.976" v="20761"/>
          <ac:spMkLst>
            <pc:docMk/>
            <pc:sldMk cId="4003625964" sldId="10410"/>
            <ac:spMk id="25" creationId="{6FE2E8A9-BAFB-4E74-BC5E-615220F255AA}"/>
          </ac:spMkLst>
        </pc:spChg>
        <pc:spChg chg="add del mod modVis">
          <ac:chgData name="Ugo MANTEL" userId="2d5b7065-31bb-4181-a7f8-a73bf0c30211" providerId="ADAL" clId="{9344D105-636D-4857-BD0F-AFC44A54BCCF}" dt="2021-05-25T13:46:13.063" v="20805"/>
          <ac:spMkLst>
            <pc:docMk/>
            <pc:sldMk cId="4003625964" sldId="10410"/>
            <ac:spMk id="26" creationId="{3C43B2FC-C7B7-46AA-9E1A-2C65C5299671}"/>
          </ac:spMkLst>
        </pc:spChg>
        <pc:spChg chg="add del mod modVis">
          <ac:chgData name="Ugo MANTEL" userId="2d5b7065-31bb-4181-a7f8-a73bf0c30211" providerId="ADAL" clId="{9344D105-636D-4857-BD0F-AFC44A54BCCF}" dt="2021-05-25T13:46:13.904" v="20849"/>
          <ac:spMkLst>
            <pc:docMk/>
            <pc:sldMk cId="4003625964" sldId="10410"/>
            <ac:spMk id="27" creationId="{41E16B4D-23DB-40EA-B22B-BF13DEF97880}"/>
          </ac:spMkLst>
        </pc:spChg>
        <pc:spChg chg="add del mod modVis">
          <ac:chgData name="Ugo MANTEL" userId="2d5b7065-31bb-4181-a7f8-a73bf0c30211" providerId="ADAL" clId="{9344D105-636D-4857-BD0F-AFC44A54BCCF}" dt="2021-05-25T13:46:16.518" v="20893"/>
          <ac:spMkLst>
            <pc:docMk/>
            <pc:sldMk cId="4003625964" sldId="10410"/>
            <ac:spMk id="28" creationId="{9D7C2272-FAE0-4274-9FC9-2F74970714DD}"/>
          </ac:spMkLst>
        </pc:spChg>
        <pc:spChg chg="add del mod modVis">
          <ac:chgData name="Ugo MANTEL" userId="2d5b7065-31bb-4181-a7f8-a73bf0c30211" providerId="ADAL" clId="{9344D105-636D-4857-BD0F-AFC44A54BCCF}" dt="2021-05-25T13:46:19.386" v="20942"/>
          <ac:spMkLst>
            <pc:docMk/>
            <pc:sldMk cId="4003625964" sldId="10410"/>
            <ac:spMk id="29" creationId="{CB91F7BE-FE92-4984-AD1A-7B4A0F756DB7}"/>
          </ac:spMkLst>
        </pc:spChg>
        <pc:spChg chg="add del mod modVis">
          <ac:chgData name="Ugo MANTEL" userId="2d5b7065-31bb-4181-a7f8-a73bf0c30211" providerId="ADAL" clId="{9344D105-636D-4857-BD0F-AFC44A54BCCF}" dt="2021-05-25T13:46:21.273" v="20986"/>
          <ac:spMkLst>
            <pc:docMk/>
            <pc:sldMk cId="4003625964" sldId="10410"/>
            <ac:spMk id="30" creationId="{60DB7BC0-8C72-4FAC-9E98-8F32465C42C9}"/>
          </ac:spMkLst>
        </pc:spChg>
        <pc:spChg chg="add del mod modVis">
          <ac:chgData name="Ugo MANTEL" userId="2d5b7065-31bb-4181-a7f8-a73bf0c30211" providerId="ADAL" clId="{9344D105-636D-4857-BD0F-AFC44A54BCCF}" dt="2021-05-25T13:46:29.167" v="21030"/>
          <ac:spMkLst>
            <pc:docMk/>
            <pc:sldMk cId="4003625964" sldId="10410"/>
            <ac:spMk id="31" creationId="{3F719378-EEC3-4EFD-AEB3-3A439C7885F2}"/>
          </ac:spMkLst>
        </pc:spChg>
        <pc:spChg chg="add del mod modVis">
          <ac:chgData name="Ugo MANTEL" userId="2d5b7065-31bb-4181-a7f8-a73bf0c30211" providerId="ADAL" clId="{9344D105-636D-4857-BD0F-AFC44A54BCCF}" dt="2021-05-25T13:46:32.196" v="21081"/>
          <ac:spMkLst>
            <pc:docMk/>
            <pc:sldMk cId="4003625964" sldId="10410"/>
            <ac:spMk id="32" creationId="{55F9D6DC-5CC8-4187-887D-1646B4CFE953}"/>
          </ac:spMkLst>
        </pc:spChg>
        <pc:spChg chg="mod">
          <ac:chgData name="Ugo MANTEL" userId="2d5b7065-31bb-4181-a7f8-a73bf0c30211" providerId="ADAL" clId="{9344D105-636D-4857-BD0F-AFC44A54BCCF}" dt="2021-05-25T14:20:12.751" v="29491" actId="790"/>
          <ac:spMkLst>
            <pc:docMk/>
            <pc:sldMk cId="4003625964" sldId="10410"/>
            <ac:spMk id="33" creationId="{243F8FAD-0118-4F1B-B40B-A7D84FD36396}"/>
          </ac:spMkLst>
        </pc:spChg>
        <pc:spChg chg="add del mod modVis">
          <ac:chgData name="Ugo MANTEL" userId="2d5b7065-31bb-4181-a7f8-a73bf0c30211" providerId="ADAL" clId="{9344D105-636D-4857-BD0F-AFC44A54BCCF}" dt="2021-05-25T13:46:37.441" v="21155"/>
          <ac:spMkLst>
            <pc:docMk/>
            <pc:sldMk cId="4003625964" sldId="10410"/>
            <ac:spMk id="34" creationId="{44909156-A90D-4899-8A6A-77C560185063}"/>
          </ac:spMkLst>
        </pc:spChg>
        <pc:spChg chg="add del mod modVis">
          <ac:chgData name="Ugo MANTEL" userId="2d5b7065-31bb-4181-a7f8-a73bf0c30211" providerId="ADAL" clId="{9344D105-636D-4857-BD0F-AFC44A54BCCF}" dt="2021-05-25T13:46:42.690" v="21224"/>
          <ac:spMkLst>
            <pc:docMk/>
            <pc:sldMk cId="4003625964" sldId="10410"/>
            <ac:spMk id="35" creationId="{C7347683-C6EC-4A32-8CF7-07E5A5A1D5FE}"/>
          </ac:spMkLst>
        </pc:spChg>
        <pc:spChg chg="add del mod modVis">
          <ac:chgData name="Ugo MANTEL" userId="2d5b7065-31bb-4181-a7f8-a73bf0c30211" providerId="ADAL" clId="{9344D105-636D-4857-BD0F-AFC44A54BCCF}" dt="2021-05-25T13:46:44.709" v="21275"/>
          <ac:spMkLst>
            <pc:docMk/>
            <pc:sldMk cId="4003625964" sldId="10410"/>
            <ac:spMk id="36" creationId="{2392FE82-761D-41EA-AE6D-BDF7692086F7}"/>
          </ac:spMkLst>
        </pc:spChg>
        <pc:spChg chg="add del mod modVis">
          <ac:chgData name="Ugo MANTEL" userId="2d5b7065-31bb-4181-a7f8-a73bf0c30211" providerId="ADAL" clId="{9344D105-636D-4857-BD0F-AFC44A54BCCF}" dt="2021-05-25T13:46:47.889" v="21325"/>
          <ac:spMkLst>
            <pc:docMk/>
            <pc:sldMk cId="4003625964" sldId="10410"/>
            <ac:spMk id="37" creationId="{C5CC582E-DAC9-4B1B-9F45-2E8989E624A4}"/>
          </ac:spMkLst>
        </pc:spChg>
        <pc:spChg chg="add del mod modVis">
          <ac:chgData name="Ugo MANTEL" userId="2d5b7065-31bb-4181-a7f8-a73bf0c30211" providerId="ADAL" clId="{9344D105-636D-4857-BD0F-AFC44A54BCCF}" dt="2021-05-25T13:46:56.147" v="21369"/>
          <ac:spMkLst>
            <pc:docMk/>
            <pc:sldMk cId="4003625964" sldId="10410"/>
            <ac:spMk id="38" creationId="{2C0D6F79-700F-4939-AFD2-77D3EB91BE2B}"/>
          </ac:spMkLst>
        </pc:spChg>
        <pc:spChg chg="add del mod modVis">
          <ac:chgData name="Ugo MANTEL" userId="2d5b7065-31bb-4181-a7f8-a73bf0c30211" providerId="ADAL" clId="{9344D105-636D-4857-BD0F-AFC44A54BCCF}" dt="2021-05-25T13:46:59.481" v="21419"/>
          <ac:spMkLst>
            <pc:docMk/>
            <pc:sldMk cId="4003625964" sldId="10410"/>
            <ac:spMk id="39" creationId="{0609C33F-7942-47B2-A2B9-96BC51F3C8B9}"/>
          </ac:spMkLst>
        </pc:spChg>
        <pc:spChg chg="add del mod modVis">
          <ac:chgData name="Ugo MANTEL" userId="2d5b7065-31bb-4181-a7f8-a73bf0c30211" providerId="ADAL" clId="{9344D105-636D-4857-BD0F-AFC44A54BCCF}" dt="2021-05-25T13:47:04.579" v="21472"/>
          <ac:spMkLst>
            <pc:docMk/>
            <pc:sldMk cId="4003625964" sldId="10410"/>
            <ac:spMk id="42" creationId="{5C4C8D21-DB4D-4DA2-8A0C-7494DE7755F7}"/>
          </ac:spMkLst>
        </pc:spChg>
        <pc:spChg chg="add del mod modVis">
          <ac:chgData name="Ugo MANTEL" userId="2d5b7065-31bb-4181-a7f8-a73bf0c30211" providerId="ADAL" clId="{9344D105-636D-4857-BD0F-AFC44A54BCCF}" dt="2021-05-25T13:47:15.689" v="21524"/>
          <ac:spMkLst>
            <pc:docMk/>
            <pc:sldMk cId="4003625964" sldId="10410"/>
            <ac:spMk id="43" creationId="{BD138087-1FC1-4588-B462-2418CB41B89A}"/>
          </ac:spMkLst>
        </pc:spChg>
        <pc:spChg chg="add del mod modVis">
          <ac:chgData name="Ugo MANTEL" userId="2d5b7065-31bb-4181-a7f8-a73bf0c30211" providerId="ADAL" clId="{9344D105-636D-4857-BD0F-AFC44A54BCCF}" dt="2021-05-25T13:47:16.767" v="21571"/>
          <ac:spMkLst>
            <pc:docMk/>
            <pc:sldMk cId="4003625964" sldId="10410"/>
            <ac:spMk id="44" creationId="{E7F86E63-45E1-47BE-98FA-B34E61CFB122}"/>
          </ac:spMkLst>
        </pc:spChg>
        <pc:spChg chg="add del mod modVis">
          <ac:chgData name="Ugo MANTEL" userId="2d5b7065-31bb-4181-a7f8-a73bf0c30211" providerId="ADAL" clId="{9344D105-636D-4857-BD0F-AFC44A54BCCF}" dt="2021-05-25T13:47:19.809" v="21622"/>
          <ac:spMkLst>
            <pc:docMk/>
            <pc:sldMk cId="4003625964" sldId="10410"/>
            <ac:spMk id="46" creationId="{30F1F3E8-E88F-4725-B634-951EEB551DB1}"/>
          </ac:spMkLst>
        </pc:spChg>
        <pc:spChg chg="mod">
          <ac:chgData name="Ugo MANTEL" userId="2d5b7065-31bb-4181-a7f8-a73bf0c30211" providerId="ADAL" clId="{9344D105-636D-4857-BD0F-AFC44A54BCCF}" dt="2021-05-25T14:20:12.744" v="29485" actId="790"/>
          <ac:spMkLst>
            <pc:docMk/>
            <pc:sldMk cId="4003625964" sldId="10410"/>
            <ac:spMk id="47" creationId="{9E10C541-E455-4AF2-AA1A-715E3DF2DDC1}"/>
          </ac:spMkLst>
        </pc:spChg>
        <pc:spChg chg="add del mod modVis">
          <ac:chgData name="Ugo MANTEL" userId="2d5b7065-31bb-4181-a7f8-a73bf0c30211" providerId="ADAL" clId="{9344D105-636D-4857-BD0F-AFC44A54BCCF}" dt="2021-05-25T13:47:20.552" v="21666"/>
          <ac:spMkLst>
            <pc:docMk/>
            <pc:sldMk cId="4003625964" sldId="10410"/>
            <ac:spMk id="48" creationId="{14F74160-E616-405C-A51A-4BBC5D071DE7}"/>
          </ac:spMkLst>
        </pc:spChg>
        <pc:spChg chg="mod">
          <ac:chgData name="Ugo MANTEL" userId="2d5b7065-31bb-4181-a7f8-a73bf0c30211" providerId="ADAL" clId="{9344D105-636D-4857-BD0F-AFC44A54BCCF}" dt="2021-05-25T14:20:12.727" v="29470" actId="790"/>
          <ac:spMkLst>
            <pc:docMk/>
            <pc:sldMk cId="4003625964" sldId="10410"/>
            <ac:spMk id="49" creationId="{B10468A4-1BAC-4153-BC9A-99B8715C0AD1}"/>
          </ac:spMkLst>
        </pc:spChg>
        <pc:spChg chg="mod">
          <ac:chgData name="Ugo MANTEL" userId="2d5b7065-31bb-4181-a7f8-a73bf0c30211" providerId="ADAL" clId="{9344D105-636D-4857-BD0F-AFC44A54BCCF}" dt="2021-05-25T14:20:12.717" v="29458" actId="790"/>
          <ac:spMkLst>
            <pc:docMk/>
            <pc:sldMk cId="4003625964" sldId="10410"/>
            <ac:spMk id="50" creationId="{06AD3339-7557-4559-B2EA-6A391CF2BF0C}"/>
          </ac:spMkLst>
        </pc:spChg>
        <pc:spChg chg="add del mod modVis">
          <ac:chgData name="Ugo MANTEL" userId="2d5b7065-31bb-4181-a7f8-a73bf0c30211" providerId="ADAL" clId="{9344D105-636D-4857-BD0F-AFC44A54BCCF}" dt="2021-05-25T13:47:21.290" v="21711"/>
          <ac:spMkLst>
            <pc:docMk/>
            <pc:sldMk cId="4003625964" sldId="10410"/>
            <ac:spMk id="52" creationId="{3057B5E5-70DD-4FA9-A0B1-D40FDB36D84D}"/>
          </ac:spMkLst>
        </pc:spChg>
        <pc:spChg chg="add del mod modVis">
          <ac:chgData name="Ugo MANTEL" userId="2d5b7065-31bb-4181-a7f8-a73bf0c30211" providerId="ADAL" clId="{9344D105-636D-4857-BD0F-AFC44A54BCCF}" dt="2021-05-25T13:47:24.203" v="21764"/>
          <ac:spMkLst>
            <pc:docMk/>
            <pc:sldMk cId="4003625964" sldId="10410"/>
            <ac:spMk id="53" creationId="{0ABAD89D-2B4D-49FD-A111-A0C73EB0B0C6}"/>
          </ac:spMkLst>
        </pc:spChg>
        <pc:spChg chg="add del mod modVis">
          <ac:chgData name="Ugo MANTEL" userId="2d5b7065-31bb-4181-a7f8-a73bf0c30211" providerId="ADAL" clId="{9344D105-636D-4857-BD0F-AFC44A54BCCF}" dt="2021-05-25T13:47:29.185" v="21812"/>
          <ac:spMkLst>
            <pc:docMk/>
            <pc:sldMk cId="4003625964" sldId="10410"/>
            <ac:spMk id="54" creationId="{EF991EAB-88ED-48B6-8A13-EED0C57FD58D}"/>
          </ac:spMkLst>
        </pc:spChg>
        <pc:spChg chg="add del mod modVis">
          <ac:chgData name="Ugo MANTEL" userId="2d5b7065-31bb-4181-a7f8-a73bf0c30211" providerId="ADAL" clId="{9344D105-636D-4857-BD0F-AFC44A54BCCF}" dt="2021-05-25T13:47:29.877" v="21857"/>
          <ac:spMkLst>
            <pc:docMk/>
            <pc:sldMk cId="4003625964" sldId="10410"/>
            <ac:spMk id="55" creationId="{79391DB2-3C74-4BF3-86D9-FF3BB62F5FFA}"/>
          </ac:spMkLst>
        </pc:spChg>
        <pc:spChg chg="add del mod modVis">
          <ac:chgData name="Ugo MANTEL" userId="2d5b7065-31bb-4181-a7f8-a73bf0c30211" providerId="ADAL" clId="{9344D105-636D-4857-BD0F-AFC44A54BCCF}" dt="2021-05-25T13:47:30.592" v="21901"/>
          <ac:spMkLst>
            <pc:docMk/>
            <pc:sldMk cId="4003625964" sldId="10410"/>
            <ac:spMk id="56" creationId="{1CA8298B-74EA-4BCF-954D-20DADEC9E810}"/>
          </ac:spMkLst>
        </pc:spChg>
        <pc:spChg chg="add del mod modVis">
          <ac:chgData name="Ugo MANTEL" userId="2d5b7065-31bb-4181-a7f8-a73bf0c30211" providerId="ADAL" clId="{9344D105-636D-4857-BD0F-AFC44A54BCCF}" dt="2021-05-25T13:47:38.468" v="21946"/>
          <ac:spMkLst>
            <pc:docMk/>
            <pc:sldMk cId="4003625964" sldId="10410"/>
            <ac:spMk id="58" creationId="{5B2FC1DC-89C5-471B-BDB8-D450B0846BED}"/>
          </ac:spMkLst>
        </pc:spChg>
        <pc:spChg chg="add del mod modVis">
          <ac:chgData name="Ugo MANTEL" userId="2d5b7065-31bb-4181-a7f8-a73bf0c30211" providerId="ADAL" clId="{9344D105-636D-4857-BD0F-AFC44A54BCCF}" dt="2021-05-25T13:47:39.383" v="21990"/>
          <ac:spMkLst>
            <pc:docMk/>
            <pc:sldMk cId="4003625964" sldId="10410"/>
            <ac:spMk id="59" creationId="{452B5DBB-E18F-4CDC-985D-84BFCDB0E549}"/>
          </ac:spMkLst>
        </pc:spChg>
        <pc:spChg chg="add del mod modVis">
          <ac:chgData name="Ugo MANTEL" userId="2d5b7065-31bb-4181-a7f8-a73bf0c30211" providerId="ADAL" clId="{9344D105-636D-4857-BD0F-AFC44A54BCCF}" dt="2021-05-25T13:47:41.567" v="22036"/>
          <ac:spMkLst>
            <pc:docMk/>
            <pc:sldMk cId="4003625964" sldId="10410"/>
            <ac:spMk id="62" creationId="{B2EBE74B-8EF3-4C88-AD45-514599DA7182}"/>
          </ac:spMkLst>
        </pc:spChg>
        <pc:spChg chg="add del mod modVis">
          <ac:chgData name="Ugo MANTEL" userId="2d5b7065-31bb-4181-a7f8-a73bf0c30211" providerId="ADAL" clId="{9344D105-636D-4857-BD0F-AFC44A54BCCF}" dt="2021-05-25T13:47:42.272" v="22080"/>
          <ac:spMkLst>
            <pc:docMk/>
            <pc:sldMk cId="4003625964" sldId="10410"/>
            <ac:spMk id="63" creationId="{1E5BEA57-F899-4971-9694-5B1230D0D3BC}"/>
          </ac:spMkLst>
        </pc:spChg>
        <pc:spChg chg="add del mod modVis">
          <ac:chgData name="Ugo MANTEL" userId="2d5b7065-31bb-4181-a7f8-a73bf0c30211" providerId="ADAL" clId="{9344D105-636D-4857-BD0F-AFC44A54BCCF}" dt="2021-05-25T13:47:44.302" v="22126"/>
          <ac:spMkLst>
            <pc:docMk/>
            <pc:sldMk cId="4003625964" sldId="10410"/>
            <ac:spMk id="64" creationId="{A2E0B690-B4FE-42B7-A7B7-06B2E4655694}"/>
          </ac:spMkLst>
        </pc:spChg>
        <pc:spChg chg="add del mod modVis">
          <ac:chgData name="Ugo MANTEL" userId="2d5b7065-31bb-4181-a7f8-a73bf0c30211" providerId="ADAL" clId="{9344D105-636D-4857-BD0F-AFC44A54BCCF}" dt="2021-05-25T13:47:47.671" v="22173"/>
          <ac:spMkLst>
            <pc:docMk/>
            <pc:sldMk cId="4003625964" sldId="10410"/>
            <ac:spMk id="65" creationId="{68B1A301-38FB-4C43-89C5-0510BC939F8D}"/>
          </ac:spMkLst>
        </pc:spChg>
        <pc:spChg chg="add del mod modVis">
          <ac:chgData name="Ugo MANTEL" userId="2d5b7065-31bb-4181-a7f8-a73bf0c30211" providerId="ADAL" clId="{9344D105-636D-4857-BD0F-AFC44A54BCCF}" dt="2021-05-25T13:47:50.584" v="22220"/>
          <ac:spMkLst>
            <pc:docMk/>
            <pc:sldMk cId="4003625964" sldId="10410"/>
            <ac:spMk id="66" creationId="{94158BF4-CFD7-4F01-8403-94A807917884}"/>
          </ac:spMkLst>
        </pc:spChg>
        <pc:spChg chg="add del mod modVis">
          <ac:chgData name="Ugo MANTEL" userId="2d5b7065-31bb-4181-a7f8-a73bf0c30211" providerId="ADAL" clId="{9344D105-636D-4857-BD0F-AFC44A54BCCF}" dt="2021-05-25T13:47:56.994" v="22364" actId="962"/>
          <ac:spMkLst>
            <pc:docMk/>
            <pc:sldMk cId="4003625964" sldId="10410"/>
            <ac:spMk id="67" creationId="{7D34FEBC-CB60-47F0-A6D8-3624174C22D6}"/>
          </ac:spMkLst>
        </pc:spChg>
        <pc:spChg chg="add del mod modVis">
          <ac:chgData name="Ugo MANTEL" userId="2d5b7065-31bb-4181-a7f8-a73bf0c30211" providerId="ADAL" clId="{9344D105-636D-4857-BD0F-AFC44A54BCCF}" dt="2021-05-25T13:48:01.969" v="22410"/>
          <ac:spMkLst>
            <pc:docMk/>
            <pc:sldMk cId="4003625964" sldId="10410"/>
            <ac:spMk id="68" creationId="{0C35EC98-575F-49B4-A4EF-33F97A6BC862}"/>
          </ac:spMkLst>
        </pc:spChg>
        <pc:spChg chg="add del mod modVis">
          <ac:chgData name="Ugo MANTEL" userId="2d5b7065-31bb-4181-a7f8-a73bf0c30211" providerId="ADAL" clId="{9344D105-636D-4857-BD0F-AFC44A54BCCF}" dt="2021-05-25T13:48:03.228" v="22457"/>
          <ac:spMkLst>
            <pc:docMk/>
            <pc:sldMk cId="4003625964" sldId="10410"/>
            <ac:spMk id="69" creationId="{7EF85899-C10A-4EDB-A393-A68100C709FC}"/>
          </ac:spMkLst>
        </pc:spChg>
        <pc:spChg chg="add del mod modVis">
          <ac:chgData name="Ugo MANTEL" userId="2d5b7065-31bb-4181-a7f8-a73bf0c30211" providerId="ADAL" clId="{9344D105-636D-4857-BD0F-AFC44A54BCCF}" dt="2021-05-25T13:48:03.816" v="22501"/>
          <ac:spMkLst>
            <pc:docMk/>
            <pc:sldMk cId="4003625964" sldId="10410"/>
            <ac:spMk id="70" creationId="{00137FCA-9D4B-4AD9-B68F-377F7B0F009C}"/>
          </ac:spMkLst>
        </pc:spChg>
        <pc:spChg chg="add del mod modVis">
          <ac:chgData name="Ugo MANTEL" userId="2d5b7065-31bb-4181-a7f8-a73bf0c30211" providerId="ADAL" clId="{9344D105-636D-4857-BD0F-AFC44A54BCCF}" dt="2021-05-25T13:48:05.070" v="22547"/>
          <ac:spMkLst>
            <pc:docMk/>
            <pc:sldMk cId="4003625964" sldId="10410"/>
            <ac:spMk id="71" creationId="{37D82921-5761-4067-99C6-E5D37C12B3CD}"/>
          </ac:spMkLst>
        </pc:spChg>
        <pc:spChg chg="add del mod modVis">
          <ac:chgData name="Ugo MANTEL" userId="2d5b7065-31bb-4181-a7f8-a73bf0c30211" providerId="ADAL" clId="{9344D105-636D-4857-BD0F-AFC44A54BCCF}" dt="2021-05-25T13:48:07.270" v="22591"/>
          <ac:spMkLst>
            <pc:docMk/>
            <pc:sldMk cId="4003625964" sldId="10410"/>
            <ac:spMk id="72" creationId="{39B13CF1-B126-491D-B413-1DA12E8753A5}"/>
          </ac:spMkLst>
        </pc:spChg>
        <pc:spChg chg="add del mod modVis">
          <ac:chgData name="Ugo MANTEL" userId="2d5b7065-31bb-4181-a7f8-a73bf0c30211" providerId="ADAL" clId="{9344D105-636D-4857-BD0F-AFC44A54BCCF}" dt="2021-05-25T13:48:12.825" v="22635"/>
          <ac:spMkLst>
            <pc:docMk/>
            <pc:sldMk cId="4003625964" sldId="10410"/>
            <ac:spMk id="73" creationId="{A2F1E040-53B5-47E8-9BF8-06AB6929CD4A}"/>
          </ac:spMkLst>
        </pc:spChg>
        <pc:spChg chg="add del mod modVis">
          <ac:chgData name="Ugo MANTEL" userId="2d5b7065-31bb-4181-a7f8-a73bf0c30211" providerId="ADAL" clId="{9344D105-636D-4857-BD0F-AFC44A54BCCF}" dt="2021-05-25T13:48:18.029" v="22679"/>
          <ac:spMkLst>
            <pc:docMk/>
            <pc:sldMk cId="4003625964" sldId="10410"/>
            <ac:spMk id="74" creationId="{A8F45A95-E8D6-4388-ABF6-3EAEEA3D809C}"/>
          </ac:spMkLst>
        </pc:spChg>
        <pc:spChg chg="add del mod modVis">
          <ac:chgData name="Ugo MANTEL" userId="2d5b7065-31bb-4181-a7f8-a73bf0c30211" providerId="ADAL" clId="{9344D105-636D-4857-BD0F-AFC44A54BCCF}" dt="2021-05-25T13:48:22.182" v="22723"/>
          <ac:spMkLst>
            <pc:docMk/>
            <pc:sldMk cId="4003625964" sldId="10410"/>
            <ac:spMk id="75" creationId="{2405009D-592C-474E-8981-CF78A97C1D5A}"/>
          </ac:spMkLst>
        </pc:spChg>
        <pc:spChg chg="add del mod modVis">
          <ac:chgData name="Ugo MANTEL" userId="2d5b7065-31bb-4181-a7f8-a73bf0c30211" providerId="ADAL" clId="{9344D105-636D-4857-BD0F-AFC44A54BCCF}" dt="2021-05-25T13:48:29.166" v="22767"/>
          <ac:spMkLst>
            <pc:docMk/>
            <pc:sldMk cId="4003625964" sldId="10410"/>
            <ac:spMk id="76" creationId="{CDED5A36-DE1C-4887-9100-4B77EA6CE43A}"/>
          </ac:spMkLst>
        </pc:spChg>
        <pc:spChg chg="add del mod modVis">
          <ac:chgData name="Ugo MANTEL" userId="2d5b7065-31bb-4181-a7f8-a73bf0c30211" providerId="ADAL" clId="{9344D105-636D-4857-BD0F-AFC44A54BCCF}" dt="2021-05-25T13:48:32.072" v="22811"/>
          <ac:spMkLst>
            <pc:docMk/>
            <pc:sldMk cId="4003625964" sldId="10410"/>
            <ac:spMk id="77" creationId="{47E9B8DA-F3B5-4A3C-8333-BBD8F642EBD7}"/>
          </ac:spMkLst>
        </pc:spChg>
        <pc:spChg chg="add del mod modVis">
          <ac:chgData name="Ugo MANTEL" userId="2d5b7065-31bb-4181-a7f8-a73bf0c30211" providerId="ADAL" clId="{9344D105-636D-4857-BD0F-AFC44A54BCCF}" dt="2021-05-25T13:48:36.360" v="22855"/>
          <ac:spMkLst>
            <pc:docMk/>
            <pc:sldMk cId="4003625964" sldId="10410"/>
            <ac:spMk id="78" creationId="{93592F80-4BBF-4C58-9DA5-3BC375463B11}"/>
          </ac:spMkLst>
        </pc:spChg>
        <pc:spChg chg="mod">
          <ac:chgData name="Ugo MANTEL" userId="2d5b7065-31bb-4181-a7f8-a73bf0c30211" providerId="ADAL" clId="{9344D105-636D-4857-BD0F-AFC44A54BCCF}" dt="2021-05-25T14:20:12.752" v="29493" actId="790"/>
          <ac:spMkLst>
            <pc:docMk/>
            <pc:sldMk cId="4003625964" sldId="10410"/>
            <ac:spMk id="88" creationId="{336D463B-B815-4500-8F61-78A091129044}"/>
          </ac:spMkLst>
        </pc:spChg>
        <pc:spChg chg="mod">
          <ac:chgData name="Ugo MANTEL" userId="2d5b7065-31bb-4181-a7f8-a73bf0c30211" providerId="ADAL" clId="{9344D105-636D-4857-BD0F-AFC44A54BCCF}" dt="2021-05-25T14:20:12.719" v="29461" actId="790"/>
          <ac:spMkLst>
            <pc:docMk/>
            <pc:sldMk cId="4003625964" sldId="10410"/>
            <ac:spMk id="96" creationId="{5BB653FA-7502-456B-9DD5-1867522D3A88}"/>
          </ac:spMkLst>
        </pc:spChg>
        <pc:spChg chg="mod">
          <ac:chgData name="Ugo MANTEL" userId="2d5b7065-31bb-4181-a7f8-a73bf0c30211" providerId="ADAL" clId="{9344D105-636D-4857-BD0F-AFC44A54BCCF}" dt="2021-05-25T14:20:12.728" v="29471" actId="790"/>
          <ac:spMkLst>
            <pc:docMk/>
            <pc:sldMk cId="4003625964" sldId="10410"/>
            <ac:spMk id="100" creationId="{EF6C7B41-C54E-4684-BB9A-36701E115EBF}"/>
          </ac:spMkLst>
        </pc:spChg>
        <pc:spChg chg="mod">
          <ac:chgData name="Ugo MANTEL" userId="2d5b7065-31bb-4181-a7f8-a73bf0c30211" providerId="ADAL" clId="{9344D105-636D-4857-BD0F-AFC44A54BCCF}" dt="2021-05-25T14:20:12.722" v="29465" actId="790"/>
          <ac:spMkLst>
            <pc:docMk/>
            <pc:sldMk cId="4003625964" sldId="10410"/>
            <ac:spMk id="107" creationId="{31D0AEAA-51DD-4312-8DD3-D5664A3B479D}"/>
          </ac:spMkLst>
        </pc:spChg>
        <pc:spChg chg="mod">
          <ac:chgData name="Ugo MANTEL" userId="2d5b7065-31bb-4181-a7f8-a73bf0c30211" providerId="ADAL" clId="{9344D105-636D-4857-BD0F-AFC44A54BCCF}" dt="2021-05-25T14:20:12.752" v="29492" actId="790"/>
          <ac:spMkLst>
            <pc:docMk/>
            <pc:sldMk cId="4003625964" sldId="10410"/>
            <ac:spMk id="108" creationId="{B4E79E7D-0395-4CE2-8F8E-F7FFDE4BA106}"/>
          </ac:spMkLst>
        </pc:spChg>
        <pc:spChg chg="add del mod">
          <ac:chgData name="Ugo MANTEL" userId="2d5b7065-31bb-4181-a7f8-a73bf0c30211" providerId="ADAL" clId="{9344D105-636D-4857-BD0F-AFC44A54BCCF}" dt="2021-05-24T14:32:33.509" v="7633" actId="478"/>
          <ac:spMkLst>
            <pc:docMk/>
            <pc:sldMk cId="4003625964" sldId="10410"/>
            <ac:spMk id="117" creationId="{A30812C3-2716-49E7-9081-B5FF72DF55A0}"/>
          </ac:spMkLst>
        </pc:spChg>
        <pc:spChg chg="del">
          <ac:chgData name="Ugo MANTEL" userId="2d5b7065-31bb-4181-a7f8-a73bf0c30211" providerId="ADAL" clId="{9344D105-636D-4857-BD0F-AFC44A54BCCF}" dt="2021-05-24T14:32:21.032" v="7629" actId="478"/>
          <ac:spMkLst>
            <pc:docMk/>
            <pc:sldMk cId="4003625964" sldId="10410"/>
            <ac:spMk id="118" creationId="{9C628BA4-96DA-46D9-A80B-01A518CA0E39}"/>
          </ac:spMkLst>
        </pc:spChg>
        <pc:spChg chg="mod">
          <ac:chgData name="Ugo MANTEL" userId="2d5b7065-31bb-4181-a7f8-a73bf0c30211" providerId="ADAL" clId="{9344D105-636D-4857-BD0F-AFC44A54BCCF}" dt="2021-05-25T14:20:12.754" v="29495" actId="790"/>
          <ac:spMkLst>
            <pc:docMk/>
            <pc:sldMk cId="4003625964" sldId="10410"/>
            <ac:spMk id="119" creationId="{EEF55E94-FD53-41D7-A423-6B56C40D88A1}"/>
          </ac:spMkLst>
        </pc:spChg>
        <pc:spChg chg="mod">
          <ac:chgData name="Ugo MANTEL" userId="2d5b7065-31bb-4181-a7f8-a73bf0c30211" providerId="ADAL" clId="{9344D105-636D-4857-BD0F-AFC44A54BCCF}" dt="2021-05-25T14:20:12.718" v="29460" actId="790"/>
          <ac:spMkLst>
            <pc:docMk/>
            <pc:sldMk cId="4003625964" sldId="10410"/>
            <ac:spMk id="120" creationId="{697B9F9F-BFD2-4BBC-A2BC-06F0D17B4298}"/>
          </ac:spMkLst>
        </pc:spChg>
        <pc:spChg chg="mod">
          <ac:chgData name="Ugo MANTEL" userId="2d5b7065-31bb-4181-a7f8-a73bf0c30211" providerId="ADAL" clId="{9344D105-636D-4857-BD0F-AFC44A54BCCF}" dt="2021-05-25T14:20:12.718" v="29459" actId="790"/>
          <ac:spMkLst>
            <pc:docMk/>
            <pc:sldMk cId="4003625964" sldId="10410"/>
            <ac:spMk id="122" creationId="{7ED4A8D8-06EE-4620-B65B-5E3B52A3ABAE}"/>
          </ac:spMkLst>
        </pc:spChg>
        <pc:spChg chg="mod">
          <ac:chgData name="Ugo MANTEL" userId="2d5b7065-31bb-4181-a7f8-a73bf0c30211" providerId="ADAL" clId="{9344D105-636D-4857-BD0F-AFC44A54BCCF}" dt="2021-05-25T14:20:12.719" v="29462" actId="790"/>
          <ac:spMkLst>
            <pc:docMk/>
            <pc:sldMk cId="4003625964" sldId="10410"/>
            <ac:spMk id="123" creationId="{CCD5F39F-64EB-4F4E-BE6B-002C617492EF}"/>
          </ac:spMkLst>
        </pc:spChg>
        <pc:spChg chg="add mod">
          <ac:chgData name="Ugo MANTEL" userId="2d5b7065-31bb-4181-a7f8-a73bf0c30211" providerId="ADAL" clId="{9344D105-636D-4857-BD0F-AFC44A54BCCF}" dt="2021-05-25T14:20:12.764" v="29499" actId="790"/>
          <ac:spMkLst>
            <pc:docMk/>
            <pc:sldMk cId="4003625964" sldId="10410"/>
            <ac:spMk id="124" creationId="{D6C1E53A-55EC-4A78-A526-02C0AC2C60BB}"/>
          </ac:spMkLst>
        </pc:spChg>
        <pc:spChg chg="mod">
          <ac:chgData name="Ugo MANTEL" userId="2d5b7065-31bb-4181-a7f8-a73bf0c30211" providerId="ADAL" clId="{9344D105-636D-4857-BD0F-AFC44A54BCCF}" dt="2021-05-25T14:20:12.737" v="29476" actId="790"/>
          <ac:spMkLst>
            <pc:docMk/>
            <pc:sldMk cId="4003625964" sldId="10410"/>
            <ac:spMk id="125" creationId="{D74D7498-92CD-485E-B64F-458B030E1CC2}"/>
          </ac:spMkLst>
        </pc:spChg>
        <pc:spChg chg="add mod">
          <ac:chgData name="Ugo MANTEL" userId="2d5b7065-31bb-4181-a7f8-a73bf0c30211" providerId="ADAL" clId="{9344D105-636D-4857-BD0F-AFC44A54BCCF}" dt="2021-05-25T14:20:12.764" v="29500" actId="790"/>
          <ac:spMkLst>
            <pc:docMk/>
            <pc:sldMk cId="4003625964" sldId="10410"/>
            <ac:spMk id="126" creationId="{ED54800C-53A0-4A95-B01D-6800A323DD3B}"/>
          </ac:spMkLst>
        </pc:spChg>
        <pc:spChg chg="add del mod">
          <ac:chgData name="Ugo MANTEL" userId="2d5b7065-31bb-4181-a7f8-a73bf0c30211" providerId="ADAL" clId="{9344D105-636D-4857-BD0F-AFC44A54BCCF}" dt="2021-05-24T14:32:31.188" v="7632" actId="478"/>
          <ac:spMkLst>
            <pc:docMk/>
            <pc:sldMk cId="4003625964" sldId="10410"/>
            <ac:spMk id="135" creationId="{B223CA2C-2293-4E34-9871-DF8A9A570C22}"/>
          </ac:spMkLst>
        </pc:spChg>
        <pc:spChg chg="add mod">
          <ac:chgData name="Ugo MANTEL" userId="2d5b7065-31bb-4181-a7f8-a73bf0c30211" providerId="ADAL" clId="{9344D105-636D-4857-BD0F-AFC44A54BCCF}" dt="2021-05-25T14:20:12.765" v="29501" actId="790"/>
          <ac:spMkLst>
            <pc:docMk/>
            <pc:sldMk cId="4003625964" sldId="10410"/>
            <ac:spMk id="136" creationId="{84C28327-00A2-4711-A8BF-996CFA88AC98}"/>
          </ac:spMkLst>
        </pc:spChg>
        <pc:spChg chg="add mod">
          <ac:chgData name="Ugo MANTEL" userId="2d5b7065-31bb-4181-a7f8-a73bf0c30211" providerId="ADAL" clId="{9344D105-636D-4857-BD0F-AFC44A54BCCF}" dt="2021-05-25T14:20:12.766" v="29502" actId="790"/>
          <ac:spMkLst>
            <pc:docMk/>
            <pc:sldMk cId="4003625964" sldId="10410"/>
            <ac:spMk id="137" creationId="{AEE977AB-712C-41D1-AD50-0C0BDEF0923D}"/>
          </ac:spMkLst>
        </pc:spChg>
        <pc:spChg chg="add mod">
          <ac:chgData name="Ugo MANTEL" userId="2d5b7065-31bb-4181-a7f8-a73bf0c30211" providerId="ADAL" clId="{9344D105-636D-4857-BD0F-AFC44A54BCCF}" dt="2021-05-25T14:20:12.767" v="29503" actId="790"/>
          <ac:spMkLst>
            <pc:docMk/>
            <pc:sldMk cId="4003625964" sldId="10410"/>
            <ac:spMk id="138" creationId="{3ED5E0DD-7898-41FC-9518-B99CF6724888}"/>
          </ac:spMkLst>
        </pc:spChg>
        <pc:spChg chg="mod">
          <ac:chgData name="Ugo MANTEL" userId="2d5b7065-31bb-4181-a7f8-a73bf0c30211" providerId="ADAL" clId="{9344D105-636D-4857-BD0F-AFC44A54BCCF}" dt="2021-05-24T14:48:07.127" v="7724"/>
          <ac:spMkLst>
            <pc:docMk/>
            <pc:sldMk cId="4003625964" sldId="10410"/>
            <ac:spMk id="143" creationId="{D61C9598-996D-4EA0-899C-5F2C9188D1B5}"/>
          </ac:spMkLst>
        </pc:spChg>
        <pc:spChg chg="mod">
          <ac:chgData name="Ugo MANTEL" userId="2d5b7065-31bb-4181-a7f8-a73bf0c30211" providerId="ADAL" clId="{9344D105-636D-4857-BD0F-AFC44A54BCCF}" dt="2021-05-24T14:48:07.127" v="7724"/>
          <ac:spMkLst>
            <pc:docMk/>
            <pc:sldMk cId="4003625964" sldId="10410"/>
            <ac:spMk id="145" creationId="{88B9541B-2E2A-4566-B3E1-34401CA75DBC}"/>
          </ac:spMkLst>
        </pc:spChg>
        <pc:spChg chg="mod">
          <ac:chgData name="Ugo MANTEL" userId="2d5b7065-31bb-4181-a7f8-a73bf0c30211" providerId="ADAL" clId="{9344D105-636D-4857-BD0F-AFC44A54BCCF}" dt="2021-05-25T14:20:12.749" v="29488" actId="790"/>
          <ac:spMkLst>
            <pc:docMk/>
            <pc:sldMk cId="4003625964" sldId="10410"/>
            <ac:spMk id="154" creationId="{A7269958-7FC5-479F-B17B-49D115F118B6}"/>
          </ac:spMkLst>
        </pc:spChg>
        <pc:spChg chg="mod">
          <ac:chgData name="Ugo MANTEL" userId="2d5b7065-31bb-4181-a7f8-a73bf0c30211" providerId="ADAL" clId="{9344D105-636D-4857-BD0F-AFC44A54BCCF}" dt="2021-05-25T14:20:12.736" v="29474" actId="790"/>
          <ac:spMkLst>
            <pc:docMk/>
            <pc:sldMk cId="4003625964" sldId="10410"/>
            <ac:spMk id="165" creationId="{C389F3EC-7313-454E-9942-F14FD0BD4C77}"/>
          </ac:spMkLst>
        </pc:spChg>
        <pc:spChg chg="mod">
          <ac:chgData name="Ugo MANTEL" userId="2d5b7065-31bb-4181-a7f8-a73bf0c30211" providerId="ADAL" clId="{9344D105-636D-4857-BD0F-AFC44A54BCCF}" dt="2021-05-25T14:20:12.742" v="29483" actId="790"/>
          <ac:spMkLst>
            <pc:docMk/>
            <pc:sldMk cId="4003625964" sldId="10410"/>
            <ac:spMk id="166" creationId="{A3938D6F-1923-42FF-B2ED-6C2BEA79BA03}"/>
          </ac:spMkLst>
        </pc:spChg>
        <pc:spChg chg="mod">
          <ac:chgData name="Ugo MANTEL" userId="2d5b7065-31bb-4181-a7f8-a73bf0c30211" providerId="ADAL" clId="{9344D105-636D-4857-BD0F-AFC44A54BCCF}" dt="2021-05-25T14:20:12.721" v="29464" actId="790"/>
          <ac:spMkLst>
            <pc:docMk/>
            <pc:sldMk cId="4003625964" sldId="10410"/>
            <ac:spMk id="168" creationId="{C423BD9F-9E4A-46B8-89D7-67C1FE84B168}"/>
          </ac:spMkLst>
        </pc:spChg>
        <pc:spChg chg="del">
          <ac:chgData name="Ugo MANTEL" userId="2d5b7065-31bb-4181-a7f8-a73bf0c30211" providerId="ADAL" clId="{9344D105-636D-4857-BD0F-AFC44A54BCCF}" dt="2021-05-24T14:32:21.032" v="7629" actId="478"/>
          <ac:spMkLst>
            <pc:docMk/>
            <pc:sldMk cId="4003625964" sldId="10410"/>
            <ac:spMk id="169" creationId="{7881ABC3-A97B-4E90-939F-E48D9595FFFF}"/>
          </ac:spMkLst>
        </pc:spChg>
        <pc:spChg chg="del">
          <ac:chgData name="Ugo MANTEL" userId="2d5b7065-31bb-4181-a7f8-a73bf0c30211" providerId="ADAL" clId="{9344D105-636D-4857-BD0F-AFC44A54BCCF}" dt="2021-05-24T14:32:21.032" v="7629" actId="478"/>
          <ac:spMkLst>
            <pc:docMk/>
            <pc:sldMk cId="4003625964" sldId="10410"/>
            <ac:spMk id="170" creationId="{A886CA56-9620-415B-9489-A004AB6EB706}"/>
          </ac:spMkLst>
        </pc:spChg>
        <pc:spChg chg="mod">
          <ac:chgData name="Ugo MANTEL" userId="2d5b7065-31bb-4181-a7f8-a73bf0c30211" providerId="ADAL" clId="{9344D105-636D-4857-BD0F-AFC44A54BCCF}" dt="2021-05-25T14:20:12.736" v="29475" actId="790"/>
          <ac:spMkLst>
            <pc:docMk/>
            <pc:sldMk cId="4003625964" sldId="10410"/>
            <ac:spMk id="171" creationId="{BCC6DEFD-6FEB-4777-9432-E3B2F5C51000}"/>
          </ac:spMkLst>
        </pc:spChg>
        <pc:spChg chg="del">
          <ac:chgData name="Ugo MANTEL" userId="2d5b7065-31bb-4181-a7f8-a73bf0c30211" providerId="ADAL" clId="{9344D105-636D-4857-BD0F-AFC44A54BCCF}" dt="2021-05-24T14:32:21.032" v="7629" actId="478"/>
          <ac:spMkLst>
            <pc:docMk/>
            <pc:sldMk cId="4003625964" sldId="10410"/>
            <ac:spMk id="172" creationId="{04568322-5012-422B-991D-C9A4712E25C9}"/>
          </ac:spMkLst>
        </pc:spChg>
        <pc:spChg chg="mod">
          <ac:chgData name="Ugo MANTEL" userId="2d5b7065-31bb-4181-a7f8-a73bf0c30211" providerId="ADAL" clId="{9344D105-636D-4857-BD0F-AFC44A54BCCF}" dt="2021-05-25T14:20:12.758" v="29496" actId="790"/>
          <ac:spMkLst>
            <pc:docMk/>
            <pc:sldMk cId="4003625964" sldId="10410"/>
            <ac:spMk id="173" creationId="{BE452BF0-402D-4BCD-91A6-3CEC4D05BAD1}"/>
          </ac:spMkLst>
        </pc:spChg>
        <pc:spChg chg="mod">
          <ac:chgData name="Ugo MANTEL" userId="2d5b7065-31bb-4181-a7f8-a73bf0c30211" providerId="ADAL" clId="{9344D105-636D-4857-BD0F-AFC44A54BCCF}" dt="2021-05-25T13:52:20.542" v="23101" actId="1035"/>
          <ac:spMkLst>
            <pc:docMk/>
            <pc:sldMk cId="4003625964" sldId="10410"/>
            <ac:spMk id="179" creationId="{6D7C949B-1B81-4D9C-9891-BAC9498DEA81}"/>
          </ac:spMkLst>
        </pc:spChg>
        <pc:spChg chg="mod">
          <ac:chgData name="Ugo MANTEL" userId="2d5b7065-31bb-4181-a7f8-a73bf0c30211" providerId="ADAL" clId="{9344D105-636D-4857-BD0F-AFC44A54BCCF}" dt="2021-05-25T13:52:20.542" v="23101" actId="1035"/>
          <ac:spMkLst>
            <pc:docMk/>
            <pc:sldMk cId="4003625964" sldId="10410"/>
            <ac:spMk id="180" creationId="{D2736CBB-3F2F-412A-B5A6-81C99D83A8BF}"/>
          </ac:spMkLst>
        </pc:spChg>
        <pc:spChg chg="mod">
          <ac:chgData name="Ugo MANTEL" userId="2d5b7065-31bb-4181-a7f8-a73bf0c30211" providerId="ADAL" clId="{9344D105-636D-4857-BD0F-AFC44A54BCCF}" dt="2021-05-25T13:52:20.542" v="23101" actId="1035"/>
          <ac:spMkLst>
            <pc:docMk/>
            <pc:sldMk cId="4003625964" sldId="10410"/>
            <ac:spMk id="182" creationId="{A12CA5EC-88C6-48FB-8D81-C59D27D96CCF}"/>
          </ac:spMkLst>
        </pc:spChg>
        <pc:spChg chg="mod">
          <ac:chgData name="Ugo MANTEL" userId="2d5b7065-31bb-4181-a7f8-a73bf0c30211" providerId="ADAL" clId="{9344D105-636D-4857-BD0F-AFC44A54BCCF}" dt="2021-05-25T13:52:20.542" v="23101" actId="1035"/>
          <ac:spMkLst>
            <pc:docMk/>
            <pc:sldMk cId="4003625964" sldId="10410"/>
            <ac:spMk id="183" creationId="{8B1515F0-3ABD-4055-902B-E0A71F29D8A9}"/>
          </ac:spMkLst>
        </pc:spChg>
        <pc:spChg chg="mod">
          <ac:chgData name="Ugo MANTEL" userId="2d5b7065-31bb-4181-a7f8-a73bf0c30211" providerId="ADAL" clId="{9344D105-636D-4857-BD0F-AFC44A54BCCF}" dt="2021-05-25T14:20:12.763" v="29497" actId="790"/>
          <ac:spMkLst>
            <pc:docMk/>
            <pc:sldMk cId="4003625964" sldId="10410"/>
            <ac:spMk id="184" creationId="{2D6BD341-2669-45B8-8E10-F13130479C8B}"/>
          </ac:spMkLst>
        </pc:spChg>
        <pc:spChg chg="mod">
          <ac:chgData name="Ugo MANTEL" userId="2d5b7065-31bb-4181-a7f8-a73bf0c30211" providerId="ADAL" clId="{9344D105-636D-4857-BD0F-AFC44A54BCCF}" dt="2021-05-25T14:20:12.763" v="29498" actId="790"/>
          <ac:spMkLst>
            <pc:docMk/>
            <pc:sldMk cId="4003625964" sldId="10410"/>
            <ac:spMk id="185" creationId="{5AE57E1A-6506-4F9C-A94E-27A1D75F149A}"/>
          </ac:spMkLst>
        </pc:spChg>
        <pc:spChg chg="mod">
          <ac:chgData name="Ugo MANTEL" userId="2d5b7065-31bb-4181-a7f8-a73bf0c30211" providerId="ADAL" clId="{9344D105-636D-4857-BD0F-AFC44A54BCCF}" dt="2021-05-24T14:48:07.127" v="7724"/>
          <ac:spMkLst>
            <pc:docMk/>
            <pc:sldMk cId="4003625964" sldId="10410"/>
            <ac:spMk id="186" creationId="{31996643-F1EE-4352-B6A6-D4E46E0FF7AA}"/>
          </ac:spMkLst>
        </pc:spChg>
        <pc:spChg chg="add mod">
          <ac:chgData name="Ugo MANTEL" userId="2d5b7065-31bb-4181-a7f8-a73bf0c30211" providerId="ADAL" clId="{9344D105-636D-4857-BD0F-AFC44A54BCCF}" dt="2021-05-25T14:20:12.773" v="29512" actId="790"/>
          <ac:spMkLst>
            <pc:docMk/>
            <pc:sldMk cId="4003625964" sldId="10410"/>
            <ac:spMk id="187" creationId="{4E509C62-E7D0-4783-89FC-3579C2552880}"/>
          </ac:spMkLst>
        </pc:spChg>
        <pc:spChg chg="mod">
          <ac:chgData name="Ugo MANTEL" userId="2d5b7065-31bb-4181-a7f8-a73bf0c30211" providerId="ADAL" clId="{9344D105-636D-4857-BD0F-AFC44A54BCCF}" dt="2021-05-24T14:48:07.127" v="7724"/>
          <ac:spMkLst>
            <pc:docMk/>
            <pc:sldMk cId="4003625964" sldId="10410"/>
            <ac:spMk id="187" creationId="{60AC799D-ABAA-4448-95E0-C83A92DC0E46}"/>
          </ac:spMkLst>
        </pc:spChg>
        <pc:spChg chg="mod">
          <ac:chgData name="Ugo MANTEL" userId="2d5b7065-31bb-4181-a7f8-a73bf0c30211" providerId="ADAL" clId="{9344D105-636D-4857-BD0F-AFC44A54BCCF}" dt="2021-05-24T14:48:07.127" v="7724"/>
          <ac:spMkLst>
            <pc:docMk/>
            <pc:sldMk cId="4003625964" sldId="10410"/>
            <ac:spMk id="188" creationId="{83D472F2-46A0-4347-AB16-6D8AA99DBD38}"/>
          </ac:spMkLst>
        </pc:spChg>
        <pc:spChg chg="mod">
          <ac:chgData name="Ugo MANTEL" userId="2d5b7065-31bb-4181-a7f8-a73bf0c30211" providerId="ADAL" clId="{9344D105-636D-4857-BD0F-AFC44A54BCCF}" dt="2021-05-24T14:48:07.127" v="7724"/>
          <ac:spMkLst>
            <pc:docMk/>
            <pc:sldMk cId="4003625964" sldId="10410"/>
            <ac:spMk id="189" creationId="{4A7B2004-7FD0-4E78-9BCB-5CABAC154D79}"/>
          </ac:spMkLst>
        </pc:spChg>
        <pc:spChg chg="del mod topLvl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191" creationId="{109B85F3-C3AE-40EE-B597-071C250BB8E0}"/>
          </ac:spMkLst>
        </pc:spChg>
        <pc:spChg chg="del mod topLvl">
          <ac:chgData name="Ugo MANTEL" userId="2d5b7065-31bb-4181-a7f8-a73bf0c30211" providerId="ADAL" clId="{9344D105-636D-4857-BD0F-AFC44A54BCCF}" dt="2021-05-24T14:49:45.497" v="7757" actId="478"/>
          <ac:spMkLst>
            <pc:docMk/>
            <pc:sldMk cId="4003625964" sldId="10410"/>
            <ac:spMk id="193" creationId="{627045D7-6EDF-4428-9027-FCCB81EA5466}"/>
          </ac:spMkLst>
        </pc:spChg>
        <pc:spChg chg="del mod topLvl">
          <ac:chgData name="Ugo MANTEL" userId="2d5b7065-31bb-4181-a7f8-a73bf0c30211" providerId="ADAL" clId="{9344D105-636D-4857-BD0F-AFC44A54BCCF}" dt="2021-05-24T15:01:31.515" v="8727" actId="478"/>
          <ac:spMkLst>
            <pc:docMk/>
            <pc:sldMk cId="4003625964" sldId="10410"/>
            <ac:spMk id="194" creationId="{1D192735-36FD-47C4-8149-5CDA6E888B96}"/>
          </ac:spMkLst>
        </pc:spChg>
        <pc:spChg chg="del mod topLvl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195" creationId="{4CED389A-935F-40CD-91EB-575DC02DDA1D}"/>
          </ac:spMkLst>
        </pc:spChg>
        <pc:spChg chg="del mod topLvl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196" creationId="{61C1CEF0-13E7-47B8-B1FF-2E4EEDD5F4E6}"/>
          </ac:spMkLst>
        </pc:spChg>
        <pc:spChg chg="mod">
          <ac:chgData name="Ugo MANTEL" userId="2d5b7065-31bb-4181-a7f8-a73bf0c30211" providerId="ADAL" clId="{9344D105-636D-4857-BD0F-AFC44A54BCCF}" dt="2021-05-25T14:20:12.749" v="29489" actId="790"/>
          <ac:spMkLst>
            <pc:docMk/>
            <pc:sldMk cId="4003625964" sldId="10410"/>
            <ac:spMk id="197" creationId="{EB1ED8EE-1371-4F31-B475-A7FD22F01C88}"/>
          </ac:spMkLst>
        </pc:spChg>
        <pc:spChg chg="del mod topLvl">
          <ac:chgData name="Ugo MANTEL" userId="2d5b7065-31bb-4181-a7f8-a73bf0c30211" providerId="ADAL" clId="{9344D105-636D-4857-BD0F-AFC44A54BCCF}" dt="2021-05-24T15:01:31.515" v="8727" actId="478"/>
          <ac:spMkLst>
            <pc:docMk/>
            <pc:sldMk cId="4003625964" sldId="10410"/>
            <ac:spMk id="198" creationId="{F7250E0B-969C-4A8C-BC5D-88EBEB39C427}"/>
          </ac:spMkLst>
        </pc:spChg>
        <pc:spChg chg="add del mod topLvl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199" creationId="{65AAD22B-4432-49BB-B314-708EB97BE613}"/>
          </ac:spMkLst>
        </pc:spChg>
        <pc:spChg chg="add del mod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200" creationId="{F137DA21-E2FB-4FEF-B50C-264945B6BD5E}"/>
          </ac:spMkLst>
        </pc:spChg>
        <pc:spChg chg="add del mod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201" creationId="{415F7FF9-2DAC-4D69-AEE1-47A8F8A5EBAA}"/>
          </ac:spMkLst>
        </pc:spChg>
        <pc:spChg chg="add del mod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202" creationId="{D2EFBEF4-7CC6-4144-AC1D-F4EE75690157}"/>
          </ac:spMkLst>
        </pc:spChg>
        <pc:spChg chg="add del mod">
          <ac:chgData name="Ugo MANTEL" userId="2d5b7065-31bb-4181-a7f8-a73bf0c30211" providerId="ADAL" clId="{9344D105-636D-4857-BD0F-AFC44A54BCCF}" dt="2021-05-24T15:08:05.596" v="8761" actId="478"/>
          <ac:spMkLst>
            <pc:docMk/>
            <pc:sldMk cId="4003625964" sldId="10410"/>
            <ac:spMk id="203" creationId="{15AC64BD-2669-4153-AC85-E2E612EE43C4}"/>
          </ac:spMkLst>
        </pc:spChg>
        <pc:spChg chg="add mod">
          <ac:chgData name="Ugo MANTEL" userId="2d5b7065-31bb-4181-a7f8-a73bf0c30211" providerId="ADAL" clId="{9344D105-636D-4857-BD0F-AFC44A54BCCF}" dt="2021-05-25T14:20:12.767" v="29504" actId="790"/>
          <ac:spMkLst>
            <pc:docMk/>
            <pc:sldMk cId="4003625964" sldId="10410"/>
            <ac:spMk id="204" creationId="{6CC6C49E-D434-403F-BE50-A7622E04ADF6}"/>
          </ac:spMkLst>
        </pc:spChg>
        <pc:spChg chg="add mod">
          <ac:chgData name="Ugo MANTEL" userId="2d5b7065-31bb-4181-a7f8-a73bf0c30211" providerId="ADAL" clId="{9344D105-636D-4857-BD0F-AFC44A54BCCF}" dt="2021-05-25T14:20:12.768" v="29505" actId="790"/>
          <ac:spMkLst>
            <pc:docMk/>
            <pc:sldMk cId="4003625964" sldId="10410"/>
            <ac:spMk id="205" creationId="{32F079B9-FFF1-42AB-9B15-BC9184FFBCAF}"/>
          </ac:spMkLst>
        </pc:spChg>
        <pc:spChg chg="add mod">
          <ac:chgData name="Ugo MANTEL" userId="2d5b7065-31bb-4181-a7f8-a73bf0c30211" providerId="ADAL" clId="{9344D105-636D-4857-BD0F-AFC44A54BCCF}" dt="2021-05-25T14:20:12.769" v="29506" actId="790"/>
          <ac:spMkLst>
            <pc:docMk/>
            <pc:sldMk cId="4003625964" sldId="10410"/>
            <ac:spMk id="206" creationId="{89686EE2-3C88-4AA0-87A1-4BC04B48AB02}"/>
          </ac:spMkLst>
        </pc:spChg>
        <pc:spChg chg="add mod">
          <ac:chgData name="Ugo MANTEL" userId="2d5b7065-31bb-4181-a7f8-a73bf0c30211" providerId="ADAL" clId="{9344D105-636D-4857-BD0F-AFC44A54BCCF}" dt="2021-05-25T14:20:12.769" v="29507" actId="790"/>
          <ac:spMkLst>
            <pc:docMk/>
            <pc:sldMk cId="4003625964" sldId="10410"/>
            <ac:spMk id="207" creationId="{AC37BD0B-23A7-4DB4-B2F5-65C70DADE73C}"/>
          </ac:spMkLst>
        </pc:spChg>
        <pc:spChg chg="add mod">
          <ac:chgData name="Ugo MANTEL" userId="2d5b7065-31bb-4181-a7f8-a73bf0c30211" providerId="ADAL" clId="{9344D105-636D-4857-BD0F-AFC44A54BCCF}" dt="2021-05-25T14:20:12.770" v="29508" actId="790"/>
          <ac:spMkLst>
            <pc:docMk/>
            <pc:sldMk cId="4003625964" sldId="10410"/>
            <ac:spMk id="208" creationId="{742E52DF-B90F-44D4-9B0A-5774B4121BA9}"/>
          </ac:spMkLst>
        </pc:spChg>
        <pc:spChg chg="add mod">
          <ac:chgData name="Ugo MANTEL" userId="2d5b7065-31bb-4181-a7f8-a73bf0c30211" providerId="ADAL" clId="{9344D105-636D-4857-BD0F-AFC44A54BCCF}" dt="2021-05-25T14:20:12.771" v="29509" actId="790"/>
          <ac:spMkLst>
            <pc:docMk/>
            <pc:sldMk cId="4003625964" sldId="10410"/>
            <ac:spMk id="209" creationId="{FE8ADA23-A482-4A71-B96C-4FF784FF76A5}"/>
          </ac:spMkLst>
        </pc:spChg>
        <pc:spChg chg="add mod">
          <ac:chgData name="Ugo MANTEL" userId="2d5b7065-31bb-4181-a7f8-a73bf0c30211" providerId="ADAL" clId="{9344D105-636D-4857-BD0F-AFC44A54BCCF}" dt="2021-05-25T14:20:12.772" v="29510" actId="790"/>
          <ac:spMkLst>
            <pc:docMk/>
            <pc:sldMk cId="4003625964" sldId="10410"/>
            <ac:spMk id="210" creationId="{F8F6D5DC-83D8-4EDF-96BE-EA0B142DCE81}"/>
          </ac:spMkLst>
        </pc:spChg>
        <pc:spChg chg="add mod">
          <ac:chgData name="Ugo MANTEL" userId="2d5b7065-31bb-4181-a7f8-a73bf0c30211" providerId="ADAL" clId="{9344D105-636D-4857-BD0F-AFC44A54BCCF}" dt="2021-05-25T14:20:12.773" v="29511" actId="790"/>
          <ac:spMkLst>
            <pc:docMk/>
            <pc:sldMk cId="4003625964" sldId="10410"/>
            <ac:spMk id="211" creationId="{03AEBBA0-73DD-4747-AD0F-3B8EC27C90DB}"/>
          </ac:spMkLst>
        </pc:spChg>
        <pc:spChg chg="mod">
          <ac:chgData name="Ugo MANTEL" userId="2d5b7065-31bb-4181-a7f8-a73bf0c30211" providerId="ADAL" clId="{9344D105-636D-4857-BD0F-AFC44A54BCCF}" dt="2021-05-25T14:20:12.750" v="29490" actId="790"/>
          <ac:spMkLst>
            <pc:docMk/>
            <pc:sldMk cId="4003625964" sldId="10410"/>
            <ac:spMk id="212" creationId="{F492C173-DFD6-47CF-9BB4-C8925127E1EE}"/>
          </ac:spMkLst>
        </pc:spChg>
        <pc:spChg chg="mod">
          <ac:chgData name="Ugo MANTEL" userId="2d5b7065-31bb-4181-a7f8-a73bf0c30211" providerId="ADAL" clId="{9344D105-636D-4857-BD0F-AFC44A54BCCF}" dt="2021-05-25T14:20:12.734" v="29472" actId="790"/>
          <ac:spMkLst>
            <pc:docMk/>
            <pc:sldMk cId="4003625964" sldId="10410"/>
            <ac:spMk id="1031" creationId="{A3845A5C-C65F-4C44-AE3B-D3285DF51268}"/>
          </ac:spMkLst>
        </pc:spChg>
        <pc:spChg chg="mod">
          <ac:chgData name="Ugo MANTEL" userId="2d5b7065-31bb-4181-a7f8-a73bf0c30211" providerId="ADAL" clId="{9344D105-636D-4857-BD0F-AFC44A54BCCF}" dt="2021-05-25T14:20:12.742" v="29482" actId="790"/>
          <ac:spMkLst>
            <pc:docMk/>
            <pc:sldMk cId="4003625964" sldId="10410"/>
            <ac:spMk id="1035" creationId="{9164A53F-4711-41A4-BE3D-8D2F4243A495}"/>
          </ac:spMkLst>
        </pc:spChg>
        <pc:spChg chg="mod">
          <ac:chgData name="Ugo MANTEL" userId="2d5b7065-31bb-4181-a7f8-a73bf0c30211" providerId="ADAL" clId="{9344D105-636D-4857-BD0F-AFC44A54BCCF}" dt="2021-05-25T14:20:12.738" v="29477" actId="790"/>
          <ac:spMkLst>
            <pc:docMk/>
            <pc:sldMk cId="4003625964" sldId="10410"/>
            <ac:spMk id="4107" creationId="{EBC573C8-C4E3-432A-81F7-B99236DF594A}"/>
          </ac:spMkLst>
        </pc:spChg>
        <pc:grpChg chg="add del mod">
          <ac:chgData name="Ugo MANTEL" userId="2d5b7065-31bb-4181-a7f8-a73bf0c30211" providerId="ADAL" clId="{9344D105-636D-4857-BD0F-AFC44A54BCCF}" dt="2021-05-24T14:50:18.214" v="7769" actId="165"/>
          <ac:grpSpMkLst>
            <pc:docMk/>
            <pc:sldMk cId="4003625964" sldId="10410"/>
            <ac:grpSpMk id="11" creationId="{D09070DB-5A16-4A74-A706-D328B230E0A8}"/>
          </ac:grpSpMkLst>
        </pc:grpChg>
        <pc:grpChg chg="add del mod">
          <ac:chgData name="Ugo MANTEL" userId="2d5b7065-31bb-4181-a7f8-a73bf0c30211" providerId="ADAL" clId="{9344D105-636D-4857-BD0F-AFC44A54BCCF}" dt="2021-05-24T14:50:39.725" v="7774" actId="478"/>
          <ac:grpSpMkLst>
            <pc:docMk/>
            <pc:sldMk cId="4003625964" sldId="10410"/>
            <ac:grpSpMk id="142" creationId="{0BA7E79A-CC30-4A5A-B1D7-3D258E180F67}"/>
          </ac:grpSpMkLst>
        </pc:grpChg>
        <pc:grpChg chg="mod">
          <ac:chgData name="Ugo MANTEL" userId="2d5b7065-31bb-4181-a7f8-a73bf0c30211" providerId="ADAL" clId="{9344D105-636D-4857-BD0F-AFC44A54BCCF}" dt="2021-05-25T13:52:20.542" v="23101" actId="1035"/>
          <ac:grpSpMkLst>
            <pc:docMk/>
            <pc:sldMk cId="4003625964" sldId="10410"/>
            <ac:grpSpMk id="178" creationId="{4997958F-B88E-4FA0-AA5D-B60AF20950D7}"/>
          </ac:grpSpMkLst>
        </pc:grpChg>
        <pc:grpChg chg="mod">
          <ac:chgData name="Ugo MANTEL" userId="2d5b7065-31bb-4181-a7f8-a73bf0c30211" providerId="ADAL" clId="{9344D105-636D-4857-BD0F-AFC44A54BCCF}" dt="2021-05-25T13:52:20.542" v="23101" actId="1035"/>
          <ac:grpSpMkLst>
            <pc:docMk/>
            <pc:sldMk cId="4003625964" sldId="10410"/>
            <ac:grpSpMk id="181" creationId="{1FAE4F7F-18DC-45E0-A190-D439E4E9D64D}"/>
          </ac:grpSpMkLst>
        </pc:grpChg>
        <pc:grpChg chg="add del mod">
          <ac:chgData name="Ugo MANTEL" userId="2d5b7065-31bb-4181-a7f8-a73bf0c30211" providerId="ADAL" clId="{9344D105-636D-4857-BD0F-AFC44A54BCCF}" dt="2021-05-24T14:48:43.890" v="7731" actId="165"/>
          <ac:grpSpMkLst>
            <pc:docMk/>
            <pc:sldMk cId="4003625964" sldId="10410"/>
            <ac:grpSpMk id="190" creationId="{7C40160F-FE5E-4AEF-802C-48CE0328E2BD}"/>
          </ac:grpSpMkLst>
        </pc:grpChg>
        <pc:grpChg chg="del mod topLvl">
          <ac:chgData name="Ugo MANTEL" userId="2d5b7065-31bb-4181-a7f8-a73bf0c30211" providerId="ADAL" clId="{9344D105-636D-4857-BD0F-AFC44A54BCCF}" dt="2021-05-24T14:48:46.567" v="7732" actId="165"/>
          <ac:grpSpMkLst>
            <pc:docMk/>
            <pc:sldMk cId="4003625964" sldId="10410"/>
            <ac:grpSpMk id="192" creationId="{AA27BAEA-4C96-4270-85F8-78729A3465E3}"/>
          </ac:grpSpMkLst>
        </pc:grpChg>
        <pc:graphicFrameChg chg="mod">
          <ac:chgData name="Ugo MANTEL" userId="2d5b7065-31bb-4181-a7f8-a73bf0c30211" providerId="ADAL" clId="{9344D105-636D-4857-BD0F-AFC44A54BCCF}" dt="2021-05-25T13:48:36.362" v="22857"/>
          <ac:graphicFrameMkLst>
            <pc:docMk/>
            <pc:sldMk cId="4003625964" sldId="10410"/>
            <ac:graphicFrameMk id="17" creationId="{FF44A7FF-DA1D-48E9-88AF-BFA57A1D74D1}"/>
          </ac:graphicFrameMkLst>
        </pc:graphicFrameChg>
        <pc:picChg chg="del">
          <ac:chgData name="Ugo MANTEL" userId="2d5b7065-31bb-4181-a7f8-a73bf0c30211" providerId="ADAL" clId="{9344D105-636D-4857-BD0F-AFC44A54BCCF}" dt="2021-05-25T12:04:21.611" v="17666" actId="478"/>
          <ac:picMkLst>
            <pc:docMk/>
            <pc:sldMk cId="4003625964" sldId="10410"/>
            <ac:picMk id="41" creationId="{8ADC216A-F93F-421D-872E-AFDDDE309ED2}"/>
          </ac:picMkLst>
        </pc:picChg>
        <pc:picChg chg="add mod">
          <ac:chgData name="Ugo MANTEL" userId="2d5b7065-31bb-4181-a7f8-a73bf0c30211" providerId="ADAL" clId="{9344D105-636D-4857-BD0F-AFC44A54BCCF}" dt="2021-05-25T11:13:55.872" v="17161"/>
          <ac:picMkLst>
            <pc:docMk/>
            <pc:sldMk cId="4003625964" sldId="10410"/>
            <ac:picMk id="135" creationId="{92FB3B8A-F566-4868-8296-B788963C51C0}"/>
          </ac:picMkLst>
        </pc:picChg>
        <pc:picChg chg="add mod">
          <ac:chgData name="Ugo MANTEL" userId="2d5b7065-31bb-4181-a7f8-a73bf0c30211" providerId="ADAL" clId="{9344D105-636D-4857-BD0F-AFC44A54BCCF}" dt="2021-05-25T12:04:30.676" v="17668" actId="12788"/>
          <ac:picMkLst>
            <pc:docMk/>
            <pc:sldMk cId="4003625964" sldId="10410"/>
            <ac:picMk id="142" creationId="{C10370A7-8D72-4E06-9867-9F8A85C6BBE8}"/>
          </ac:picMkLst>
        </pc:picChg>
        <pc:picChg chg="add mod">
          <ac:chgData name="Ugo MANTEL" userId="2d5b7065-31bb-4181-a7f8-a73bf0c30211" providerId="ADAL" clId="{9344D105-636D-4857-BD0F-AFC44A54BCCF}" dt="2021-05-25T12:04:22.080" v="17667"/>
          <ac:picMkLst>
            <pc:docMk/>
            <pc:sldMk cId="4003625964" sldId="10410"/>
            <ac:picMk id="143" creationId="{3F88F8F2-3067-4E5A-9A7F-1BA8CD087692}"/>
          </ac:picMkLst>
        </pc:picChg>
        <pc:picChg chg="del">
          <ac:chgData name="Ugo MANTEL" userId="2d5b7065-31bb-4181-a7f8-a73bf0c30211" providerId="ADAL" clId="{9344D105-636D-4857-BD0F-AFC44A54BCCF}" dt="2021-05-25T12:04:21.611" v="17666" actId="478"/>
          <ac:picMkLst>
            <pc:docMk/>
            <pc:sldMk cId="4003625964" sldId="10410"/>
            <ac:picMk id="144" creationId="{3FFA9EA9-F131-4B85-85DA-1EC98CB9E75E}"/>
          </ac:picMkLst>
        </pc:picChg>
        <pc:picChg chg="add mod">
          <ac:chgData name="Ugo MANTEL" userId="2d5b7065-31bb-4181-a7f8-a73bf0c30211" providerId="ADAL" clId="{9344D105-636D-4857-BD0F-AFC44A54BCCF}" dt="2021-05-25T13:52:20.542" v="23101" actId="1035"/>
          <ac:picMkLst>
            <pc:docMk/>
            <pc:sldMk cId="4003625964" sldId="10410"/>
            <ac:picMk id="186" creationId="{C4ACC38A-C349-4ECC-A19F-13F8956E6161}"/>
          </ac:picMkLst>
        </pc:picChg>
        <pc:picChg chg="add mod">
          <ac:chgData name="Ugo MANTEL" userId="2d5b7065-31bb-4181-a7f8-a73bf0c30211" providerId="ADAL" clId="{9344D105-636D-4857-BD0F-AFC44A54BCCF}" dt="2021-05-25T13:52:37.918" v="23116" actId="1076"/>
          <ac:picMkLst>
            <pc:docMk/>
            <pc:sldMk cId="4003625964" sldId="10410"/>
            <ac:picMk id="188" creationId="{F5B76051-3F2A-467C-858B-5D8F5DFFAA89}"/>
          </ac:picMkLst>
        </pc:picChg>
      </pc:sldChg>
      <pc:sldChg chg="addSp delSp modSp mod ord">
        <pc:chgData name="Ugo MANTEL" userId="2d5b7065-31bb-4181-a7f8-a73bf0c30211" providerId="ADAL" clId="{9344D105-636D-4857-BD0F-AFC44A54BCCF}" dt="2021-05-25T14:37:08.035" v="35230" actId="20577"/>
        <pc:sldMkLst>
          <pc:docMk/>
          <pc:sldMk cId="3428758149" sldId="10411"/>
        </pc:sldMkLst>
        <pc:spChg chg="mod">
          <ac:chgData name="Ugo MANTEL" userId="2d5b7065-31bb-4181-a7f8-a73bf0c30211" providerId="ADAL" clId="{9344D105-636D-4857-BD0F-AFC44A54BCCF}" dt="2021-05-25T14:33:07.984" v="34548" actId="948"/>
          <ac:spMkLst>
            <pc:docMk/>
            <pc:sldMk cId="3428758149" sldId="10411"/>
            <ac:spMk id="2" creationId="{1B8B41D0-3B5A-41F2-BD36-274CA5605C3A}"/>
          </ac:spMkLst>
        </pc:spChg>
        <pc:spChg chg="add del mod modVis">
          <ac:chgData name="Ugo MANTEL" userId="2d5b7065-31bb-4181-a7f8-a73bf0c30211" providerId="ADAL" clId="{9344D105-636D-4857-BD0F-AFC44A54BCCF}" dt="2021-05-24T14:52:14.423" v="8093"/>
          <ac:spMkLst>
            <pc:docMk/>
            <pc:sldMk cId="3428758149" sldId="10411"/>
            <ac:spMk id="3" creationId="{35AA0C05-8C0E-4801-912D-A70D542171AE}"/>
          </ac:spMkLst>
        </pc:spChg>
        <pc:spChg chg="add del mod modVis">
          <ac:chgData name="Ugo MANTEL" userId="2d5b7065-31bb-4181-a7f8-a73bf0c30211" providerId="ADAL" clId="{9344D105-636D-4857-BD0F-AFC44A54BCCF}" dt="2021-05-25T14:26:03.887" v="32428"/>
          <ac:spMkLst>
            <pc:docMk/>
            <pc:sldMk cId="3428758149" sldId="10411"/>
            <ac:spMk id="3" creationId="{51036E6B-9A17-4C14-830D-803CDEAA0961}"/>
          </ac:spMkLst>
        </pc:spChg>
        <pc:spChg chg="mod">
          <ac:chgData name="Ugo MANTEL" userId="2d5b7065-31bb-4181-a7f8-a73bf0c30211" providerId="ADAL" clId="{9344D105-636D-4857-BD0F-AFC44A54BCCF}" dt="2021-05-25T14:20:12.954" v="29676" actId="790"/>
          <ac:spMkLst>
            <pc:docMk/>
            <pc:sldMk cId="3428758149" sldId="10411"/>
            <ac:spMk id="4" creationId="{43E0D5C7-0986-42B1-8E8C-7B58D0CBD773}"/>
          </ac:spMkLst>
        </pc:spChg>
        <pc:spChg chg="mod">
          <ac:chgData name="Ugo MANTEL" userId="2d5b7065-31bb-4181-a7f8-a73bf0c30211" providerId="ADAL" clId="{9344D105-636D-4857-BD0F-AFC44A54BCCF}" dt="2021-05-25T14:20:12.959" v="29682" actId="790"/>
          <ac:spMkLst>
            <pc:docMk/>
            <pc:sldMk cId="3428758149" sldId="10411"/>
            <ac:spMk id="5" creationId="{32E0BE14-B2E8-4A96-ADE4-0BE247A47D79}"/>
          </ac:spMkLst>
        </pc:spChg>
        <pc:spChg chg="mod">
          <ac:chgData name="Ugo MANTEL" userId="2d5b7065-31bb-4181-a7f8-a73bf0c30211" providerId="ADAL" clId="{9344D105-636D-4857-BD0F-AFC44A54BCCF}" dt="2021-05-25T14:20:12.983" v="29707" actId="790"/>
          <ac:spMkLst>
            <pc:docMk/>
            <pc:sldMk cId="3428758149" sldId="10411"/>
            <ac:spMk id="6" creationId="{8AEA1672-C0F9-4DB2-A6F4-76831980F749}"/>
          </ac:spMkLst>
        </pc:spChg>
        <pc:spChg chg="mod">
          <ac:chgData name="Ugo MANTEL" userId="2d5b7065-31bb-4181-a7f8-a73bf0c30211" providerId="ADAL" clId="{9344D105-636D-4857-BD0F-AFC44A54BCCF}" dt="2021-05-25T14:20:12.956" v="29679" actId="790"/>
          <ac:spMkLst>
            <pc:docMk/>
            <pc:sldMk cId="3428758149" sldId="10411"/>
            <ac:spMk id="7" creationId="{064EAC16-1947-4EB5-B699-F79BA984701D}"/>
          </ac:spMkLst>
        </pc:spChg>
        <pc:spChg chg="mod">
          <ac:chgData name="Ugo MANTEL" userId="2d5b7065-31bb-4181-a7f8-a73bf0c30211" providerId="ADAL" clId="{9344D105-636D-4857-BD0F-AFC44A54BCCF}" dt="2021-05-25T14:20:12.956" v="29680" actId="790"/>
          <ac:spMkLst>
            <pc:docMk/>
            <pc:sldMk cId="3428758149" sldId="10411"/>
            <ac:spMk id="8" creationId="{17235FB0-B480-4F11-BAB2-ECCE97A0AE35}"/>
          </ac:spMkLst>
        </pc:spChg>
        <pc:spChg chg="mod">
          <ac:chgData name="Ugo MANTEL" userId="2d5b7065-31bb-4181-a7f8-a73bf0c30211" providerId="ADAL" clId="{9344D105-636D-4857-BD0F-AFC44A54BCCF}" dt="2021-05-25T14:20:12.980" v="29706" actId="790"/>
          <ac:spMkLst>
            <pc:docMk/>
            <pc:sldMk cId="3428758149" sldId="10411"/>
            <ac:spMk id="9" creationId="{E57AC7D2-FC03-4826-B2B4-B86B10C8A912}"/>
          </ac:spMkLst>
        </pc:spChg>
        <pc:spChg chg="mod">
          <ac:chgData name="Ugo MANTEL" userId="2d5b7065-31bb-4181-a7f8-a73bf0c30211" providerId="ADAL" clId="{9344D105-636D-4857-BD0F-AFC44A54BCCF}" dt="2021-05-25T14:20:12.970" v="29693" actId="790"/>
          <ac:spMkLst>
            <pc:docMk/>
            <pc:sldMk cId="3428758149" sldId="10411"/>
            <ac:spMk id="10" creationId="{EC4BC8E5-CDE6-4BDA-8B1B-E89284306AC8}"/>
          </ac:spMkLst>
        </pc:spChg>
        <pc:spChg chg="add del mod modVis">
          <ac:chgData name="Ugo MANTEL" userId="2d5b7065-31bb-4181-a7f8-a73bf0c30211" providerId="ADAL" clId="{9344D105-636D-4857-BD0F-AFC44A54BCCF}" dt="2021-05-24T14:52:18.070" v="8138"/>
          <ac:spMkLst>
            <pc:docMk/>
            <pc:sldMk cId="3428758149" sldId="10411"/>
            <ac:spMk id="11" creationId="{0474740E-1EFD-462C-8915-10BFCD4F1F01}"/>
          </ac:spMkLst>
        </pc:spChg>
        <pc:spChg chg="add del mod modVis">
          <ac:chgData name="Ugo MANTEL" userId="2d5b7065-31bb-4181-a7f8-a73bf0c30211" providerId="ADAL" clId="{9344D105-636D-4857-BD0F-AFC44A54BCCF}" dt="2021-05-25T14:26:07.246" v="32472"/>
          <ac:spMkLst>
            <pc:docMk/>
            <pc:sldMk cId="3428758149" sldId="10411"/>
            <ac:spMk id="11" creationId="{0AD41812-7B19-4AAE-8FF7-16342B93BF08}"/>
          </ac:spMkLst>
        </pc:spChg>
        <pc:spChg chg="add del mod modVis">
          <ac:chgData name="Ugo MANTEL" userId="2d5b7065-31bb-4181-a7f8-a73bf0c30211" providerId="ADAL" clId="{9344D105-636D-4857-BD0F-AFC44A54BCCF}" dt="2021-05-25T14:27:05.815" v="32526"/>
          <ac:spMkLst>
            <pc:docMk/>
            <pc:sldMk cId="3428758149" sldId="10411"/>
            <ac:spMk id="12" creationId="{F2A9D9B4-14F8-4E26-9A68-11625C74F6E1}"/>
          </ac:spMkLst>
        </pc:spChg>
        <pc:spChg chg="add del mod modVis">
          <ac:chgData name="Ugo MANTEL" userId="2d5b7065-31bb-4181-a7f8-a73bf0c30211" providerId="ADAL" clId="{9344D105-636D-4857-BD0F-AFC44A54BCCF}" dt="2021-05-25T14:27:11.464" v="32577"/>
          <ac:spMkLst>
            <pc:docMk/>
            <pc:sldMk cId="3428758149" sldId="10411"/>
            <ac:spMk id="13" creationId="{9F29F562-7127-4BA9-9D0E-392604D485E7}"/>
          </ac:spMkLst>
        </pc:spChg>
        <pc:spChg chg="add del mod modVis">
          <ac:chgData name="Ugo MANTEL" userId="2d5b7065-31bb-4181-a7f8-a73bf0c30211" providerId="ADAL" clId="{9344D105-636D-4857-BD0F-AFC44A54BCCF}" dt="2021-05-25T14:27:12.668" v="32623"/>
          <ac:spMkLst>
            <pc:docMk/>
            <pc:sldMk cId="3428758149" sldId="10411"/>
            <ac:spMk id="14" creationId="{A18F0CB5-2B3C-4846-A077-DA7CD884288F}"/>
          </ac:spMkLst>
        </pc:spChg>
        <pc:spChg chg="add del mod modVis">
          <ac:chgData name="Ugo MANTEL" userId="2d5b7065-31bb-4181-a7f8-a73bf0c30211" providerId="ADAL" clId="{9344D105-636D-4857-BD0F-AFC44A54BCCF}" dt="2021-05-25T14:27:36.436" v="32667"/>
          <ac:spMkLst>
            <pc:docMk/>
            <pc:sldMk cId="3428758149" sldId="10411"/>
            <ac:spMk id="15" creationId="{4B578070-EDAC-45FA-AF52-B7A26273CB0C}"/>
          </ac:spMkLst>
        </pc:spChg>
        <pc:spChg chg="add del mod modVis">
          <ac:chgData name="Ugo MANTEL" userId="2d5b7065-31bb-4181-a7f8-a73bf0c30211" providerId="ADAL" clId="{9344D105-636D-4857-BD0F-AFC44A54BCCF}" dt="2021-05-25T14:27:37.210" v="32711"/>
          <ac:spMkLst>
            <pc:docMk/>
            <pc:sldMk cId="3428758149" sldId="10411"/>
            <ac:spMk id="16" creationId="{7FE92776-2A2C-4747-A3E1-626C130EDD2A}"/>
          </ac:spMkLst>
        </pc:spChg>
        <pc:spChg chg="mod">
          <ac:chgData name="Ugo MANTEL" userId="2d5b7065-31bb-4181-a7f8-a73bf0c30211" providerId="ADAL" clId="{9344D105-636D-4857-BD0F-AFC44A54BCCF}" dt="2021-05-25T14:20:12.968" v="29689" actId="790"/>
          <ac:spMkLst>
            <pc:docMk/>
            <pc:sldMk cId="3428758149" sldId="10411"/>
            <ac:spMk id="18" creationId="{E5E5B17C-AF5B-4FCB-935E-796FE66056AC}"/>
          </ac:spMkLst>
        </pc:spChg>
        <pc:spChg chg="mod">
          <ac:chgData name="Ugo MANTEL" userId="2d5b7065-31bb-4181-a7f8-a73bf0c30211" providerId="ADAL" clId="{9344D105-636D-4857-BD0F-AFC44A54BCCF}" dt="2021-05-25T14:20:12.960" v="29683" actId="790"/>
          <ac:spMkLst>
            <pc:docMk/>
            <pc:sldMk cId="3428758149" sldId="10411"/>
            <ac:spMk id="19" creationId="{D183DC4A-A310-4818-8DE5-DD81DA31ACA2}"/>
          </ac:spMkLst>
        </pc:spChg>
        <pc:spChg chg="mod">
          <ac:chgData name="Ugo MANTEL" userId="2d5b7065-31bb-4181-a7f8-a73bf0c30211" providerId="ADAL" clId="{9344D105-636D-4857-BD0F-AFC44A54BCCF}" dt="2021-05-25T14:20:12.961" v="29684" actId="790"/>
          <ac:spMkLst>
            <pc:docMk/>
            <pc:sldMk cId="3428758149" sldId="10411"/>
            <ac:spMk id="20" creationId="{54E8F179-87EF-4A92-9C29-92D7E20EB946}"/>
          </ac:spMkLst>
        </pc:spChg>
        <pc:spChg chg="mod">
          <ac:chgData name="Ugo MANTEL" userId="2d5b7065-31bb-4181-a7f8-a73bf0c30211" providerId="ADAL" clId="{9344D105-636D-4857-BD0F-AFC44A54BCCF}" dt="2021-05-25T14:20:12.987" v="29709" actId="790"/>
          <ac:spMkLst>
            <pc:docMk/>
            <pc:sldMk cId="3428758149" sldId="10411"/>
            <ac:spMk id="21" creationId="{44BA4EC0-19D7-41DC-B319-396D8267BC37}"/>
          </ac:spMkLst>
        </pc:spChg>
        <pc:spChg chg="mod">
          <ac:chgData name="Ugo MANTEL" userId="2d5b7065-31bb-4181-a7f8-a73bf0c30211" providerId="ADAL" clId="{9344D105-636D-4857-BD0F-AFC44A54BCCF}" dt="2021-05-25T14:20:12.987" v="29710" actId="790"/>
          <ac:spMkLst>
            <pc:docMk/>
            <pc:sldMk cId="3428758149" sldId="10411"/>
            <ac:spMk id="22" creationId="{43B8FABF-5816-42AC-8939-29224794884E}"/>
          </ac:spMkLst>
        </pc:spChg>
        <pc:spChg chg="add del mod modVis">
          <ac:chgData name="Ugo MANTEL" userId="2d5b7065-31bb-4181-a7f8-a73bf0c30211" providerId="ADAL" clId="{9344D105-636D-4857-BD0F-AFC44A54BCCF}" dt="2021-05-25T14:28:25.399" v="32893" actId="962"/>
          <ac:spMkLst>
            <pc:docMk/>
            <pc:sldMk cId="3428758149" sldId="10411"/>
            <ac:spMk id="23" creationId="{EBA1C96E-89AE-4DEC-BE1D-98CF7A722F48}"/>
          </ac:spMkLst>
        </pc:spChg>
        <pc:spChg chg="add del mod modVis">
          <ac:chgData name="Ugo MANTEL" userId="2d5b7065-31bb-4181-a7f8-a73bf0c30211" providerId="ADAL" clId="{9344D105-636D-4857-BD0F-AFC44A54BCCF}" dt="2021-05-25T14:28:24.918" v="32850" actId="962"/>
          <ac:spMkLst>
            <pc:docMk/>
            <pc:sldMk cId="3428758149" sldId="10411"/>
            <ac:spMk id="24" creationId="{36AD6622-3BA5-4FE0-BC85-CED45323AA7F}"/>
          </ac:spMkLst>
        </pc:spChg>
        <pc:spChg chg="add del mod modVis">
          <ac:chgData name="Ugo MANTEL" userId="2d5b7065-31bb-4181-a7f8-a73bf0c30211" providerId="ADAL" clId="{9344D105-636D-4857-BD0F-AFC44A54BCCF}" dt="2021-05-25T14:28:29.077" v="32944"/>
          <ac:spMkLst>
            <pc:docMk/>
            <pc:sldMk cId="3428758149" sldId="10411"/>
            <ac:spMk id="25" creationId="{8E9314A4-E67D-42C9-B29D-FA8323F43983}"/>
          </ac:spMkLst>
        </pc:spChg>
        <pc:spChg chg="add del mod modVis">
          <ac:chgData name="Ugo MANTEL" userId="2d5b7065-31bb-4181-a7f8-a73bf0c30211" providerId="ADAL" clId="{9344D105-636D-4857-BD0F-AFC44A54BCCF}" dt="2021-05-25T14:28:33.127" v="32992"/>
          <ac:spMkLst>
            <pc:docMk/>
            <pc:sldMk cId="3428758149" sldId="10411"/>
            <ac:spMk id="26" creationId="{E411394F-75DA-4D80-82F5-DA3DE8F04564}"/>
          </ac:spMkLst>
        </pc:spChg>
        <pc:spChg chg="add del mod modVis">
          <ac:chgData name="Ugo MANTEL" userId="2d5b7065-31bb-4181-a7f8-a73bf0c30211" providerId="ADAL" clId="{9344D105-636D-4857-BD0F-AFC44A54BCCF}" dt="2021-05-25T14:28:42.937" v="33041"/>
          <ac:spMkLst>
            <pc:docMk/>
            <pc:sldMk cId="3428758149" sldId="10411"/>
            <ac:spMk id="27" creationId="{06564E97-9972-4376-A264-3CDA0FC36F25}"/>
          </ac:spMkLst>
        </pc:spChg>
        <pc:spChg chg="add del mod modVis">
          <ac:chgData name="Ugo MANTEL" userId="2d5b7065-31bb-4181-a7f8-a73bf0c30211" providerId="ADAL" clId="{9344D105-636D-4857-BD0F-AFC44A54BCCF}" dt="2021-05-25T14:28:45.883" v="33098"/>
          <ac:spMkLst>
            <pc:docMk/>
            <pc:sldMk cId="3428758149" sldId="10411"/>
            <ac:spMk id="28" creationId="{E3CEE0C8-E3BB-4BAE-BEE0-6F80EA3944F8}"/>
          </ac:spMkLst>
        </pc:spChg>
        <pc:spChg chg="add del mod modVis">
          <ac:chgData name="Ugo MANTEL" userId="2d5b7065-31bb-4181-a7f8-a73bf0c30211" providerId="ADAL" clId="{9344D105-636D-4857-BD0F-AFC44A54BCCF}" dt="2021-05-25T14:28:46.871" v="33144"/>
          <ac:spMkLst>
            <pc:docMk/>
            <pc:sldMk cId="3428758149" sldId="10411"/>
            <ac:spMk id="29" creationId="{244782A4-7F5E-4D4E-B702-5F4F37605DC4}"/>
          </ac:spMkLst>
        </pc:spChg>
        <pc:spChg chg="add del mod modVis">
          <ac:chgData name="Ugo MANTEL" userId="2d5b7065-31bb-4181-a7f8-a73bf0c30211" providerId="ADAL" clId="{9344D105-636D-4857-BD0F-AFC44A54BCCF}" dt="2021-05-25T14:28:50.236" v="33190"/>
          <ac:spMkLst>
            <pc:docMk/>
            <pc:sldMk cId="3428758149" sldId="10411"/>
            <ac:spMk id="30" creationId="{4754F87D-42FB-4799-A8D3-0F9B2DADC159}"/>
          </ac:spMkLst>
        </pc:spChg>
        <pc:spChg chg="add del mod modVis">
          <ac:chgData name="Ugo MANTEL" userId="2d5b7065-31bb-4181-a7f8-a73bf0c30211" providerId="ADAL" clId="{9344D105-636D-4857-BD0F-AFC44A54BCCF}" dt="2021-05-25T14:28:59.281" v="33236"/>
          <ac:spMkLst>
            <pc:docMk/>
            <pc:sldMk cId="3428758149" sldId="10411"/>
            <ac:spMk id="31" creationId="{3546126D-A4A4-40AD-85D8-95B2BAA0A8A1}"/>
          </ac:spMkLst>
        </pc:spChg>
        <pc:spChg chg="add del mod modVis">
          <ac:chgData name="Ugo MANTEL" userId="2d5b7065-31bb-4181-a7f8-a73bf0c30211" providerId="ADAL" clId="{9344D105-636D-4857-BD0F-AFC44A54BCCF}" dt="2021-05-25T14:29:01.428" v="33289"/>
          <ac:spMkLst>
            <pc:docMk/>
            <pc:sldMk cId="3428758149" sldId="10411"/>
            <ac:spMk id="32" creationId="{105D680C-9A51-405F-B317-7F944B85FC5E}"/>
          </ac:spMkLst>
        </pc:spChg>
        <pc:spChg chg="mod">
          <ac:chgData name="Ugo MANTEL" userId="2d5b7065-31bb-4181-a7f8-a73bf0c30211" providerId="ADAL" clId="{9344D105-636D-4857-BD0F-AFC44A54BCCF}" dt="2021-05-25T14:20:12.968" v="29690" actId="790"/>
          <ac:spMkLst>
            <pc:docMk/>
            <pc:sldMk cId="3428758149" sldId="10411"/>
            <ac:spMk id="33" creationId="{243F8FAD-0118-4F1B-B40B-A7D84FD36396}"/>
          </ac:spMkLst>
        </pc:spChg>
        <pc:spChg chg="add del mod modVis">
          <ac:chgData name="Ugo MANTEL" userId="2d5b7065-31bb-4181-a7f8-a73bf0c30211" providerId="ADAL" clId="{9344D105-636D-4857-BD0F-AFC44A54BCCF}" dt="2021-05-25T14:29:02.862" v="33335"/>
          <ac:spMkLst>
            <pc:docMk/>
            <pc:sldMk cId="3428758149" sldId="10411"/>
            <ac:spMk id="34" creationId="{D43A0E8B-E795-4C0A-ADE4-989D4B98E81A}"/>
          </ac:spMkLst>
        </pc:spChg>
        <pc:spChg chg="add del mod modVis">
          <ac:chgData name="Ugo MANTEL" userId="2d5b7065-31bb-4181-a7f8-a73bf0c30211" providerId="ADAL" clId="{9344D105-636D-4857-BD0F-AFC44A54BCCF}" dt="2021-05-25T14:29:04.643" v="33383"/>
          <ac:spMkLst>
            <pc:docMk/>
            <pc:sldMk cId="3428758149" sldId="10411"/>
            <ac:spMk id="35" creationId="{C79A1414-B9BF-44F2-A970-B4CBF4CF9BB4}"/>
          </ac:spMkLst>
        </pc:spChg>
        <pc:spChg chg="add del mod modVis">
          <ac:chgData name="Ugo MANTEL" userId="2d5b7065-31bb-4181-a7f8-a73bf0c30211" providerId="ADAL" clId="{9344D105-636D-4857-BD0F-AFC44A54BCCF}" dt="2021-05-25T14:29:07.027" v="33437"/>
          <ac:spMkLst>
            <pc:docMk/>
            <pc:sldMk cId="3428758149" sldId="10411"/>
            <ac:spMk id="36" creationId="{82D7BF0C-53CE-45D4-B96B-89778D345A92}"/>
          </ac:spMkLst>
        </pc:spChg>
        <pc:spChg chg="add del mod modVis">
          <ac:chgData name="Ugo MANTEL" userId="2d5b7065-31bb-4181-a7f8-a73bf0c30211" providerId="ADAL" clId="{9344D105-636D-4857-BD0F-AFC44A54BCCF}" dt="2021-05-25T14:29:08.733" v="33488"/>
          <ac:spMkLst>
            <pc:docMk/>
            <pc:sldMk cId="3428758149" sldId="10411"/>
            <ac:spMk id="37" creationId="{1AD62EA3-7646-4F2A-8F10-2BDCCC174E89}"/>
          </ac:spMkLst>
        </pc:spChg>
        <pc:spChg chg="add del mod modVis">
          <ac:chgData name="Ugo MANTEL" userId="2d5b7065-31bb-4181-a7f8-a73bf0c30211" providerId="ADAL" clId="{9344D105-636D-4857-BD0F-AFC44A54BCCF}" dt="2021-05-25T14:29:17.693" v="33532"/>
          <ac:spMkLst>
            <pc:docMk/>
            <pc:sldMk cId="3428758149" sldId="10411"/>
            <ac:spMk id="38" creationId="{2BF68793-9B80-42DD-9916-3B9649F8395B}"/>
          </ac:spMkLst>
        </pc:spChg>
        <pc:spChg chg="add del mod modVis">
          <ac:chgData name="Ugo MANTEL" userId="2d5b7065-31bb-4181-a7f8-a73bf0c30211" providerId="ADAL" clId="{9344D105-636D-4857-BD0F-AFC44A54BCCF}" dt="2021-05-25T14:29:20.164" v="33576"/>
          <ac:spMkLst>
            <pc:docMk/>
            <pc:sldMk cId="3428758149" sldId="10411"/>
            <ac:spMk id="39" creationId="{CC018D19-6453-45D6-9ABC-D716A47D64F4}"/>
          </ac:spMkLst>
        </pc:spChg>
        <pc:spChg chg="add del mod modVis">
          <ac:chgData name="Ugo MANTEL" userId="2d5b7065-31bb-4181-a7f8-a73bf0c30211" providerId="ADAL" clId="{9344D105-636D-4857-BD0F-AFC44A54BCCF}" dt="2021-05-25T14:29:23.993" v="33623"/>
          <ac:spMkLst>
            <pc:docMk/>
            <pc:sldMk cId="3428758149" sldId="10411"/>
            <ac:spMk id="42" creationId="{362C6AF7-C26C-41AD-8071-D5B17B1DED62}"/>
          </ac:spMkLst>
        </pc:spChg>
        <pc:spChg chg="add del mod modVis">
          <ac:chgData name="Ugo MANTEL" userId="2d5b7065-31bb-4181-a7f8-a73bf0c30211" providerId="ADAL" clId="{9344D105-636D-4857-BD0F-AFC44A54BCCF}" dt="2021-05-25T14:29:28.693" v="33677"/>
          <ac:spMkLst>
            <pc:docMk/>
            <pc:sldMk cId="3428758149" sldId="10411"/>
            <ac:spMk id="43" creationId="{380A950D-33F8-4690-A2B7-77B95D55F715}"/>
          </ac:spMkLst>
        </pc:spChg>
        <pc:spChg chg="add del mod modVis">
          <ac:chgData name="Ugo MANTEL" userId="2d5b7065-31bb-4181-a7f8-a73bf0c30211" providerId="ADAL" clId="{9344D105-636D-4857-BD0F-AFC44A54BCCF}" dt="2021-05-25T14:29:29.627" v="33721"/>
          <ac:spMkLst>
            <pc:docMk/>
            <pc:sldMk cId="3428758149" sldId="10411"/>
            <ac:spMk id="44" creationId="{E07D9FD5-C552-4DDB-8B2B-1C9451B3E75C}"/>
          </ac:spMkLst>
        </pc:spChg>
        <pc:spChg chg="add del mod modVis">
          <ac:chgData name="Ugo MANTEL" userId="2d5b7065-31bb-4181-a7f8-a73bf0c30211" providerId="ADAL" clId="{9344D105-636D-4857-BD0F-AFC44A54BCCF}" dt="2021-05-25T14:29:31.051" v="33768"/>
          <ac:spMkLst>
            <pc:docMk/>
            <pc:sldMk cId="3428758149" sldId="10411"/>
            <ac:spMk id="45" creationId="{2830FA09-64C3-4653-9B97-4CCCF3EB9F76}"/>
          </ac:spMkLst>
        </pc:spChg>
        <pc:spChg chg="add del mod modVis">
          <ac:chgData name="Ugo MANTEL" userId="2d5b7065-31bb-4181-a7f8-a73bf0c30211" providerId="ADAL" clId="{9344D105-636D-4857-BD0F-AFC44A54BCCF}" dt="2021-05-25T14:29:36.823" v="33815"/>
          <ac:spMkLst>
            <pc:docMk/>
            <pc:sldMk cId="3428758149" sldId="10411"/>
            <ac:spMk id="46" creationId="{346B4485-FBF6-487E-B226-A13EC71511E5}"/>
          </ac:spMkLst>
        </pc:spChg>
        <pc:spChg chg="mod">
          <ac:chgData name="Ugo MANTEL" userId="2d5b7065-31bb-4181-a7f8-a73bf0c30211" providerId="ADAL" clId="{9344D105-636D-4857-BD0F-AFC44A54BCCF}" dt="2021-05-25T14:20:12.962" v="29685" actId="790"/>
          <ac:spMkLst>
            <pc:docMk/>
            <pc:sldMk cId="3428758149" sldId="10411"/>
            <ac:spMk id="47" creationId="{9E10C541-E455-4AF2-AA1A-715E3DF2DDC1}"/>
          </ac:spMkLst>
        </pc:spChg>
        <pc:spChg chg="add del mod modVis">
          <ac:chgData name="Ugo MANTEL" userId="2d5b7065-31bb-4181-a7f8-a73bf0c30211" providerId="ADAL" clId="{9344D105-636D-4857-BD0F-AFC44A54BCCF}" dt="2021-05-25T14:29:57.389" v="33872"/>
          <ac:spMkLst>
            <pc:docMk/>
            <pc:sldMk cId="3428758149" sldId="10411"/>
            <ac:spMk id="48" creationId="{535446F4-D154-4425-82F5-7DB57FAE8BC8}"/>
          </ac:spMkLst>
        </pc:spChg>
        <pc:spChg chg="mod">
          <ac:chgData name="Ugo MANTEL" userId="2d5b7065-31bb-4181-a7f8-a73bf0c30211" providerId="ADAL" clId="{9344D105-636D-4857-BD0F-AFC44A54BCCF}" dt="2021-05-25T14:20:12.986" v="29708" actId="790"/>
          <ac:spMkLst>
            <pc:docMk/>
            <pc:sldMk cId="3428758149" sldId="10411"/>
            <ac:spMk id="49" creationId="{B10468A4-1BAC-4153-BC9A-99B8715C0AD1}"/>
          </ac:spMkLst>
        </pc:spChg>
        <pc:spChg chg="add del mod modVis">
          <ac:chgData name="Ugo MANTEL" userId="2d5b7065-31bb-4181-a7f8-a73bf0c30211" providerId="ADAL" clId="{9344D105-636D-4857-BD0F-AFC44A54BCCF}" dt="2021-05-25T14:29:58.189" v="33916"/>
          <ac:spMkLst>
            <pc:docMk/>
            <pc:sldMk cId="3428758149" sldId="10411"/>
            <ac:spMk id="50" creationId="{977359B4-DB47-432B-B9B2-358083ACF454}"/>
          </ac:spMkLst>
        </pc:spChg>
        <pc:spChg chg="add del mod modVis">
          <ac:chgData name="Ugo MANTEL" userId="2d5b7065-31bb-4181-a7f8-a73bf0c30211" providerId="ADAL" clId="{9344D105-636D-4857-BD0F-AFC44A54BCCF}" dt="2021-05-25T14:30:03.074" v="33981"/>
          <ac:spMkLst>
            <pc:docMk/>
            <pc:sldMk cId="3428758149" sldId="10411"/>
            <ac:spMk id="51" creationId="{B8AA567F-6175-4B55-B675-A90E26CAED9F}"/>
          </ac:spMkLst>
        </pc:spChg>
        <pc:spChg chg="add del mod modVis">
          <ac:chgData name="Ugo MANTEL" userId="2d5b7065-31bb-4181-a7f8-a73bf0c30211" providerId="ADAL" clId="{9344D105-636D-4857-BD0F-AFC44A54BCCF}" dt="2021-05-25T14:30:06.285" v="34042"/>
          <ac:spMkLst>
            <pc:docMk/>
            <pc:sldMk cId="3428758149" sldId="10411"/>
            <ac:spMk id="52" creationId="{F4AC977E-5E28-496C-83C5-CDF9F46FB8AE}"/>
          </ac:spMkLst>
        </pc:spChg>
        <pc:spChg chg="add del mod modVis">
          <ac:chgData name="Ugo MANTEL" userId="2d5b7065-31bb-4181-a7f8-a73bf0c30211" providerId="ADAL" clId="{9344D105-636D-4857-BD0F-AFC44A54BCCF}" dt="2021-05-25T14:30:10.074" v="34086"/>
          <ac:spMkLst>
            <pc:docMk/>
            <pc:sldMk cId="3428758149" sldId="10411"/>
            <ac:spMk id="54" creationId="{7F24F40F-03AB-41F9-B140-DF9D44A8A869}"/>
          </ac:spMkLst>
        </pc:spChg>
        <pc:spChg chg="add del mod modVis">
          <ac:chgData name="Ugo MANTEL" userId="2d5b7065-31bb-4181-a7f8-a73bf0c30211" providerId="ADAL" clId="{9344D105-636D-4857-BD0F-AFC44A54BCCF}" dt="2021-05-25T14:32:25.108" v="34185"/>
          <ac:spMkLst>
            <pc:docMk/>
            <pc:sldMk cId="3428758149" sldId="10411"/>
            <ac:spMk id="55" creationId="{6D3C16F5-72BE-4F7B-B081-429A067BD455}"/>
          </ac:spMkLst>
        </pc:spChg>
        <pc:spChg chg="add del mod modVis">
          <ac:chgData name="Ugo MANTEL" userId="2d5b7065-31bb-4181-a7f8-a73bf0c30211" providerId="ADAL" clId="{9344D105-636D-4857-BD0F-AFC44A54BCCF}" dt="2021-05-25T14:32:29.160" v="34229"/>
          <ac:spMkLst>
            <pc:docMk/>
            <pc:sldMk cId="3428758149" sldId="10411"/>
            <ac:spMk id="56" creationId="{C7A47FF6-A296-40D2-81D3-363DD382EA4B}"/>
          </ac:spMkLst>
        </pc:spChg>
        <pc:spChg chg="add del mod modVis">
          <ac:chgData name="Ugo MANTEL" userId="2d5b7065-31bb-4181-a7f8-a73bf0c30211" providerId="ADAL" clId="{9344D105-636D-4857-BD0F-AFC44A54BCCF}" dt="2021-05-25T14:32:32.756" v="34278"/>
          <ac:spMkLst>
            <pc:docMk/>
            <pc:sldMk cId="3428758149" sldId="10411"/>
            <ac:spMk id="57" creationId="{B99A3F03-2C6E-4230-9768-5417C46C5A9D}"/>
          </ac:spMkLst>
        </pc:spChg>
        <pc:spChg chg="add del mod modVis">
          <ac:chgData name="Ugo MANTEL" userId="2d5b7065-31bb-4181-a7f8-a73bf0c30211" providerId="ADAL" clId="{9344D105-636D-4857-BD0F-AFC44A54BCCF}" dt="2021-05-25T14:32:33.372" v="34322"/>
          <ac:spMkLst>
            <pc:docMk/>
            <pc:sldMk cId="3428758149" sldId="10411"/>
            <ac:spMk id="58" creationId="{E86AF833-F110-4878-A8F5-F1AE28E47048}"/>
          </ac:spMkLst>
        </pc:spChg>
        <pc:spChg chg="add del mod modVis">
          <ac:chgData name="Ugo MANTEL" userId="2d5b7065-31bb-4181-a7f8-a73bf0c30211" providerId="ADAL" clId="{9344D105-636D-4857-BD0F-AFC44A54BCCF}" dt="2021-05-25T14:32:37.675" v="34366"/>
          <ac:spMkLst>
            <pc:docMk/>
            <pc:sldMk cId="3428758149" sldId="10411"/>
            <ac:spMk id="59" creationId="{8E536AFC-6DAA-40F8-886E-C6F34179DCBD}"/>
          </ac:spMkLst>
        </pc:spChg>
        <pc:spChg chg="add del mod modVis">
          <ac:chgData name="Ugo MANTEL" userId="2d5b7065-31bb-4181-a7f8-a73bf0c30211" providerId="ADAL" clId="{9344D105-636D-4857-BD0F-AFC44A54BCCF}" dt="2021-05-25T14:32:39.407" v="34410"/>
          <ac:spMkLst>
            <pc:docMk/>
            <pc:sldMk cId="3428758149" sldId="10411"/>
            <ac:spMk id="60" creationId="{D4D61306-F653-4899-B66C-C7DB9D6A7EB8}"/>
          </ac:spMkLst>
        </pc:spChg>
        <pc:spChg chg="add del mod modVis">
          <ac:chgData name="Ugo MANTEL" userId="2d5b7065-31bb-4181-a7f8-a73bf0c30211" providerId="ADAL" clId="{9344D105-636D-4857-BD0F-AFC44A54BCCF}" dt="2021-05-25T14:32:45.287" v="34454"/>
          <ac:spMkLst>
            <pc:docMk/>
            <pc:sldMk cId="3428758149" sldId="10411"/>
            <ac:spMk id="61" creationId="{F3912503-268A-4BAC-A7A4-61E5F716F3B7}"/>
          </ac:spMkLst>
        </pc:spChg>
        <pc:spChg chg="add del mod modVis">
          <ac:chgData name="Ugo MANTEL" userId="2d5b7065-31bb-4181-a7f8-a73bf0c30211" providerId="ADAL" clId="{9344D105-636D-4857-BD0F-AFC44A54BCCF}" dt="2021-05-25T14:32:46.531" v="34499"/>
          <ac:spMkLst>
            <pc:docMk/>
            <pc:sldMk cId="3428758149" sldId="10411"/>
            <ac:spMk id="62" creationId="{8977361F-2782-4962-B386-37CE9ACCD498}"/>
          </ac:spMkLst>
        </pc:spChg>
        <pc:spChg chg="add del mod modVis">
          <ac:chgData name="Ugo MANTEL" userId="2d5b7065-31bb-4181-a7f8-a73bf0c30211" providerId="ADAL" clId="{9344D105-636D-4857-BD0F-AFC44A54BCCF}" dt="2021-05-25T14:32:52.297" v="34543"/>
          <ac:spMkLst>
            <pc:docMk/>
            <pc:sldMk cId="3428758149" sldId="10411"/>
            <ac:spMk id="63" creationId="{4A29DC53-DD2B-4184-9006-AF7B92D3397D}"/>
          </ac:spMkLst>
        </pc:spChg>
        <pc:spChg chg="add del mod modVis">
          <ac:chgData name="Ugo MANTEL" userId="2d5b7065-31bb-4181-a7f8-a73bf0c30211" providerId="ADAL" clId="{9344D105-636D-4857-BD0F-AFC44A54BCCF}" dt="2021-05-25T14:33:08.039" v="34588"/>
          <ac:spMkLst>
            <pc:docMk/>
            <pc:sldMk cId="3428758149" sldId="10411"/>
            <ac:spMk id="64" creationId="{36A27A77-25D6-497B-99C5-2AEF08CC836C}"/>
          </ac:spMkLst>
        </pc:spChg>
        <pc:spChg chg="add mod">
          <ac:chgData name="Ugo MANTEL" userId="2d5b7065-31bb-4181-a7f8-a73bf0c30211" providerId="ADAL" clId="{9344D105-636D-4857-BD0F-AFC44A54BCCF}" dt="2021-05-25T14:36:58.156" v="35223" actId="164"/>
          <ac:spMkLst>
            <pc:docMk/>
            <pc:sldMk cId="3428758149" sldId="10411"/>
            <ac:spMk id="68" creationId="{440562BC-2139-452C-90CA-04DACA4FEE77}"/>
          </ac:spMkLst>
        </pc:spChg>
        <pc:spChg chg="mod">
          <ac:chgData name="Ugo MANTEL" userId="2d5b7065-31bb-4181-a7f8-a73bf0c30211" providerId="ADAL" clId="{9344D105-636D-4857-BD0F-AFC44A54BCCF}" dt="2021-05-25T14:20:12.969" v="29691" actId="790"/>
          <ac:spMkLst>
            <pc:docMk/>
            <pc:sldMk cId="3428758149" sldId="10411"/>
            <ac:spMk id="88" creationId="{336D463B-B815-4500-8F61-78A091129044}"/>
          </ac:spMkLst>
        </pc:spChg>
        <pc:spChg chg="mod">
          <ac:chgData name="Ugo MANTEL" userId="2d5b7065-31bb-4181-a7f8-a73bf0c30211" providerId="ADAL" clId="{9344D105-636D-4857-BD0F-AFC44A54BCCF}" dt="2021-05-25T14:20:12.972" v="29695" actId="790"/>
          <ac:spMkLst>
            <pc:docMk/>
            <pc:sldMk cId="3428758149" sldId="10411"/>
            <ac:spMk id="90" creationId="{C1682200-357E-4434-8AD7-5A0786BF6D1B}"/>
          </ac:spMkLst>
        </pc:spChg>
        <pc:spChg chg="mod">
          <ac:chgData name="Ugo MANTEL" userId="2d5b7065-31bb-4181-a7f8-a73bf0c30211" providerId="ADAL" clId="{9344D105-636D-4857-BD0F-AFC44A54BCCF}" dt="2021-05-25T14:20:12.963" v="29686" actId="790"/>
          <ac:spMkLst>
            <pc:docMk/>
            <pc:sldMk cId="3428758149" sldId="10411"/>
            <ac:spMk id="100" creationId="{EF6C7B41-C54E-4684-BB9A-36701E115EBF}"/>
          </ac:spMkLst>
        </pc:spChg>
        <pc:spChg chg="mod">
          <ac:chgData name="Ugo MANTEL" userId="2d5b7065-31bb-4181-a7f8-a73bf0c30211" providerId="ADAL" clId="{9344D105-636D-4857-BD0F-AFC44A54BCCF}" dt="2021-05-25T14:20:12.954" v="29677" actId="790"/>
          <ac:spMkLst>
            <pc:docMk/>
            <pc:sldMk cId="3428758149" sldId="10411"/>
            <ac:spMk id="107" creationId="{31D0AEAA-51DD-4312-8DD3-D5664A3B479D}"/>
          </ac:spMkLst>
        </pc:spChg>
        <pc:spChg chg="mod">
          <ac:chgData name="Ugo MANTEL" userId="2d5b7065-31bb-4181-a7f8-a73bf0c30211" providerId="ADAL" clId="{9344D105-636D-4857-BD0F-AFC44A54BCCF}" dt="2021-05-25T14:20:12.970" v="29692" actId="790"/>
          <ac:spMkLst>
            <pc:docMk/>
            <pc:sldMk cId="3428758149" sldId="10411"/>
            <ac:spMk id="108" creationId="{B4E79E7D-0395-4CE2-8F8E-F7FFDE4BA106}"/>
          </ac:spMkLst>
        </pc:spChg>
        <pc:spChg chg="mod">
          <ac:chgData name="Ugo MANTEL" userId="2d5b7065-31bb-4181-a7f8-a73bf0c30211" providerId="ADAL" clId="{9344D105-636D-4857-BD0F-AFC44A54BCCF}" dt="2021-05-25T14:20:12.988" v="29711" actId="790"/>
          <ac:spMkLst>
            <pc:docMk/>
            <pc:sldMk cId="3428758149" sldId="10411"/>
            <ac:spMk id="111" creationId="{A662E706-32F2-41FE-9B2F-D2BD0E0EC661}"/>
          </ac:spMkLst>
        </pc:spChg>
        <pc:spChg chg="mod">
          <ac:chgData name="Ugo MANTEL" userId="2d5b7065-31bb-4181-a7f8-a73bf0c30211" providerId="ADAL" clId="{9344D105-636D-4857-BD0F-AFC44A54BCCF}" dt="2021-05-25T14:20:12.971" v="29694" actId="790"/>
          <ac:spMkLst>
            <pc:docMk/>
            <pc:sldMk cId="3428758149" sldId="10411"/>
            <ac:spMk id="119" creationId="{EEF55E94-FD53-41D7-A423-6B56C40D88A1}"/>
          </ac:spMkLst>
        </pc:spChg>
        <pc:spChg chg="add mod">
          <ac:chgData name="Ugo MANTEL" userId="2d5b7065-31bb-4181-a7f8-a73bf0c30211" providerId="ADAL" clId="{9344D105-636D-4857-BD0F-AFC44A54BCCF}" dt="2021-05-25T14:20:13.006" v="29723" actId="790"/>
          <ac:spMkLst>
            <pc:docMk/>
            <pc:sldMk cId="3428758149" sldId="10411"/>
            <ac:spMk id="120" creationId="{4343EB7A-018D-484E-A28E-992B43E9083C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22" creationId="{EC085A3F-2A40-4588-95BB-7A8C233C8D9F}"/>
          </ac:spMkLst>
        </pc:spChg>
        <pc:spChg chg="add del mod">
          <ac:chgData name="Ugo MANTEL" userId="2d5b7065-31bb-4181-a7f8-a73bf0c30211" providerId="ADAL" clId="{9344D105-636D-4857-BD0F-AFC44A54BCCF}" dt="2021-05-24T15:00:33.647" v="8712" actId="478"/>
          <ac:spMkLst>
            <pc:docMk/>
            <pc:sldMk cId="3428758149" sldId="10411"/>
            <ac:spMk id="123" creationId="{5921FBAA-CFDD-4B11-B6E3-16A39CE726D5}"/>
          </ac:spMkLst>
        </pc:spChg>
        <pc:spChg chg="mod">
          <ac:chgData name="Ugo MANTEL" userId="2d5b7065-31bb-4181-a7f8-a73bf0c30211" providerId="ADAL" clId="{9344D105-636D-4857-BD0F-AFC44A54BCCF}" dt="2021-05-25T14:20:12.979" v="29705" actId="790"/>
          <ac:spMkLst>
            <pc:docMk/>
            <pc:sldMk cId="3428758149" sldId="10411"/>
            <ac:spMk id="125" creationId="{7652A19C-0208-4FCF-97AA-2B30A8201430}"/>
          </ac:spMkLst>
        </pc:spChg>
        <pc:spChg chg="mod">
          <ac:chgData name="Ugo MANTEL" userId="2d5b7065-31bb-4181-a7f8-a73bf0c30211" providerId="ADAL" clId="{9344D105-636D-4857-BD0F-AFC44A54BCCF}" dt="2021-05-25T14:20:12.989" v="29712" actId="790"/>
          <ac:spMkLst>
            <pc:docMk/>
            <pc:sldMk cId="3428758149" sldId="10411"/>
            <ac:spMk id="126" creationId="{63942540-A317-4743-AF4A-188E27B880D4}"/>
          </ac:spMkLst>
        </pc:spChg>
        <pc:spChg chg="mod">
          <ac:chgData name="Ugo MANTEL" userId="2d5b7065-31bb-4181-a7f8-a73bf0c30211" providerId="ADAL" clId="{9344D105-636D-4857-BD0F-AFC44A54BCCF}" dt="2021-05-25T14:20:12.989" v="29713" actId="790"/>
          <ac:spMkLst>
            <pc:docMk/>
            <pc:sldMk cId="3428758149" sldId="10411"/>
            <ac:spMk id="133" creationId="{2F686D82-55D3-442D-9909-5BB89A5A42F7}"/>
          </ac:spMkLst>
        </pc:spChg>
        <pc:spChg chg="mod">
          <ac:chgData name="Ugo MANTEL" userId="2d5b7065-31bb-4181-a7f8-a73bf0c30211" providerId="ADAL" clId="{9344D105-636D-4857-BD0F-AFC44A54BCCF}" dt="2021-05-25T14:20:12.990" v="29714" actId="790"/>
          <ac:spMkLst>
            <pc:docMk/>
            <pc:sldMk cId="3428758149" sldId="10411"/>
            <ac:spMk id="138" creationId="{BDFF2A30-FC85-494F-A8BE-68AC12D0664F}"/>
          </ac:spMkLst>
        </pc:spChg>
        <pc:spChg chg="mod">
          <ac:chgData name="Ugo MANTEL" userId="2d5b7065-31bb-4181-a7f8-a73bf0c30211" providerId="ADAL" clId="{9344D105-636D-4857-BD0F-AFC44A54BCCF}" dt="2021-05-25T14:20:12.991" v="29715" actId="790"/>
          <ac:spMkLst>
            <pc:docMk/>
            <pc:sldMk cId="3428758149" sldId="10411"/>
            <ac:spMk id="139" creationId="{DFFB6080-1942-420C-9ED6-1272BD476178}"/>
          </ac:spMkLst>
        </pc:spChg>
        <pc:spChg chg="add mod">
          <ac:chgData name="Ugo MANTEL" userId="2d5b7065-31bb-4181-a7f8-a73bf0c30211" providerId="ADAL" clId="{9344D105-636D-4857-BD0F-AFC44A54BCCF}" dt="2021-05-25T13:43:31.227" v="20253"/>
          <ac:spMkLst>
            <pc:docMk/>
            <pc:sldMk cId="3428758149" sldId="10411"/>
            <ac:spMk id="142" creationId="{8477144C-E050-4BCE-90E4-461EFA09336B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42" creationId="{B0254D32-B8D9-450C-838E-7588972896C7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43" creationId="{C293686B-8ECD-44AB-8381-C936A71D4F27}"/>
          </ac:spMkLst>
        </pc:spChg>
        <pc:spChg chg="add del mod">
          <ac:chgData name="Ugo MANTEL" userId="2d5b7065-31bb-4181-a7f8-a73bf0c30211" providerId="ADAL" clId="{9344D105-636D-4857-BD0F-AFC44A54BCCF}" dt="2021-05-24T15:00:33.647" v="8712" actId="478"/>
          <ac:spMkLst>
            <pc:docMk/>
            <pc:sldMk cId="3428758149" sldId="10411"/>
            <ac:spMk id="145" creationId="{E5BD9F8C-9BE4-438F-BA06-BD568A61927A}"/>
          </ac:spMkLst>
        </pc:spChg>
        <pc:spChg chg="mod">
          <ac:chgData name="Ugo MANTEL" userId="2d5b7065-31bb-4181-a7f8-a73bf0c30211" providerId="ADAL" clId="{9344D105-636D-4857-BD0F-AFC44A54BCCF}" dt="2021-05-25T14:20:12.992" v="29716" actId="790"/>
          <ac:spMkLst>
            <pc:docMk/>
            <pc:sldMk cId="3428758149" sldId="10411"/>
            <ac:spMk id="153" creationId="{56FADE7A-92EF-4552-9F92-BBA0DF83B829}"/>
          </ac:spMkLst>
        </pc:spChg>
        <pc:spChg chg="mod">
          <ac:chgData name="Ugo MANTEL" userId="2d5b7065-31bb-4181-a7f8-a73bf0c30211" providerId="ADAL" clId="{9344D105-636D-4857-BD0F-AFC44A54BCCF}" dt="2021-05-25T14:20:12.976" v="29702" actId="790"/>
          <ac:spMkLst>
            <pc:docMk/>
            <pc:sldMk cId="3428758149" sldId="10411"/>
            <ac:spMk id="154" creationId="{A7269958-7FC5-479F-B17B-49D115F118B6}"/>
          </ac:spMkLst>
        </pc:spChg>
        <pc:spChg chg="mod">
          <ac:chgData name="Ugo MANTEL" userId="2d5b7065-31bb-4181-a7f8-a73bf0c30211" providerId="ADAL" clId="{9344D105-636D-4857-BD0F-AFC44A54BCCF}" dt="2021-05-25T14:20:12.992" v="29717" actId="790"/>
          <ac:spMkLst>
            <pc:docMk/>
            <pc:sldMk cId="3428758149" sldId="10411"/>
            <ac:spMk id="155" creationId="{66D6DDD8-3ED4-4381-AC07-6CD1ABBD4DA9}"/>
          </ac:spMkLst>
        </pc:spChg>
        <pc:spChg chg="mod">
          <ac:chgData name="Ugo MANTEL" userId="2d5b7065-31bb-4181-a7f8-a73bf0c30211" providerId="ADAL" clId="{9344D105-636D-4857-BD0F-AFC44A54BCCF}" dt="2021-05-25T14:20:12.993" v="29718" actId="790"/>
          <ac:spMkLst>
            <pc:docMk/>
            <pc:sldMk cId="3428758149" sldId="10411"/>
            <ac:spMk id="156" creationId="{8E7AC4C0-9393-4F3D-AD60-8422C9B33945}"/>
          </ac:spMkLst>
        </pc:spChg>
        <pc:spChg chg="del">
          <ac:chgData name="Ugo MANTEL" userId="2d5b7065-31bb-4181-a7f8-a73bf0c30211" providerId="ADAL" clId="{9344D105-636D-4857-BD0F-AFC44A54BCCF}" dt="2021-05-25T13:43:30.857" v="20252" actId="478"/>
          <ac:spMkLst>
            <pc:docMk/>
            <pc:sldMk cId="3428758149" sldId="10411"/>
            <ac:spMk id="159" creationId="{4E0B630A-DD7D-4A9C-9B68-40DD669FADAB}"/>
          </ac:spMkLst>
        </pc:spChg>
        <pc:spChg chg="mod">
          <ac:chgData name="Ugo MANTEL" userId="2d5b7065-31bb-4181-a7f8-a73bf0c30211" providerId="ADAL" clId="{9344D105-636D-4857-BD0F-AFC44A54BCCF}" dt="2021-05-25T14:20:12.994" v="29719" actId="790"/>
          <ac:spMkLst>
            <pc:docMk/>
            <pc:sldMk cId="3428758149" sldId="10411"/>
            <ac:spMk id="160" creationId="{65DDC353-B250-4B5B-B85A-6A6AB046332A}"/>
          </ac:spMkLst>
        </pc:spChg>
        <pc:spChg chg="mod">
          <ac:chgData name="Ugo MANTEL" userId="2d5b7065-31bb-4181-a7f8-a73bf0c30211" providerId="ADAL" clId="{9344D105-636D-4857-BD0F-AFC44A54BCCF}" dt="2021-05-25T14:20:12.972" v="29696" actId="790"/>
          <ac:spMkLst>
            <pc:docMk/>
            <pc:sldMk cId="3428758149" sldId="10411"/>
            <ac:spMk id="165" creationId="{C389F3EC-7313-454E-9942-F14FD0BD4C77}"/>
          </ac:spMkLst>
        </pc:spChg>
        <pc:spChg chg="mod">
          <ac:chgData name="Ugo MANTEL" userId="2d5b7065-31bb-4181-a7f8-a73bf0c30211" providerId="ADAL" clId="{9344D105-636D-4857-BD0F-AFC44A54BCCF}" dt="2021-05-25T14:20:12.973" v="29697" actId="790"/>
          <ac:spMkLst>
            <pc:docMk/>
            <pc:sldMk cId="3428758149" sldId="10411"/>
            <ac:spMk id="166" creationId="{A3938D6F-1923-42FF-B2ED-6C2BEA79BA03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68" creationId="{A319BF2B-A710-4216-B04A-1A69D63392CB}"/>
          </ac:spMkLst>
        </pc:spChg>
        <pc:spChg chg="mod">
          <ac:chgData name="Ugo MANTEL" userId="2d5b7065-31bb-4181-a7f8-a73bf0c30211" providerId="ADAL" clId="{9344D105-636D-4857-BD0F-AFC44A54BCCF}" dt="2021-05-25T14:20:12.974" v="29698" actId="790"/>
          <ac:spMkLst>
            <pc:docMk/>
            <pc:sldMk cId="3428758149" sldId="10411"/>
            <ac:spMk id="169" creationId="{7881ABC3-A97B-4E90-939F-E48D9595FFFF}"/>
          </ac:spMkLst>
        </pc:spChg>
        <pc:spChg chg="mod">
          <ac:chgData name="Ugo MANTEL" userId="2d5b7065-31bb-4181-a7f8-a73bf0c30211" providerId="ADAL" clId="{9344D105-636D-4857-BD0F-AFC44A54BCCF}" dt="2021-05-25T14:20:12.974" v="29699" actId="790"/>
          <ac:spMkLst>
            <pc:docMk/>
            <pc:sldMk cId="3428758149" sldId="10411"/>
            <ac:spMk id="170" creationId="{A886CA56-9620-415B-9489-A004AB6EB706}"/>
          </ac:spMkLst>
        </pc:spChg>
        <pc:spChg chg="mod">
          <ac:chgData name="Ugo MANTEL" userId="2d5b7065-31bb-4181-a7f8-a73bf0c30211" providerId="ADAL" clId="{9344D105-636D-4857-BD0F-AFC44A54BCCF}" dt="2021-05-25T14:20:12.975" v="29700" actId="790"/>
          <ac:spMkLst>
            <pc:docMk/>
            <pc:sldMk cId="3428758149" sldId="10411"/>
            <ac:spMk id="171" creationId="{BCC6DEFD-6FEB-4777-9432-E3B2F5C51000}"/>
          </ac:spMkLst>
        </pc:spChg>
        <pc:spChg chg="mod">
          <ac:chgData name="Ugo MANTEL" userId="2d5b7065-31bb-4181-a7f8-a73bf0c30211" providerId="ADAL" clId="{9344D105-636D-4857-BD0F-AFC44A54BCCF}" dt="2021-05-25T14:20:12.976" v="29701" actId="790"/>
          <ac:spMkLst>
            <pc:docMk/>
            <pc:sldMk cId="3428758149" sldId="10411"/>
            <ac:spMk id="172" creationId="{04568322-5012-422B-991D-C9A4712E25C9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75" creationId="{6645894D-5FE5-4325-86A0-CB62432E3937}"/>
          </ac:spMkLst>
        </pc:spChg>
        <pc:spChg chg="mod">
          <ac:chgData name="Ugo MANTEL" userId="2d5b7065-31bb-4181-a7f8-a73bf0c30211" providerId="ADAL" clId="{9344D105-636D-4857-BD0F-AFC44A54BCCF}" dt="2021-05-25T14:33:20.612" v="34592"/>
          <ac:spMkLst>
            <pc:docMk/>
            <pc:sldMk cId="3428758149" sldId="10411"/>
            <ac:spMk id="176" creationId="{1CF94507-0D6D-4187-9956-AACA9DAF0DC3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76" creationId="{AC4C5F32-A66A-40B5-B73F-FE180E25065F}"/>
          </ac:spMkLst>
        </pc:spChg>
        <pc:spChg chg="mod">
          <ac:chgData name="Ugo MANTEL" userId="2d5b7065-31bb-4181-a7f8-a73bf0c30211" providerId="ADAL" clId="{9344D105-636D-4857-BD0F-AFC44A54BCCF}" dt="2021-05-25T14:33:20.612" v="34592"/>
          <ac:spMkLst>
            <pc:docMk/>
            <pc:sldMk cId="3428758149" sldId="10411"/>
            <ac:spMk id="177" creationId="{0B8B498D-0ED0-4B0D-BB5D-F904AB9D6F5A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77" creationId="{30FD6140-F6A3-4593-BE2C-DE7FD85631A8}"/>
          </ac:spMkLst>
        </pc:spChg>
        <pc:spChg chg="add del mod">
          <ac:chgData name="Ugo MANTEL" userId="2d5b7065-31bb-4181-a7f8-a73bf0c30211" providerId="ADAL" clId="{9344D105-636D-4857-BD0F-AFC44A54BCCF}" dt="2021-05-24T15:08:26.133" v="8767" actId="478"/>
          <ac:spMkLst>
            <pc:docMk/>
            <pc:sldMk cId="3428758149" sldId="10411"/>
            <ac:spMk id="178" creationId="{4B969BFF-6274-47C3-8D12-8BFA7641AA94}"/>
          </ac:spMkLst>
        </pc:spChg>
        <pc:spChg chg="mod">
          <ac:chgData name="Ugo MANTEL" userId="2d5b7065-31bb-4181-a7f8-a73bf0c30211" providerId="ADAL" clId="{9344D105-636D-4857-BD0F-AFC44A54BCCF}" dt="2021-05-25T14:32:08.471" v="34143" actId="20577"/>
          <ac:spMkLst>
            <pc:docMk/>
            <pc:sldMk cId="3428758149" sldId="10411"/>
            <ac:spMk id="182" creationId="{A076D8FE-B37B-4946-B8B8-0EDB06F5AC05}"/>
          </ac:spMkLst>
        </pc:spChg>
        <pc:spChg chg="add mod">
          <ac:chgData name="Ugo MANTEL" userId="2d5b7065-31bb-4181-a7f8-a73bf0c30211" providerId="ADAL" clId="{9344D105-636D-4857-BD0F-AFC44A54BCCF}" dt="2021-05-25T14:20:13.006" v="29724" actId="790"/>
          <ac:spMkLst>
            <pc:docMk/>
            <pc:sldMk cId="3428758149" sldId="10411"/>
            <ac:spMk id="189" creationId="{7A2C2269-A033-4F79-A009-25900D3441B1}"/>
          </ac:spMkLst>
        </pc:spChg>
        <pc:spChg chg="add mod">
          <ac:chgData name="Ugo MANTEL" userId="2d5b7065-31bb-4181-a7f8-a73bf0c30211" providerId="ADAL" clId="{9344D105-636D-4857-BD0F-AFC44A54BCCF}" dt="2021-05-25T14:20:13.007" v="29725" actId="790"/>
          <ac:spMkLst>
            <pc:docMk/>
            <pc:sldMk cId="3428758149" sldId="10411"/>
            <ac:spMk id="190" creationId="{FA3A6E33-C7E6-414E-9791-7BE8447D706F}"/>
          </ac:spMkLst>
        </pc:spChg>
        <pc:spChg chg="add mod">
          <ac:chgData name="Ugo MANTEL" userId="2d5b7065-31bb-4181-a7f8-a73bf0c30211" providerId="ADAL" clId="{9344D105-636D-4857-BD0F-AFC44A54BCCF}" dt="2021-05-25T14:20:13.008" v="29726" actId="790"/>
          <ac:spMkLst>
            <pc:docMk/>
            <pc:sldMk cId="3428758149" sldId="10411"/>
            <ac:spMk id="191" creationId="{DBBC3D5B-EC57-49B3-B205-C41618E3396A}"/>
          </ac:spMkLst>
        </pc:spChg>
        <pc:spChg chg="add mod">
          <ac:chgData name="Ugo MANTEL" userId="2d5b7065-31bb-4181-a7f8-a73bf0c30211" providerId="ADAL" clId="{9344D105-636D-4857-BD0F-AFC44A54BCCF}" dt="2021-05-25T14:20:13.009" v="29727" actId="790"/>
          <ac:spMkLst>
            <pc:docMk/>
            <pc:sldMk cId="3428758149" sldId="10411"/>
            <ac:spMk id="192" creationId="{BF3302B9-47A5-4467-AA31-76ED8B771FC9}"/>
          </ac:spMkLst>
        </pc:spChg>
        <pc:spChg chg="add mod">
          <ac:chgData name="Ugo MANTEL" userId="2d5b7065-31bb-4181-a7f8-a73bf0c30211" providerId="ADAL" clId="{9344D105-636D-4857-BD0F-AFC44A54BCCF}" dt="2021-05-25T14:20:13.009" v="29728" actId="790"/>
          <ac:spMkLst>
            <pc:docMk/>
            <pc:sldMk cId="3428758149" sldId="10411"/>
            <ac:spMk id="193" creationId="{B1694CCA-F107-47BD-AAA1-047996B236B4}"/>
          </ac:spMkLst>
        </pc:spChg>
        <pc:spChg chg="add mod">
          <ac:chgData name="Ugo MANTEL" userId="2d5b7065-31bb-4181-a7f8-a73bf0c30211" providerId="ADAL" clId="{9344D105-636D-4857-BD0F-AFC44A54BCCF}" dt="2021-05-25T14:20:13.010" v="29729" actId="790"/>
          <ac:spMkLst>
            <pc:docMk/>
            <pc:sldMk cId="3428758149" sldId="10411"/>
            <ac:spMk id="194" creationId="{4431F41C-8189-4C12-A87E-2AFCFB166EE8}"/>
          </ac:spMkLst>
        </pc:spChg>
        <pc:spChg chg="add mod">
          <ac:chgData name="Ugo MANTEL" userId="2d5b7065-31bb-4181-a7f8-a73bf0c30211" providerId="ADAL" clId="{9344D105-636D-4857-BD0F-AFC44A54BCCF}" dt="2021-05-25T14:20:13.011" v="29730" actId="790"/>
          <ac:spMkLst>
            <pc:docMk/>
            <pc:sldMk cId="3428758149" sldId="10411"/>
            <ac:spMk id="195" creationId="{15043260-4F88-47EB-9EC9-BE6BDA2C35AD}"/>
          </ac:spMkLst>
        </pc:spChg>
        <pc:spChg chg="add mod">
          <ac:chgData name="Ugo MANTEL" userId="2d5b7065-31bb-4181-a7f8-a73bf0c30211" providerId="ADAL" clId="{9344D105-636D-4857-BD0F-AFC44A54BCCF}" dt="2021-05-25T14:20:13.012" v="29731" actId="790"/>
          <ac:spMkLst>
            <pc:docMk/>
            <pc:sldMk cId="3428758149" sldId="10411"/>
            <ac:spMk id="196" creationId="{EC3A5484-F35D-4036-8453-B5110A822440}"/>
          </ac:spMkLst>
        </pc:spChg>
        <pc:spChg chg="mod">
          <ac:chgData name="Ugo MANTEL" userId="2d5b7065-31bb-4181-a7f8-a73bf0c30211" providerId="ADAL" clId="{9344D105-636D-4857-BD0F-AFC44A54BCCF}" dt="2021-05-25T14:20:12.977" v="29703" actId="790"/>
          <ac:spMkLst>
            <pc:docMk/>
            <pc:sldMk cId="3428758149" sldId="10411"/>
            <ac:spMk id="197" creationId="{EB1ED8EE-1371-4F31-B475-A7FD22F01C88}"/>
          </ac:spMkLst>
        </pc:spChg>
        <pc:spChg chg="mod">
          <ac:chgData name="Ugo MANTEL" userId="2d5b7065-31bb-4181-a7f8-a73bf0c30211" providerId="ADAL" clId="{9344D105-636D-4857-BD0F-AFC44A54BCCF}" dt="2021-05-25T14:33:20.612" v="34592"/>
          <ac:spMkLst>
            <pc:docMk/>
            <pc:sldMk cId="3428758149" sldId="10411"/>
            <ac:spMk id="198" creationId="{E458AE8B-5ECA-4594-8BBC-FD5C95B1AA03}"/>
          </ac:spMkLst>
        </pc:spChg>
        <pc:spChg chg="del mod">
          <ac:chgData name="Ugo MANTEL" userId="2d5b7065-31bb-4181-a7f8-a73bf0c30211" providerId="ADAL" clId="{9344D105-636D-4857-BD0F-AFC44A54BCCF}" dt="2021-05-25T14:33:20.017" v="34591" actId="478"/>
          <ac:spMkLst>
            <pc:docMk/>
            <pc:sldMk cId="3428758149" sldId="10411"/>
            <ac:spMk id="205" creationId="{37EA9042-0B3D-4B94-9CA6-80C07ADCB11E}"/>
          </ac:spMkLst>
        </pc:spChg>
        <pc:spChg chg="del mod">
          <ac:chgData name="Ugo MANTEL" userId="2d5b7065-31bb-4181-a7f8-a73bf0c30211" providerId="ADAL" clId="{9344D105-636D-4857-BD0F-AFC44A54BCCF}" dt="2021-05-25T14:33:20.017" v="34591" actId="478"/>
          <ac:spMkLst>
            <pc:docMk/>
            <pc:sldMk cId="3428758149" sldId="10411"/>
            <ac:spMk id="206" creationId="{F197933B-7850-4DCD-909F-F5A7B675B649}"/>
          </ac:spMkLst>
        </pc:spChg>
        <pc:spChg chg="mod">
          <ac:chgData name="Ugo MANTEL" userId="2d5b7065-31bb-4181-a7f8-a73bf0c30211" providerId="ADAL" clId="{9344D105-636D-4857-BD0F-AFC44A54BCCF}" dt="2021-05-25T14:33:20.612" v="34592"/>
          <ac:spMkLst>
            <pc:docMk/>
            <pc:sldMk cId="3428758149" sldId="10411"/>
            <ac:spMk id="207" creationId="{694B2E02-A920-42E1-AEAA-9DAC060765ED}"/>
          </ac:spMkLst>
        </pc:spChg>
        <pc:spChg chg="add mod">
          <ac:chgData name="Ugo MANTEL" userId="2d5b7065-31bb-4181-a7f8-a73bf0c30211" providerId="ADAL" clId="{9344D105-636D-4857-BD0F-AFC44A54BCCF}" dt="2021-05-25T14:33:20.612" v="34592"/>
          <ac:spMkLst>
            <pc:docMk/>
            <pc:sldMk cId="3428758149" sldId="10411"/>
            <ac:spMk id="208" creationId="{BC1E7591-3A9E-4F6B-83E9-241617E72BDC}"/>
          </ac:spMkLst>
        </pc:spChg>
        <pc:spChg chg="add mod">
          <ac:chgData name="Ugo MANTEL" userId="2d5b7065-31bb-4181-a7f8-a73bf0c30211" providerId="ADAL" clId="{9344D105-636D-4857-BD0F-AFC44A54BCCF}" dt="2021-05-25T14:33:20.612" v="34592"/>
          <ac:spMkLst>
            <pc:docMk/>
            <pc:sldMk cId="3428758149" sldId="10411"/>
            <ac:spMk id="209" creationId="{017D4C1D-89F2-498D-90CB-23614051EA9C}"/>
          </ac:spMkLst>
        </pc:spChg>
        <pc:spChg chg="add mod">
          <ac:chgData name="Ugo MANTEL" userId="2d5b7065-31bb-4181-a7f8-a73bf0c30211" providerId="ADAL" clId="{9344D105-636D-4857-BD0F-AFC44A54BCCF}" dt="2021-05-25T14:33:20.612" v="34592"/>
          <ac:spMkLst>
            <pc:docMk/>
            <pc:sldMk cId="3428758149" sldId="10411"/>
            <ac:spMk id="211" creationId="{A57F2AA1-EB87-4174-890F-173CA94E0976}"/>
          </ac:spMkLst>
        </pc:spChg>
        <pc:spChg chg="mod">
          <ac:chgData name="Ugo MANTEL" userId="2d5b7065-31bb-4181-a7f8-a73bf0c30211" providerId="ADAL" clId="{9344D105-636D-4857-BD0F-AFC44A54BCCF}" dt="2021-05-25T14:20:12.978" v="29704" actId="790"/>
          <ac:spMkLst>
            <pc:docMk/>
            <pc:sldMk cId="3428758149" sldId="10411"/>
            <ac:spMk id="212" creationId="{F492C173-DFD6-47CF-9BB4-C8925127E1EE}"/>
          </ac:spMkLst>
        </pc:spChg>
        <pc:spChg chg="mod">
          <ac:chgData name="Ugo MANTEL" userId="2d5b7065-31bb-4181-a7f8-a73bf0c30211" providerId="ADAL" clId="{9344D105-636D-4857-BD0F-AFC44A54BCCF}" dt="2021-05-25T14:37:08.035" v="35230" actId="20577"/>
          <ac:spMkLst>
            <pc:docMk/>
            <pc:sldMk cId="3428758149" sldId="10411"/>
            <ac:spMk id="216" creationId="{518A10AA-BD9B-475A-A417-EAD72C134DB6}"/>
          </ac:spMkLst>
        </pc:spChg>
        <pc:spChg chg="mod">
          <ac:chgData name="Ugo MANTEL" userId="2d5b7065-31bb-4181-a7f8-a73bf0c30211" providerId="ADAL" clId="{9344D105-636D-4857-BD0F-AFC44A54BCCF}" dt="2021-05-25T14:37:04.659" v="35228" actId="20577"/>
          <ac:spMkLst>
            <pc:docMk/>
            <pc:sldMk cId="3428758149" sldId="10411"/>
            <ac:spMk id="219" creationId="{2AC7C9DA-FA37-4D8B-A973-013500E688FC}"/>
          </ac:spMkLst>
        </pc:spChg>
        <pc:spChg chg="mod">
          <ac:chgData name="Ugo MANTEL" userId="2d5b7065-31bb-4181-a7f8-a73bf0c30211" providerId="ADAL" clId="{9344D105-636D-4857-BD0F-AFC44A54BCCF}" dt="2021-05-25T14:20:12.966" v="29687" actId="790"/>
          <ac:spMkLst>
            <pc:docMk/>
            <pc:sldMk cId="3428758149" sldId="10411"/>
            <ac:spMk id="1031" creationId="{A3845A5C-C65F-4C44-AE3B-D3285DF51268}"/>
          </ac:spMkLst>
        </pc:spChg>
        <pc:spChg chg="mod">
          <ac:chgData name="Ugo MANTEL" userId="2d5b7065-31bb-4181-a7f8-a73bf0c30211" providerId="ADAL" clId="{9344D105-636D-4857-BD0F-AFC44A54BCCF}" dt="2021-05-25T14:20:12.967" v="29688" actId="790"/>
          <ac:spMkLst>
            <pc:docMk/>
            <pc:sldMk cId="3428758149" sldId="10411"/>
            <ac:spMk id="1035" creationId="{9164A53F-4711-41A4-BE3D-8D2F4243A495}"/>
          </ac:spMkLst>
        </pc:spChg>
        <pc:spChg chg="mod">
          <ac:chgData name="Ugo MANTEL" userId="2d5b7065-31bb-4181-a7f8-a73bf0c30211" providerId="ADAL" clId="{9344D105-636D-4857-BD0F-AFC44A54BCCF}" dt="2021-05-25T14:20:12.955" v="29678" actId="790"/>
          <ac:spMkLst>
            <pc:docMk/>
            <pc:sldMk cId="3428758149" sldId="10411"/>
            <ac:spMk id="4107" creationId="{EBC573C8-C4E3-432A-81F7-B99236DF594A}"/>
          </ac:spMkLst>
        </pc:spChg>
        <pc:grpChg chg="add mod">
          <ac:chgData name="Ugo MANTEL" userId="2d5b7065-31bb-4181-a7f8-a73bf0c30211" providerId="ADAL" clId="{9344D105-636D-4857-BD0F-AFC44A54BCCF}" dt="2021-05-25T14:36:58.156" v="35223" actId="164"/>
          <ac:grpSpMkLst>
            <pc:docMk/>
            <pc:sldMk cId="3428758149" sldId="10411"/>
            <ac:grpSpMk id="69" creationId="{848E2AAD-AE2A-4289-9C86-8A2E23856C37}"/>
          </ac:grpSpMkLst>
        </pc:grpChg>
        <pc:grpChg chg="add mod">
          <ac:chgData name="Ugo MANTEL" userId="2d5b7065-31bb-4181-a7f8-a73bf0c30211" providerId="ADAL" clId="{9344D105-636D-4857-BD0F-AFC44A54BCCF}" dt="2021-05-25T14:33:20.612" v="34592"/>
          <ac:grpSpMkLst>
            <pc:docMk/>
            <pc:sldMk cId="3428758149" sldId="10411"/>
            <ac:grpSpMk id="175" creationId="{1BAC7C6E-BF4C-4A56-9558-6C47BB05A483}"/>
          </ac:grpSpMkLst>
        </pc:grpChg>
        <pc:grpChg chg="add mod">
          <ac:chgData name="Ugo MANTEL" userId="2d5b7065-31bb-4181-a7f8-a73bf0c30211" providerId="ADAL" clId="{9344D105-636D-4857-BD0F-AFC44A54BCCF}" dt="2021-05-25T14:33:20.612" v="34592"/>
          <ac:grpSpMkLst>
            <pc:docMk/>
            <pc:sldMk cId="3428758149" sldId="10411"/>
            <ac:grpSpMk id="178" creationId="{875DF1F6-88B2-43C8-8ADA-13D3A6C0029E}"/>
          </ac:grpSpMkLst>
        </pc:grpChg>
        <pc:grpChg chg="del">
          <ac:chgData name="Ugo MANTEL" userId="2d5b7065-31bb-4181-a7f8-a73bf0c30211" providerId="ADAL" clId="{9344D105-636D-4857-BD0F-AFC44A54BCCF}" dt="2021-05-25T14:33:20.017" v="34591" actId="478"/>
          <ac:grpSpMkLst>
            <pc:docMk/>
            <pc:sldMk cId="3428758149" sldId="10411"/>
            <ac:grpSpMk id="199" creationId="{07BD4F79-C2C4-44F6-9990-E1FB6614AD63}"/>
          </ac:grpSpMkLst>
        </pc:grpChg>
        <pc:grpChg chg="del">
          <ac:chgData name="Ugo MANTEL" userId="2d5b7065-31bb-4181-a7f8-a73bf0c30211" providerId="ADAL" clId="{9344D105-636D-4857-BD0F-AFC44A54BCCF}" dt="2021-05-25T14:33:20.017" v="34591" actId="478"/>
          <ac:grpSpMkLst>
            <pc:docMk/>
            <pc:sldMk cId="3428758149" sldId="10411"/>
            <ac:grpSpMk id="202" creationId="{0C406A31-87D1-43AE-8BAF-DB47D2C6BFCB}"/>
          </ac:grpSpMkLst>
        </pc:grpChg>
        <pc:grpChg chg="add mod">
          <ac:chgData name="Ugo MANTEL" userId="2d5b7065-31bb-4181-a7f8-a73bf0c30211" providerId="ADAL" clId="{9344D105-636D-4857-BD0F-AFC44A54BCCF}" dt="2021-05-25T14:37:01.244" v="35225" actId="1076"/>
          <ac:grpSpMkLst>
            <pc:docMk/>
            <pc:sldMk cId="3428758149" sldId="10411"/>
            <ac:grpSpMk id="214" creationId="{60D1F3E1-B197-40A7-B3B3-DE8EC54D49AD}"/>
          </ac:grpSpMkLst>
        </pc:grpChg>
        <pc:grpChg chg="add mod">
          <ac:chgData name="Ugo MANTEL" userId="2d5b7065-31bb-4181-a7f8-a73bf0c30211" providerId="ADAL" clId="{9344D105-636D-4857-BD0F-AFC44A54BCCF}" dt="2021-05-25T14:37:02.745" v="35226" actId="571"/>
          <ac:grpSpMkLst>
            <pc:docMk/>
            <pc:sldMk cId="3428758149" sldId="10411"/>
            <ac:grpSpMk id="217" creationId="{6CDB5475-255A-4E2E-B961-E4282E92F5A4}"/>
          </ac:grpSpMkLst>
        </pc:grpChg>
        <pc:graphicFrameChg chg="mod">
          <ac:chgData name="Ugo MANTEL" userId="2d5b7065-31bb-4181-a7f8-a73bf0c30211" providerId="ADAL" clId="{9344D105-636D-4857-BD0F-AFC44A54BCCF}" dt="2021-05-25T14:33:08.041" v="34590"/>
          <ac:graphicFrameMkLst>
            <pc:docMk/>
            <pc:sldMk cId="3428758149" sldId="10411"/>
            <ac:graphicFrameMk id="17" creationId="{FF44A7FF-DA1D-48E9-88AF-BFA57A1D74D1}"/>
          </ac:graphicFrameMkLst>
        </pc:graphicFrameChg>
        <pc:picChg chg="add mod">
          <ac:chgData name="Ugo MANTEL" userId="2d5b7065-31bb-4181-a7f8-a73bf0c30211" providerId="ADAL" clId="{9344D105-636D-4857-BD0F-AFC44A54BCCF}" dt="2021-05-25T14:33:29.312" v="34594" actId="1076"/>
          <ac:picMkLst>
            <pc:docMk/>
            <pc:sldMk cId="3428758149" sldId="10411"/>
            <ac:picMk id="210" creationId="{A7E27470-610F-43ED-BE00-8230836A8EAB}"/>
          </ac:picMkLst>
        </pc:picChg>
        <pc:picChg chg="add mod">
          <ac:chgData name="Ugo MANTEL" userId="2d5b7065-31bb-4181-a7f8-a73bf0c30211" providerId="ADAL" clId="{9344D105-636D-4857-BD0F-AFC44A54BCCF}" dt="2021-05-25T14:36:58.156" v="35223" actId="164"/>
          <ac:picMkLst>
            <pc:docMk/>
            <pc:sldMk cId="3428758149" sldId="10411"/>
            <ac:picMk id="213" creationId="{F461E74F-D28E-4B72-B7FA-69B5F0551655}"/>
          </ac:picMkLst>
        </pc:picChg>
        <pc:picChg chg="mod">
          <ac:chgData name="Ugo MANTEL" userId="2d5b7065-31bb-4181-a7f8-a73bf0c30211" providerId="ADAL" clId="{9344D105-636D-4857-BD0F-AFC44A54BCCF}" dt="2021-05-25T14:36:59.751" v="35224" actId="571"/>
          <ac:picMkLst>
            <pc:docMk/>
            <pc:sldMk cId="3428758149" sldId="10411"/>
            <ac:picMk id="215" creationId="{5DE85754-19CC-43F2-8DF2-D92835B4FB97}"/>
          </ac:picMkLst>
        </pc:picChg>
        <pc:picChg chg="mod">
          <ac:chgData name="Ugo MANTEL" userId="2d5b7065-31bb-4181-a7f8-a73bf0c30211" providerId="ADAL" clId="{9344D105-636D-4857-BD0F-AFC44A54BCCF}" dt="2021-05-25T14:37:02.745" v="35226" actId="571"/>
          <ac:picMkLst>
            <pc:docMk/>
            <pc:sldMk cId="3428758149" sldId="10411"/>
            <ac:picMk id="218" creationId="{D101AA13-2123-4C45-B97B-4968F1BC4D86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4:20:12.903" v="29629" actId="790"/>
        <pc:sldMkLst>
          <pc:docMk/>
          <pc:sldMk cId="4132730322" sldId="10412"/>
        </pc:sldMkLst>
        <pc:spChg chg="mod">
          <ac:chgData name="Ugo MANTEL" userId="2d5b7065-31bb-4181-a7f8-a73bf0c30211" providerId="ADAL" clId="{9344D105-636D-4857-BD0F-AFC44A54BCCF}" dt="2021-05-25T14:20:12.859" v="29591" actId="790"/>
          <ac:spMkLst>
            <pc:docMk/>
            <pc:sldMk cId="4132730322" sldId="10412"/>
            <ac:spMk id="2" creationId="{1B8B41D0-3B5A-41F2-BD36-274CA5605C3A}"/>
          </ac:spMkLst>
        </pc:spChg>
        <pc:spChg chg="mod">
          <ac:chgData name="Ugo MANTEL" userId="2d5b7065-31bb-4181-a7f8-a73bf0c30211" providerId="ADAL" clId="{9344D105-636D-4857-BD0F-AFC44A54BCCF}" dt="2021-05-25T14:20:12.851" v="29581" actId="790"/>
          <ac:spMkLst>
            <pc:docMk/>
            <pc:sldMk cId="4132730322" sldId="10412"/>
            <ac:spMk id="3" creationId="{F2961EB7-FC0B-4AEF-8BF3-7969101BE0A7}"/>
          </ac:spMkLst>
        </pc:spChg>
        <pc:spChg chg="mod">
          <ac:chgData name="Ugo MANTEL" userId="2d5b7065-31bb-4181-a7f8-a73bf0c30211" providerId="ADAL" clId="{9344D105-636D-4857-BD0F-AFC44A54BCCF}" dt="2021-05-25T14:20:12.885" v="29614" actId="790"/>
          <ac:spMkLst>
            <pc:docMk/>
            <pc:sldMk cId="4132730322" sldId="10412"/>
            <ac:spMk id="4" creationId="{43E0D5C7-0986-42B1-8E8C-7B58D0CBD773}"/>
          </ac:spMkLst>
        </pc:spChg>
        <pc:spChg chg="mod">
          <ac:chgData name="Ugo MANTEL" userId="2d5b7065-31bb-4181-a7f8-a73bf0c30211" providerId="ADAL" clId="{9344D105-636D-4857-BD0F-AFC44A54BCCF}" dt="2021-05-25T14:20:12.860" v="29592" actId="790"/>
          <ac:spMkLst>
            <pc:docMk/>
            <pc:sldMk cId="4132730322" sldId="10412"/>
            <ac:spMk id="5" creationId="{32E0BE14-B2E8-4A96-ADE4-0BE247A47D79}"/>
          </ac:spMkLst>
        </pc:spChg>
        <pc:spChg chg="mod">
          <ac:chgData name="Ugo MANTEL" userId="2d5b7065-31bb-4181-a7f8-a73bf0c30211" providerId="ADAL" clId="{9344D105-636D-4857-BD0F-AFC44A54BCCF}" dt="2021-05-25T14:20:12.861" v="29593" actId="790"/>
          <ac:spMkLst>
            <pc:docMk/>
            <pc:sldMk cId="4132730322" sldId="10412"/>
            <ac:spMk id="6" creationId="{8AEA1672-C0F9-4DB2-A6F4-76831980F749}"/>
          </ac:spMkLst>
        </pc:spChg>
        <pc:spChg chg="mod">
          <ac:chgData name="Ugo MANTEL" userId="2d5b7065-31bb-4181-a7f8-a73bf0c30211" providerId="ADAL" clId="{9344D105-636D-4857-BD0F-AFC44A54BCCF}" dt="2021-05-25T14:20:12.874" v="29603" actId="790"/>
          <ac:spMkLst>
            <pc:docMk/>
            <pc:sldMk cId="4132730322" sldId="10412"/>
            <ac:spMk id="7" creationId="{064EAC16-1947-4EB5-B699-F79BA984701D}"/>
          </ac:spMkLst>
        </pc:spChg>
        <pc:spChg chg="mod">
          <ac:chgData name="Ugo MANTEL" userId="2d5b7065-31bb-4181-a7f8-a73bf0c30211" providerId="ADAL" clId="{9344D105-636D-4857-BD0F-AFC44A54BCCF}" dt="2021-05-25T14:20:12.874" v="29604" actId="790"/>
          <ac:spMkLst>
            <pc:docMk/>
            <pc:sldMk cId="4132730322" sldId="10412"/>
            <ac:spMk id="8" creationId="{17235FB0-B480-4F11-BAB2-ECCE97A0AE35}"/>
          </ac:spMkLst>
        </pc:spChg>
        <pc:spChg chg="mod">
          <ac:chgData name="Ugo MANTEL" userId="2d5b7065-31bb-4181-a7f8-a73bf0c30211" providerId="ADAL" clId="{9344D105-636D-4857-BD0F-AFC44A54BCCF}" dt="2021-05-25T14:20:12.862" v="29594" actId="790"/>
          <ac:spMkLst>
            <pc:docMk/>
            <pc:sldMk cId="4132730322" sldId="10412"/>
            <ac:spMk id="9" creationId="{E57AC7D2-FC03-4826-B2B4-B86B10C8A912}"/>
          </ac:spMkLst>
        </pc:spChg>
        <pc:spChg chg="mod">
          <ac:chgData name="Ugo MANTEL" userId="2d5b7065-31bb-4181-a7f8-a73bf0c30211" providerId="ADAL" clId="{9344D105-636D-4857-BD0F-AFC44A54BCCF}" dt="2021-05-25T14:20:12.848" v="29577" actId="790"/>
          <ac:spMkLst>
            <pc:docMk/>
            <pc:sldMk cId="4132730322" sldId="10412"/>
            <ac:spMk id="10" creationId="{EC4BC8E5-CDE6-4BDA-8B1B-E89284306AC8}"/>
          </ac:spMkLst>
        </pc:spChg>
        <pc:spChg chg="add del mod modVis">
          <ac:chgData name="Ugo MANTEL" userId="2d5b7065-31bb-4181-a7f8-a73bf0c30211" providerId="ADAL" clId="{9344D105-636D-4857-BD0F-AFC44A54BCCF}" dt="2021-05-25T14:03:00.896" v="23677"/>
          <ac:spMkLst>
            <pc:docMk/>
            <pc:sldMk cId="4132730322" sldId="10412"/>
            <ac:spMk id="11" creationId="{350EE606-7B72-404B-A6A2-9D59CFAC7790}"/>
          </ac:spMkLst>
        </pc:spChg>
        <pc:spChg chg="add del mod modVis">
          <ac:chgData name="Ugo MANTEL" userId="2d5b7065-31bb-4181-a7f8-a73bf0c30211" providerId="ADAL" clId="{9344D105-636D-4857-BD0F-AFC44A54BCCF}" dt="2021-05-24T14:50:55.036" v="7862"/>
          <ac:spMkLst>
            <pc:docMk/>
            <pc:sldMk cId="4132730322" sldId="10412"/>
            <ac:spMk id="11" creationId="{BD166765-0D7E-4F61-BE90-26F1050A84DE}"/>
          </ac:spMkLst>
        </pc:spChg>
        <pc:spChg chg="mod">
          <ac:chgData name="Ugo MANTEL" userId="2d5b7065-31bb-4181-a7f8-a73bf0c30211" providerId="ADAL" clId="{9344D105-636D-4857-BD0F-AFC44A54BCCF}" dt="2021-05-25T14:20:12.852" v="29582" actId="790"/>
          <ac:spMkLst>
            <pc:docMk/>
            <pc:sldMk cId="4132730322" sldId="10412"/>
            <ac:spMk id="12" creationId="{06146879-726F-492D-B854-B9E140208671}"/>
          </ac:spMkLst>
        </pc:spChg>
        <pc:spChg chg="mod">
          <ac:chgData name="Ugo MANTEL" userId="2d5b7065-31bb-4181-a7f8-a73bf0c30211" providerId="ADAL" clId="{9344D105-636D-4857-BD0F-AFC44A54BCCF}" dt="2021-05-25T14:20:12.856" v="29588" actId="790"/>
          <ac:spMkLst>
            <pc:docMk/>
            <pc:sldMk cId="4132730322" sldId="10412"/>
            <ac:spMk id="13" creationId="{E9F049B4-9F79-4754-AA4A-B557B2A6D3C9}"/>
          </ac:spMkLst>
        </pc:spChg>
        <pc:spChg chg="add del mod modVis">
          <ac:chgData name="Ugo MANTEL" userId="2d5b7065-31bb-4181-a7f8-a73bf0c30211" providerId="ADAL" clId="{9344D105-636D-4857-BD0F-AFC44A54BCCF}" dt="2021-05-25T14:03:03.389" v="23731"/>
          <ac:spMkLst>
            <pc:docMk/>
            <pc:sldMk cId="4132730322" sldId="10412"/>
            <ac:spMk id="14" creationId="{9AD16BAE-91F0-41B4-B235-22BDD4A3B457}"/>
          </ac:spMkLst>
        </pc:spChg>
        <pc:spChg chg="add del mod modVis">
          <ac:chgData name="Ugo MANTEL" userId="2d5b7065-31bb-4181-a7f8-a73bf0c30211" providerId="ADAL" clId="{9344D105-636D-4857-BD0F-AFC44A54BCCF}" dt="2021-05-25T14:03:08.060" v="23786"/>
          <ac:spMkLst>
            <pc:docMk/>
            <pc:sldMk cId="4132730322" sldId="10412"/>
            <ac:spMk id="15" creationId="{C5D13F08-0305-4B42-850D-385857CC8BBB}"/>
          </ac:spMkLst>
        </pc:spChg>
        <pc:spChg chg="add del mod modVis">
          <ac:chgData name="Ugo MANTEL" userId="2d5b7065-31bb-4181-a7f8-a73bf0c30211" providerId="ADAL" clId="{9344D105-636D-4857-BD0F-AFC44A54BCCF}" dt="2021-05-25T14:03:09.013" v="23831"/>
          <ac:spMkLst>
            <pc:docMk/>
            <pc:sldMk cId="4132730322" sldId="10412"/>
            <ac:spMk id="16" creationId="{D1A1FC73-623C-48FC-9B7F-E89A37E67F1E}"/>
          </ac:spMkLst>
        </pc:spChg>
        <pc:spChg chg="mod">
          <ac:chgData name="Ugo MANTEL" userId="2d5b7065-31bb-4181-a7f8-a73bf0c30211" providerId="ADAL" clId="{9344D105-636D-4857-BD0F-AFC44A54BCCF}" dt="2021-05-25T14:20:12.870" v="29598" actId="790"/>
          <ac:spMkLst>
            <pc:docMk/>
            <pc:sldMk cId="4132730322" sldId="10412"/>
            <ac:spMk id="18" creationId="{E5E5B17C-AF5B-4FCB-935E-796FE66056AC}"/>
          </ac:spMkLst>
        </pc:spChg>
        <pc:spChg chg="mod">
          <ac:chgData name="Ugo MANTEL" userId="2d5b7065-31bb-4181-a7f8-a73bf0c30211" providerId="ADAL" clId="{9344D105-636D-4857-BD0F-AFC44A54BCCF}" dt="2021-05-25T14:20:12.875" v="29605" actId="790"/>
          <ac:spMkLst>
            <pc:docMk/>
            <pc:sldMk cId="4132730322" sldId="10412"/>
            <ac:spMk id="19" creationId="{D183DC4A-A310-4818-8DE5-DD81DA31ACA2}"/>
          </ac:spMkLst>
        </pc:spChg>
        <pc:spChg chg="mod">
          <ac:chgData name="Ugo MANTEL" userId="2d5b7065-31bb-4181-a7f8-a73bf0c30211" providerId="ADAL" clId="{9344D105-636D-4857-BD0F-AFC44A54BCCF}" dt="2021-05-25T14:20:12.879" v="29610" actId="790"/>
          <ac:spMkLst>
            <pc:docMk/>
            <pc:sldMk cId="4132730322" sldId="10412"/>
            <ac:spMk id="20" creationId="{54E8F179-87EF-4A92-9C29-92D7E20EB946}"/>
          </ac:spMkLst>
        </pc:spChg>
        <pc:spChg chg="mod">
          <ac:chgData name="Ugo MANTEL" userId="2d5b7065-31bb-4181-a7f8-a73bf0c30211" providerId="ADAL" clId="{9344D105-636D-4857-BD0F-AFC44A54BCCF}" dt="2021-05-25T14:20:12.886" v="29615" actId="790"/>
          <ac:spMkLst>
            <pc:docMk/>
            <pc:sldMk cId="4132730322" sldId="10412"/>
            <ac:spMk id="21" creationId="{44BA4EC0-19D7-41DC-B319-396D8267BC37}"/>
          </ac:spMkLst>
        </pc:spChg>
        <pc:spChg chg="mod">
          <ac:chgData name="Ugo MANTEL" userId="2d5b7065-31bb-4181-a7f8-a73bf0c30211" providerId="ADAL" clId="{9344D105-636D-4857-BD0F-AFC44A54BCCF}" dt="2021-05-25T14:20:12.876" v="29606" actId="790"/>
          <ac:spMkLst>
            <pc:docMk/>
            <pc:sldMk cId="4132730322" sldId="10412"/>
            <ac:spMk id="22" creationId="{43B8FABF-5816-42AC-8939-29224794884E}"/>
          </ac:spMkLst>
        </pc:spChg>
        <pc:spChg chg="add del mod modVis">
          <ac:chgData name="Ugo MANTEL" userId="2d5b7065-31bb-4181-a7f8-a73bf0c30211" providerId="ADAL" clId="{9344D105-636D-4857-BD0F-AFC44A54BCCF}" dt="2021-05-25T14:03:10.997" v="23879"/>
          <ac:spMkLst>
            <pc:docMk/>
            <pc:sldMk cId="4132730322" sldId="10412"/>
            <ac:spMk id="23" creationId="{811142C5-286D-4864-B0E5-DF1CE71E81A8}"/>
          </ac:spMkLst>
        </pc:spChg>
        <pc:spChg chg="add del mod modVis">
          <ac:chgData name="Ugo MANTEL" userId="2d5b7065-31bb-4181-a7f8-a73bf0c30211" providerId="ADAL" clId="{9344D105-636D-4857-BD0F-AFC44A54BCCF}" dt="2021-05-25T14:03:13.917" v="23935"/>
          <ac:spMkLst>
            <pc:docMk/>
            <pc:sldMk cId="4132730322" sldId="10412"/>
            <ac:spMk id="24" creationId="{736CF7A9-6D67-4C77-B509-A12BCC191194}"/>
          </ac:spMkLst>
        </pc:spChg>
        <pc:spChg chg="add del mod modVis">
          <ac:chgData name="Ugo MANTEL" userId="2d5b7065-31bb-4181-a7f8-a73bf0c30211" providerId="ADAL" clId="{9344D105-636D-4857-BD0F-AFC44A54BCCF}" dt="2021-05-25T14:03:21.729" v="23981"/>
          <ac:spMkLst>
            <pc:docMk/>
            <pc:sldMk cId="4132730322" sldId="10412"/>
            <ac:spMk id="25" creationId="{AD0A1B00-4A2E-428B-A4F9-79069614BC1B}"/>
          </ac:spMkLst>
        </pc:spChg>
        <pc:spChg chg="add del mod modVis">
          <ac:chgData name="Ugo MANTEL" userId="2d5b7065-31bb-4181-a7f8-a73bf0c30211" providerId="ADAL" clId="{9344D105-636D-4857-BD0F-AFC44A54BCCF}" dt="2021-05-25T14:03:22.723" v="24027"/>
          <ac:spMkLst>
            <pc:docMk/>
            <pc:sldMk cId="4132730322" sldId="10412"/>
            <ac:spMk id="26" creationId="{819C3B57-D400-40D2-8B92-1A1A30BA23D8}"/>
          </ac:spMkLst>
        </pc:spChg>
        <pc:spChg chg="add del mod modVis">
          <ac:chgData name="Ugo MANTEL" userId="2d5b7065-31bb-4181-a7f8-a73bf0c30211" providerId="ADAL" clId="{9344D105-636D-4857-BD0F-AFC44A54BCCF}" dt="2021-05-25T14:03:23.812" v="24072"/>
          <ac:spMkLst>
            <pc:docMk/>
            <pc:sldMk cId="4132730322" sldId="10412"/>
            <ac:spMk id="27" creationId="{94DFC5E9-3514-4148-AB5A-D81BE5DEE020}"/>
          </ac:spMkLst>
        </pc:spChg>
        <pc:spChg chg="add del mod modVis">
          <ac:chgData name="Ugo MANTEL" userId="2d5b7065-31bb-4181-a7f8-a73bf0c30211" providerId="ADAL" clId="{9344D105-636D-4857-BD0F-AFC44A54BCCF}" dt="2021-05-25T14:03:24.914" v="24119"/>
          <ac:spMkLst>
            <pc:docMk/>
            <pc:sldMk cId="4132730322" sldId="10412"/>
            <ac:spMk id="28" creationId="{242355D5-17EF-4864-BCE3-2341D80F898F}"/>
          </ac:spMkLst>
        </pc:spChg>
        <pc:spChg chg="add del mod modVis">
          <ac:chgData name="Ugo MANTEL" userId="2d5b7065-31bb-4181-a7f8-a73bf0c30211" providerId="ADAL" clId="{9344D105-636D-4857-BD0F-AFC44A54BCCF}" dt="2021-05-25T14:03:26.167" v="24165"/>
          <ac:spMkLst>
            <pc:docMk/>
            <pc:sldMk cId="4132730322" sldId="10412"/>
            <ac:spMk id="29" creationId="{A5A2BB7D-950A-495A-8730-921596B374F6}"/>
          </ac:spMkLst>
        </pc:spChg>
        <pc:spChg chg="add del mod modVis">
          <ac:chgData name="Ugo MANTEL" userId="2d5b7065-31bb-4181-a7f8-a73bf0c30211" providerId="ADAL" clId="{9344D105-636D-4857-BD0F-AFC44A54BCCF}" dt="2021-05-25T14:03:27.101" v="24210"/>
          <ac:spMkLst>
            <pc:docMk/>
            <pc:sldMk cId="4132730322" sldId="10412"/>
            <ac:spMk id="30" creationId="{875F4654-DBA8-4463-9645-D3840B413896}"/>
          </ac:spMkLst>
        </pc:spChg>
        <pc:spChg chg="add del mod modVis">
          <ac:chgData name="Ugo MANTEL" userId="2d5b7065-31bb-4181-a7f8-a73bf0c30211" providerId="ADAL" clId="{9344D105-636D-4857-BD0F-AFC44A54BCCF}" dt="2021-05-25T14:03:29.377" v="24255"/>
          <ac:spMkLst>
            <pc:docMk/>
            <pc:sldMk cId="4132730322" sldId="10412"/>
            <ac:spMk id="31" creationId="{CAB54DF3-8F68-4297-93E4-87EA23071F42}"/>
          </ac:spMkLst>
        </pc:spChg>
        <pc:spChg chg="add del mod modVis">
          <ac:chgData name="Ugo MANTEL" userId="2d5b7065-31bb-4181-a7f8-a73bf0c30211" providerId="ADAL" clId="{9344D105-636D-4857-BD0F-AFC44A54BCCF}" dt="2021-05-25T14:03:31.056" v="24304"/>
          <ac:spMkLst>
            <pc:docMk/>
            <pc:sldMk cId="4132730322" sldId="10412"/>
            <ac:spMk id="32" creationId="{7E838E24-B709-4ED7-A4DC-50D990049915}"/>
          </ac:spMkLst>
        </pc:spChg>
        <pc:spChg chg="mod">
          <ac:chgData name="Ugo MANTEL" userId="2d5b7065-31bb-4181-a7f8-a73bf0c30211" providerId="ADAL" clId="{9344D105-636D-4857-BD0F-AFC44A54BCCF}" dt="2021-05-25T14:20:12.846" v="29575" actId="790"/>
          <ac:spMkLst>
            <pc:docMk/>
            <pc:sldMk cId="4132730322" sldId="10412"/>
            <ac:spMk id="33" creationId="{243F8FAD-0118-4F1B-B40B-A7D84FD36396}"/>
          </ac:spMkLst>
        </pc:spChg>
        <pc:spChg chg="add del mod modVis">
          <ac:chgData name="Ugo MANTEL" userId="2d5b7065-31bb-4181-a7f8-a73bf0c30211" providerId="ADAL" clId="{9344D105-636D-4857-BD0F-AFC44A54BCCF}" dt="2021-05-25T14:03:31.905" v="24348"/>
          <ac:spMkLst>
            <pc:docMk/>
            <pc:sldMk cId="4132730322" sldId="10412"/>
            <ac:spMk id="34" creationId="{8C99F8A1-B4B2-41BB-B18C-FBB0C0FF1914}"/>
          </ac:spMkLst>
        </pc:spChg>
        <pc:spChg chg="add del mod modVis">
          <ac:chgData name="Ugo MANTEL" userId="2d5b7065-31bb-4181-a7f8-a73bf0c30211" providerId="ADAL" clId="{9344D105-636D-4857-BD0F-AFC44A54BCCF}" dt="2021-05-25T14:03:33.262" v="24396"/>
          <ac:spMkLst>
            <pc:docMk/>
            <pc:sldMk cId="4132730322" sldId="10412"/>
            <ac:spMk id="35" creationId="{C620AD02-9F72-45C2-BA79-8429A72632EB}"/>
          </ac:spMkLst>
        </pc:spChg>
        <pc:spChg chg="add del mod modVis">
          <ac:chgData name="Ugo MANTEL" userId="2d5b7065-31bb-4181-a7f8-a73bf0c30211" providerId="ADAL" clId="{9344D105-636D-4857-BD0F-AFC44A54BCCF}" dt="2021-05-25T14:03:33.851" v="24440"/>
          <ac:spMkLst>
            <pc:docMk/>
            <pc:sldMk cId="4132730322" sldId="10412"/>
            <ac:spMk id="36" creationId="{D8E5D5D3-C12A-404F-A1A5-F5A291162567}"/>
          </ac:spMkLst>
        </pc:spChg>
        <pc:spChg chg="add del mod modVis">
          <ac:chgData name="Ugo MANTEL" userId="2d5b7065-31bb-4181-a7f8-a73bf0c30211" providerId="ADAL" clId="{9344D105-636D-4857-BD0F-AFC44A54BCCF}" dt="2021-05-25T14:03:35.165" v="24488"/>
          <ac:spMkLst>
            <pc:docMk/>
            <pc:sldMk cId="4132730322" sldId="10412"/>
            <ac:spMk id="37" creationId="{DC255BB4-40E6-4808-8044-3FA122D9240E}"/>
          </ac:spMkLst>
        </pc:spChg>
        <pc:spChg chg="add del mod modVis">
          <ac:chgData name="Ugo MANTEL" userId="2d5b7065-31bb-4181-a7f8-a73bf0c30211" providerId="ADAL" clId="{9344D105-636D-4857-BD0F-AFC44A54BCCF}" dt="2021-05-25T14:03:36.234" v="24532"/>
          <ac:spMkLst>
            <pc:docMk/>
            <pc:sldMk cId="4132730322" sldId="10412"/>
            <ac:spMk id="38" creationId="{ABF498C9-1FFF-4908-B90A-3E12CC6C80FF}"/>
          </ac:spMkLst>
        </pc:spChg>
        <pc:spChg chg="add del mod modVis">
          <ac:chgData name="Ugo MANTEL" userId="2d5b7065-31bb-4181-a7f8-a73bf0c30211" providerId="ADAL" clId="{9344D105-636D-4857-BD0F-AFC44A54BCCF}" dt="2021-05-25T14:03:36.984" v="24578"/>
          <ac:spMkLst>
            <pc:docMk/>
            <pc:sldMk cId="4132730322" sldId="10412"/>
            <ac:spMk id="39" creationId="{3E16667E-E7D3-4738-9A46-98BB77DAE516}"/>
          </ac:spMkLst>
        </pc:spChg>
        <pc:spChg chg="add del mod modVis">
          <ac:chgData name="Ugo MANTEL" userId="2d5b7065-31bb-4181-a7f8-a73bf0c30211" providerId="ADAL" clId="{9344D105-636D-4857-BD0F-AFC44A54BCCF}" dt="2021-05-25T14:04:12.613" v="24624"/>
          <ac:spMkLst>
            <pc:docMk/>
            <pc:sldMk cId="4132730322" sldId="10412"/>
            <ac:spMk id="42" creationId="{AF2BBFCD-840D-40FD-830D-9E0711021243}"/>
          </ac:spMkLst>
        </pc:spChg>
        <pc:spChg chg="add del mod modVis">
          <ac:chgData name="Ugo MANTEL" userId="2d5b7065-31bb-4181-a7f8-a73bf0c30211" providerId="ADAL" clId="{9344D105-636D-4857-BD0F-AFC44A54BCCF}" dt="2021-05-25T14:04:14.794" v="24671"/>
          <ac:spMkLst>
            <pc:docMk/>
            <pc:sldMk cId="4132730322" sldId="10412"/>
            <ac:spMk id="43" creationId="{15E79F50-5920-4736-8E11-78DDE39DADF7}"/>
          </ac:spMkLst>
        </pc:spChg>
        <pc:spChg chg="add del mod modVis">
          <ac:chgData name="Ugo MANTEL" userId="2d5b7065-31bb-4181-a7f8-a73bf0c30211" providerId="ADAL" clId="{9344D105-636D-4857-BD0F-AFC44A54BCCF}" dt="2021-05-25T14:04:16.177" v="24719"/>
          <ac:spMkLst>
            <pc:docMk/>
            <pc:sldMk cId="4132730322" sldId="10412"/>
            <ac:spMk id="44" creationId="{10F5C0D9-E1D9-422A-A821-A385DD9B9F30}"/>
          </ac:spMkLst>
        </pc:spChg>
        <pc:spChg chg="add del mod modVis">
          <ac:chgData name="Ugo MANTEL" userId="2d5b7065-31bb-4181-a7f8-a73bf0c30211" providerId="ADAL" clId="{9344D105-636D-4857-BD0F-AFC44A54BCCF}" dt="2021-05-25T14:04:39.361" v="24765"/>
          <ac:spMkLst>
            <pc:docMk/>
            <pc:sldMk cId="4132730322" sldId="10412"/>
            <ac:spMk id="46" creationId="{A521E066-20F7-469D-943A-996C54FB7D98}"/>
          </ac:spMkLst>
        </pc:spChg>
        <pc:spChg chg="mod">
          <ac:chgData name="Ugo MANTEL" userId="2d5b7065-31bb-4181-a7f8-a73bf0c30211" providerId="ADAL" clId="{9344D105-636D-4857-BD0F-AFC44A54BCCF}" dt="2021-05-25T14:20:12.880" v="29611" actId="790"/>
          <ac:spMkLst>
            <pc:docMk/>
            <pc:sldMk cId="4132730322" sldId="10412"/>
            <ac:spMk id="47" creationId="{9E10C541-E455-4AF2-AA1A-715E3DF2DDC1}"/>
          </ac:spMkLst>
        </pc:spChg>
        <pc:spChg chg="add del mod modVis">
          <ac:chgData name="Ugo MANTEL" userId="2d5b7065-31bb-4181-a7f8-a73bf0c30211" providerId="ADAL" clId="{9344D105-636D-4857-BD0F-AFC44A54BCCF}" dt="2021-05-25T14:04:40.231" v="24810"/>
          <ac:spMkLst>
            <pc:docMk/>
            <pc:sldMk cId="4132730322" sldId="10412"/>
            <ac:spMk id="48" creationId="{42233A3F-2855-46AD-B71B-3720F185E437}"/>
          </ac:spMkLst>
        </pc:spChg>
        <pc:spChg chg="mod">
          <ac:chgData name="Ugo MANTEL" userId="2d5b7065-31bb-4181-a7f8-a73bf0c30211" providerId="ADAL" clId="{9344D105-636D-4857-BD0F-AFC44A54BCCF}" dt="2021-05-25T14:20:12.862" v="29595" actId="790"/>
          <ac:spMkLst>
            <pc:docMk/>
            <pc:sldMk cId="4132730322" sldId="10412"/>
            <ac:spMk id="49" creationId="{B10468A4-1BAC-4153-BC9A-99B8715C0AD1}"/>
          </ac:spMkLst>
        </pc:spChg>
        <pc:spChg chg="mod">
          <ac:chgData name="Ugo MANTEL" userId="2d5b7065-31bb-4181-a7f8-a73bf0c30211" providerId="ADAL" clId="{9344D105-636D-4857-BD0F-AFC44A54BCCF}" dt="2021-05-25T14:20:12.852" v="29583" actId="790"/>
          <ac:spMkLst>
            <pc:docMk/>
            <pc:sldMk cId="4132730322" sldId="10412"/>
            <ac:spMk id="50" creationId="{06AD3339-7557-4559-B2EA-6A391CF2BF0C}"/>
          </ac:spMkLst>
        </pc:spChg>
        <pc:spChg chg="add del mod modVis">
          <ac:chgData name="Ugo MANTEL" userId="2d5b7065-31bb-4181-a7f8-a73bf0c30211" providerId="ADAL" clId="{9344D105-636D-4857-BD0F-AFC44A54BCCF}" dt="2021-05-25T14:04:41.334" v="24856"/>
          <ac:spMkLst>
            <pc:docMk/>
            <pc:sldMk cId="4132730322" sldId="10412"/>
            <ac:spMk id="52" creationId="{7EF833BF-5D69-41F0-8A7C-AD0C0BC9FC7D}"/>
          </ac:spMkLst>
        </pc:spChg>
        <pc:spChg chg="add del mod modVis">
          <ac:chgData name="Ugo MANTEL" userId="2d5b7065-31bb-4181-a7f8-a73bf0c30211" providerId="ADAL" clId="{9344D105-636D-4857-BD0F-AFC44A54BCCF}" dt="2021-05-25T14:04:41.973" v="24900"/>
          <ac:spMkLst>
            <pc:docMk/>
            <pc:sldMk cId="4132730322" sldId="10412"/>
            <ac:spMk id="53" creationId="{A0BD690F-C20A-43B1-8F26-FE32972EBC11}"/>
          </ac:spMkLst>
        </pc:spChg>
        <pc:spChg chg="add del mod modVis">
          <ac:chgData name="Ugo MANTEL" userId="2d5b7065-31bb-4181-a7f8-a73bf0c30211" providerId="ADAL" clId="{9344D105-636D-4857-BD0F-AFC44A54BCCF}" dt="2021-05-25T14:04:44.044" v="24949"/>
          <ac:spMkLst>
            <pc:docMk/>
            <pc:sldMk cId="4132730322" sldId="10412"/>
            <ac:spMk id="54" creationId="{F7C28391-4513-49BD-B7DC-BFE424CC387D}"/>
          </ac:spMkLst>
        </pc:spChg>
        <pc:spChg chg="add del mod modVis">
          <ac:chgData name="Ugo MANTEL" userId="2d5b7065-31bb-4181-a7f8-a73bf0c30211" providerId="ADAL" clId="{9344D105-636D-4857-BD0F-AFC44A54BCCF}" dt="2021-05-25T14:04:46.433" v="25002"/>
          <ac:spMkLst>
            <pc:docMk/>
            <pc:sldMk cId="4132730322" sldId="10412"/>
            <ac:spMk id="55" creationId="{11FD225A-5448-4749-AEE9-E80425275BA6}"/>
          </ac:spMkLst>
        </pc:spChg>
        <pc:spChg chg="add del mod modVis">
          <ac:chgData name="Ugo MANTEL" userId="2d5b7065-31bb-4181-a7f8-a73bf0c30211" providerId="ADAL" clId="{9344D105-636D-4857-BD0F-AFC44A54BCCF}" dt="2021-05-25T14:04:47.074" v="25046"/>
          <ac:spMkLst>
            <pc:docMk/>
            <pc:sldMk cId="4132730322" sldId="10412"/>
            <ac:spMk id="56" creationId="{F2348D1F-0A8D-4837-8D52-3DA811119713}"/>
          </ac:spMkLst>
        </pc:spChg>
        <pc:spChg chg="add del mod modVis">
          <ac:chgData name="Ugo MANTEL" userId="2d5b7065-31bb-4181-a7f8-a73bf0c30211" providerId="ADAL" clId="{9344D105-636D-4857-BD0F-AFC44A54BCCF}" dt="2021-05-25T14:05:04.902" v="25090"/>
          <ac:spMkLst>
            <pc:docMk/>
            <pc:sldMk cId="4132730322" sldId="10412"/>
            <ac:spMk id="58" creationId="{AE9CB1E4-1151-4190-9FB0-1AC407872A5C}"/>
          </ac:spMkLst>
        </pc:spChg>
        <pc:spChg chg="add del mod modVis">
          <ac:chgData name="Ugo MANTEL" userId="2d5b7065-31bb-4181-a7f8-a73bf0c30211" providerId="ADAL" clId="{9344D105-636D-4857-BD0F-AFC44A54BCCF}" dt="2021-05-25T14:05:06.035" v="25137"/>
          <ac:spMkLst>
            <pc:docMk/>
            <pc:sldMk cId="4132730322" sldId="10412"/>
            <ac:spMk id="59" creationId="{1884C636-30E5-4158-800C-B03892C76CDA}"/>
          </ac:spMkLst>
        </pc:spChg>
        <pc:spChg chg="add del mod modVis">
          <ac:chgData name="Ugo MANTEL" userId="2d5b7065-31bb-4181-a7f8-a73bf0c30211" providerId="ADAL" clId="{9344D105-636D-4857-BD0F-AFC44A54BCCF}" dt="2021-05-25T14:05:09.472" v="25190"/>
          <ac:spMkLst>
            <pc:docMk/>
            <pc:sldMk cId="4132730322" sldId="10412"/>
            <ac:spMk id="62" creationId="{18C38BCC-4FFE-41A2-8A82-D011423C7659}"/>
          </ac:spMkLst>
        </pc:spChg>
        <pc:spChg chg="add del mod modVis">
          <ac:chgData name="Ugo MANTEL" userId="2d5b7065-31bb-4181-a7f8-a73bf0c30211" providerId="ADAL" clId="{9344D105-636D-4857-BD0F-AFC44A54BCCF}" dt="2021-05-25T14:05:10.649" v="25234"/>
          <ac:spMkLst>
            <pc:docMk/>
            <pc:sldMk cId="4132730322" sldId="10412"/>
            <ac:spMk id="63" creationId="{281E6F18-DE83-49DF-A3FD-129F660981FB}"/>
          </ac:spMkLst>
        </pc:spChg>
        <pc:spChg chg="add del mod modVis">
          <ac:chgData name="Ugo MANTEL" userId="2d5b7065-31bb-4181-a7f8-a73bf0c30211" providerId="ADAL" clId="{9344D105-636D-4857-BD0F-AFC44A54BCCF}" dt="2021-05-25T14:05:11.779" v="25279"/>
          <ac:spMkLst>
            <pc:docMk/>
            <pc:sldMk cId="4132730322" sldId="10412"/>
            <ac:spMk id="64" creationId="{3DA438F2-5BB0-43D0-9765-9CF06C7E2A8B}"/>
          </ac:spMkLst>
        </pc:spChg>
        <pc:spChg chg="add del mod modVis">
          <ac:chgData name="Ugo MANTEL" userId="2d5b7065-31bb-4181-a7f8-a73bf0c30211" providerId="ADAL" clId="{9344D105-636D-4857-BD0F-AFC44A54BCCF}" dt="2021-05-25T14:05:15.479" v="25324"/>
          <ac:spMkLst>
            <pc:docMk/>
            <pc:sldMk cId="4132730322" sldId="10412"/>
            <ac:spMk id="65" creationId="{204A42B7-586E-41C2-AFAA-6B13BFF97BC5}"/>
          </ac:spMkLst>
        </pc:spChg>
        <pc:spChg chg="add del mod modVis">
          <ac:chgData name="Ugo MANTEL" userId="2d5b7065-31bb-4181-a7f8-a73bf0c30211" providerId="ADAL" clId="{9344D105-636D-4857-BD0F-AFC44A54BCCF}" dt="2021-05-25T14:05:16.127" v="25368"/>
          <ac:spMkLst>
            <pc:docMk/>
            <pc:sldMk cId="4132730322" sldId="10412"/>
            <ac:spMk id="66" creationId="{D38BE0A7-2A65-4D05-BAB6-037FC84BEECE}"/>
          </ac:spMkLst>
        </pc:spChg>
        <pc:spChg chg="add del mod modVis">
          <ac:chgData name="Ugo MANTEL" userId="2d5b7065-31bb-4181-a7f8-a73bf0c30211" providerId="ADAL" clId="{9344D105-636D-4857-BD0F-AFC44A54BCCF}" dt="2021-05-25T14:05:21.040" v="25422"/>
          <ac:spMkLst>
            <pc:docMk/>
            <pc:sldMk cId="4132730322" sldId="10412"/>
            <ac:spMk id="67" creationId="{DBF8F25F-68B9-473F-95CC-9C503E8EF4B4}"/>
          </ac:spMkLst>
        </pc:spChg>
        <pc:spChg chg="add del mod modVis">
          <ac:chgData name="Ugo MANTEL" userId="2d5b7065-31bb-4181-a7f8-a73bf0c30211" providerId="ADAL" clId="{9344D105-636D-4857-BD0F-AFC44A54BCCF}" dt="2021-05-25T14:05:22.093" v="25469"/>
          <ac:spMkLst>
            <pc:docMk/>
            <pc:sldMk cId="4132730322" sldId="10412"/>
            <ac:spMk id="68" creationId="{C522D3A5-A712-4071-A250-4941E94E0D57}"/>
          </ac:spMkLst>
        </pc:spChg>
        <pc:spChg chg="add del mod modVis">
          <ac:chgData name="Ugo MANTEL" userId="2d5b7065-31bb-4181-a7f8-a73bf0c30211" providerId="ADAL" clId="{9344D105-636D-4857-BD0F-AFC44A54BCCF}" dt="2021-05-25T14:05:26.457" v="25513"/>
          <ac:spMkLst>
            <pc:docMk/>
            <pc:sldMk cId="4132730322" sldId="10412"/>
            <ac:spMk id="69" creationId="{13B71E42-9C8A-474C-9B56-148FFFFD0D7E}"/>
          </ac:spMkLst>
        </pc:spChg>
        <pc:spChg chg="add del mod modVis">
          <ac:chgData name="Ugo MANTEL" userId="2d5b7065-31bb-4181-a7f8-a73bf0c30211" providerId="ADAL" clId="{9344D105-636D-4857-BD0F-AFC44A54BCCF}" dt="2021-05-25T14:08:50.608" v="26536" actId="962"/>
          <ac:spMkLst>
            <pc:docMk/>
            <pc:sldMk cId="4132730322" sldId="10412"/>
            <ac:spMk id="70" creationId="{1A345A46-042B-4045-B1E0-9E86B8E11312}"/>
          </ac:spMkLst>
        </pc:spChg>
        <pc:spChg chg="add del mod modVis">
          <ac:chgData name="Ugo MANTEL" userId="2d5b7065-31bb-4181-a7f8-a73bf0c30211" providerId="ADAL" clId="{9344D105-636D-4857-BD0F-AFC44A54BCCF}" dt="2021-05-25T14:08:50.020" v="26493" actId="962"/>
          <ac:spMkLst>
            <pc:docMk/>
            <pc:sldMk cId="4132730322" sldId="10412"/>
            <ac:spMk id="71" creationId="{C9128CF7-22AD-4070-B398-FEE820E0F0AE}"/>
          </ac:spMkLst>
        </pc:spChg>
        <pc:spChg chg="add del mod modVis">
          <ac:chgData name="Ugo MANTEL" userId="2d5b7065-31bb-4181-a7f8-a73bf0c30211" providerId="ADAL" clId="{9344D105-636D-4857-BD0F-AFC44A54BCCF}" dt="2021-05-25T14:08:49.672" v="26450" actId="962"/>
          <ac:spMkLst>
            <pc:docMk/>
            <pc:sldMk cId="4132730322" sldId="10412"/>
            <ac:spMk id="72" creationId="{519DAE49-4B14-48BC-B3D7-6BEDE8B29641}"/>
          </ac:spMkLst>
        </pc:spChg>
        <pc:spChg chg="add del mod modVis">
          <ac:chgData name="Ugo MANTEL" userId="2d5b7065-31bb-4181-a7f8-a73bf0c30211" providerId="ADAL" clId="{9344D105-636D-4857-BD0F-AFC44A54BCCF}" dt="2021-05-25T14:08:48.825" v="26405" actId="962"/>
          <ac:spMkLst>
            <pc:docMk/>
            <pc:sldMk cId="4132730322" sldId="10412"/>
            <ac:spMk id="73" creationId="{3AF10884-BCB8-4F35-A204-6312E30C264E}"/>
          </ac:spMkLst>
        </pc:spChg>
        <pc:spChg chg="add del mod modVis">
          <ac:chgData name="Ugo MANTEL" userId="2d5b7065-31bb-4181-a7f8-a73bf0c30211" providerId="ADAL" clId="{9344D105-636D-4857-BD0F-AFC44A54BCCF}" dt="2021-05-25T14:08:48.438" v="26362" actId="962"/>
          <ac:spMkLst>
            <pc:docMk/>
            <pc:sldMk cId="4132730322" sldId="10412"/>
            <ac:spMk id="74" creationId="{0D7F0214-196F-419B-89F5-BFC3D32C6C92}"/>
          </ac:spMkLst>
        </pc:spChg>
        <pc:spChg chg="add del mod modVis">
          <ac:chgData name="Ugo MANTEL" userId="2d5b7065-31bb-4181-a7f8-a73bf0c30211" providerId="ADAL" clId="{9344D105-636D-4857-BD0F-AFC44A54BCCF}" dt="2021-05-25T14:08:48.010" v="26319" actId="962"/>
          <ac:spMkLst>
            <pc:docMk/>
            <pc:sldMk cId="4132730322" sldId="10412"/>
            <ac:spMk id="75" creationId="{4D276F9F-45BA-46BB-9E36-FA2FA11E26E3}"/>
          </ac:spMkLst>
        </pc:spChg>
        <pc:spChg chg="add del mod modVis">
          <ac:chgData name="Ugo MANTEL" userId="2d5b7065-31bb-4181-a7f8-a73bf0c30211" providerId="ADAL" clId="{9344D105-636D-4857-BD0F-AFC44A54BCCF}" dt="2021-05-25T14:08:47.616" v="26276" actId="962"/>
          <ac:spMkLst>
            <pc:docMk/>
            <pc:sldMk cId="4132730322" sldId="10412"/>
            <ac:spMk id="76" creationId="{435C988F-288E-45A0-8E38-CDBB96161D01}"/>
          </ac:spMkLst>
        </pc:spChg>
        <pc:spChg chg="add del mod modVis">
          <ac:chgData name="Ugo MANTEL" userId="2d5b7065-31bb-4181-a7f8-a73bf0c30211" providerId="ADAL" clId="{9344D105-636D-4857-BD0F-AFC44A54BCCF}" dt="2021-05-25T14:08:46.830" v="26233" actId="962"/>
          <ac:spMkLst>
            <pc:docMk/>
            <pc:sldMk cId="4132730322" sldId="10412"/>
            <ac:spMk id="77" creationId="{866AB300-15FC-455F-8D4F-4A35A1C29832}"/>
          </ac:spMkLst>
        </pc:spChg>
        <pc:spChg chg="add del mod modVis">
          <ac:chgData name="Ugo MANTEL" userId="2d5b7065-31bb-4181-a7f8-a73bf0c30211" providerId="ADAL" clId="{9344D105-636D-4857-BD0F-AFC44A54BCCF}" dt="2021-05-25T14:07:54.311" v="26002" actId="962"/>
          <ac:spMkLst>
            <pc:docMk/>
            <pc:sldMk cId="4132730322" sldId="10412"/>
            <ac:spMk id="78" creationId="{4B38D862-0B8F-4DB3-9723-61523A2D600C}"/>
          </ac:spMkLst>
        </pc:spChg>
        <pc:spChg chg="add del mod modVis">
          <ac:chgData name="Ugo MANTEL" userId="2d5b7065-31bb-4181-a7f8-a73bf0c30211" providerId="ADAL" clId="{9344D105-636D-4857-BD0F-AFC44A54BCCF}" dt="2021-05-25T14:08:46.366" v="26189" actId="962"/>
          <ac:spMkLst>
            <pc:docMk/>
            <pc:sldMk cId="4132730322" sldId="10412"/>
            <ac:spMk id="79" creationId="{72ED737F-D9E2-4565-B1DC-21D77F69A60B}"/>
          </ac:spMkLst>
        </pc:spChg>
        <pc:spChg chg="add del mod modVis">
          <ac:chgData name="Ugo MANTEL" userId="2d5b7065-31bb-4181-a7f8-a73bf0c30211" providerId="ADAL" clId="{9344D105-636D-4857-BD0F-AFC44A54BCCF}" dt="2021-05-25T14:08:45.920" v="26146" actId="962"/>
          <ac:spMkLst>
            <pc:docMk/>
            <pc:sldMk cId="4132730322" sldId="10412"/>
            <ac:spMk id="80" creationId="{278D4804-8D94-40F1-A164-994B92699AC8}"/>
          </ac:spMkLst>
        </pc:spChg>
        <pc:spChg chg="add del mod modVis">
          <ac:chgData name="Ugo MANTEL" userId="2d5b7065-31bb-4181-a7f8-a73bf0c30211" providerId="ADAL" clId="{9344D105-636D-4857-BD0F-AFC44A54BCCF}" dt="2021-05-25T14:09:16.618" v="26583"/>
          <ac:spMkLst>
            <pc:docMk/>
            <pc:sldMk cId="4132730322" sldId="10412"/>
            <ac:spMk id="81" creationId="{35CEA40C-46A0-4EA9-AFD0-F367D5816E4F}"/>
          </ac:spMkLst>
        </pc:spChg>
        <pc:spChg chg="add del mod modVis">
          <ac:chgData name="Ugo MANTEL" userId="2d5b7065-31bb-4181-a7f8-a73bf0c30211" providerId="ADAL" clId="{9344D105-636D-4857-BD0F-AFC44A54BCCF}" dt="2021-05-25T14:09:17.300" v="26627"/>
          <ac:spMkLst>
            <pc:docMk/>
            <pc:sldMk cId="4132730322" sldId="10412"/>
            <ac:spMk id="82" creationId="{CDE24510-AD36-480A-A88D-A5AABE9596CD}"/>
          </ac:spMkLst>
        </pc:spChg>
        <pc:spChg chg="add del mod modVis">
          <ac:chgData name="Ugo MANTEL" userId="2d5b7065-31bb-4181-a7f8-a73bf0c30211" providerId="ADAL" clId="{9344D105-636D-4857-BD0F-AFC44A54BCCF}" dt="2021-05-25T14:09:19.583" v="26678"/>
          <ac:spMkLst>
            <pc:docMk/>
            <pc:sldMk cId="4132730322" sldId="10412"/>
            <ac:spMk id="83" creationId="{AE75CB0C-39D1-4DB9-9928-59FE727F1AE7}"/>
          </ac:spMkLst>
        </pc:spChg>
        <pc:spChg chg="add del mod modVis">
          <ac:chgData name="Ugo MANTEL" userId="2d5b7065-31bb-4181-a7f8-a73bf0c30211" providerId="ADAL" clId="{9344D105-636D-4857-BD0F-AFC44A54BCCF}" dt="2021-05-25T14:09:21.191" v="26726"/>
          <ac:spMkLst>
            <pc:docMk/>
            <pc:sldMk cId="4132730322" sldId="10412"/>
            <ac:spMk id="84" creationId="{1AC0F983-0D2F-46BF-864E-BA99E152A93F}"/>
          </ac:spMkLst>
        </pc:spChg>
        <pc:spChg chg="add del mod modVis">
          <ac:chgData name="Ugo MANTEL" userId="2d5b7065-31bb-4181-a7f8-a73bf0c30211" providerId="ADAL" clId="{9344D105-636D-4857-BD0F-AFC44A54BCCF}" dt="2021-05-25T14:09:24.954" v="26781"/>
          <ac:spMkLst>
            <pc:docMk/>
            <pc:sldMk cId="4132730322" sldId="10412"/>
            <ac:spMk id="85" creationId="{4B30A313-416D-4567-A2F5-43DC83516BCD}"/>
          </ac:spMkLst>
        </pc:spChg>
        <pc:spChg chg="add del mod modVis">
          <ac:chgData name="Ugo MANTEL" userId="2d5b7065-31bb-4181-a7f8-a73bf0c30211" providerId="ADAL" clId="{9344D105-636D-4857-BD0F-AFC44A54BCCF}" dt="2021-05-25T14:09:42.938" v="26833"/>
          <ac:spMkLst>
            <pc:docMk/>
            <pc:sldMk cId="4132730322" sldId="10412"/>
            <ac:spMk id="86" creationId="{7DCE2514-E5F3-4CB3-A83B-4E6B68DA520C}"/>
          </ac:spMkLst>
        </pc:spChg>
        <pc:spChg chg="add del mod modVis">
          <ac:chgData name="Ugo MANTEL" userId="2d5b7065-31bb-4181-a7f8-a73bf0c30211" providerId="ADAL" clId="{9344D105-636D-4857-BD0F-AFC44A54BCCF}" dt="2021-05-25T14:09:44.397" v="26882"/>
          <ac:spMkLst>
            <pc:docMk/>
            <pc:sldMk cId="4132730322" sldId="10412"/>
            <ac:spMk id="87" creationId="{0CC32214-BEF3-47E0-BA6D-135D3900F3DC}"/>
          </ac:spMkLst>
        </pc:spChg>
        <pc:spChg chg="mod">
          <ac:chgData name="Ugo MANTEL" userId="2d5b7065-31bb-4181-a7f8-a73bf0c30211" providerId="ADAL" clId="{9344D105-636D-4857-BD0F-AFC44A54BCCF}" dt="2021-05-25T14:20:12.847" v="29576" actId="790"/>
          <ac:spMkLst>
            <pc:docMk/>
            <pc:sldMk cId="4132730322" sldId="10412"/>
            <ac:spMk id="88" creationId="{336D463B-B815-4500-8F61-78A091129044}"/>
          </ac:spMkLst>
        </pc:spChg>
        <pc:spChg chg="add del mod modVis">
          <ac:chgData name="Ugo MANTEL" userId="2d5b7065-31bb-4181-a7f8-a73bf0c30211" providerId="ADAL" clId="{9344D105-636D-4857-BD0F-AFC44A54BCCF}" dt="2021-05-25T14:09:46.266" v="26931"/>
          <ac:spMkLst>
            <pc:docMk/>
            <pc:sldMk cId="4132730322" sldId="10412"/>
            <ac:spMk id="89" creationId="{CA914C14-8591-4810-A6D4-5BD7418BDB84}"/>
          </ac:spMkLst>
        </pc:spChg>
        <pc:spChg chg="add del mod modVis">
          <ac:chgData name="Ugo MANTEL" userId="2d5b7065-31bb-4181-a7f8-a73bf0c30211" providerId="ADAL" clId="{9344D105-636D-4857-BD0F-AFC44A54BCCF}" dt="2021-05-25T14:09:48.878" v="26989"/>
          <ac:spMkLst>
            <pc:docMk/>
            <pc:sldMk cId="4132730322" sldId="10412"/>
            <ac:spMk id="90" creationId="{C5C21480-5BD9-4DFF-8C0B-AEB521E8DB2C}"/>
          </ac:spMkLst>
        </pc:spChg>
        <pc:spChg chg="add del mod modVis">
          <ac:chgData name="Ugo MANTEL" userId="2d5b7065-31bb-4181-a7f8-a73bf0c30211" providerId="ADAL" clId="{9344D105-636D-4857-BD0F-AFC44A54BCCF}" dt="2021-05-25T14:09:50.127" v="27037"/>
          <ac:spMkLst>
            <pc:docMk/>
            <pc:sldMk cId="4132730322" sldId="10412"/>
            <ac:spMk id="91" creationId="{D0B28D17-8919-4AE5-A4E4-86D776D0606B}"/>
          </ac:spMkLst>
        </pc:spChg>
        <pc:spChg chg="add del mod modVis">
          <ac:chgData name="Ugo MANTEL" userId="2d5b7065-31bb-4181-a7f8-a73bf0c30211" providerId="ADAL" clId="{9344D105-636D-4857-BD0F-AFC44A54BCCF}" dt="2021-05-25T14:09:56.123" v="27081"/>
          <ac:spMkLst>
            <pc:docMk/>
            <pc:sldMk cId="4132730322" sldId="10412"/>
            <ac:spMk id="92" creationId="{18AD9B99-060A-452D-A87F-E80E95E0205F}"/>
          </ac:spMkLst>
        </pc:spChg>
        <pc:spChg chg="add del mod modVis">
          <ac:chgData name="Ugo MANTEL" userId="2d5b7065-31bb-4181-a7f8-a73bf0c30211" providerId="ADAL" clId="{9344D105-636D-4857-BD0F-AFC44A54BCCF}" dt="2021-05-25T14:10:03.104" v="27125"/>
          <ac:spMkLst>
            <pc:docMk/>
            <pc:sldMk cId="4132730322" sldId="10412"/>
            <ac:spMk id="93" creationId="{6DCD4E57-3D74-4D32-9B4C-D9C6CADECBB5}"/>
          </ac:spMkLst>
        </pc:spChg>
        <pc:spChg chg="mod">
          <ac:chgData name="Ugo MANTEL" userId="2d5b7065-31bb-4181-a7f8-a73bf0c30211" providerId="ADAL" clId="{9344D105-636D-4857-BD0F-AFC44A54BCCF}" dt="2021-05-25T14:20:12.854" v="29586" actId="790"/>
          <ac:spMkLst>
            <pc:docMk/>
            <pc:sldMk cId="4132730322" sldId="10412"/>
            <ac:spMk id="96" creationId="{5BB653FA-7502-456B-9DD5-1867522D3A88}"/>
          </ac:spMkLst>
        </pc:spChg>
        <pc:spChg chg="mod">
          <ac:chgData name="Ugo MANTEL" userId="2d5b7065-31bb-4181-a7f8-a73bf0c30211" providerId="ADAL" clId="{9344D105-636D-4857-BD0F-AFC44A54BCCF}" dt="2021-05-25T14:20:12.863" v="29596" actId="790"/>
          <ac:spMkLst>
            <pc:docMk/>
            <pc:sldMk cId="4132730322" sldId="10412"/>
            <ac:spMk id="100" creationId="{EF6C7B41-C54E-4684-BB9A-36701E115EBF}"/>
          </ac:spMkLst>
        </pc:spChg>
        <pc:spChg chg="mod">
          <ac:chgData name="Ugo MANTEL" userId="2d5b7065-31bb-4181-a7f8-a73bf0c30211" providerId="ADAL" clId="{9344D105-636D-4857-BD0F-AFC44A54BCCF}" dt="2021-05-25T14:20:12.858" v="29590" actId="790"/>
          <ac:spMkLst>
            <pc:docMk/>
            <pc:sldMk cId="4132730322" sldId="10412"/>
            <ac:spMk id="107" creationId="{31D0AEAA-51DD-4312-8DD3-D5664A3B479D}"/>
          </ac:spMkLst>
        </pc:spChg>
        <pc:spChg chg="mod">
          <ac:chgData name="Ugo MANTEL" userId="2d5b7065-31bb-4181-a7f8-a73bf0c30211" providerId="ADAL" clId="{9344D105-636D-4857-BD0F-AFC44A54BCCF}" dt="2021-05-25T14:20:12.845" v="29573" actId="790"/>
          <ac:spMkLst>
            <pc:docMk/>
            <pc:sldMk cId="4132730322" sldId="10412"/>
            <ac:spMk id="108" creationId="{B4E79E7D-0395-4CE2-8F8E-F7FFDE4BA106}"/>
          </ac:spMkLst>
        </pc:spChg>
        <pc:spChg chg="add mod">
          <ac:chgData name="Ugo MANTEL" userId="2d5b7065-31bb-4181-a7f8-a73bf0c30211" providerId="ADAL" clId="{9344D105-636D-4857-BD0F-AFC44A54BCCF}" dt="2021-05-25T14:20:12.893" v="29618" actId="790"/>
          <ac:spMkLst>
            <pc:docMk/>
            <pc:sldMk cId="4132730322" sldId="10412"/>
            <ac:spMk id="117" creationId="{7323A752-E561-4CB5-87BC-FA95948E9BEC}"/>
          </ac:spMkLst>
        </pc:spChg>
        <pc:spChg chg="mod">
          <ac:chgData name="Ugo MANTEL" userId="2d5b7065-31bb-4181-a7f8-a73bf0c30211" providerId="ADAL" clId="{9344D105-636D-4857-BD0F-AFC44A54BCCF}" dt="2021-05-25T14:20:12.850" v="29580" actId="790"/>
          <ac:spMkLst>
            <pc:docMk/>
            <pc:sldMk cId="4132730322" sldId="10412"/>
            <ac:spMk id="118" creationId="{9C628BA4-96DA-46D9-A80B-01A518CA0E39}"/>
          </ac:spMkLst>
        </pc:spChg>
        <pc:spChg chg="mod">
          <ac:chgData name="Ugo MANTEL" userId="2d5b7065-31bb-4181-a7f8-a73bf0c30211" providerId="ADAL" clId="{9344D105-636D-4857-BD0F-AFC44A54BCCF}" dt="2021-05-25T14:20:12.849" v="29578" actId="790"/>
          <ac:spMkLst>
            <pc:docMk/>
            <pc:sldMk cId="4132730322" sldId="10412"/>
            <ac:spMk id="119" creationId="{EEF55E94-FD53-41D7-A423-6B56C40D88A1}"/>
          </ac:spMkLst>
        </pc:spChg>
        <pc:spChg chg="mod">
          <ac:chgData name="Ugo MANTEL" userId="2d5b7065-31bb-4181-a7f8-a73bf0c30211" providerId="ADAL" clId="{9344D105-636D-4857-BD0F-AFC44A54BCCF}" dt="2021-05-25T14:20:12.854" v="29585" actId="790"/>
          <ac:spMkLst>
            <pc:docMk/>
            <pc:sldMk cId="4132730322" sldId="10412"/>
            <ac:spMk id="120" creationId="{697B9F9F-BFD2-4BBC-A2BC-06F0D17B4298}"/>
          </ac:spMkLst>
        </pc:spChg>
        <pc:spChg chg="mod">
          <ac:chgData name="Ugo MANTEL" userId="2d5b7065-31bb-4181-a7f8-a73bf0c30211" providerId="ADAL" clId="{9344D105-636D-4857-BD0F-AFC44A54BCCF}" dt="2021-05-25T14:20:12.853" v="29584" actId="790"/>
          <ac:spMkLst>
            <pc:docMk/>
            <pc:sldMk cId="4132730322" sldId="10412"/>
            <ac:spMk id="122" creationId="{7ED4A8D8-06EE-4620-B65B-5E3B52A3ABAE}"/>
          </ac:spMkLst>
        </pc:spChg>
        <pc:spChg chg="mod">
          <ac:chgData name="Ugo MANTEL" userId="2d5b7065-31bb-4181-a7f8-a73bf0c30211" providerId="ADAL" clId="{9344D105-636D-4857-BD0F-AFC44A54BCCF}" dt="2021-05-25T14:20:12.855" v="29587" actId="790"/>
          <ac:spMkLst>
            <pc:docMk/>
            <pc:sldMk cId="4132730322" sldId="10412"/>
            <ac:spMk id="123" creationId="{CCD5F39F-64EB-4F4E-BE6B-002C617492EF}"/>
          </ac:spMkLst>
        </pc:spChg>
        <pc:spChg chg="add mod">
          <ac:chgData name="Ugo MANTEL" userId="2d5b7065-31bb-4181-a7f8-a73bf0c30211" providerId="ADAL" clId="{9344D105-636D-4857-BD0F-AFC44A54BCCF}" dt="2021-05-25T14:20:12.894" v="29619" actId="790"/>
          <ac:spMkLst>
            <pc:docMk/>
            <pc:sldMk cId="4132730322" sldId="10412"/>
            <ac:spMk id="124" creationId="{E0D47348-BFE8-418A-B016-501C8F70191D}"/>
          </ac:spMkLst>
        </pc:spChg>
        <pc:spChg chg="mod">
          <ac:chgData name="Ugo MANTEL" userId="2d5b7065-31bb-4181-a7f8-a73bf0c30211" providerId="ADAL" clId="{9344D105-636D-4857-BD0F-AFC44A54BCCF}" dt="2021-05-25T14:20:12.872" v="29601" actId="790"/>
          <ac:spMkLst>
            <pc:docMk/>
            <pc:sldMk cId="4132730322" sldId="10412"/>
            <ac:spMk id="125" creationId="{D74D7498-92CD-485E-B64F-458B030E1CC2}"/>
          </ac:spMkLst>
        </pc:spChg>
        <pc:spChg chg="add del mod">
          <ac:chgData name="Ugo MANTEL" userId="2d5b7065-31bb-4181-a7f8-a73bf0c30211" providerId="ADAL" clId="{9344D105-636D-4857-BD0F-AFC44A54BCCF}" dt="2021-05-24T15:01:09.137" v="8720" actId="478"/>
          <ac:spMkLst>
            <pc:docMk/>
            <pc:sldMk cId="4132730322" sldId="10412"/>
            <ac:spMk id="126" creationId="{8400307C-3547-4325-9D81-56426D6ADCE7}"/>
          </ac:spMkLst>
        </pc:spChg>
        <pc:spChg chg="add mod">
          <ac:chgData name="Ugo MANTEL" userId="2d5b7065-31bb-4181-a7f8-a73bf0c30211" providerId="ADAL" clId="{9344D105-636D-4857-BD0F-AFC44A54BCCF}" dt="2021-05-25T14:20:12.895" v="29620" actId="790"/>
          <ac:spMkLst>
            <pc:docMk/>
            <pc:sldMk cId="4132730322" sldId="10412"/>
            <ac:spMk id="142" creationId="{B7EB0D52-8CBD-44A8-B259-5F115C19A491}"/>
          </ac:spMkLst>
        </pc:spChg>
        <pc:spChg chg="add mod">
          <ac:chgData name="Ugo MANTEL" userId="2d5b7065-31bb-4181-a7f8-a73bf0c30211" providerId="ADAL" clId="{9344D105-636D-4857-BD0F-AFC44A54BCCF}" dt="2021-05-25T14:20:12.895" v="29621" actId="790"/>
          <ac:spMkLst>
            <pc:docMk/>
            <pc:sldMk cId="4132730322" sldId="10412"/>
            <ac:spMk id="143" creationId="{6B5CE2D5-BDAF-4C2C-BA94-C9C82647B971}"/>
          </ac:spMkLst>
        </pc:spChg>
        <pc:spChg chg="add del mod">
          <ac:chgData name="Ugo MANTEL" userId="2d5b7065-31bb-4181-a7f8-a73bf0c30211" providerId="ADAL" clId="{9344D105-636D-4857-BD0F-AFC44A54BCCF}" dt="2021-05-24T15:01:09.137" v="8720" actId="478"/>
          <ac:spMkLst>
            <pc:docMk/>
            <pc:sldMk cId="4132730322" sldId="10412"/>
            <ac:spMk id="145" creationId="{0AB151BE-887C-4489-81A9-7ADB1B683619}"/>
          </ac:spMkLst>
        </pc:spChg>
        <pc:spChg chg="mod">
          <ac:chgData name="Ugo MANTEL" userId="2d5b7065-31bb-4181-a7f8-a73bf0c30211" providerId="ADAL" clId="{9344D105-636D-4857-BD0F-AFC44A54BCCF}" dt="2021-05-25T14:20:12.886" v="29616" actId="790"/>
          <ac:spMkLst>
            <pc:docMk/>
            <pc:sldMk cId="4132730322" sldId="10412"/>
            <ac:spMk id="154" creationId="{A7269958-7FC5-479F-B17B-49D115F118B6}"/>
          </ac:spMkLst>
        </pc:spChg>
        <pc:spChg chg="mod">
          <ac:chgData name="Ugo MANTEL" userId="2d5b7065-31bb-4181-a7f8-a73bf0c30211" providerId="ADAL" clId="{9344D105-636D-4857-BD0F-AFC44A54BCCF}" dt="2021-05-25T14:20:12.891" v="29617" actId="790"/>
          <ac:spMkLst>
            <pc:docMk/>
            <pc:sldMk cId="4132730322" sldId="10412"/>
            <ac:spMk id="161" creationId="{2225136D-99B3-484E-802C-7FC6DAD3D7E7}"/>
          </ac:spMkLst>
        </pc:spChg>
        <pc:spChg chg="mod">
          <ac:chgData name="Ugo MANTEL" userId="2d5b7065-31bb-4181-a7f8-a73bf0c30211" providerId="ADAL" clId="{9344D105-636D-4857-BD0F-AFC44A54BCCF}" dt="2021-05-25T14:20:12.871" v="29599" actId="790"/>
          <ac:spMkLst>
            <pc:docMk/>
            <pc:sldMk cId="4132730322" sldId="10412"/>
            <ac:spMk id="165" creationId="{C389F3EC-7313-454E-9942-F14FD0BD4C77}"/>
          </ac:spMkLst>
        </pc:spChg>
        <pc:spChg chg="mod">
          <ac:chgData name="Ugo MANTEL" userId="2d5b7065-31bb-4181-a7f8-a73bf0c30211" providerId="ADAL" clId="{9344D105-636D-4857-BD0F-AFC44A54BCCF}" dt="2021-05-25T14:20:12.877" v="29608" actId="790"/>
          <ac:spMkLst>
            <pc:docMk/>
            <pc:sldMk cId="4132730322" sldId="10412"/>
            <ac:spMk id="166" creationId="{A3938D6F-1923-42FF-B2ED-6C2BEA79BA03}"/>
          </ac:spMkLst>
        </pc:spChg>
        <pc:spChg chg="mod">
          <ac:chgData name="Ugo MANTEL" userId="2d5b7065-31bb-4181-a7f8-a73bf0c30211" providerId="ADAL" clId="{9344D105-636D-4857-BD0F-AFC44A54BCCF}" dt="2021-05-25T14:20:12.857" v="29589" actId="790"/>
          <ac:spMkLst>
            <pc:docMk/>
            <pc:sldMk cId="4132730322" sldId="10412"/>
            <ac:spMk id="168" creationId="{C423BD9F-9E4A-46B8-89D7-67C1FE84B168}"/>
          </ac:spMkLst>
        </pc:spChg>
        <pc:spChg chg="mod">
          <ac:chgData name="Ugo MANTEL" userId="2d5b7065-31bb-4181-a7f8-a73bf0c30211" providerId="ADAL" clId="{9344D105-636D-4857-BD0F-AFC44A54BCCF}" dt="2021-05-25T14:20:12.845" v="29574" actId="790"/>
          <ac:spMkLst>
            <pc:docMk/>
            <pc:sldMk cId="4132730322" sldId="10412"/>
            <ac:spMk id="169" creationId="{7881ABC3-A97B-4E90-939F-E48D9595FFFF}"/>
          </ac:spMkLst>
        </pc:spChg>
        <pc:spChg chg="mod">
          <ac:chgData name="Ugo MANTEL" userId="2d5b7065-31bb-4181-a7f8-a73bf0c30211" providerId="ADAL" clId="{9344D105-636D-4857-BD0F-AFC44A54BCCF}" dt="2021-05-25T14:20:12.850" v="29579" actId="790"/>
          <ac:spMkLst>
            <pc:docMk/>
            <pc:sldMk cId="4132730322" sldId="10412"/>
            <ac:spMk id="170" creationId="{A886CA56-9620-415B-9489-A004AB6EB706}"/>
          </ac:spMkLst>
        </pc:spChg>
        <pc:spChg chg="mod">
          <ac:chgData name="Ugo MANTEL" userId="2d5b7065-31bb-4181-a7f8-a73bf0c30211" providerId="ADAL" clId="{9344D105-636D-4857-BD0F-AFC44A54BCCF}" dt="2021-05-25T14:20:12.872" v="29600" actId="790"/>
          <ac:spMkLst>
            <pc:docMk/>
            <pc:sldMk cId="4132730322" sldId="10412"/>
            <ac:spMk id="171" creationId="{BCC6DEFD-6FEB-4777-9432-E3B2F5C51000}"/>
          </ac:spMkLst>
        </pc:spChg>
        <pc:spChg chg="mod">
          <ac:chgData name="Ugo MANTEL" userId="2d5b7065-31bb-4181-a7f8-a73bf0c30211" providerId="ADAL" clId="{9344D105-636D-4857-BD0F-AFC44A54BCCF}" dt="2021-05-25T14:20:12.878" v="29609" actId="790"/>
          <ac:spMkLst>
            <pc:docMk/>
            <pc:sldMk cId="4132730322" sldId="10412"/>
            <ac:spMk id="172" creationId="{04568322-5012-422B-991D-C9A4712E25C9}"/>
          </ac:spMkLst>
        </pc:spChg>
        <pc:spChg chg="add mod">
          <ac:chgData name="Ugo MANTEL" userId="2d5b7065-31bb-4181-a7f8-a73bf0c30211" providerId="ADAL" clId="{9344D105-636D-4857-BD0F-AFC44A54BCCF}" dt="2021-05-25T14:20:12.896" v="29622" actId="790"/>
          <ac:spMkLst>
            <pc:docMk/>
            <pc:sldMk cId="4132730322" sldId="10412"/>
            <ac:spMk id="173" creationId="{12CF5400-8130-4C36-8441-6F18A54EAB6C}"/>
          </ac:spMkLst>
        </pc:spChg>
        <pc:spChg chg="add mod">
          <ac:chgData name="Ugo MANTEL" userId="2d5b7065-31bb-4181-a7f8-a73bf0c30211" providerId="ADAL" clId="{9344D105-636D-4857-BD0F-AFC44A54BCCF}" dt="2021-05-25T14:20:12.897" v="29623" actId="790"/>
          <ac:spMkLst>
            <pc:docMk/>
            <pc:sldMk cId="4132730322" sldId="10412"/>
            <ac:spMk id="174" creationId="{E456CD77-671C-432C-92EF-A57CEC085AB9}"/>
          </ac:spMkLst>
        </pc:spChg>
        <pc:spChg chg="add del mod">
          <ac:chgData name="Ugo MANTEL" userId="2d5b7065-31bb-4181-a7f8-a73bf0c30211" providerId="ADAL" clId="{9344D105-636D-4857-BD0F-AFC44A54BCCF}" dt="2021-05-24T15:07:13.603" v="8739" actId="478"/>
          <ac:spMkLst>
            <pc:docMk/>
            <pc:sldMk cId="4132730322" sldId="10412"/>
            <ac:spMk id="175" creationId="{8EC9C973-EC3C-4C8A-89FE-29CA152DD360}"/>
          </ac:spMkLst>
        </pc:spChg>
        <pc:spChg chg="add del mod">
          <ac:chgData name="Ugo MANTEL" userId="2d5b7065-31bb-4181-a7f8-a73bf0c30211" providerId="ADAL" clId="{9344D105-636D-4857-BD0F-AFC44A54BCCF}" dt="2021-05-24T15:07:13.603" v="8739" actId="478"/>
          <ac:spMkLst>
            <pc:docMk/>
            <pc:sldMk cId="4132730322" sldId="10412"/>
            <ac:spMk id="177" creationId="{A0BAEA82-4985-4FBE-8201-1889B0048EBC}"/>
          </ac:spMkLst>
        </pc:spChg>
        <pc:spChg chg="add del mod">
          <ac:chgData name="Ugo MANTEL" userId="2d5b7065-31bb-4181-a7f8-a73bf0c30211" providerId="ADAL" clId="{9344D105-636D-4857-BD0F-AFC44A54BCCF}" dt="2021-05-24T15:07:13.603" v="8739" actId="478"/>
          <ac:spMkLst>
            <pc:docMk/>
            <pc:sldMk cId="4132730322" sldId="10412"/>
            <ac:spMk id="178" creationId="{E684BE0F-30ED-4CAB-B957-1FC8E79284ED}"/>
          </ac:spMkLst>
        </pc:spChg>
        <pc:spChg chg="add mod">
          <ac:chgData name="Ugo MANTEL" userId="2d5b7065-31bb-4181-a7f8-a73bf0c30211" providerId="ADAL" clId="{9344D105-636D-4857-BD0F-AFC44A54BCCF}" dt="2021-05-25T14:20:12.898" v="29624" actId="790"/>
          <ac:spMkLst>
            <pc:docMk/>
            <pc:sldMk cId="4132730322" sldId="10412"/>
            <ac:spMk id="179" creationId="{4CCDD4FF-C268-44FF-854A-367865EF23F4}"/>
          </ac:spMkLst>
        </pc:spChg>
        <pc:spChg chg="add mod">
          <ac:chgData name="Ugo MANTEL" userId="2d5b7065-31bb-4181-a7f8-a73bf0c30211" providerId="ADAL" clId="{9344D105-636D-4857-BD0F-AFC44A54BCCF}" dt="2021-05-25T14:20:12.899" v="29625" actId="790"/>
          <ac:spMkLst>
            <pc:docMk/>
            <pc:sldMk cId="4132730322" sldId="10412"/>
            <ac:spMk id="180" creationId="{6216DA4C-BFB7-439F-9097-8EDF1DDFEAAE}"/>
          </ac:spMkLst>
        </pc:spChg>
        <pc:spChg chg="add mod">
          <ac:chgData name="Ugo MANTEL" userId="2d5b7065-31bb-4181-a7f8-a73bf0c30211" providerId="ADAL" clId="{9344D105-636D-4857-BD0F-AFC44A54BCCF}" dt="2021-05-25T14:20:12.899" v="29626" actId="790"/>
          <ac:spMkLst>
            <pc:docMk/>
            <pc:sldMk cId="4132730322" sldId="10412"/>
            <ac:spMk id="181" creationId="{C3DA98EC-EFF8-4F41-AB2A-0CC5B5635747}"/>
          </ac:spMkLst>
        </pc:spChg>
        <pc:spChg chg="del">
          <ac:chgData name="Ugo MANTEL" userId="2d5b7065-31bb-4181-a7f8-a73bf0c30211" providerId="ADAL" clId="{9344D105-636D-4857-BD0F-AFC44A54BCCF}" dt="2021-05-25T14:14:32.646" v="27320" actId="478"/>
          <ac:spMkLst>
            <pc:docMk/>
            <pc:sldMk cId="4132730322" sldId="10412"/>
            <ac:spMk id="190" creationId="{80FB9A68-8543-4E87-9333-0CD3831C6B87}"/>
          </ac:spMkLst>
        </pc:spChg>
        <pc:spChg chg="del">
          <ac:chgData name="Ugo MANTEL" userId="2d5b7065-31bb-4181-a7f8-a73bf0c30211" providerId="ADAL" clId="{9344D105-636D-4857-BD0F-AFC44A54BCCF}" dt="2021-05-25T14:14:32.646" v="27320" actId="478"/>
          <ac:spMkLst>
            <pc:docMk/>
            <pc:sldMk cId="4132730322" sldId="10412"/>
            <ac:spMk id="191" creationId="{AAAF38BB-9E2A-4BC9-83CA-69A43B1ABBB3}"/>
          </ac:spMkLst>
        </pc:spChg>
        <pc:spChg chg="add del mod">
          <ac:chgData name="Ugo MANTEL" userId="2d5b7065-31bb-4181-a7f8-a73bf0c30211" providerId="ADAL" clId="{9344D105-636D-4857-BD0F-AFC44A54BCCF}" dt="2021-05-25T14:14:32.646" v="27320" actId="478"/>
          <ac:spMkLst>
            <pc:docMk/>
            <pc:sldMk cId="4132730322" sldId="10412"/>
            <ac:spMk id="193" creationId="{92114B95-E132-4277-B3F6-FF246DBE04AD}"/>
          </ac:spMkLst>
        </pc:spChg>
        <pc:spChg chg="mod">
          <ac:chgData name="Ugo MANTEL" userId="2d5b7065-31bb-4181-a7f8-a73bf0c30211" providerId="ADAL" clId="{9344D105-636D-4857-BD0F-AFC44A54BCCF}" dt="2021-05-25T14:14:37.628" v="27321"/>
          <ac:spMkLst>
            <pc:docMk/>
            <pc:sldMk cId="4132730322" sldId="10412"/>
            <ac:spMk id="196" creationId="{6DD8D695-74B5-4DAC-ABDF-D9C66C48E5C3}"/>
          </ac:spMkLst>
        </pc:spChg>
        <pc:spChg chg="mod">
          <ac:chgData name="Ugo MANTEL" userId="2d5b7065-31bb-4181-a7f8-a73bf0c30211" providerId="ADAL" clId="{9344D105-636D-4857-BD0F-AFC44A54BCCF}" dt="2021-05-25T14:20:12.884" v="29612" actId="790"/>
          <ac:spMkLst>
            <pc:docMk/>
            <pc:sldMk cId="4132730322" sldId="10412"/>
            <ac:spMk id="197" creationId="{EB1ED8EE-1371-4F31-B475-A7FD22F01C88}"/>
          </ac:spMkLst>
        </pc:spChg>
        <pc:spChg chg="mod">
          <ac:chgData name="Ugo MANTEL" userId="2d5b7065-31bb-4181-a7f8-a73bf0c30211" providerId="ADAL" clId="{9344D105-636D-4857-BD0F-AFC44A54BCCF}" dt="2021-05-25T14:14:37.628" v="27321"/>
          <ac:spMkLst>
            <pc:docMk/>
            <pc:sldMk cId="4132730322" sldId="10412"/>
            <ac:spMk id="198" creationId="{770C464F-72D7-4007-9FE7-4EEA85B2494B}"/>
          </ac:spMkLst>
        </pc:spChg>
        <pc:spChg chg="mod">
          <ac:chgData name="Ugo MANTEL" userId="2d5b7065-31bb-4181-a7f8-a73bf0c30211" providerId="ADAL" clId="{9344D105-636D-4857-BD0F-AFC44A54BCCF}" dt="2021-05-25T14:14:37.628" v="27321"/>
          <ac:spMkLst>
            <pc:docMk/>
            <pc:sldMk cId="4132730322" sldId="10412"/>
            <ac:spMk id="200" creationId="{4EEC8F18-C04D-4454-AF07-ADDDC0144841}"/>
          </ac:spMkLst>
        </pc:spChg>
        <pc:spChg chg="mod">
          <ac:chgData name="Ugo MANTEL" userId="2d5b7065-31bb-4181-a7f8-a73bf0c30211" providerId="ADAL" clId="{9344D105-636D-4857-BD0F-AFC44A54BCCF}" dt="2021-05-25T14:14:37.628" v="27321"/>
          <ac:spMkLst>
            <pc:docMk/>
            <pc:sldMk cId="4132730322" sldId="10412"/>
            <ac:spMk id="201" creationId="{ED296708-3CF9-4504-A5E2-F39C50898952}"/>
          </ac:spMkLst>
        </pc:spChg>
        <pc:spChg chg="add mod">
          <ac:chgData name="Ugo MANTEL" userId="2d5b7065-31bb-4181-a7f8-a73bf0c30211" providerId="ADAL" clId="{9344D105-636D-4857-BD0F-AFC44A54BCCF}" dt="2021-05-25T14:20:12.901" v="29627" actId="790"/>
          <ac:spMkLst>
            <pc:docMk/>
            <pc:sldMk cId="4132730322" sldId="10412"/>
            <ac:spMk id="202" creationId="{F355F73C-0E5E-4BC7-9772-9DD860FFE1B6}"/>
          </ac:spMkLst>
        </pc:spChg>
        <pc:spChg chg="add mod">
          <ac:chgData name="Ugo MANTEL" userId="2d5b7065-31bb-4181-a7f8-a73bf0c30211" providerId="ADAL" clId="{9344D105-636D-4857-BD0F-AFC44A54BCCF}" dt="2021-05-25T14:20:12.902" v="29628" actId="790"/>
          <ac:spMkLst>
            <pc:docMk/>
            <pc:sldMk cId="4132730322" sldId="10412"/>
            <ac:spMk id="203" creationId="{C5FB3B98-C887-42AC-8D12-DACBCE12E33D}"/>
          </ac:spMkLst>
        </pc:spChg>
        <pc:spChg chg="add mod">
          <ac:chgData name="Ugo MANTEL" userId="2d5b7065-31bb-4181-a7f8-a73bf0c30211" providerId="ADAL" clId="{9344D105-636D-4857-BD0F-AFC44A54BCCF}" dt="2021-05-25T14:20:12.903" v="29629" actId="790"/>
          <ac:spMkLst>
            <pc:docMk/>
            <pc:sldMk cId="4132730322" sldId="10412"/>
            <ac:spMk id="205" creationId="{FDE17A58-F422-4589-BB5B-0888BD9236AE}"/>
          </ac:spMkLst>
        </pc:spChg>
        <pc:spChg chg="mod">
          <ac:chgData name="Ugo MANTEL" userId="2d5b7065-31bb-4181-a7f8-a73bf0c30211" providerId="ADAL" clId="{9344D105-636D-4857-BD0F-AFC44A54BCCF}" dt="2021-05-25T14:20:12.884" v="29613" actId="790"/>
          <ac:spMkLst>
            <pc:docMk/>
            <pc:sldMk cId="4132730322" sldId="10412"/>
            <ac:spMk id="212" creationId="{F492C173-DFD6-47CF-9BB4-C8925127E1EE}"/>
          </ac:spMkLst>
        </pc:spChg>
        <pc:spChg chg="mod">
          <ac:chgData name="Ugo MANTEL" userId="2d5b7065-31bb-4181-a7f8-a73bf0c30211" providerId="ADAL" clId="{9344D105-636D-4857-BD0F-AFC44A54BCCF}" dt="2021-05-25T14:20:12.870" v="29597" actId="790"/>
          <ac:spMkLst>
            <pc:docMk/>
            <pc:sldMk cId="4132730322" sldId="10412"/>
            <ac:spMk id="1031" creationId="{A3845A5C-C65F-4C44-AE3B-D3285DF51268}"/>
          </ac:spMkLst>
        </pc:spChg>
        <pc:spChg chg="mod">
          <ac:chgData name="Ugo MANTEL" userId="2d5b7065-31bb-4181-a7f8-a73bf0c30211" providerId="ADAL" clId="{9344D105-636D-4857-BD0F-AFC44A54BCCF}" dt="2021-05-25T14:20:12.876" v="29607" actId="790"/>
          <ac:spMkLst>
            <pc:docMk/>
            <pc:sldMk cId="4132730322" sldId="10412"/>
            <ac:spMk id="1035" creationId="{9164A53F-4711-41A4-BE3D-8D2F4243A495}"/>
          </ac:spMkLst>
        </pc:spChg>
        <pc:spChg chg="mod">
          <ac:chgData name="Ugo MANTEL" userId="2d5b7065-31bb-4181-a7f8-a73bf0c30211" providerId="ADAL" clId="{9344D105-636D-4857-BD0F-AFC44A54BCCF}" dt="2021-05-25T14:20:12.873" v="29602" actId="790"/>
          <ac:spMkLst>
            <pc:docMk/>
            <pc:sldMk cId="4132730322" sldId="10412"/>
            <ac:spMk id="4107" creationId="{EBC573C8-C4E3-432A-81F7-B99236DF594A}"/>
          </ac:spMkLst>
        </pc:spChg>
        <pc:grpChg chg="del">
          <ac:chgData name="Ugo MANTEL" userId="2d5b7065-31bb-4181-a7f8-a73bf0c30211" providerId="ADAL" clId="{9344D105-636D-4857-BD0F-AFC44A54BCCF}" dt="2021-05-25T14:14:32.646" v="27320" actId="478"/>
          <ac:grpSpMkLst>
            <pc:docMk/>
            <pc:sldMk cId="4132730322" sldId="10412"/>
            <ac:grpSpMk id="184" creationId="{00C04570-6B6A-4163-BD9F-11142CC63CFC}"/>
          </ac:grpSpMkLst>
        </pc:grpChg>
        <pc:grpChg chg="del">
          <ac:chgData name="Ugo MANTEL" userId="2d5b7065-31bb-4181-a7f8-a73bf0c30211" providerId="ADAL" clId="{9344D105-636D-4857-BD0F-AFC44A54BCCF}" dt="2021-05-25T14:14:32.646" v="27320" actId="478"/>
          <ac:grpSpMkLst>
            <pc:docMk/>
            <pc:sldMk cId="4132730322" sldId="10412"/>
            <ac:grpSpMk id="187" creationId="{52FD1688-6157-43A5-AA77-ABFC04F2912C}"/>
          </ac:grpSpMkLst>
        </pc:grpChg>
        <pc:grpChg chg="add mod">
          <ac:chgData name="Ugo MANTEL" userId="2d5b7065-31bb-4181-a7f8-a73bf0c30211" providerId="ADAL" clId="{9344D105-636D-4857-BD0F-AFC44A54BCCF}" dt="2021-05-25T14:14:37.628" v="27321"/>
          <ac:grpSpMkLst>
            <pc:docMk/>
            <pc:sldMk cId="4132730322" sldId="10412"/>
            <ac:grpSpMk id="195" creationId="{6BE2595E-D45F-48B5-9A15-AB542E2F800C}"/>
          </ac:grpSpMkLst>
        </pc:grpChg>
        <pc:grpChg chg="add mod">
          <ac:chgData name="Ugo MANTEL" userId="2d5b7065-31bb-4181-a7f8-a73bf0c30211" providerId="ADAL" clId="{9344D105-636D-4857-BD0F-AFC44A54BCCF}" dt="2021-05-25T14:14:37.628" v="27321"/>
          <ac:grpSpMkLst>
            <pc:docMk/>
            <pc:sldMk cId="4132730322" sldId="10412"/>
            <ac:grpSpMk id="199" creationId="{C6F0D3D8-7354-4581-A6C8-1525CBFCB201}"/>
          </ac:grpSpMkLst>
        </pc:grpChg>
        <pc:graphicFrameChg chg="mod">
          <ac:chgData name="Ugo MANTEL" userId="2d5b7065-31bb-4181-a7f8-a73bf0c30211" providerId="ADAL" clId="{9344D105-636D-4857-BD0F-AFC44A54BCCF}" dt="2021-05-25T14:10:03.105" v="27127"/>
          <ac:graphicFrameMkLst>
            <pc:docMk/>
            <pc:sldMk cId="4132730322" sldId="10412"/>
            <ac:graphicFrameMk id="17" creationId="{FF44A7FF-DA1D-48E9-88AF-BFA57A1D74D1}"/>
          </ac:graphicFrameMkLst>
        </pc:graphicFrameChg>
        <pc:picChg chg="add mod">
          <ac:chgData name="Ugo MANTEL" userId="2d5b7065-31bb-4181-a7f8-a73bf0c30211" providerId="ADAL" clId="{9344D105-636D-4857-BD0F-AFC44A54BCCF}" dt="2021-05-25T11:13:58.881" v="17162"/>
          <ac:picMkLst>
            <pc:docMk/>
            <pc:sldMk cId="4132730322" sldId="10412"/>
            <ac:picMk id="126" creationId="{1D9474D7-EC4F-47FB-A702-F2D0539F5BFD}"/>
          </ac:picMkLst>
        </pc:picChg>
        <pc:picChg chg="add del mod">
          <ac:chgData name="Ugo MANTEL" userId="2d5b7065-31bb-4181-a7f8-a73bf0c30211" providerId="ADAL" clId="{9344D105-636D-4857-BD0F-AFC44A54BCCF}" dt="2021-05-25T14:14:32.646" v="27320" actId="478"/>
          <ac:picMkLst>
            <pc:docMk/>
            <pc:sldMk cId="4132730322" sldId="10412"/>
            <ac:picMk id="192" creationId="{4DBFE405-670B-43D4-AF5E-C2A8485BD25C}"/>
          </ac:picMkLst>
        </pc:picChg>
        <pc:picChg chg="add mod">
          <ac:chgData name="Ugo MANTEL" userId="2d5b7065-31bb-4181-a7f8-a73bf0c30211" providerId="ADAL" clId="{9344D105-636D-4857-BD0F-AFC44A54BCCF}" dt="2021-05-25T14:14:30.576" v="27319" actId="1076"/>
          <ac:picMkLst>
            <pc:docMk/>
            <pc:sldMk cId="4132730322" sldId="10412"/>
            <ac:picMk id="194" creationId="{2C85D01F-3077-42C9-BE1D-22A20A1A74AF}"/>
          </ac:picMkLst>
        </pc:picChg>
        <pc:picChg chg="add mod">
          <ac:chgData name="Ugo MANTEL" userId="2d5b7065-31bb-4181-a7f8-a73bf0c30211" providerId="ADAL" clId="{9344D105-636D-4857-BD0F-AFC44A54BCCF}" dt="2021-05-25T14:14:37.628" v="27321"/>
          <ac:picMkLst>
            <pc:docMk/>
            <pc:sldMk cId="4132730322" sldId="10412"/>
            <ac:picMk id="204" creationId="{F2BE4B75-EB6D-4D2C-B819-BB7402F2B8B6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4:20:11.123" v="27784" actId="790"/>
        <pc:sldMkLst>
          <pc:docMk/>
          <pc:sldMk cId="3463901835" sldId="10414"/>
        </pc:sldMkLst>
        <pc:spChg chg="mod">
          <ac:chgData name="Ugo MANTEL" userId="2d5b7065-31bb-4181-a7f8-a73bf0c30211" providerId="ADAL" clId="{9344D105-636D-4857-BD0F-AFC44A54BCCF}" dt="2021-05-25T14:20:11.077" v="27719" actId="790"/>
          <ac:spMkLst>
            <pc:docMk/>
            <pc:sldMk cId="3463901835" sldId="10414"/>
            <ac:spMk id="2" creationId="{6141F854-3009-40D7-9038-56590105A49E}"/>
          </ac:spMkLst>
        </pc:spChg>
        <pc:spChg chg="mod">
          <ac:chgData name="Ugo MANTEL" userId="2d5b7065-31bb-4181-a7f8-a73bf0c30211" providerId="ADAL" clId="{9344D105-636D-4857-BD0F-AFC44A54BCCF}" dt="2021-05-25T14:20:11.093" v="27741" actId="790"/>
          <ac:spMkLst>
            <pc:docMk/>
            <pc:sldMk cId="3463901835" sldId="10414"/>
            <ac:spMk id="3" creationId="{560625DF-BB9A-476B-B434-FFCE76A905DE}"/>
          </ac:spMkLst>
        </pc:spChg>
        <pc:spChg chg="mod">
          <ac:chgData name="Ugo MANTEL" userId="2d5b7065-31bb-4181-a7f8-a73bf0c30211" providerId="ADAL" clId="{9344D105-636D-4857-BD0F-AFC44A54BCCF}" dt="2021-05-25T14:20:11.078" v="27720" actId="790"/>
          <ac:spMkLst>
            <pc:docMk/>
            <pc:sldMk cId="3463901835" sldId="10414"/>
            <ac:spMk id="14" creationId="{BF99168B-58D2-49E3-9128-C54D5771CCAF}"/>
          </ac:spMkLst>
        </pc:spChg>
        <pc:spChg chg="mod">
          <ac:chgData name="Ugo MANTEL" userId="2d5b7065-31bb-4181-a7f8-a73bf0c30211" providerId="ADAL" clId="{9344D105-636D-4857-BD0F-AFC44A54BCCF}" dt="2021-05-25T14:20:11.079" v="27721" actId="790"/>
          <ac:spMkLst>
            <pc:docMk/>
            <pc:sldMk cId="3463901835" sldId="10414"/>
            <ac:spMk id="15" creationId="{05128460-7BFC-4307-97D3-8D6BCE648098}"/>
          </ac:spMkLst>
        </pc:spChg>
        <pc:spChg chg="mod">
          <ac:chgData name="Ugo MANTEL" userId="2d5b7065-31bb-4181-a7f8-a73bf0c30211" providerId="ADAL" clId="{9344D105-636D-4857-BD0F-AFC44A54BCCF}" dt="2021-05-25T14:20:11.079" v="27722" actId="790"/>
          <ac:spMkLst>
            <pc:docMk/>
            <pc:sldMk cId="3463901835" sldId="10414"/>
            <ac:spMk id="16" creationId="{52DC22F7-50A1-4F9E-BDE2-AEB9287C6358}"/>
          </ac:spMkLst>
        </pc:spChg>
        <pc:spChg chg="mod">
          <ac:chgData name="Ugo MANTEL" userId="2d5b7065-31bb-4181-a7f8-a73bf0c30211" providerId="ADAL" clId="{9344D105-636D-4857-BD0F-AFC44A54BCCF}" dt="2021-05-25T14:20:11.080" v="27723" actId="790"/>
          <ac:spMkLst>
            <pc:docMk/>
            <pc:sldMk cId="3463901835" sldId="10414"/>
            <ac:spMk id="17" creationId="{13362563-A54C-40FC-9CE3-98BEEED7C283}"/>
          </ac:spMkLst>
        </pc:spChg>
        <pc:spChg chg="mod">
          <ac:chgData name="Ugo MANTEL" userId="2d5b7065-31bb-4181-a7f8-a73bf0c30211" providerId="ADAL" clId="{9344D105-636D-4857-BD0F-AFC44A54BCCF}" dt="2021-05-25T14:20:11.103" v="27754" actId="790"/>
          <ac:spMkLst>
            <pc:docMk/>
            <pc:sldMk cId="3463901835" sldId="10414"/>
            <ac:spMk id="18" creationId="{A0FC123E-1912-4BE1-A532-BD9FD91F6D4C}"/>
          </ac:spMkLst>
        </pc:spChg>
        <pc:spChg chg="mod topLvl">
          <ac:chgData name="Ugo MANTEL" userId="2d5b7065-31bb-4181-a7f8-a73bf0c30211" providerId="ADAL" clId="{9344D105-636D-4857-BD0F-AFC44A54BCCF}" dt="2021-05-25T14:20:11.097" v="27746" actId="790"/>
          <ac:spMkLst>
            <pc:docMk/>
            <pc:sldMk cId="3463901835" sldId="10414"/>
            <ac:spMk id="19" creationId="{53B1CD2F-0672-4E2A-A3D2-D816C1F3C13A}"/>
          </ac:spMkLst>
        </pc:spChg>
        <pc:spChg chg="mod">
          <ac:chgData name="Ugo MANTEL" userId="2d5b7065-31bb-4181-a7f8-a73bf0c30211" providerId="ADAL" clId="{9344D105-636D-4857-BD0F-AFC44A54BCCF}" dt="2021-05-25T14:20:11.081" v="27724" actId="790"/>
          <ac:spMkLst>
            <pc:docMk/>
            <pc:sldMk cId="3463901835" sldId="10414"/>
            <ac:spMk id="20" creationId="{2C72074C-EA62-427A-B807-7B4830414ADA}"/>
          </ac:spMkLst>
        </pc:spChg>
        <pc:spChg chg="mod">
          <ac:chgData name="Ugo MANTEL" userId="2d5b7065-31bb-4181-a7f8-a73bf0c30211" providerId="ADAL" clId="{9344D105-636D-4857-BD0F-AFC44A54BCCF}" dt="2021-05-25T14:20:11.081" v="27725" actId="790"/>
          <ac:spMkLst>
            <pc:docMk/>
            <pc:sldMk cId="3463901835" sldId="10414"/>
            <ac:spMk id="21" creationId="{3CAD7744-8624-4211-8642-F7A97366903A}"/>
          </ac:spMkLst>
        </pc:spChg>
        <pc:spChg chg="mod">
          <ac:chgData name="Ugo MANTEL" userId="2d5b7065-31bb-4181-a7f8-a73bf0c30211" providerId="ADAL" clId="{9344D105-636D-4857-BD0F-AFC44A54BCCF}" dt="2021-05-25T14:20:11.082" v="27726" actId="790"/>
          <ac:spMkLst>
            <pc:docMk/>
            <pc:sldMk cId="3463901835" sldId="10414"/>
            <ac:spMk id="22" creationId="{0EE64BA2-0E59-4319-86FD-6DC0E3B07DC6}"/>
          </ac:spMkLst>
        </pc:spChg>
        <pc:spChg chg="mod">
          <ac:chgData name="Ugo MANTEL" userId="2d5b7065-31bb-4181-a7f8-a73bf0c30211" providerId="ADAL" clId="{9344D105-636D-4857-BD0F-AFC44A54BCCF}" dt="2021-05-25T14:20:11.082" v="27727" actId="790"/>
          <ac:spMkLst>
            <pc:docMk/>
            <pc:sldMk cId="3463901835" sldId="10414"/>
            <ac:spMk id="23" creationId="{C50B6671-D4B5-4C43-8259-C37662E047AC}"/>
          </ac:spMkLst>
        </pc:spChg>
        <pc:spChg chg="mod">
          <ac:chgData name="Ugo MANTEL" userId="2d5b7065-31bb-4181-a7f8-a73bf0c30211" providerId="ADAL" clId="{9344D105-636D-4857-BD0F-AFC44A54BCCF}" dt="2021-05-25T14:20:11.083" v="27728" actId="790"/>
          <ac:spMkLst>
            <pc:docMk/>
            <pc:sldMk cId="3463901835" sldId="10414"/>
            <ac:spMk id="24" creationId="{6FD5383A-D90F-4793-9EE4-978E5E77E6AE}"/>
          </ac:spMkLst>
        </pc:spChg>
        <pc:spChg chg="mod">
          <ac:chgData name="Ugo MANTEL" userId="2d5b7065-31bb-4181-a7f8-a73bf0c30211" providerId="ADAL" clId="{9344D105-636D-4857-BD0F-AFC44A54BCCF}" dt="2021-05-25T14:20:11.084" v="27729" actId="790"/>
          <ac:spMkLst>
            <pc:docMk/>
            <pc:sldMk cId="3463901835" sldId="10414"/>
            <ac:spMk id="25" creationId="{E73D5AA9-9BED-4CFE-9B15-BA2CA34D3A8F}"/>
          </ac:spMkLst>
        </pc:spChg>
        <pc:spChg chg="mod">
          <ac:chgData name="Ugo MANTEL" userId="2d5b7065-31bb-4181-a7f8-a73bf0c30211" providerId="ADAL" clId="{9344D105-636D-4857-BD0F-AFC44A54BCCF}" dt="2021-05-25T14:20:11.084" v="27730" actId="790"/>
          <ac:spMkLst>
            <pc:docMk/>
            <pc:sldMk cId="3463901835" sldId="10414"/>
            <ac:spMk id="26" creationId="{1CF178C9-FA09-4B3B-8961-A7D3052DF2A2}"/>
          </ac:spMkLst>
        </pc:spChg>
        <pc:spChg chg="mod topLvl">
          <ac:chgData name="Ugo MANTEL" userId="2d5b7065-31bb-4181-a7f8-a73bf0c30211" providerId="ADAL" clId="{9344D105-636D-4857-BD0F-AFC44A54BCCF}" dt="2021-05-25T14:20:11.098" v="27747" actId="790"/>
          <ac:spMkLst>
            <pc:docMk/>
            <pc:sldMk cId="3463901835" sldId="10414"/>
            <ac:spMk id="29" creationId="{4EBEFE44-2A14-4F09-A3EB-58ED287D0203}"/>
          </ac:spMkLst>
        </pc:spChg>
        <pc:spChg chg="mod topLvl">
          <ac:chgData name="Ugo MANTEL" userId="2d5b7065-31bb-4181-a7f8-a73bf0c30211" providerId="ADAL" clId="{9344D105-636D-4857-BD0F-AFC44A54BCCF}" dt="2021-05-25T14:20:11.099" v="27748" actId="790"/>
          <ac:spMkLst>
            <pc:docMk/>
            <pc:sldMk cId="3463901835" sldId="10414"/>
            <ac:spMk id="30" creationId="{0D81CDD6-14AC-4542-8189-57ADD3120D86}"/>
          </ac:spMkLst>
        </pc:spChg>
        <pc:spChg chg="mod">
          <ac:chgData name="Ugo MANTEL" userId="2d5b7065-31bb-4181-a7f8-a73bf0c30211" providerId="ADAL" clId="{9344D105-636D-4857-BD0F-AFC44A54BCCF}" dt="2021-05-25T14:20:11.090" v="27736" actId="790"/>
          <ac:spMkLst>
            <pc:docMk/>
            <pc:sldMk cId="3463901835" sldId="10414"/>
            <ac:spMk id="31" creationId="{0A21BF8A-4686-4FC7-B72A-00B5F9563C97}"/>
          </ac:spMkLst>
        </pc:spChg>
        <pc:spChg chg="mod">
          <ac:chgData name="Ugo MANTEL" userId="2d5b7065-31bb-4181-a7f8-a73bf0c30211" providerId="ADAL" clId="{9344D105-636D-4857-BD0F-AFC44A54BCCF}" dt="2021-05-25T14:20:11.091" v="27737" actId="790"/>
          <ac:spMkLst>
            <pc:docMk/>
            <pc:sldMk cId="3463901835" sldId="10414"/>
            <ac:spMk id="33" creationId="{6F619186-A29F-47FC-B4C9-60FE5B327007}"/>
          </ac:spMkLst>
        </pc:spChg>
        <pc:spChg chg="mod topLvl">
          <ac:chgData name="Ugo MANTEL" userId="2d5b7065-31bb-4181-a7f8-a73bf0c30211" providerId="ADAL" clId="{9344D105-636D-4857-BD0F-AFC44A54BCCF}" dt="2021-05-25T14:20:11.100" v="27749" actId="790"/>
          <ac:spMkLst>
            <pc:docMk/>
            <pc:sldMk cId="3463901835" sldId="10414"/>
            <ac:spMk id="34" creationId="{7710F13B-8FD8-4679-A9E3-0FF42D7E205D}"/>
          </ac:spMkLst>
        </pc:spChg>
        <pc:spChg chg="mod">
          <ac:chgData name="Ugo MANTEL" userId="2d5b7065-31bb-4181-a7f8-a73bf0c30211" providerId="ADAL" clId="{9344D105-636D-4857-BD0F-AFC44A54BCCF}" dt="2021-05-25T14:20:11.091" v="27738" actId="790"/>
          <ac:spMkLst>
            <pc:docMk/>
            <pc:sldMk cId="3463901835" sldId="10414"/>
            <ac:spMk id="38" creationId="{443D7E13-5E25-417A-AA2B-D37766447346}"/>
          </ac:spMkLst>
        </pc:spChg>
        <pc:spChg chg="mod">
          <ac:chgData name="Ugo MANTEL" userId="2d5b7065-31bb-4181-a7f8-a73bf0c30211" providerId="ADAL" clId="{9344D105-636D-4857-BD0F-AFC44A54BCCF}" dt="2021-05-25T14:20:11.104" v="27755" actId="790"/>
          <ac:spMkLst>
            <pc:docMk/>
            <pc:sldMk cId="3463901835" sldId="10414"/>
            <ac:spMk id="40" creationId="{951BFB89-3A96-459C-8E4A-080B28FCA297}"/>
          </ac:spMkLst>
        </pc:spChg>
        <pc:spChg chg="mod">
          <ac:chgData name="Ugo MANTEL" userId="2d5b7065-31bb-4181-a7f8-a73bf0c30211" providerId="ADAL" clId="{9344D105-636D-4857-BD0F-AFC44A54BCCF}" dt="2021-05-25T14:20:11.104" v="27756" actId="790"/>
          <ac:spMkLst>
            <pc:docMk/>
            <pc:sldMk cId="3463901835" sldId="10414"/>
            <ac:spMk id="41" creationId="{8514CDF6-D3F3-4CEC-96D8-EB94AFEB3106}"/>
          </ac:spMkLst>
        </pc:spChg>
        <pc:spChg chg="mod">
          <ac:chgData name="Ugo MANTEL" userId="2d5b7065-31bb-4181-a7f8-a73bf0c30211" providerId="ADAL" clId="{9344D105-636D-4857-BD0F-AFC44A54BCCF}" dt="2021-05-25T14:20:11.105" v="27757" actId="790"/>
          <ac:spMkLst>
            <pc:docMk/>
            <pc:sldMk cId="3463901835" sldId="10414"/>
            <ac:spMk id="42" creationId="{B14DB10B-7FE9-42ED-B303-F33106400EA9}"/>
          </ac:spMkLst>
        </pc:spChg>
        <pc:spChg chg="mod">
          <ac:chgData name="Ugo MANTEL" userId="2d5b7065-31bb-4181-a7f8-a73bf0c30211" providerId="ADAL" clId="{9344D105-636D-4857-BD0F-AFC44A54BCCF}" dt="2021-05-25T14:20:11.106" v="27758" actId="790"/>
          <ac:spMkLst>
            <pc:docMk/>
            <pc:sldMk cId="3463901835" sldId="10414"/>
            <ac:spMk id="43" creationId="{E84EA5FA-08E9-40F6-A71F-8BA8F3E3ED99}"/>
          </ac:spMkLst>
        </pc:spChg>
        <pc:spChg chg="mod">
          <ac:chgData name="Ugo MANTEL" userId="2d5b7065-31bb-4181-a7f8-a73bf0c30211" providerId="ADAL" clId="{9344D105-636D-4857-BD0F-AFC44A54BCCF}" dt="2021-05-25T14:20:11.106" v="27759" actId="790"/>
          <ac:spMkLst>
            <pc:docMk/>
            <pc:sldMk cId="3463901835" sldId="10414"/>
            <ac:spMk id="44" creationId="{F595688A-2B2A-4B18-BC8F-3E1BBE846D86}"/>
          </ac:spMkLst>
        </pc:spChg>
        <pc:spChg chg="mod">
          <ac:chgData name="Ugo MANTEL" userId="2d5b7065-31bb-4181-a7f8-a73bf0c30211" providerId="ADAL" clId="{9344D105-636D-4857-BD0F-AFC44A54BCCF}" dt="2021-05-25T14:20:11.107" v="27760" actId="790"/>
          <ac:spMkLst>
            <pc:docMk/>
            <pc:sldMk cId="3463901835" sldId="10414"/>
            <ac:spMk id="45" creationId="{7A651798-9873-484A-BCBC-F1732F254FCF}"/>
          </ac:spMkLst>
        </pc:spChg>
        <pc:spChg chg="mod">
          <ac:chgData name="Ugo MANTEL" userId="2d5b7065-31bb-4181-a7f8-a73bf0c30211" providerId="ADAL" clId="{9344D105-636D-4857-BD0F-AFC44A54BCCF}" dt="2021-05-25T14:20:11.092" v="27739" actId="790"/>
          <ac:spMkLst>
            <pc:docMk/>
            <pc:sldMk cId="3463901835" sldId="10414"/>
            <ac:spMk id="46" creationId="{54AFC57A-2292-4CA3-B567-A14B5835A6E8}"/>
          </ac:spMkLst>
        </pc:spChg>
        <pc:spChg chg="mod topLvl">
          <ac:chgData name="Ugo MANTEL" userId="2d5b7065-31bb-4181-a7f8-a73bf0c30211" providerId="ADAL" clId="{9344D105-636D-4857-BD0F-AFC44A54BCCF}" dt="2021-05-25T14:20:11.094" v="27742" actId="790"/>
          <ac:spMkLst>
            <pc:docMk/>
            <pc:sldMk cId="3463901835" sldId="10414"/>
            <ac:spMk id="47" creationId="{A14096DC-4CAE-4A32-BFA3-6DBFBDDF9334}"/>
          </ac:spMkLst>
        </pc:spChg>
        <pc:spChg chg="mod">
          <ac:chgData name="Ugo MANTEL" userId="2d5b7065-31bb-4181-a7f8-a73bf0c30211" providerId="ADAL" clId="{9344D105-636D-4857-BD0F-AFC44A54BCCF}" dt="2021-05-25T14:20:11.093" v="27740" actId="790"/>
          <ac:spMkLst>
            <pc:docMk/>
            <pc:sldMk cId="3463901835" sldId="10414"/>
            <ac:spMk id="48" creationId="{071ECFC0-1FE9-49A0-A0B0-4AFD8164EB62}"/>
          </ac:spMkLst>
        </pc:spChg>
        <pc:spChg chg="mod">
          <ac:chgData name="Ugo MANTEL" userId="2d5b7065-31bb-4181-a7f8-a73bf0c30211" providerId="ADAL" clId="{9344D105-636D-4857-BD0F-AFC44A54BCCF}" dt="2021-05-25T14:20:11.085" v="27731" actId="790"/>
          <ac:spMkLst>
            <pc:docMk/>
            <pc:sldMk cId="3463901835" sldId="10414"/>
            <ac:spMk id="49" creationId="{D81D2065-13CD-4420-A58C-E72AE87D1A42}"/>
          </ac:spMkLst>
        </pc:spChg>
        <pc:spChg chg="mod">
          <ac:chgData name="Ugo MANTEL" userId="2d5b7065-31bb-4181-a7f8-a73bf0c30211" providerId="ADAL" clId="{9344D105-636D-4857-BD0F-AFC44A54BCCF}" dt="2021-05-25T14:20:11.085" v="27732" actId="790"/>
          <ac:spMkLst>
            <pc:docMk/>
            <pc:sldMk cId="3463901835" sldId="10414"/>
            <ac:spMk id="50" creationId="{ACAAB4F1-8D2B-4B8D-A0C1-3794501DF384}"/>
          </ac:spMkLst>
        </pc:spChg>
        <pc:spChg chg="mod">
          <ac:chgData name="Ugo MANTEL" userId="2d5b7065-31bb-4181-a7f8-a73bf0c30211" providerId="ADAL" clId="{9344D105-636D-4857-BD0F-AFC44A54BCCF}" dt="2021-05-25T14:20:11.086" v="27733" actId="790"/>
          <ac:spMkLst>
            <pc:docMk/>
            <pc:sldMk cId="3463901835" sldId="10414"/>
            <ac:spMk id="51" creationId="{CCA5A507-9498-412A-8734-37E9A0CAFBC2}"/>
          </ac:spMkLst>
        </pc:spChg>
        <pc:spChg chg="mod">
          <ac:chgData name="Ugo MANTEL" userId="2d5b7065-31bb-4181-a7f8-a73bf0c30211" providerId="ADAL" clId="{9344D105-636D-4857-BD0F-AFC44A54BCCF}" dt="2021-05-25T14:20:11.087" v="27734" actId="790"/>
          <ac:spMkLst>
            <pc:docMk/>
            <pc:sldMk cId="3463901835" sldId="10414"/>
            <ac:spMk id="52" creationId="{9926A3AA-BF17-44D4-8DE7-9339CF1BE6FD}"/>
          </ac:spMkLst>
        </pc:spChg>
        <pc:spChg chg="mod">
          <ac:chgData name="Ugo MANTEL" userId="2d5b7065-31bb-4181-a7f8-a73bf0c30211" providerId="ADAL" clId="{9344D105-636D-4857-BD0F-AFC44A54BCCF}" dt="2021-05-25T14:20:11.089" v="27735" actId="790"/>
          <ac:spMkLst>
            <pc:docMk/>
            <pc:sldMk cId="3463901835" sldId="10414"/>
            <ac:spMk id="56" creationId="{2FB57385-9778-4E16-88A7-927D307E97B3}"/>
          </ac:spMkLst>
        </pc:spChg>
        <pc:spChg chg="mod">
          <ac:chgData name="Ugo MANTEL" userId="2d5b7065-31bb-4181-a7f8-a73bf0c30211" providerId="ADAL" clId="{9344D105-636D-4857-BD0F-AFC44A54BCCF}" dt="2021-05-25T14:20:11.108" v="27761" actId="790"/>
          <ac:spMkLst>
            <pc:docMk/>
            <pc:sldMk cId="3463901835" sldId="10414"/>
            <ac:spMk id="58" creationId="{328B4C86-96DF-4F0B-9DF0-1048DA68F379}"/>
          </ac:spMkLst>
        </pc:spChg>
        <pc:spChg chg="mod topLvl">
          <ac:chgData name="Ugo MANTEL" userId="2d5b7065-31bb-4181-a7f8-a73bf0c30211" providerId="ADAL" clId="{9344D105-636D-4857-BD0F-AFC44A54BCCF}" dt="2021-05-25T14:20:11.095" v="27743" actId="790"/>
          <ac:spMkLst>
            <pc:docMk/>
            <pc:sldMk cId="3463901835" sldId="10414"/>
            <ac:spMk id="63" creationId="{CACC76FC-2977-4355-BF81-4E5EDB67542C}"/>
          </ac:spMkLst>
        </pc:spChg>
        <pc:spChg chg="mod">
          <ac:chgData name="Ugo MANTEL" userId="2d5b7065-31bb-4181-a7f8-a73bf0c30211" providerId="ADAL" clId="{9344D105-636D-4857-BD0F-AFC44A54BCCF}" dt="2021-05-25T14:20:11.096" v="27744" actId="790"/>
          <ac:spMkLst>
            <pc:docMk/>
            <pc:sldMk cId="3463901835" sldId="10414"/>
            <ac:spMk id="64" creationId="{E69A6A78-2AD3-4D53-8B9B-27B1B6264317}"/>
          </ac:spMkLst>
        </pc:spChg>
        <pc:spChg chg="mod">
          <ac:chgData name="Ugo MANTEL" userId="2d5b7065-31bb-4181-a7f8-a73bf0c30211" providerId="ADAL" clId="{9344D105-636D-4857-BD0F-AFC44A54BCCF}" dt="2021-05-25T14:20:11.096" v="27745" actId="790"/>
          <ac:spMkLst>
            <pc:docMk/>
            <pc:sldMk cId="3463901835" sldId="10414"/>
            <ac:spMk id="65" creationId="{B996472B-4494-4092-90D2-F9B0598EDA9B}"/>
          </ac:spMkLst>
        </pc:spChg>
        <pc:spChg chg="mod topLvl">
          <ac:chgData name="Ugo MANTEL" userId="2d5b7065-31bb-4181-a7f8-a73bf0c30211" providerId="ADAL" clId="{9344D105-636D-4857-BD0F-AFC44A54BCCF}" dt="2021-05-25T14:20:11.100" v="27750" actId="790"/>
          <ac:spMkLst>
            <pc:docMk/>
            <pc:sldMk cId="3463901835" sldId="10414"/>
            <ac:spMk id="66" creationId="{580E88D8-DB2D-4BAA-87C9-C7877E27FD4E}"/>
          </ac:spMkLst>
        </pc:spChg>
        <pc:spChg chg="mod topLvl">
          <ac:chgData name="Ugo MANTEL" userId="2d5b7065-31bb-4181-a7f8-a73bf0c30211" providerId="ADAL" clId="{9344D105-636D-4857-BD0F-AFC44A54BCCF}" dt="2021-05-25T14:20:11.101" v="27751" actId="790"/>
          <ac:spMkLst>
            <pc:docMk/>
            <pc:sldMk cId="3463901835" sldId="10414"/>
            <ac:spMk id="67" creationId="{29C19D83-CDAD-468C-B418-83C2D1E45543}"/>
          </ac:spMkLst>
        </pc:spChg>
        <pc:spChg chg="mod topLvl">
          <ac:chgData name="Ugo MANTEL" userId="2d5b7065-31bb-4181-a7f8-a73bf0c30211" providerId="ADAL" clId="{9344D105-636D-4857-BD0F-AFC44A54BCCF}" dt="2021-05-25T14:20:11.101" v="27752" actId="790"/>
          <ac:spMkLst>
            <pc:docMk/>
            <pc:sldMk cId="3463901835" sldId="10414"/>
            <ac:spMk id="68" creationId="{7BD2CCAB-CCFD-487A-BBD3-6041900F9E7C}"/>
          </ac:spMkLst>
        </pc:spChg>
        <pc:spChg chg="mod topLvl">
          <ac:chgData name="Ugo MANTEL" userId="2d5b7065-31bb-4181-a7f8-a73bf0c30211" providerId="ADAL" clId="{9344D105-636D-4857-BD0F-AFC44A54BCCF}" dt="2021-05-25T14:20:11.102" v="27753" actId="790"/>
          <ac:spMkLst>
            <pc:docMk/>
            <pc:sldMk cId="3463901835" sldId="10414"/>
            <ac:spMk id="69" creationId="{B7EBBC5A-DA14-4F74-B1F0-E98AF52DABD0}"/>
          </ac:spMkLst>
        </pc:spChg>
        <pc:spChg chg="mod">
          <ac:chgData name="Ugo MANTEL" userId="2d5b7065-31bb-4181-a7f8-a73bf0c30211" providerId="ADAL" clId="{9344D105-636D-4857-BD0F-AFC44A54BCCF}" dt="2021-05-25T14:20:11.108" v="27762" actId="790"/>
          <ac:spMkLst>
            <pc:docMk/>
            <pc:sldMk cId="3463901835" sldId="10414"/>
            <ac:spMk id="70" creationId="{3291AB25-490F-4B63-A46D-E02764883457}"/>
          </ac:spMkLst>
        </pc:spChg>
        <pc:spChg chg="mod">
          <ac:chgData name="Ugo MANTEL" userId="2d5b7065-31bb-4181-a7f8-a73bf0c30211" providerId="ADAL" clId="{9344D105-636D-4857-BD0F-AFC44A54BCCF}" dt="2021-05-25T14:20:11.109" v="27763" actId="790"/>
          <ac:spMkLst>
            <pc:docMk/>
            <pc:sldMk cId="3463901835" sldId="10414"/>
            <ac:spMk id="71" creationId="{075BD30D-D6B5-4502-AB64-F5EF3A546F22}"/>
          </ac:spMkLst>
        </pc:spChg>
        <pc:spChg chg="mod">
          <ac:chgData name="Ugo MANTEL" userId="2d5b7065-31bb-4181-a7f8-a73bf0c30211" providerId="ADAL" clId="{9344D105-636D-4857-BD0F-AFC44A54BCCF}" dt="2021-05-25T14:20:11.109" v="27764" actId="790"/>
          <ac:spMkLst>
            <pc:docMk/>
            <pc:sldMk cId="3463901835" sldId="10414"/>
            <ac:spMk id="72" creationId="{B8A5B5FA-956D-4336-94C9-315F1C4DA686}"/>
          </ac:spMkLst>
        </pc:spChg>
        <pc:spChg chg="mod">
          <ac:chgData name="Ugo MANTEL" userId="2d5b7065-31bb-4181-a7f8-a73bf0c30211" providerId="ADAL" clId="{9344D105-636D-4857-BD0F-AFC44A54BCCF}" dt="2021-05-25T14:20:11.110" v="27765" actId="790"/>
          <ac:spMkLst>
            <pc:docMk/>
            <pc:sldMk cId="3463901835" sldId="10414"/>
            <ac:spMk id="73" creationId="{BB81862D-1352-415B-9794-C265DDB814EE}"/>
          </ac:spMkLst>
        </pc:spChg>
        <pc:spChg chg="mod">
          <ac:chgData name="Ugo MANTEL" userId="2d5b7065-31bb-4181-a7f8-a73bf0c30211" providerId="ADAL" clId="{9344D105-636D-4857-BD0F-AFC44A54BCCF}" dt="2021-05-25T14:20:11.110" v="27766" actId="790"/>
          <ac:spMkLst>
            <pc:docMk/>
            <pc:sldMk cId="3463901835" sldId="10414"/>
            <ac:spMk id="74" creationId="{5013318F-F7B4-4AAF-ADC5-C66BF396BB1E}"/>
          </ac:spMkLst>
        </pc:spChg>
        <pc:spChg chg="del">
          <ac:chgData name="Ugo MANTEL" userId="2d5b7065-31bb-4181-a7f8-a73bf0c30211" providerId="ADAL" clId="{9344D105-636D-4857-BD0F-AFC44A54BCCF}" dt="2021-05-24T13:37:48.919" v="7479" actId="478"/>
          <ac:spMkLst>
            <pc:docMk/>
            <pc:sldMk cId="3463901835" sldId="10414"/>
            <ac:spMk id="75" creationId="{CB9B43AE-1547-457C-A273-1320CA76CB3B}"/>
          </ac:spMkLst>
        </pc:spChg>
        <pc:spChg chg="del">
          <ac:chgData name="Ugo MANTEL" userId="2d5b7065-31bb-4181-a7f8-a73bf0c30211" providerId="ADAL" clId="{9344D105-636D-4857-BD0F-AFC44A54BCCF}" dt="2021-05-24T13:37:52.457" v="7480" actId="478"/>
          <ac:spMkLst>
            <pc:docMk/>
            <pc:sldMk cId="3463901835" sldId="10414"/>
            <ac:spMk id="76" creationId="{AE904024-EA20-4D60-AB0B-C139F02FB2A9}"/>
          </ac:spMkLst>
        </pc:spChg>
        <pc:spChg chg="del">
          <ac:chgData name="Ugo MANTEL" userId="2d5b7065-31bb-4181-a7f8-a73bf0c30211" providerId="ADAL" clId="{9344D105-636D-4857-BD0F-AFC44A54BCCF}" dt="2021-05-24T13:37:48.919" v="7479" actId="478"/>
          <ac:spMkLst>
            <pc:docMk/>
            <pc:sldMk cId="3463901835" sldId="10414"/>
            <ac:spMk id="77" creationId="{AB0D4D7A-5D70-4F9E-A762-65CCD88904AC}"/>
          </ac:spMkLst>
        </pc:spChg>
        <pc:spChg chg="del">
          <ac:chgData name="Ugo MANTEL" userId="2d5b7065-31bb-4181-a7f8-a73bf0c30211" providerId="ADAL" clId="{9344D105-636D-4857-BD0F-AFC44A54BCCF}" dt="2021-05-24T13:37:52.457" v="7480" actId="478"/>
          <ac:spMkLst>
            <pc:docMk/>
            <pc:sldMk cId="3463901835" sldId="10414"/>
            <ac:spMk id="78" creationId="{E5C79D5F-D2B0-4680-AA6C-E73274912CD4}"/>
          </ac:spMkLst>
        </pc:spChg>
        <pc:spChg chg="del">
          <ac:chgData name="Ugo MANTEL" userId="2d5b7065-31bb-4181-a7f8-a73bf0c30211" providerId="ADAL" clId="{9344D105-636D-4857-BD0F-AFC44A54BCCF}" dt="2021-05-24T13:37:48.919" v="7479" actId="478"/>
          <ac:spMkLst>
            <pc:docMk/>
            <pc:sldMk cId="3463901835" sldId="10414"/>
            <ac:spMk id="79" creationId="{43B23F38-045E-49AC-BFC0-E481E439ED01}"/>
          </ac:spMkLst>
        </pc:spChg>
        <pc:spChg chg="mod">
          <ac:chgData name="Ugo MANTEL" userId="2d5b7065-31bb-4181-a7f8-a73bf0c30211" providerId="ADAL" clId="{9344D105-636D-4857-BD0F-AFC44A54BCCF}" dt="2021-05-25T14:20:11.111" v="27767" actId="790"/>
          <ac:spMkLst>
            <pc:docMk/>
            <pc:sldMk cId="3463901835" sldId="10414"/>
            <ac:spMk id="83" creationId="{B022D544-F72E-4747-A8CA-168E2A57EA0D}"/>
          </ac:spMkLst>
        </pc:spChg>
        <pc:spChg chg="mod">
          <ac:chgData name="Ugo MANTEL" userId="2d5b7065-31bb-4181-a7f8-a73bf0c30211" providerId="ADAL" clId="{9344D105-636D-4857-BD0F-AFC44A54BCCF}" dt="2021-05-25T14:20:11.111" v="27768" actId="790"/>
          <ac:spMkLst>
            <pc:docMk/>
            <pc:sldMk cId="3463901835" sldId="10414"/>
            <ac:spMk id="85" creationId="{C88CFD24-A3E1-478D-B34C-1E0ECF85A40D}"/>
          </ac:spMkLst>
        </pc:spChg>
        <pc:spChg chg="mod">
          <ac:chgData name="Ugo MANTEL" userId="2d5b7065-31bb-4181-a7f8-a73bf0c30211" providerId="ADAL" clId="{9344D105-636D-4857-BD0F-AFC44A54BCCF}" dt="2021-05-25T14:20:11.112" v="27769" actId="790"/>
          <ac:spMkLst>
            <pc:docMk/>
            <pc:sldMk cId="3463901835" sldId="10414"/>
            <ac:spMk id="86" creationId="{6CB430ED-F66D-45D4-8301-C9F93105C4D1}"/>
          </ac:spMkLst>
        </pc:spChg>
        <pc:spChg chg="mod">
          <ac:chgData name="Ugo MANTEL" userId="2d5b7065-31bb-4181-a7f8-a73bf0c30211" providerId="ADAL" clId="{9344D105-636D-4857-BD0F-AFC44A54BCCF}" dt="2021-05-25T14:20:11.113" v="27770" actId="790"/>
          <ac:spMkLst>
            <pc:docMk/>
            <pc:sldMk cId="3463901835" sldId="10414"/>
            <ac:spMk id="87" creationId="{C2862B83-240F-4A1D-B35E-91B2A481B969}"/>
          </ac:spMkLst>
        </pc:spChg>
        <pc:spChg chg="mod">
          <ac:chgData name="Ugo MANTEL" userId="2d5b7065-31bb-4181-a7f8-a73bf0c30211" providerId="ADAL" clId="{9344D105-636D-4857-BD0F-AFC44A54BCCF}" dt="2021-05-25T14:20:11.114" v="27771" actId="790"/>
          <ac:spMkLst>
            <pc:docMk/>
            <pc:sldMk cId="3463901835" sldId="10414"/>
            <ac:spMk id="88" creationId="{7FB8AE25-3C90-4AC1-A2A5-ADD97D79DB6C}"/>
          </ac:spMkLst>
        </pc:spChg>
        <pc:spChg chg="mod">
          <ac:chgData name="Ugo MANTEL" userId="2d5b7065-31bb-4181-a7f8-a73bf0c30211" providerId="ADAL" clId="{9344D105-636D-4857-BD0F-AFC44A54BCCF}" dt="2021-05-25T14:20:11.115" v="27772" actId="790"/>
          <ac:spMkLst>
            <pc:docMk/>
            <pc:sldMk cId="3463901835" sldId="10414"/>
            <ac:spMk id="89" creationId="{7889FD5A-6C5A-4272-B1C1-B8A724F2B10F}"/>
          </ac:spMkLst>
        </pc:spChg>
        <pc:spChg chg="mod">
          <ac:chgData name="Ugo MANTEL" userId="2d5b7065-31bb-4181-a7f8-a73bf0c30211" providerId="ADAL" clId="{9344D105-636D-4857-BD0F-AFC44A54BCCF}" dt="2021-05-25T14:20:11.116" v="27773" actId="790"/>
          <ac:spMkLst>
            <pc:docMk/>
            <pc:sldMk cId="3463901835" sldId="10414"/>
            <ac:spMk id="90" creationId="{77F48DB9-7925-4FD7-8D0B-8F07F8491523}"/>
          </ac:spMkLst>
        </pc:spChg>
        <pc:spChg chg="mod">
          <ac:chgData name="Ugo MANTEL" userId="2d5b7065-31bb-4181-a7f8-a73bf0c30211" providerId="ADAL" clId="{9344D105-636D-4857-BD0F-AFC44A54BCCF}" dt="2021-05-25T14:20:11.116" v="27774" actId="790"/>
          <ac:spMkLst>
            <pc:docMk/>
            <pc:sldMk cId="3463901835" sldId="10414"/>
            <ac:spMk id="94" creationId="{0F4F10F5-977E-4EB0-91A1-B96246179616}"/>
          </ac:spMkLst>
        </pc:spChg>
        <pc:spChg chg="mod">
          <ac:chgData name="Ugo MANTEL" userId="2d5b7065-31bb-4181-a7f8-a73bf0c30211" providerId="ADAL" clId="{9344D105-636D-4857-BD0F-AFC44A54BCCF}" dt="2021-05-25T14:20:11.117" v="27775" actId="790"/>
          <ac:spMkLst>
            <pc:docMk/>
            <pc:sldMk cId="3463901835" sldId="10414"/>
            <ac:spMk id="111" creationId="{AAE2193E-2CF1-466B-885D-77842A9A9102}"/>
          </ac:spMkLst>
        </pc:spChg>
        <pc:spChg chg="mod">
          <ac:chgData name="Ugo MANTEL" userId="2d5b7065-31bb-4181-a7f8-a73bf0c30211" providerId="ADAL" clId="{9344D105-636D-4857-BD0F-AFC44A54BCCF}" dt="2021-05-25T14:20:11.118" v="27776" actId="790"/>
          <ac:spMkLst>
            <pc:docMk/>
            <pc:sldMk cId="3463901835" sldId="10414"/>
            <ac:spMk id="112" creationId="{58F1BE0C-A14B-42E1-B182-64C59CD08680}"/>
          </ac:spMkLst>
        </pc:spChg>
        <pc:spChg chg="mod">
          <ac:chgData name="Ugo MANTEL" userId="2d5b7065-31bb-4181-a7f8-a73bf0c30211" providerId="ADAL" clId="{9344D105-636D-4857-BD0F-AFC44A54BCCF}" dt="2021-05-25T14:20:11.118" v="27777" actId="790"/>
          <ac:spMkLst>
            <pc:docMk/>
            <pc:sldMk cId="3463901835" sldId="10414"/>
            <ac:spMk id="115" creationId="{4C8FA9C8-0FBF-4037-96F3-8EFAF86EDF43}"/>
          </ac:spMkLst>
        </pc:spChg>
        <pc:spChg chg="add mod">
          <ac:chgData name="Ugo MANTEL" userId="2d5b7065-31bb-4181-a7f8-a73bf0c30211" providerId="ADAL" clId="{9344D105-636D-4857-BD0F-AFC44A54BCCF}" dt="2021-05-25T14:20:11.119" v="27778" actId="790"/>
          <ac:spMkLst>
            <pc:docMk/>
            <pc:sldMk cId="3463901835" sldId="10414"/>
            <ac:spMk id="116" creationId="{E9EB210A-3C43-464B-B1D9-552CCCE3C790}"/>
          </ac:spMkLst>
        </pc:spChg>
        <pc:spChg chg="mod">
          <ac:chgData name="Ugo MANTEL" userId="2d5b7065-31bb-4181-a7f8-a73bf0c30211" providerId="ADAL" clId="{9344D105-636D-4857-BD0F-AFC44A54BCCF}" dt="2021-05-24T13:37:52.924" v="7481"/>
          <ac:spMkLst>
            <pc:docMk/>
            <pc:sldMk cId="3463901835" sldId="10414"/>
            <ac:spMk id="118" creationId="{36EAF917-2EDA-4E57-AFC3-B7BE0FEE1368}"/>
          </ac:spMkLst>
        </pc:spChg>
        <pc:spChg chg="mod">
          <ac:chgData name="Ugo MANTEL" userId="2d5b7065-31bb-4181-a7f8-a73bf0c30211" providerId="ADAL" clId="{9344D105-636D-4857-BD0F-AFC44A54BCCF}" dt="2021-05-24T13:37:52.924" v="7481"/>
          <ac:spMkLst>
            <pc:docMk/>
            <pc:sldMk cId="3463901835" sldId="10414"/>
            <ac:spMk id="119" creationId="{15943C5A-2408-4C86-97FC-4509C9806305}"/>
          </ac:spMkLst>
        </pc:spChg>
        <pc:spChg chg="mod">
          <ac:chgData name="Ugo MANTEL" userId="2d5b7065-31bb-4181-a7f8-a73bf0c30211" providerId="ADAL" clId="{9344D105-636D-4857-BD0F-AFC44A54BCCF}" dt="2021-05-24T13:37:52.924" v="7481"/>
          <ac:spMkLst>
            <pc:docMk/>
            <pc:sldMk cId="3463901835" sldId="10414"/>
            <ac:spMk id="120" creationId="{57EECD1B-589F-4C0F-9484-034BBF13B65A}"/>
          </ac:spMkLst>
        </pc:spChg>
        <pc:spChg chg="mod">
          <ac:chgData name="Ugo MANTEL" userId="2d5b7065-31bb-4181-a7f8-a73bf0c30211" providerId="ADAL" clId="{9344D105-636D-4857-BD0F-AFC44A54BCCF}" dt="2021-05-24T13:37:52.924" v="7481"/>
          <ac:spMkLst>
            <pc:docMk/>
            <pc:sldMk cId="3463901835" sldId="10414"/>
            <ac:spMk id="121" creationId="{8FCC1005-0160-4A13-A573-F95998ED5187}"/>
          </ac:spMkLst>
        </pc:spChg>
        <pc:spChg chg="mod">
          <ac:chgData name="Ugo MANTEL" userId="2d5b7065-31bb-4181-a7f8-a73bf0c30211" providerId="ADAL" clId="{9344D105-636D-4857-BD0F-AFC44A54BCCF}" dt="2021-05-24T13:37:52.924" v="7481"/>
          <ac:spMkLst>
            <pc:docMk/>
            <pc:sldMk cId="3463901835" sldId="10414"/>
            <ac:spMk id="122" creationId="{C870D215-6CC7-46AA-992F-A47306A7E127}"/>
          </ac:spMkLst>
        </pc:spChg>
        <pc:spChg chg="mod">
          <ac:chgData name="Ugo MANTEL" userId="2d5b7065-31bb-4181-a7f8-a73bf0c30211" providerId="ADAL" clId="{9344D105-636D-4857-BD0F-AFC44A54BCCF}" dt="2021-05-24T13:37:52.924" v="7481"/>
          <ac:spMkLst>
            <pc:docMk/>
            <pc:sldMk cId="3463901835" sldId="10414"/>
            <ac:spMk id="123" creationId="{70A96BF7-6A69-43E4-873C-1D9B36A01421}"/>
          </ac:spMkLst>
        </pc:spChg>
        <pc:spChg chg="mod">
          <ac:chgData name="Ugo MANTEL" userId="2d5b7065-31bb-4181-a7f8-a73bf0c30211" providerId="ADAL" clId="{9344D105-636D-4857-BD0F-AFC44A54BCCF}" dt="2021-05-25T14:20:11.120" v="27779" actId="790"/>
          <ac:spMkLst>
            <pc:docMk/>
            <pc:sldMk cId="3463901835" sldId="10414"/>
            <ac:spMk id="160" creationId="{4520D56D-3B79-43CB-B84B-E057C5EA703B}"/>
          </ac:spMkLst>
        </pc:spChg>
        <pc:spChg chg="mod">
          <ac:chgData name="Ugo MANTEL" userId="2d5b7065-31bb-4181-a7f8-a73bf0c30211" providerId="ADAL" clId="{9344D105-636D-4857-BD0F-AFC44A54BCCF}" dt="2021-05-25T14:20:11.120" v="27780" actId="790"/>
          <ac:spMkLst>
            <pc:docMk/>
            <pc:sldMk cId="3463901835" sldId="10414"/>
            <ac:spMk id="163" creationId="{C9BC372D-27E0-4C61-9FF9-BB8CEF98E767}"/>
          </ac:spMkLst>
        </pc:spChg>
        <pc:spChg chg="mod">
          <ac:chgData name="Ugo MANTEL" userId="2d5b7065-31bb-4181-a7f8-a73bf0c30211" providerId="ADAL" clId="{9344D105-636D-4857-BD0F-AFC44A54BCCF}" dt="2021-05-25T14:20:11.121" v="27781" actId="790"/>
          <ac:spMkLst>
            <pc:docMk/>
            <pc:sldMk cId="3463901835" sldId="10414"/>
            <ac:spMk id="164" creationId="{9115E2E4-D1D6-48E2-8A7C-9F6D62B1EF33}"/>
          </ac:spMkLst>
        </pc:spChg>
        <pc:spChg chg="mod">
          <ac:chgData name="Ugo MANTEL" userId="2d5b7065-31bb-4181-a7f8-a73bf0c30211" providerId="ADAL" clId="{9344D105-636D-4857-BD0F-AFC44A54BCCF}" dt="2021-05-25T14:20:11.122" v="27782" actId="790"/>
          <ac:spMkLst>
            <pc:docMk/>
            <pc:sldMk cId="3463901835" sldId="10414"/>
            <ac:spMk id="165" creationId="{4215182C-EDD8-446A-9ED2-694EBD52371C}"/>
          </ac:spMkLst>
        </pc:spChg>
        <pc:spChg chg="mod">
          <ac:chgData name="Ugo MANTEL" userId="2d5b7065-31bb-4181-a7f8-a73bf0c30211" providerId="ADAL" clId="{9344D105-636D-4857-BD0F-AFC44A54BCCF}" dt="2021-05-25T14:20:11.123" v="27783" actId="790"/>
          <ac:spMkLst>
            <pc:docMk/>
            <pc:sldMk cId="3463901835" sldId="10414"/>
            <ac:spMk id="166" creationId="{66B7A34F-AB5D-426F-B1C8-20B0860BD288}"/>
          </ac:spMkLst>
        </pc:spChg>
        <pc:spChg chg="mod">
          <ac:chgData name="Ugo MANTEL" userId="2d5b7065-31bb-4181-a7f8-a73bf0c30211" providerId="ADAL" clId="{9344D105-636D-4857-BD0F-AFC44A54BCCF}" dt="2021-05-25T14:20:11.123" v="27784" actId="790"/>
          <ac:spMkLst>
            <pc:docMk/>
            <pc:sldMk cId="3463901835" sldId="10414"/>
            <ac:spMk id="167" creationId="{85343B7B-FA9F-423E-9110-E022B7AB66AB}"/>
          </ac:spMkLst>
        </pc:spChg>
        <pc:grpChg chg="add del mod">
          <ac:chgData name="Ugo MANTEL" userId="2d5b7065-31bb-4181-a7f8-a73bf0c30211" providerId="ADAL" clId="{9344D105-636D-4857-BD0F-AFC44A54BCCF}" dt="2021-05-25T10:51:37.558" v="16010" actId="165"/>
          <ac:grpSpMkLst>
            <pc:docMk/>
            <pc:sldMk cId="3463901835" sldId="10414"/>
            <ac:grpSpMk id="97" creationId="{793DC8D0-6608-42E5-9207-06FC0B16E152}"/>
          </ac:grpSpMkLst>
        </pc:grpChg>
        <pc:grpChg chg="add del mod">
          <ac:chgData name="Ugo MANTEL" userId="2d5b7065-31bb-4181-a7f8-a73bf0c30211" providerId="ADAL" clId="{9344D105-636D-4857-BD0F-AFC44A54BCCF}" dt="2021-05-25T10:51:33.422" v="16009" actId="165"/>
          <ac:grpSpMkLst>
            <pc:docMk/>
            <pc:sldMk cId="3463901835" sldId="10414"/>
            <ac:grpSpMk id="98" creationId="{03F112FC-793E-4430-A679-4A7C40832A99}"/>
          </ac:grpSpMkLst>
        </pc:grpChg>
        <pc:grpChg chg="add mod">
          <ac:chgData name="Ugo MANTEL" userId="2d5b7065-31bb-4181-a7f8-a73bf0c30211" providerId="ADAL" clId="{9344D105-636D-4857-BD0F-AFC44A54BCCF}" dt="2021-05-24T13:38:01.008" v="7482" actId="14100"/>
          <ac:grpSpMkLst>
            <pc:docMk/>
            <pc:sldMk cId="3463901835" sldId="10414"/>
            <ac:grpSpMk id="117" creationId="{E1F74118-DC1A-4E12-8A53-785ED4A3156A}"/>
          </ac:grpSpMkLst>
        </pc:grp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95" creationId="{FA00BB56-5F6E-4191-A189-D16B28B16161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96" creationId="{FD9B47CC-86AC-4215-9D4F-DF66956C413B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97" creationId="{FFA4AFC3-1586-4712-A567-77273D95BA10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98" creationId="{7746BD21-599C-45A5-B28B-B8B03FE6AA95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99" creationId="{E9CCC8D9-0EE5-47B6-A4A9-CBF9447EAB29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0" creationId="{377C5FD4-0DE8-44BE-9839-157124ADCB06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1" creationId="{2DA012EE-4138-47E1-923C-66501280BF95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2" creationId="{FA4983E7-00A1-43AB-8441-E8F0057379A0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3" creationId="{A48E8CD5-3797-446F-9501-C6EA99DB0AAA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4" creationId="{6429F9A5-0CE3-4E54-95B5-A44220DEBE72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5" creationId="{C71E7665-FCE3-4CB4-A0AC-4E02D181BC92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6" creationId="{094EA593-0741-4DBB-84A4-289D614D7AC7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7" creationId="{0A203A12-5C19-4E5E-AFD8-7E53E89C8E5C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8" creationId="{1C394ABC-1929-496A-93A9-6FD97EFE1222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09" creationId="{BF6E24F4-4C46-4F86-9335-BBBFA36941B4}"/>
          </ac:picMkLst>
        </pc:picChg>
        <pc:picChg chg="del">
          <ac:chgData name="Ugo MANTEL" userId="2d5b7065-31bb-4181-a7f8-a73bf0c30211" providerId="ADAL" clId="{9344D105-636D-4857-BD0F-AFC44A54BCCF}" dt="2021-05-24T15:58:44.893" v="9186" actId="478"/>
          <ac:picMkLst>
            <pc:docMk/>
            <pc:sldMk cId="3463901835" sldId="10414"/>
            <ac:picMk id="110" creationId="{05E59333-7B38-449A-86AC-9052E31E893F}"/>
          </ac:picMkLst>
        </pc:picChg>
        <pc:picChg chg="add mod">
          <ac:chgData name="Ugo MANTEL" userId="2d5b7065-31bb-4181-a7f8-a73bf0c30211" providerId="ADAL" clId="{9344D105-636D-4857-BD0F-AFC44A54BCCF}" dt="2021-05-24T16:00:34.283" v="9213" actId="12789"/>
          <ac:picMkLst>
            <pc:docMk/>
            <pc:sldMk cId="3463901835" sldId="10414"/>
            <ac:picMk id="124" creationId="{3572F95A-8749-44FD-9591-EEF9D337D609}"/>
          </ac:picMkLst>
        </pc:picChg>
        <pc:picChg chg="add mod">
          <ac:chgData name="Ugo MANTEL" userId="2d5b7065-31bb-4181-a7f8-a73bf0c30211" providerId="ADAL" clId="{9344D105-636D-4857-BD0F-AFC44A54BCCF}" dt="2021-05-24T16:00:10.789" v="9203" actId="12789"/>
          <ac:picMkLst>
            <pc:docMk/>
            <pc:sldMk cId="3463901835" sldId="10414"/>
            <ac:picMk id="125" creationId="{62717F0B-84D6-4B67-BA87-AFC1372E115A}"/>
          </ac:picMkLst>
        </pc:picChg>
        <pc:picChg chg="add mod">
          <ac:chgData name="Ugo MANTEL" userId="2d5b7065-31bb-4181-a7f8-a73bf0c30211" providerId="ADAL" clId="{9344D105-636D-4857-BD0F-AFC44A54BCCF}" dt="2021-05-24T16:00:00.154" v="9201" actId="12789"/>
          <ac:picMkLst>
            <pc:docMk/>
            <pc:sldMk cId="3463901835" sldId="10414"/>
            <ac:picMk id="126" creationId="{6A53BC93-02E1-4EF8-8585-5B6033A02798}"/>
          </ac:picMkLst>
        </pc:picChg>
        <pc:picChg chg="add mod">
          <ac:chgData name="Ugo MANTEL" userId="2d5b7065-31bb-4181-a7f8-a73bf0c30211" providerId="ADAL" clId="{9344D105-636D-4857-BD0F-AFC44A54BCCF}" dt="2021-05-24T15:59:47.636" v="9195" actId="12789"/>
          <ac:picMkLst>
            <pc:docMk/>
            <pc:sldMk cId="3463901835" sldId="10414"/>
            <ac:picMk id="127" creationId="{5AF6010B-FBFA-435B-A147-F270D16C0E58}"/>
          </ac:picMkLst>
        </pc:picChg>
        <pc:picChg chg="add mod">
          <ac:chgData name="Ugo MANTEL" userId="2d5b7065-31bb-4181-a7f8-a73bf0c30211" providerId="ADAL" clId="{9344D105-636D-4857-BD0F-AFC44A54BCCF}" dt="2021-05-24T15:59:40.872" v="9193" actId="12789"/>
          <ac:picMkLst>
            <pc:docMk/>
            <pc:sldMk cId="3463901835" sldId="10414"/>
            <ac:picMk id="128" creationId="{4D25401D-4EC4-4ACF-948E-EACD17F2F096}"/>
          </ac:picMkLst>
        </pc:picChg>
        <pc:picChg chg="add mod">
          <ac:chgData name="Ugo MANTEL" userId="2d5b7065-31bb-4181-a7f8-a73bf0c30211" providerId="ADAL" clId="{9344D105-636D-4857-BD0F-AFC44A54BCCF}" dt="2021-05-24T15:59:52.359" v="9197" actId="12789"/>
          <ac:picMkLst>
            <pc:docMk/>
            <pc:sldMk cId="3463901835" sldId="10414"/>
            <ac:picMk id="129" creationId="{5CDD1128-6516-4EF0-873D-BACD93A7A01A}"/>
          </ac:picMkLst>
        </pc:picChg>
        <pc:picChg chg="add mod">
          <ac:chgData name="Ugo MANTEL" userId="2d5b7065-31bb-4181-a7f8-a73bf0c30211" providerId="ADAL" clId="{9344D105-636D-4857-BD0F-AFC44A54BCCF}" dt="2021-05-24T16:00:14.669" v="9205" actId="12789"/>
          <ac:picMkLst>
            <pc:docMk/>
            <pc:sldMk cId="3463901835" sldId="10414"/>
            <ac:picMk id="130" creationId="{881AB8E9-A35D-4724-BBD5-8F7EB198FD72}"/>
          </ac:picMkLst>
        </pc:picChg>
        <pc:picChg chg="add mod">
          <ac:chgData name="Ugo MANTEL" userId="2d5b7065-31bb-4181-a7f8-a73bf0c30211" providerId="ADAL" clId="{9344D105-636D-4857-BD0F-AFC44A54BCCF}" dt="2021-05-24T16:00:18.764" v="9207" actId="12789"/>
          <ac:picMkLst>
            <pc:docMk/>
            <pc:sldMk cId="3463901835" sldId="10414"/>
            <ac:picMk id="131" creationId="{739705FF-D323-4D9D-B1A0-89411307D8A4}"/>
          </ac:picMkLst>
        </pc:picChg>
        <pc:picChg chg="add mod">
          <ac:chgData name="Ugo MANTEL" userId="2d5b7065-31bb-4181-a7f8-a73bf0c30211" providerId="ADAL" clId="{9344D105-636D-4857-BD0F-AFC44A54BCCF}" dt="2021-05-24T16:00:30.069" v="9211" actId="12789"/>
          <ac:picMkLst>
            <pc:docMk/>
            <pc:sldMk cId="3463901835" sldId="10414"/>
            <ac:picMk id="132" creationId="{D0D56E5F-FEFD-4677-8EBF-C5CF6E5444E5}"/>
          </ac:picMkLst>
        </pc:picChg>
        <pc:picChg chg="add mod">
          <ac:chgData name="Ugo MANTEL" userId="2d5b7065-31bb-4181-a7f8-a73bf0c30211" providerId="ADAL" clId="{9344D105-636D-4857-BD0F-AFC44A54BCCF}" dt="2021-05-24T15:59:55.960" v="9199" actId="12789"/>
          <ac:picMkLst>
            <pc:docMk/>
            <pc:sldMk cId="3463901835" sldId="10414"/>
            <ac:picMk id="133" creationId="{EA03ECFB-3CEF-4C8A-BF55-050C45414D2B}"/>
          </ac:picMkLst>
        </pc:picChg>
        <pc:picChg chg="add mod">
          <ac:chgData name="Ugo MANTEL" userId="2d5b7065-31bb-4181-a7f8-a73bf0c30211" providerId="ADAL" clId="{9344D105-636D-4857-BD0F-AFC44A54BCCF}" dt="2021-05-24T15:59:36.023" v="9191" actId="12789"/>
          <ac:picMkLst>
            <pc:docMk/>
            <pc:sldMk cId="3463901835" sldId="10414"/>
            <ac:picMk id="134" creationId="{7EFF7DCD-75EB-41EB-98B4-77DB49AE054D}"/>
          </ac:picMkLst>
        </pc:picChg>
        <pc:picChg chg="add mod">
          <ac:chgData name="Ugo MANTEL" userId="2d5b7065-31bb-4181-a7f8-a73bf0c30211" providerId="ADAL" clId="{9344D105-636D-4857-BD0F-AFC44A54BCCF}" dt="2021-05-24T15:59:31.737" v="9189" actId="12789"/>
          <ac:picMkLst>
            <pc:docMk/>
            <pc:sldMk cId="3463901835" sldId="10414"/>
            <ac:picMk id="135" creationId="{68849F3C-6098-48C5-93E2-98EA9C1EB1E9}"/>
          </ac:picMkLst>
        </pc:picChg>
        <pc:picChg chg="add mod">
          <ac:chgData name="Ugo MANTEL" userId="2d5b7065-31bb-4181-a7f8-a73bf0c30211" providerId="ADAL" clId="{9344D105-636D-4857-BD0F-AFC44A54BCCF}" dt="2021-05-24T16:00:14.669" v="9205" actId="12789"/>
          <ac:picMkLst>
            <pc:docMk/>
            <pc:sldMk cId="3463901835" sldId="10414"/>
            <ac:picMk id="136" creationId="{4D1D3612-ED5F-4B34-8798-C6AF872923D1}"/>
          </ac:picMkLst>
        </pc:picChg>
        <pc:picChg chg="add mod">
          <ac:chgData name="Ugo MANTEL" userId="2d5b7065-31bb-4181-a7f8-a73bf0c30211" providerId="ADAL" clId="{9344D105-636D-4857-BD0F-AFC44A54BCCF}" dt="2021-05-24T15:59:52.359" v="9197" actId="12789"/>
          <ac:picMkLst>
            <pc:docMk/>
            <pc:sldMk cId="3463901835" sldId="10414"/>
            <ac:picMk id="137" creationId="{E40FE92C-D6F1-4586-B1C0-89EDD367F9F2}"/>
          </ac:picMkLst>
        </pc:picChg>
        <pc:picChg chg="add mod">
          <ac:chgData name="Ugo MANTEL" userId="2d5b7065-31bb-4181-a7f8-a73bf0c30211" providerId="ADAL" clId="{9344D105-636D-4857-BD0F-AFC44A54BCCF}" dt="2021-05-24T15:59:55.960" v="9199" actId="12789"/>
          <ac:picMkLst>
            <pc:docMk/>
            <pc:sldMk cId="3463901835" sldId="10414"/>
            <ac:picMk id="138" creationId="{654714C0-7FAA-471A-ADA2-54F13B7F1C40}"/>
          </ac:picMkLst>
        </pc:picChg>
        <pc:picChg chg="add mod">
          <ac:chgData name="Ugo MANTEL" userId="2d5b7065-31bb-4181-a7f8-a73bf0c30211" providerId="ADAL" clId="{9344D105-636D-4857-BD0F-AFC44A54BCCF}" dt="2021-05-24T16:00:18.764" v="9207" actId="12789"/>
          <ac:picMkLst>
            <pc:docMk/>
            <pc:sldMk cId="3463901835" sldId="10414"/>
            <ac:picMk id="139" creationId="{74733073-BDEF-4604-B2D0-B6E9A6263071}"/>
          </ac:picMkLst>
        </pc:picChg>
        <pc:picChg chg="add mod">
          <ac:chgData name="Ugo MANTEL" userId="2d5b7065-31bb-4181-a7f8-a73bf0c30211" providerId="ADAL" clId="{9344D105-636D-4857-BD0F-AFC44A54BCCF}" dt="2021-05-24T16:00:30.069" v="9211" actId="12789"/>
          <ac:picMkLst>
            <pc:docMk/>
            <pc:sldMk cId="3463901835" sldId="10414"/>
            <ac:picMk id="140" creationId="{803043B7-34F7-4ABF-94A2-11EDB7165E73}"/>
          </ac:picMkLst>
        </pc:picChg>
        <pc:picChg chg="add mod">
          <ac:chgData name="Ugo MANTEL" userId="2d5b7065-31bb-4181-a7f8-a73bf0c30211" providerId="ADAL" clId="{9344D105-636D-4857-BD0F-AFC44A54BCCF}" dt="2021-05-24T16:00:34.283" v="9213" actId="12789"/>
          <ac:picMkLst>
            <pc:docMk/>
            <pc:sldMk cId="3463901835" sldId="10414"/>
            <ac:picMk id="141" creationId="{042158D2-D54C-47EA-9247-A617FCD6A40C}"/>
          </ac:picMkLst>
        </pc:picChg>
        <pc:picChg chg="add mod">
          <ac:chgData name="Ugo MANTEL" userId="2d5b7065-31bb-4181-a7f8-a73bf0c30211" providerId="ADAL" clId="{9344D105-636D-4857-BD0F-AFC44A54BCCF}" dt="2021-05-24T16:00:10.789" v="9203" actId="12789"/>
          <ac:picMkLst>
            <pc:docMk/>
            <pc:sldMk cId="3463901835" sldId="10414"/>
            <ac:picMk id="142" creationId="{40CC04C2-4B3F-4FD0-B32C-65C76A303EDB}"/>
          </ac:picMkLst>
        </pc:picChg>
        <pc:picChg chg="add mod">
          <ac:chgData name="Ugo MANTEL" userId="2d5b7065-31bb-4181-a7f8-a73bf0c30211" providerId="ADAL" clId="{9344D105-636D-4857-BD0F-AFC44A54BCCF}" dt="2021-05-24T16:00:00.154" v="9201" actId="12789"/>
          <ac:picMkLst>
            <pc:docMk/>
            <pc:sldMk cId="3463901835" sldId="10414"/>
            <ac:picMk id="143" creationId="{E2B9354A-4AB8-4528-897B-4BED78BF0E50}"/>
          </ac:picMkLst>
        </pc:picChg>
        <pc:picChg chg="add mod">
          <ac:chgData name="Ugo MANTEL" userId="2d5b7065-31bb-4181-a7f8-a73bf0c30211" providerId="ADAL" clId="{9344D105-636D-4857-BD0F-AFC44A54BCCF}" dt="2021-05-24T15:59:47.636" v="9195" actId="12789"/>
          <ac:picMkLst>
            <pc:docMk/>
            <pc:sldMk cId="3463901835" sldId="10414"/>
            <ac:picMk id="144" creationId="{2FD45A53-5121-4FF0-AF71-ADB095359BE0}"/>
          </ac:picMkLst>
        </pc:picChg>
        <pc:picChg chg="add mod">
          <ac:chgData name="Ugo MANTEL" userId="2d5b7065-31bb-4181-a7f8-a73bf0c30211" providerId="ADAL" clId="{9344D105-636D-4857-BD0F-AFC44A54BCCF}" dt="2021-05-24T15:59:40.872" v="9193" actId="12789"/>
          <ac:picMkLst>
            <pc:docMk/>
            <pc:sldMk cId="3463901835" sldId="10414"/>
            <ac:picMk id="145" creationId="{61521F4C-F61A-4112-867A-A3DA881D9B40}"/>
          </ac:picMkLst>
        </pc:picChg>
        <pc:picChg chg="add mod">
          <ac:chgData name="Ugo MANTEL" userId="2d5b7065-31bb-4181-a7f8-a73bf0c30211" providerId="ADAL" clId="{9344D105-636D-4857-BD0F-AFC44A54BCCF}" dt="2021-05-24T15:59:31.737" v="9189" actId="12789"/>
          <ac:picMkLst>
            <pc:docMk/>
            <pc:sldMk cId="3463901835" sldId="10414"/>
            <ac:picMk id="146" creationId="{E3D1FEEA-E5D8-4FC4-9869-3DCAE8DB7122}"/>
          </ac:picMkLst>
        </pc:picChg>
        <pc:picChg chg="add mod">
          <ac:chgData name="Ugo MANTEL" userId="2d5b7065-31bb-4181-a7f8-a73bf0c30211" providerId="ADAL" clId="{9344D105-636D-4857-BD0F-AFC44A54BCCF}" dt="2021-05-24T15:59:36.023" v="9191" actId="12789"/>
          <ac:picMkLst>
            <pc:docMk/>
            <pc:sldMk cId="3463901835" sldId="10414"/>
            <ac:picMk id="147" creationId="{7818EC20-F4B9-476C-B105-1FA9DAD47F8B}"/>
          </ac:picMkLst>
        </pc:picChg>
        <pc:picChg chg="add mod">
          <ac:chgData name="Ugo MANTEL" userId="2d5b7065-31bb-4181-a7f8-a73bf0c30211" providerId="ADAL" clId="{9344D105-636D-4857-BD0F-AFC44A54BCCF}" dt="2021-05-24T16:00:30.069" v="9211" actId="12789"/>
          <ac:picMkLst>
            <pc:docMk/>
            <pc:sldMk cId="3463901835" sldId="10414"/>
            <ac:picMk id="148" creationId="{2975E2E5-5197-4717-84D2-D1F88B2C6E0D}"/>
          </ac:picMkLst>
        </pc:picChg>
        <pc:picChg chg="add mod">
          <ac:chgData name="Ugo MANTEL" userId="2d5b7065-31bb-4181-a7f8-a73bf0c30211" providerId="ADAL" clId="{9344D105-636D-4857-BD0F-AFC44A54BCCF}" dt="2021-05-24T15:59:52.359" v="9197" actId="12789"/>
          <ac:picMkLst>
            <pc:docMk/>
            <pc:sldMk cId="3463901835" sldId="10414"/>
            <ac:picMk id="149" creationId="{D3C86416-6F10-4BDA-8333-909F3640E1EA}"/>
          </ac:picMkLst>
        </pc:picChg>
        <pc:picChg chg="add mod">
          <ac:chgData name="Ugo MANTEL" userId="2d5b7065-31bb-4181-a7f8-a73bf0c30211" providerId="ADAL" clId="{9344D105-636D-4857-BD0F-AFC44A54BCCF}" dt="2021-05-24T15:59:47.636" v="9195" actId="12789"/>
          <ac:picMkLst>
            <pc:docMk/>
            <pc:sldMk cId="3463901835" sldId="10414"/>
            <ac:picMk id="150" creationId="{46387771-B71B-49FA-8F30-E02BB73C0236}"/>
          </ac:picMkLst>
        </pc:picChg>
        <pc:picChg chg="add mod">
          <ac:chgData name="Ugo MANTEL" userId="2d5b7065-31bb-4181-a7f8-a73bf0c30211" providerId="ADAL" clId="{9344D105-636D-4857-BD0F-AFC44A54BCCF}" dt="2021-05-24T15:59:40.872" v="9193" actId="12789"/>
          <ac:picMkLst>
            <pc:docMk/>
            <pc:sldMk cId="3463901835" sldId="10414"/>
            <ac:picMk id="151" creationId="{518AB09D-8C1C-4CA6-95DD-644823830A00}"/>
          </ac:picMkLst>
        </pc:picChg>
        <pc:picChg chg="add mod">
          <ac:chgData name="Ugo MANTEL" userId="2d5b7065-31bb-4181-a7f8-a73bf0c30211" providerId="ADAL" clId="{9344D105-636D-4857-BD0F-AFC44A54BCCF}" dt="2021-05-24T15:59:36.023" v="9191" actId="12789"/>
          <ac:picMkLst>
            <pc:docMk/>
            <pc:sldMk cId="3463901835" sldId="10414"/>
            <ac:picMk id="152" creationId="{8099AC2E-4448-4675-9AC4-E240F352D603}"/>
          </ac:picMkLst>
        </pc:picChg>
        <pc:picChg chg="add mod">
          <ac:chgData name="Ugo MANTEL" userId="2d5b7065-31bb-4181-a7f8-a73bf0c30211" providerId="ADAL" clId="{9344D105-636D-4857-BD0F-AFC44A54BCCF}" dt="2021-05-24T15:59:31.737" v="9189" actId="12789"/>
          <ac:picMkLst>
            <pc:docMk/>
            <pc:sldMk cId="3463901835" sldId="10414"/>
            <ac:picMk id="153" creationId="{2E553736-8EB1-458D-A042-71649967F999}"/>
          </ac:picMkLst>
        </pc:picChg>
        <pc:picChg chg="add mod">
          <ac:chgData name="Ugo MANTEL" userId="2d5b7065-31bb-4181-a7f8-a73bf0c30211" providerId="ADAL" clId="{9344D105-636D-4857-BD0F-AFC44A54BCCF}" dt="2021-05-24T16:00:18.764" v="9207" actId="12789"/>
          <ac:picMkLst>
            <pc:docMk/>
            <pc:sldMk cId="3463901835" sldId="10414"/>
            <ac:picMk id="154" creationId="{14C03036-7D21-4B7E-8018-293F5BD9099F}"/>
          </ac:picMkLst>
        </pc:picChg>
        <pc:picChg chg="add mod">
          <ac:chgData name="Ugo MANTEL" userId="2d5b7065-31bb-4181-a7f8-a73bf0c30211" providerId="ADAL" clId="{9344D105-636D-4857-BD0F-AFC44A54BCCF}" dt="2021-05-24T15:59:55.960" v="9199" actId="12789"/>
          <ac:picMkLst>
            <pc:docMk/>
            <pc:sldMk cId="3463901835" sldId="10414"/>
            <ac:picMk id="155" creationId="{67C95FD4-7D39-4145-8C44-C279B1FADCD7}"/>
          </ac:picMkLst>
        </pc:picChg>
        <pc:picChg chg="add mod">
          <ac:chgData name="Ugo MANTEL" userId="2d5b7065-31bb-4181-a7f8-a73bf0c30211" providerId="ADAL" clId="{9344D105-636D-4857-BD0F-AFC44A54BCCF}" dt="2021-05-24T16:00:00.154" v="9201" actId="12789"/>
          <ac:picMkLst>
            <pc:docMk/>
            <pc:sldMk cId="3463901835" sldId="10414"/>
            <ac:picMk id="156" creationId="{573FAE15-F1F1-4DFA-A918-F47E70F91FC2}"/>
          </ac:picMkLst>
        </pc:picChg>
        <pc:picChg chg="add mod">
          <ac:chgData name="Ugo MANTEL" userId="2d5b7065-31bb-4181-a7f8-a73bf0c30211" providerId="ADAL" clId="{9344D105-636D-4857-BD0F-AFC44A54BCCF}" dt="2021-05-24T16:00:10.789" v="9203" actId="12789"/>
          <ac:picMkLst>
            <pc:docMk/>
            <pc:sldMk cId="3463901835" sldId="10414"/>
            <ac:picMk id="157" creationId="{C262A318-FA22-4B99-BDA6-272EF6707D29}"/>
          </ac:picMkLst>
        </pc:picChg>
        <pc:picChg chg="add mod">
          <ac:chgData name="Ugo MANTEL" userId="2d5b7065-31bb-4181-a7f8-a73bf0c30211" providerId="ADAL" clId="{9344D105-636D-4857-BD0F-AFC44A54BCCF}" dt="2021-05-24T16:00:14.669" v="9205" actId="12789"/>
          <ac:picMkLst>
            <pc:docMk/>
            <pc:sldMk cId="3463901835" sldId="10414"/>
            <ac:picMk id="158" creationId="{5BC39710-E85E-419A-A856-F3E0213C1771}"/>
          </ac:picMkLst>
        </pc:picChg>
        <pc:picChg chg="add mod">
          <ac:chgData name="Ugo MANTEL" userId="2d5b7065-31bb-4181-a7f8-a73bf0c30211" providerId="ADAL" clId="{9344D105-636D-4857-BD0F-AFC44A54BCCF}" dt="2021-05-24T16:00:34.283" v="9213" actId="12789"/>
          <ac:picMkLst>
            <pc:docMk/>
            <pc:sldMk cId="3463901835" sldId="10414"/>
            <ac:picMk id="159" creationId="{9308B296-0D91-4EA3-9D21-88F24882D5D9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4:20:11.147" v="27811" actId="790"/>
        <pc:sldMkLst>
          <pc:docMk/>
          <pc:sldMk cId="718926585" sldId="10416"/>
        </pc:sldMkLst>
        <pc:spChg chg="mod">
          <ac:chgData name="Ugo MANTEL" userId="2d5b7065-31bb-4181-a7f8-a73bf0c30211" providerId="ADAL" clId="{9344D105-636D-4857-BD0F-AFC44A54BCCF}" dt="2021-05-25T14:20:11.134" v="27792" actId="790"/>
          <ac:spMkLst>
            <pc:docMk/>
            <pc:sldMk cId="718926585" sldId="10416"/>
            <ac:spMk id="2" creationId="{6141F854-3009-40D7-9038-56590105A49E}"/>
          </ac:spMkLst>
        </pc:spChg>
        <pc:spChg chg="mod">
          <ac:chgData name="Ugo MANTEL" userId="2d5b7065-31bb-4181-a7f8-a73bf0c30211" providerId="ADAL" clId="{9344D105-636D-4857-BD0F-AFC44A54BCCF}" dt="2021-05-25T14:20:11.130" v="27789" actId="790"/>
          <ac:spMkLst>
            <pc:docMk/>
            <pc:sldMk cId="718926585" sldId="10416"/>
            <ac:spMk id="3" creationId="{48869A05-7BE3-4023-88EE-F61AB40F1A46}"/>
          </ac:spMkLst>
        </pc:spChg>
        <pc:spChg chg="mod">
          <ac:chgData name="Ugo MANTEL" userId="2d5b7065-31bb-4181-a7f8-a73bf0c30211" providerId="ADAL" clId="{9344D105-636D-4857-BD0F-AFC44A54BCCF}" dt="2021-05-25T14:20:11.132" v="27790" actId="790"/>
          <ac:spMkLst>
            <pc:docMk/>
            <pc:sldMk cId="718926585" sldId="10416"/>
            <ac:spMk id="14" creationId="{79163A55-8253-4415-87E3-49B6AA0C98BF}"/>
          </ac:spMkLst>
        </pc:spChg>
        <pc:spChg chg="mod">
          <ac:chgData name="Ugo MANTEL" userId="2d5b7065-31bb-4181-a7f8-a73bf0c30211" providerId="ADAL" clId="{9344D105-636D-4857-BD0F-AFC44A54BCCF}" dt="2021-05-25T14:20:11.129" v="27788" actId="790"/>
          <ac:spMkLst>
            <pc:docMk/>
            <pc:sldMk cId="718926585" sldId="10416"/>
            <ac:spMk id="15" creationId="{C7CC0E72-2C4D-4227-BE31-58EBB8D10C2D}"/>
          </ac:spMkLst>
        </pc:spChg>
        <pc:spChg chg="mod">
          <ac:chgData name="Ugo MANTEL" userId="2d5b7065-31bb-4181-a7f8-a73bf0c30211" providerId="ADAL" clId="{9344D105-636D-4857-BD0F-AFC44A54BCCF}" dt="2021-05-25T14:20:11.132" v="27791" actId="790"/>
          <ac:spMkLst>
            <pc:docMk/>
            <pc:sldMk cId="718926585" sldId="10416"/>
            <ac:spMk id="16" creationId="{D2E2D690-327F-4633-A872-ADB29F27F398}"/>
          </ac:spMkLst>
        </pc:spChg>
        <pc:spChg chg="mod">
          <ac:chgData name="Ugo MANTEL" userId="2d5b7065-31bb-4181-a7f8-a73bf0c30211" providerId="ADAL" clId="{9344D105-636D-4857-BD0F-AFC44A54BCCF}" dt="2021-05-25T14:20:11.134" v="27793" actId="790"/>
          <ac:spMkLst>
            <pc:docMk/>
            <pc:sldMk cId="718926585" sldId="10416"/>
            <ac:spMk id="25" creationId="{C509ABA6-0D56-4D9A-8217-F214397AC6C6}"/>
          </ac:spMkLst>
        </pc:spChg>
        <pc:spChg chg="mod">
          <ac:chgData name="Ugo MANTEL" userId="2d5b7065-31bb-4181-a7f8-a73bf0c30211" providerId="ADAL" clId="{9344D105-636D-4857-BD0F-AFC44A54BCCF}" dt="2021-05-25T14:20:11.135" v="27794" actId="790"/>
          <ac:spMkLst>
            <pc:docMk/>
            <pc:sldMk cId="718926585" sldId="10416"/>
            <ac:spMk id="26" creationId="{7214233D-03FD-4212-9D98-B0CAE1EA952D}"/>
          </ac:spMkLst>
        </pc:spChg>
        <pc:spChg chg="mod">
          <ac:chgData name="Ugo MANTEL" userId="2d5b7065-31bb-4181-a7f8-a73bf0c30211" providerId="ADAL" clId="{9344D105-636D-4857-BD0F-AFC44A54BCCF}" dt="2021-05-25T14:20:11.136" v="27795" actId="790"/>
          <ac:spMkLst>
            <pc:docMk/>
            <pc:sldMk cId="718926585" sldId="10416"/>
            <ac:spMk id="27" creationId="{63FECFE8-77A5-4C8D-9A95-E5E89281A837}"/>
          </ac:spMkLst>
        </pc:spChg>
        <pc:spChg chg="mod">
          <ac:chgData name="Ugo MANTEL" userId="2d5b7065-31bb-4181-a7f8-a73bf0c30211" providerId="ADAL" clId="{9344D105-636D-4857-BD0F-AFC44A54BCCF}" dt="2021-05-25T14:20:11.136" v="27796" actId="790"/>
          <ac:spMkLst>
            <pc:docMk/>
            <pc:sldMk cId="718926585" sldId="10416"/>
            <ac:spMk id="28" creationId="{B4F1C8B4-203B-4299-B34E-7D33C44B7B71}"/>
          </ac:spMkLst>
        </pc:spChg>
        <pc:spChg chg="mod">
          <ac:chgData name="Ugo MANTEL" userId="2d5b7065-31bb-4181-a7f8-a73bf0c30211" providerId="ADAL" clId="{9344D105-636D-4857-BD0F-AFC44A54BCCF}" dt="2021-05-25T14:20:11.137" v="27797" actId="790"/>
          <ac:spMkLst>
            <pc:docMk/>
            <pc:sldMk cId="718926585" sldId="10416"/>
            <ac:spMk id="29" creationId="{8A165B1F-6634-43C5-A885-140265BE12E8}"/>
          </ac:spMkLst>
        </pc:spChg>
        <pc:spChg chg="mod">
          <ac:chgData name="Ugo MANTEL" userId="2d5b7065-31bb-4181-a7f8-a73bf0c30211" providerId="ADAL" clId="{9344D105-636D-4857-BD0F-AFC44A54BCCF}" dt="2021-05-25T14:20:11.138" v="27798" actId="790"/>
          <ac:spMkLst>
            <pc:docMk/>
            <pc:sldMk cId="718926585" sldId="10416"/>
            <ac:spMk id="30" creationId="{52F7899A-6E23-45C9-AB1D-5A04E49DE8D3}"/>
          </ac:spMkLst>
        </pc:spChg>
        <pc:spChg chg="mod">
          <ac:chgData name="Ugo MANTEL" userId="2d5b7065-31bb-4181-a7f8-a73bf0c30211" providerId="ADAL" clId="{9344D105-636D-4857-BD0F-AFC44A54BCCF}" dt="2021-05-25T14:20:11.139" v="27799" actId="790"/>
          <ac:spMkLst>
            <pc:docMk/>
            <pc:sldMk cId="718926585" sldId="10416"/>
            <ac:spMk id="31" creationId="{39A4E537-6B70-42D6-B76D-22EBE99E5324}"/>
          </ac:spMkLst>
        </pc:spChg>
        <pc:spChg chg="mod">
          <ac:chgData name="Ugo MANTEL" userId="2d5b7065-31bb-4181-a7f8-a73bf0c30211" providerId="ADAL" clId="{9344D105-636D-4857-BD0F-AFC44A54BCCF}" dt="2021-05-25T14:20:11.140" v="27800" actId="790"/>
          <ac:spMkLst>
            <pc:docMk/>
            <pc:sldMk cId="718926585" sldId="10416"/>
            <ac:spMk id="32" creationId="{E344EE6B-B062-4077-8C00-8A44A9ED2DC4}"/>
          </ac:spMkLst>
        </pc:spChg>
        <pc:spChg chg="mod">
          <ac:chgData name="Ugo MANTEL" userId="2d5b7065-31bb-4181-a7f8-a73bf0c30211" providerId="ADAL" clId="{9344D105-636D-4857-BD0F-AFC44A54BCCF}" dt="2021-05-25T14:20:11.140" v="27801" actId="790"/>
          <ac:spMkLst>
            <pc:docMk/>
            <pc:sldMk cId="718926585" sldId="10416"/>
            <ac:spMk id="35" creationId="{6E4A10E1-DD55-4BBC-B8E8-2B3625C3D109}"/>
          </ac:spMkLst>
        </pc:spChg>
        <pc:spChg chg="mod">
          <ac:chgData name="Ugo MANTEL" userId="2d5b7065-31bb-4181-a7f8-a73bf0c30211" providerId="ADAL" clId="{9344D105-636D-4857-BD0F-AFC44A54BCCF}" dt="2021-05-25T14:20:11.141" v="27802" actId="790"/>
          <ac:spMkLst>
            <pc:docMk/>
            <pc:sldMk cId="718926585" sldId="10416"/>
            <ac:spMk id="36" creationId="{E88FEEFE-E9AA-4FA4-BD22-4477BCB96162}"/>
          </ac:spMkLst>
        </pc:spChg>
        <pc:spChg chg="mod">
          <ac:chgData name="Ugo MANTEL" userId="2d5b7065-31bb-4181-a7f8-a73bf0c30211" providerId="ADAL" clId="{9344D105-636D-4857-BD0F-AFC44A54BCCF}" dt="2021-05-25T14:20:11.146" v="27809" actId="790"/>
          <ac:spMkLst>
            <pc:docMk/>
            <pc:sldMk cId="718926585" sldId="10416"/>
            <ac:spMk id="39" creationId="{D1647B34-90C1-4C29-B580-9480E45107E8}"/>
          </ac:spMkLst>
        </pc:spChg>
        <pc:spChg chg="mod">
          <ac:chgData name="Ugo MANTEL" userId="2d5b7065-31bb-4181-a7f8-a73bf0c30211" providerId="ADAL" clId="{9344D105-636D-4857-BD0F-AFC44A54BCCF}" dt="2021-05-25T14:20:11.147" v="27810" actId="790"/>
          <ac:spMkLst>
            <pc:docMk/>
            <pc:sldMk cId="718926585" sldId="10416"/>
            <ac:spMk id="40" creationId="{0486214C-6235-49DA-85D1-C93D9421B994}"/>
          </ac:spMkLst>
        </pc:spChg>
        <pc:spChg chg="mod">
          <ac:chgData name="Ugo MANTEL" userId="2d5b7065-31bb-4181-a7f8-a73bf0c30211" providerId="ADAL" clId="{9344D105-636D-4857-BD0F-AFC44A54BCCF}" dt="2021-05-25T14:20:11.147" v="27811" actId="790"/>
          <ac:spMkLst>
            <pc:docMk/>
            <pc:sldMk cId="718926585" sldId="10416"/>
            <ac:spMk id="41" creationId="{6A88B8B1-EE95-4CCC-A064-323BC70DFA00}"/>
          </ac:spMkLst>
        </pc:spChg>
        <pc:spChg chg="mod">
          <ac:chgData name="Ugo MANTEL" userId="2d5b7065-31bb-4181-a7f8-a73bf0c30211" providerId="ADAL" clId="{9344D105-636D-4857-BD0F-AFC44A54BCCF}" dt="2021-05-25T14:20:11.142" v="27803" actId="790"/>
          <ac:spMkLst>
            <pc:docMk/>
            <pc:sldMk cId="718926585" sldId="10416"/>
            <ac:spMk id="44" creationId="{5B2A13CB-D242-4CEC-BD84-9421FD92C730}"/>
          </ac:spMkLst>
        </pc:spChg>
        <pc:spChg chg="mod">
          <ac:chgData name="Ugo MANTEL" userId="2d5b7065-31bb-4181-a7f8-a73bf0c30211" providerId="ADAL" clId="{9344D105-636D-4857-BD0F-AFC44A54BCCF}" dt="2021-05-25T14:20:11.142" v="27804" actId="790"/>
          <ac:spMkLst>
            <pc:docMk/>
            <pc:sldMk cId="718926585" sldId="10416"/>
            <ac:spMk id="45" creationId="{C3F0F705-A049-4672-849F-319AB1731825}"/>
          </ac:spMkLst>
        </pc:spChg>
        <pc:spChg chg="mod">
          <ac:chgData name="Ugo MANTEL" userId="2d5b7065-31bb-4181-a7f8-a73bf0c30211" providerId="ADAL" clId="{9344D105-636D-4857-BD0F-AFC44A54BCCF}" dt="2021-05-25T14:20:11.143" v="27805" actId="790"/>
          <ac:spMkLst>
            <pc:docMk/>
            <pc:sldMk cId="718926585" sldId="10416"/>
            <ac:spMk id="46" creationId="{133D97A8-1546-424C-9184-ED69A50C0630}"/>
          </ac:spMkLst>
        </pc:spChg>
        <pc:spChg chg="del">
          <ac:chgData name="Ugo MANTEL" userId="2d5b7065-31bb-4181-a7f8-a73bf0c30211" providerId="ADAL" clId="{9344D105-636D-4857-BD0F-AFC44A54BCCF}" dt="2021-05-24T13:38:30.877" v="7488" actId="478"/>
          <ac:spMkLst>
            <pc:docMk/>
            <pc:sldMk cId="718926585" sldId="10416"/>
            <ac:spMk id="47" creationId="{657D3F57-1FE2-4A5E-831E-159A51799145}"/>
          </ac:spMkLst>
        </pc:spChg>
        <pc:spChg chg="mod">
          <ac:chgData name="Ugo MANTEL" userId="2d5b7065-31bb-4181-a7f8-a73bf0c30211" providerId="ADAL" clId="{9344D105-636D-4857-BD0F-AFC44A54BCCF}" dt="2021-05-25T14:20:11.124" v="27785" actId="790"/>
          <ac:spMkLst>
            <pc:docMk/>
            <pc:sldMk cId="718926585" sldId="10416"/>
            <ac:spMk id="47" creationId="{A85ED436-2044-4CBB-8176-FA206D62E4CC}"/>
          </ac:spMkLst>
        </pc:spChg>
        <pc:spChg chg="del">
          <ac:chgData name="Ugo MANTEL" userId="2d5b7065-31bb-4181-a7f8-a73bf0c30211" providerId="ADAL" clId="{9344D105-636D-4857-BD0F-AFC44A54BCCF}" dt="2021-05-24T13:38:30.877" v="7488" actId="478"/>
          <ac:spMkLst>
            <pc:docMk/>
            <pc:sldMk cId="718926585" sldId="10416"/>
            <ac:spMk id="48" creationId="{48C81992-7AFD-4817-96BD-D38E9FF41587}"/>
          </ac:spMkLst>
        </pc:spChg>
        <pc:spChg chg="mod">
          <ac:chgData name="Ugo MANTEL" userId="2d5b7065-31bb-4181-a7f8-a73bf0c30211" providerId="ADAL" clId="{9344D105-636D-4857-BD0F-AFC44A54BCCF}" dt="2021-05-25T14:20:11.125" v="27786" actId="790"/>
          <ac:spMkLst>
            <pc:docMk/>
            <pc:sldMk cId="718926585" sldId="10416"/>
            <ac:spMk id="48" creationId="{B7C93D54-DB18-4357-B383-D4288FCD598B}"/>
          </ac:spMkLst>
        </pc:spChg>
        <pc:spChg chg="mod">
          <ac:chgData name="Ugo MANTEL" userId="2d5b7065-31bb-4181-a7f8-a73bf0c30211" providerId="ADAL" clId="{9344D105-636D-4857-BD0F-AFC44A54BCCF}" dt="2021-05-25T14:20:11.144" v="27806" actId="790"/>
          <ac:spMkLst>
            <pc:docMk/>
            <pc:sldMk cId="718926585" sldId="10416"/>
            <ac:spMk id="49" creationId="{FBEB6038-28B9-4622-A72B-871078F5D725}"/>
          </ac:spMkLst>
        </pc:spChg>
        <pc:spChg chg="del">
          <ac:chgData name="Ugo MANTEL" userId="2d5b7065-31bb-4181-a7f8-a73bf0c30211" providerId="ADAL" clId="{9344D105-636D-4857-BD0F-AFC44A54BCCF}" dt="2021-05-24T13:38:30.877" v="7488" actId="478"/>
          <ac:spMkLst>
            <pc:docMk/>
            <pc:sldMk cId="718926585" sldId="10416"/>
            <ac:spMk id="50" creationId="{53B2A950-24CD-4191-848B-9F00507EDD68}"/>
          </ac:spMkLst>
        </pc:spChg>
        <pc:spChg chg="mod">
          <ac:chgData name="Ugo MANTEL" userId="2d5b7065-31bb-4181-a7f8-a73bf0c30211" providerId="ADAL" clId="{9344D105-636D-4857-BD0F-AFC44A54BCCF}" dt="2021-05-25T14:20:11.126" v="27787" actId="790"/>
          <ac:spMkLst>
            <pc:docMk/>
            <pc:sldMk cId="718926585" sldId="10416"/>
            <ac:spMk id="50" creationId="{C97E20DE-197F-4C3E-8041-D69FD9B20A33}"/>
          </ac:spMkLst>
        </pc:spChg>
        <pc:spChg chg="del">
          <ac:chgData name="Ugo MANTEL" userId="2d5b7065-31bb-4181-a7f8-a73bf0c30211" providerId="ADAL" clId="{9344D105-636D-4857-BD0F-AFC44A54BCCF}" dt="2021-05-24T13:38:30.877" v="7488" actId="478"/>
          <ac:spMkLst>
            <pc:docMk/>
            <pc:sldMk cId="718926585" sldId="10416"/>
            <ac:spMk id="51" creationId="{99D7B9F3-D63A-459E-8869-9510BF5EA7B4}"/>
          </ac:spMkLst>
        </pc:spChg>
        <pc:spChg chg="del">
          <ac:chgData name="Ugo MANTEL" userId="2d5b7065-31bb-4181-a7f8-a73bf0c30211" providerId="ADAL" clId="{9344D105-636D-4857-BD0F-AFC44A54BCCF}" dt="2021-05-24T13:38:30.877" v="7488" actId="478"/>
          <ac:spMkLst>
            <pc:docMk/>
            <pc:sldMk cId="718926585" sldId="10416"/>
            <ac:spMk id="53" creationId="{7300335C-C243-4E9A-972A-83983E5D26AE}"/>
          </ac:spMkLst>
        </pc:spChg>
        <pc:spChg chg="mod">
          <ac:chgData name="Ugo MANTEL" userId="2d5b7065-31bb-4181-a7f8-a73bf0c30211" providerId="ADAL" clId="{9344D105-636D-4857-BD0F-AFC44A54BCCF}" dt="2021-05-25T14:20:11.144" v="27807" actId="790"/>
          <ac:spMkLst>
            <pc:docMk/>
            <pc:sldMk cId="718926585" sldId="10416"/>
            <ac:spMk id="54" creationId="{0430F2AF-1132-469B-87C0-1811AC4EE4A6}"/>
          </ac:spMkLst>
        </pc:spChg>
        <pc:spChg chg="add mod">
          <ac:chgData name="Ugo MANTEL" userId="2d5b7065-31bb-4181-a7f8-a73bf0c30211" providerId="ADAL" clId="{9344D105-636D-4857-BD0F-AFC44A54BCCF}" dt="2021-05-25T14:20:11.145" v="27808" actId="790"/>
          <ac:spMkLst>
            <pc:docMk/>
            <pc:sldMk cId="718926585" sldId="10416"/>
            <ac:spMk id="55" creationId="{8F49C6D1-BE00-4BD4-B114-2E2DE10B7B67}"/>
          </ac:spMkLst>
        </pc:spChg>
        <pc:spChg chg="mod">
          <ac:chgData name="Ugo MANTEL" userId="2d5b7065-31bb-4181-a7f8-a73bf0c30211" providerId="ADAL" clId="{9344D105-636D-4857-BD0F-AFC44A54BCCF}" dt="2021-05-24T13:38:31.563" v="7489"/>
          <ac:spMkLst>
            <pc:docMk/>
            <pc:sldMk cId="718926585" sldId="10416"/>
            <ac:spMk id="57" creationId="{CAE7DA71-5164-43DC-B481-888856A52D66}"/>
          </ac:spMkLst>
        </pc:spChg>
        <pc:spChg chg="mod">
          <ac:chgData name="Ugo MANTEL" userId="2d5b7065-31bb-4181-a7f8-a73bf0c30211" providerId="ADAL" clId="{9344D105-636D-4857-BD0F-AFC44A54BCCF}" dt="2021-05-24T13:38:31.563" v="7489"/>
          <ac:spMkLst>
            <pc:docMk/>
            <pc:sldMk cId="718926585" sldId="10416"/>
            <ac:spMk id="58" creationId="{B441CFCB-B013-4166-94F0-56D132AA3AB6}"/>
          </ac:spMkLst>
        </pc:spChg>
        <pc:spChg chg="mod">
          <ac:chgData name="Ugo MANTEL" userId="2d5b7065-31bb-4181-a7f8-a73bf0c30211" providerId="ADAL" clId="{9344D105-636D-4857-BD0F-AFC44A54BCCF}" dt="2021-05-24T13:38:31.563" v="7489"/>
          <ac:spMkLst>
            <pc:docMk/>
            <pc:sldMk cId="718926585" sldId="10416"/>
            <ac:spMk id="59" creationId="{34E09D3E-52E5-47A8-8840-8CC116656F14}"/>
          </ac:spMkLst>
        </pc:spChg>
        <pc:spChg chg="mod">
          <ac:chgData name="Ugo MANTEL" userId="2d5b7065-31bb-4181-a7f8-a73bf0c30211" providerId="ADAL" clId="{9344D105-636D-4857-BD0F-AFC44A54BCCF}" dt="2021-05-24T13:38:31.563" v="7489"/>
          <ac:spMkLst>
            <pc:docMk/>
            <pc:sldMk cId="718926585" sldId="10416"/>
            <ac:spMk id="60" creationId="{831D71D9-701F-4A9D-B68E-F1F1E1DA1BD2}"/>
          </ac:spMkLst>
        </pc:spChg>
        <pc:spChg chg="mod">
          <ac:chgData name="Ugo MANTEL" userId="2d5b7065-31bb-4181-a7f8-a73bf0c30211" providerId="ADAL" clId="{9344D105-636D-4857-BD0F-AFC44A54BCCF}" dt="2021-05-24T13:38:31.563" v="7489"/>
          <ac:spMkLst>
            <pc:docMk/>
            <pc:sldMk cId="718926585" sldId="10416"/>
            <ac:spMk id="61" creationId="{3E20FCD3-1741-476D-B17B-97937935A4AB}"/>
          </ac:spMkLst>
        </pc:spChg>
        <pc:spChg chg="mod">
          <ac:chgData name="Ugo MANTEL" userId="2d5b7065-31bb-4181-a7f8-a73bf0c30211" providerId="ADAL" clId="{9344D105-636D-4857-BD0F-AFC44A54BCCF}" dt="2021-05-24T13:38:31.563" v="7489"/>
          <ac:spMkLst>
            <pc:docMk/>
            <pc:sldMk cId="718926585" sldId="10416"/>
            <ac:spMk id="62" creationId="{1A29DBC8-4BC3-4B3D-8920-D44CBADB948B}"/>
          </ac:spMkLst>
        </pc:spChg>
        <pc:grpChg chg="add mod">
          <ac:chgData name="Ugo MANTEL" userId="2d5b7065-31bb-4181-a7f8-a73bf0c30211" providerId="ADAL" clId="{9344D105-636D-4857-BD0F-AFC44A54BCCF}" dt="2021-05-24T13:38:31.563" v="7489"/>
          <ac:grpSpMkLst>
            <pc:docMk/>
            <pc:sldMk cId="718926585" sldId="10416"/>
            <ac:grpSpMk id="56" creationId="{DF7A69EF-757D-4D21-957D-D85D9E6DA28D}"/>
          </ac:grpSpMkLst>
        </pc:grpChg>
      </pc:sldChg>
      <pc:sldChg chg="addSp delSp modSp mod">
        <pc:chgData name="Ugo MANTEL" userId="2d5b7065-31bb-4181-a7f8-a73bf0c30211" providerId="ADAL" clId="{9344D105-636D-4857-BD0F-AFC44A54BCCF}" dt="2021-05-25T14:20:11.251" v="27949" actId="790"/>
        <pc:sldMkLst>
          <pc:docMk/>
          <pc:sldMk cId="1880839470" sldId="10420"/>
        </pc:sldMkLst>
        <pc:spChg chg="mod">
          <ac:chgData name="Ugo MANTEL" userId="2d5b7065-31bb-4181-a7f8-a73bf0c30211" providerId="ADAL" clId="{9344D105-636D-4857-BD0F-AFC44A54BCCF}" dt="2021-05-25T14:20:11.225" v="27911" actId="790"/>
          <ac:spMkLst>
            <pc:docMk/>
            <pc:sldMk cId="1880839470" sldId="10420"/>
            <ac:spMk id="2" creationId="{873006D4-BF82-4F00-B534-5D28B2DDCEF5}"/>
          </ac:spMkLst>
        </pc:spChg>
        <pc:spChg chg="mod">
          <ac:chgData name="Ugo MANTEL" userId="2d5b7065-31bb-4181-a7f8-a73bf0c30211" providerId="ADAL" clId="{9344D105-636D-4857-BD0F-AFC44A54BCCF}" dt="2021-05-25T14:20:11.226" v="27912" actId="790"/>
          <ac:spMkLst>
            <pc:docMk/>
            <pc:sldMk cId="1880839470" sldId="10420"/>
            <ac:spMk id="3" creationId="{79D8092C-AC66-484C-9645-EEB08D4A59C6}"/>
          </ac:spMkLst>
        </pc:spChg>
        <pc:spChg chg="mod">
          <ac:chgData name="Ugo MANTEL" userId="2d5b7065-31bb-4181-a7f8-a73bf0c30211" providerId="ADAL" clId="{9344D105-636D-4857-BD0F-AFC44A54BCCF}" dt="2021-05-25T14:20:11.227" v="27913" actId="790"/>
          <ac:spMkLst>
            <pc:docMk/>
            <pc:sldMk cId="1880839470" sldId="10420"/>
            <ac:spMk id="4" creationId="{02BD46C9-B279-482D-89B3-4956B609E15C}"/>
          </ac:spMkLst>
        </pc:spChg>
        <pc:spChg chg="mod">
          <ac:chgData name="Ugo MANTEL" userId="2d5b7065-31bb-4181-a7f8-a73bf0c30211" providerId="ADAL" clId="{9344D105-636D-4857-BD0F-AFC44A54BCCF}" dt="2021-05-25T14:20:11.228" v="27914" actId="790"/>
          <ac:spMkLst>
            <pc:docMk/>
            <pc:sldMk cId="1880839470" sldId="10420"/>
            <ac:spMk id="5" creationId="{661F72E1-48F0-44F4-A92A-E722B8B95227}"/>
          </ac:spMkLst>
        </pc:spChg>
        <pc:spChg chg="mod">
          <ac:chgData name="Ugo MANTEL" userId="2d5b7065-31bb-4181-a7f8-a73bf0c30211" providerId="ADAL" clId="{9344D105-636D-4857-BD0F-AFC44A54BCCF}" dt="2021-05-25T14:20:11.230" v="27916" actId="790"/>
          <ac:spMkLst>
            <pc:docMk/>
            <pc:sldMk cId="1880839470" sldId="10420"/>
            <ac:spMk id="6" creationId="{70B52D0E-DC9C-4722-916E-D6FDF79A7420}"/>
          </ac:spMkLst>
        </pc:spChg>
        <pc:spChg chg="mod">
          <ac:chgData name="Ugo MANTEL" userId="2d5b7065-31bb-4181-a7f8-a73bf0c30211" providerId="ADAL" clId="{9344D105-636D-4857-BD0F-AFC44A54BCCF}" dt="2021-05-25T14:20:11.233" v="27921" actId="790"/>
          <ac:spMkLst>
            <pc:docMk/>
            <pc:sldMk cId="1880839470" sldId="10420"/>
            <ac:spMk id="15" creationId="{371FD0C6-BD25-4B85-8EAD-0502F14E088E}"/>
          </ac:spMkLst>
        </pc:spChg>
        <pc:spChg chg="mod">
          <ac:chgData name="Ugo MANTEL" userId="2d5b7065-31bb-4181-a7f8-a73bf0c30211" providerId="ADAL" clId="{9344D105-636D-4857-BD0F-AFC44A54BCCF}" dt="2021-05-25T14:20:11.236" v="27926" actId="790"/>
          <ac:spMkLst>
            <pc:docMk/>
            <pc:sldMk cId="1880839470" sldId="10420"/>
            <ac:spMk id="17" creationId="{A9119019-F679-42BB-B49F-4E0DCA81AB7E}"/>
          </ac:spMkLst>
        </pc:spChg>
        <pc:spChg chg="mod">
          <ac:chgData name="Ugo MANTEL" userId="2d5b7065-31bb-4181-a7f8-a73bf0c30211" providerId="ADAL" clId="{9344D105-636D-4857-BD0F-AFC44A54BCCF}" dt="2021-05-25T14:20:11.237" v="27927" actId="790"/>
          <ac:spMkLst>
            <pc:docMk/>
            <pc:sldMk cId="1880839470" sldId="10420"/>
            <ac:spMk id="26" creationId="{D02F1702-75A2-41D0-81F2-2BFAC3621779}"/>
          </ac:spMkLst>
        </pc:spChg>
        <pc:spChg chg="mod">
          <ac:chgData name="Ugo MANTEL" userId="2d5b7065-31bb-4181-a7f8-a73bf0c30211" providerId="ADAL" clId="{9344D105-636D-4857-BD0F-AFC44A54BCCF}" dt="2021-05-25T14:20:11.235" v="27925" actId="790"/>
          <ac:spMkLst>
            <pc:docMk/>
            <pc:sldMk cId="1880839470" sldId="10420"/>
            <ac:spMk id="29" creationId="{89FB3B56-79F8-4EBD-967A-A373F7652C6A}"/>
          </ac:spMkLst>
        </pc:spChg>
        <pc:spChg chg="mod">
          <ac:chgData name="Ugo MANTEL" userId="2d5b7065-31bb-4181-a7f8-a73bf0c30211" providerId="ADAL" clId="{9344D105-636D-4857-BD0F-AFC44A54BCCF}" dt="2021-05-25T14:20:11.237" v="27928" actId="790"/>
          <ac:spMkLst>
            <pc:docMk/>
            <pc:sldMk cId="1880839470" sldId="10420"/>
            <ac:spMk id="31" creationId="{A8ABB57D-9FC1-44C5-8530-23D192F77D78}"/>
          </ac:spMkLst>
        </pc:spChg>
        <pc:spChg chg="mod">
          <ac:chgData name="Ugo MANTEL" userId="2d5b7065-31bb-4181-a7f8-a73bf0c30211" providerId="ADAL" clId="{9344D105-636D-4857-BD0F-AFC44A54BCCF}" dt="2021-05-25T14:20:11.235" v="27924" actId="790"/>
          <ac:spMkLst>
            <pc:docMk/>
            <pc:sldMk cId="1880839470" sldId="10420"/>
            <ac:spMk id="32" creationId="{9D4D3A71-F2C6-47DF-BD49-C3D7BFBF9438}"/>
          </ac:spMkLst>
        </pc:spChg>
        <pc:spChg chg="mod">
          <ac:chgData name="Ugo MANTEL" userId="2d5b7065-31bb-4181-a7f8-a73bf0c30211" providerId="ADAL" clId="{9344D105-636D-4857-BD0F-AFC44A54BCCF}" dt="2021-05-25T14:20:11.234" v="27923" actId="790"/>
          <ac:spMkLst>
            <pc:docMk/>
            <pc:sldMk cId="1880839470" sldId="10420"/>
            <ac:spMk id="35" creationId="{6458FF84-438E-4544-91C9-92CD6839FCA3}"/>
          </ac:spMkLst>
        </pc:spChg>
        <pc:spChg chg="mod">
          <ac:chgData name="Ugo MANTEL" userId="2d5b7065-31bb-4181-a7f8-a73bf0c30211" providerId="ADAL" clId="{9344D105-636D-4857-BD0F-AFC44A54BCCF}" dt="2021-05-25T14:20:11.230" v="27915" actId="790"/>
          <ac:spMkLst>
            <pc:docMk/>
            <pc:sldMk cId="1880839470" sldId="10420"/>
            <ac:spMk id="36" creationId="{20444DA5-5894-4095-8895-C57452F8E45B}"/>
          </ac:spMkLst>
        </pc:spChg>
        <pc:spChg chg="mod">
          <ac:chgData name="Ugo MANTEL" userId="2d5b7065-31bb-4181-a7f8-a73bf0c30211" providerId="ADAL" clId="{9344D105-636D-4857-BD0F-AFC44A54BCCF}" dt="2021-05-25T14:20:11.238" v="27929" actId="790"/>
          <ac:spMkLst>
            <pc:docMk/>
            <pc:sldMk cId="1880839470" sldId="10420"/>
            <ac:spMk id="37" creationId="{6503BBF8-FED4-48DE-A886-460FB05439F0}"/>
          </ac:spMkLst>
        </pc:spChg>
        <pc:spChg chg="mod">
          <ac:chgData name="Ugo MANTEL" userId="2d5b7065-31bb-4181-a7f8-a73bf0c30211" providerId="ADAL" clId="{9344D105-636D-4857-BD0F-AFC44A54BCCF}" dt="2021-05-25T14:20:11.238" v="27930" actId="790"/>
          <ac:spMkLst>
            <pc:docMk/>
            <pc:sldMk cId="1880839470" sldId="10420"/>
            <ac:spMk id="38" creationId="{3F11B4ED-9D89-44C6-97B5-84A9B88A28A0}"/>
          </ac:spMkLst>
        </pc:spChg>
        <pc:spChg chg="mod">
          <ac:chgData name="Ugo MANTEL" userId="2d5b7065-31bb-4181-a7f8-a73bf0c30211" providerId="ADAL" clId="{9344D105-636D-4857-BD0F-AFC44A54BCCF}" dt="2021-05-25T14:20:11.239" v="27931" actId="790"/>
          <ac:spMkLst>
            <pc:docMk/>
            <pc:sldMk cId="1880839470" sldId="10420"/>
            <ac:spMk id="39" creationId="{8D6F807D-093C-4031-8B72-64CF391C111D}"/>
          </ac:spMkLst>
        </pc:spChg>
        <pc:spChg chg="mod">
          <ac:chgData name="Ugo MANTEL" userId="2d5b7065-31bb-4181-a7f8-a73bf0c30211" providerId="ADAL" clId="{9344D105-636D-4857-BD0F-AFC44A54BCCF}" dt="2021-05-25T14:20:11.240" v="27932" actId="790"/>
          <ac:spMkLst>
            <pc:docMk/>
            <pc:sldMk cId="1880839470" sldId="10420"/>
            <ac:spMk id="40" creationId="{E671D48A-B1A4-4B26-B60F-65E19EB4D45B}"/>
          </ac:spMkLst>
        </pc:spChg>
        <pc:spChg chg="mod">
          <ac:chgData name="Ugo MANTEL" userId="2d5b7065-31bb-4181-a7f8-a73bf0c30211" providerId="ADAL" clId="{9344D105-636D-4857-BD0F-AFC44A54BCCF}" dt="2021-05-25T14:20:11.231" v="27917" actId="790"/>
          <ac:spMkLst>
            <pc:docMk/>
            <pc:sldMk cId="1880839470" sldId="10420"/>
            <ac:spMk id="42" creationId="{1247795D-0072-40BA-AF93-9C1D019692A8}"/>
          </ac:spMkLst>
        </pc:spChg>
        <pc:spChg chg="mod">
          <ac:chgData name="Ugo MANTEL" userId="2d5b7065-31bb-4181-a7f8-a73bf0c30211" providerId="ADAL" clId="{9344D105-636D-4857-BD0F-AFC44A54BCCF}" dt="2021-05-25T14:20:11.231" v="27918" actId="790"/>
          <ac:spMkLst>
            <pc:docMk/>
            <pc:sldMk cId="1880839470" sldId="10420"/>
            <ac:spMk id="43" creationId="{36DDE4C0-A9E6-441D-96A4-45A7DBB77394}"/>
          </ac:spMkLst>
        </pc:spChg>
        <pc:spChg chg="mod">
          <ac:chgData name="Ugo MANTEL" userId="2d5b7065-31bb-4181-a7f8-a73bf0c30211" providerId="ADAL" clId="{9344D105-636D-4857-BD0F-AFC44A54BCCF}" dt="2021-05-25T14:20:11.232" v="27919" actId="790"/>
          <ac:spMkLst>
            <pc:docMk/>
            <pc:sldMk cId="1880839470" sldId="10420"/>
            <ac:spMk id="44" creationId="{2F8E33B2-FF7C-48A6-A801-E93B48683090}"/>
          </ac:spMkLst>
        </pc:spChg>
        <pc:spChg chg="mod">
          <ac:chgData name="Ugo MANTEL" userId="2d5b7065-31bb-4181-a7f8-a73bf0c30211" providerId="ADAL" clId="{9344D105-636D-4857-BD0F-AFC44A54BCCF}" dt="2021-05-25T14:20:11.233" v="27920" actId="790"/>
          <ac:spMkLst>
            <pc:docMk/>
            <pc:sldMk cId="1880839470" sldId="10420"/>
            <ac:spMk id="51" creationId="{30907CB5-2327-4812-BF4E-80ADB62C119C}"/>
          </ac:spMkLst>
        </pc:spChg>
        <pc:spChg chg="mod">
          <ac:chgData name="Ugo MANTEL" userId="2d5b7065-31bb-4181-a7f8-a73bf0c30211" providerId="ADAL" clId="{9344D105-636D-4857-BD0F-AFC44A54BCCF}" dt="2021-05-25T14:20:11.241" v="27934" actId="790"/>
          <ac:spMkLst>
            <pc:docMk/>
            <pc:sldMk cId="1880839470" sldId="10420"/>
            <ac:spMk id="61" creationId="{6AD76FA3-6E7D-4573-94F3-B77C5EE0163C}"/>
          </ac:spMkLst>
        </pc:spChg>
        <pc:spChg chg="del">
          <ac:chgData name="Ugo MANTEL" userId="2d5b7065-31bb-4181-a7f8-a73bf0c30211" providerId="ADAL" clId="{9344D105-636D-4857-BD0F-AFC44A54BCCF}" dt="2021-05-24T13:38:40.561" v="7492" actId="478"/>
          <ac:spMkLst>
            <pc:docMk/>
            <pc:sldMk cId="1880839470" sldId="10420"/>
            <ac:spMk id="62" creationId="{A89E7587-7226-4BC7-930E-8B93D0CCB38A}"/>
          </ac:spMkLst>
        </pc:spChg>
        <pc:spChg chg="del">
          <ac:chgData name="Ugo MANTEL" userId="2d5b7065-31bb-4181-a7f8-a73bf0c30211" providerId="ADAL" clId="{9344D105-636D-4857-BD0F-AFC44A54BCCF}" dt="2021-05-24T13:38:40.561" v="7492" actId="478"/>
          <ac:spMkLst>
            <pc:docMk/>
            <pc:sldMk cId="1880839470" sldId="10420"/>
            <ac:spMk id="63" creationId="{5B17D98B-6F04-4371-AEFA-07E41640F217}"/>
          </ac:spMkLst>
        </pc:spChg>
        <pc:spChg chg="mod">
          <ac:chgData name="Ugo MANTEL" userId="2d5b7065-31bb-4181-a7f8-a73bf0c30211" providerId="ADAL" clId="{9344D105-636D-4857-BD0F-AFC44A54BCCF}" dt="2021-05-25T14:20:11.247" v="27942" actId="790"/>
          <ac:spMkLst>
            <pc:docMk/>
            <pc:sldMk cId="1880839470" sldId="10420"/>
            <ac:spMk id="63" creationId="{68579EF2-D9C9-42A6-9EFA-D329BA498B2D}"/>
          </ac:spMkLst>
        </pc:spChg>
        <pc:spChg chg="del">
          <ac:chgData name="Ugo MANTEL" userId="2d5b7065-31bb-4181-a7f8-a73bf0c30211" providerId="ADAL" clId="{9344D105-636D-4857-BD0F-AFC44A54BCCF}" dt="2021-05-24T13:38:40.561" v="7492" actId="478"/>
          <ac:spMkLst>
            <pc:docMk/>
            <pc:sldMk cId="1880839470" sldId="10420"/>
            <ac:spMk id="64" creationId="{A29A1AD4-C7A5-4949-93EB-D47986116E10}"/>
          </ac:spMkLst>
        </pc:spChg>
        <pc:spChg chg="del">
          <ac:chgData name="Ugo MANTEL" userId="2d5b7065-31bb-4181-a7f8-a73bf0c30211" providerId="ADAL" clId="{9344D105-636D-4857-BD0F-AFC44A54BCCF}" dt="2021-05-24T13:38:40.561" v="7492" actId="478"/>
          <ac:spMkLst>
            <pc:docMk/>
            <pc:sldMk cId="1880839470" sldId="10420"/>
            <ac:spMk id="65" creationId="{8CE43CC9-42A1-44F9-B49B-D523A60E224B}"/>
          </ac:spMkLst>
        </pc:spChg>
        <pc:spChg chg="del">
          <ac:chgData name="Ugo MANTEL" userId="2d5b7065-31bb-4181-a7f8-a73bf0c30211" providerId="ADAL" clId="{9344D105-636D-4857-BD0F-AFC44A54BCCF}" dt="2021-05-24T13:38:40.561" v="7492" actId="478"/>
          <ac:spMkLst>
            <pc:docMk/>
            <pc:sldMk cId="1880839470" sldId="10420"/>
            <ac:spMk id="68" creationId="{2A9EDC9E-A4BB-4383-A3B0-88EFE282711B}"/>
          </ac:spMkLst>
        </pc:spChg>
        <pc:spChg chg="mod">
          <ac:chgData name="Ugo MANTEL" userId="2d5b7065-31bb-4181-a7f8-a73bf0c30211" providerId="ADAL" clId="{9344D105-636D-4857-BD0F-AFC44A54BCCF}" dt="2021-05-25T14:20:11.248" v="27943" actId="790"/>
          <ac:spMkLst>
            <pc:docMk/>
            <pc:sldMk cId="1880839470" sldId="10420"/>
            <ac:spMk id="68" creationId="{31C670E6-F1C0-4932-930D-13E6ADDAD434}"/>
          </ac:spMkLst>
        </pc:spChg>
        <pc:spChg chg="mod">
          <ac:chgData name="Ugo MANTEL" userId="2d5b7065-31bb-4181-a7f8-a73bf0c30211" providerId="ADAL" clId="{9344D105-636D-4857-BD0F-AFC44A54BCCF}" dt="2021-05-25T14:20:11.246" v="27940" actId="790"/>
          <ac:spMkLst>
            <pc:docMk/>
            <pc:sldMk cId="1880839470" sldId="10420"/>
            <ac:spMk id="69" creationId="{01D1152F-DC04-47F3-B3E6-FE427477534B}"/>
          </ac:spMkLst>
        </pc:spChg>
        <pc:spChg chg="add mod">
          <ac:chgData name="Ugo MANTEL" userId="2d5b7065-31bb-4181-a7f8-a73bf0c30211" providerId="ADAL" clId="{9344D105-636D-4857-BD0F-AFC44A54BCCF}" dt="2021-05-25T14:20:11.247" v="27941" actId="790"/>
          <ac:spMkLst>
            <pc:docMk/>
            <pc:sldMk cId="1880839470" sldId="10420"/>
            <ac:spMk id="71" creationId="{1110DCA5-C0ED-4E32-B622-D42F7E75F087}"/>
          </ac:spMkLst>
        </pc:spChg>
        <pc:spChg chg="mod">
          <ac:chgData name="Ugo MANTEL" userId="2d5b7065-31bb-4181-a7f8-a73bf0c30211" providerId="ADAL" clId="{9344D105-636D-4857-BD0F-AFC44A54BCCF}" dt="2021-05-25T07:51:11.051" v="11612" actId="114"/>
          <ac:spMkLst>
            <pc:docMk/>
            <pc:sldMk cId="1880839470" sldId="10420"/>
            <ac:spMk id="73" creationId="{C04BD52F-AA2B-4CAE-B639-93262B0CFA81}"/>
          </ac:spMkLst>
        </pc:spChg>
        <pc:spChg chg="mod">
          <ac:chgData name="Ugo MANTEL" userId="2d5b7065-31bb-4181-a7f8-a73bf0c30211" providerId="ADAL" clId="{9344D105-636D-4857-BD0F-AFC44A54BCCF}" dt="2021-05-24T13:38:40.897" v="7493"/>
          <ac:spMkLst>
            <pc:docMk/>
            <pc:sldMk cId="1880839470" sldId="10420"/>
            <ac:spMk id="74" creationId="{305F0BE6-DEBA-4EAA-BE46-38FC4E20BD59}"/>
          </ac:spMkLst>
        </pc:spChg>
        <pc:spChg chg="mod">
          <ac:chgData name="Ugo MANTEL" userId="2d5b7065-31bb-4181-a7f8-a73bf0c30211" providerId="ADAL" clId="{9344D105-636D-4857-BD0F-AFC44A54BCCF}" dt="2021-05-24T13:38:40.897" v="7493"/>
          <ac:spMkLst>
            <pc:docMk/>
            <pc:sldMk cId="1880839470" sldId="10420"/>
            <ac:spMk id="75" creationId="{7E21AEFA-DDFF-4EFD-9F77-05E47F124F6E}"/>
          </ac:spMkLst>
        </pc:spChg>
        <pc:spChg chg="mod">
          <ac:chgData name="Ugo MANTEL" userId="2d5b7065-31bb-4181-a7f8-a73bf0c30211" providerId="ADAL" clId="{9344D105-636D-4857-BD0F-AFC44A54BCCF}" dt="2021-05-25T14:20:11.234" v="27922" actId="790"/>
          <ac:spMkLst>
            <pc:docMk/>
            <pc:sldMk cId="1880839470" sldId="10420"/>
            <ac:spMk id="77" creationId="{34FF3F00-6BF4-4528-85CB-44C6EF344C99}"/>
          </ac:spMkLst>
        </pc:spChg>
        <pc:spChg chg="mod">
          <ac:chgData name="Ugo MANTEL" userId="2d5b7065-31bb-4181-a7f8-a73bf0c30211" providerId="ADAL" clId="{9344D105-636D-4857-BD0F-AFC44A54BCCF}" dt="2021-05-24T13:38:40.897" v="7493"/>
          <ac:spMkLst>
            <pc:docMk/>
            <pc:sldMk cId="1880839470" sldId="10420"/>
            <ac:spMk id="79" creationId="{71D09F23-8FFD-4D9F-8487-394634952140}"/>
          </ac:spMkLst>
        </pc:spChg>
        <pc:spChg chg="mod">
          <ac:chgData name="Ugo MANTEL" userId="2d5b7065-31bb-4181-a7f8-a73bf0c30211" providerId="ADAL" clId="{9344D105-636D-4857-BD0F-AFC44A54BCCF}" dt="2021-05-24T13:38:40.897" v="7493"/>
          <ac:spMkLst>
            <pc:docMk/>
            <pc:sldMk cId="1880839470" sldId="10420"/>
            <ac:spMk id="80" creationId="{B74B23A4-2E97-4140-BCE8-AD19AA1BAFA4}"/>
          </ac:spMkLst>
        </pc:spChg>
        <pc:spChg chg="mod">
          <ac:chgData name="Ugo MANTEL" userId="2d5b7065-31bb-4181-a7f8-a73bf0c30211" providerId="ADAL" clId="{9344D105-636D-4857-BD0F-AFC44A54BCCF}" dt="2021-05-24T13:38:40.897" v="7493"/>
          <ac:spMkLst>
            <pc:docMk/>
            <pc:sldMk cId="1880839470" sldId="10420"/>
            <ac:spMk id="81" creationId="{D6151953-C018-432F-848B-9479A7B7C504}"/>
          </ac:spMkLst>
        </pc:spChg>
        <pc:spChg chg="mod">
          <ac:chgData name="Ugo MANTEL" userId="2d5b7065-31bb-4181-a7f8-a73bf0c30211" providerId="ADAL" clId="{9344D105-636D-4857-BD0F-AFC44A54BCCF}" dt="2021-05-24T13:38:40.897" v="7493"/>
          <ac:spMkLst>
            <pc:docMk/>
            <pc:sldMk cId="1880839470" sldId="10420"/>
            <ac:spMk id="83" creationId="{EB964CC9-6A52-460E-8525-23FCA33D987C}"/>
          </ac:spMkLst>
        </pc:spChg>
        <pc:spChg chg="mod">
          <ac:chgData name="Ugo MANTEL" userId="2d5b7065-31bb-4181-a7f8-a73bf0c30211" providerId="ADAL" clId="{9344D105-636D-4857-BD0F-AFC44A54BCCF}" dt="2021-05-25T14:20:11.248" v="27944" actId="790"/>
          <ac:spMkLst>
            <pc:docMk/>
            <pc:sldMk cId="1880839470" sldId="10420"/>
            <ac:spMk id="84" creationId="{4ECD5616-AFDF-414F-8A88-7F94A5251900}"/>
          </ac:spMkLst>
        </pc:spChg>
        <pc:spChg chg="mod">
          <ac:chgData name="Ugo MANTEL" userId="2d5b7065-31bb-4181-a7f8-a73bf0c30211" providerId="ADAL" clId="{9344D105-636D-4857-BD0F-AFC44A54BCCF}" dt="2021-05-25T14:20:11.249" v="27945" actId="790"/>
          <ac:spMkLst>
            <pc:docMk/>
            <pc:sldMk cId="1880839470" sldId="10420"/>
            <ac:spMk id="85" creationId="{B82744E7-0816-4214-84A2-D10A9FA55958}"/>
          </ac:spMkLst>
        </pc:spChg>
        <pc:spChg chg="mod">
          <ac:chgData name="Ugo MANTEL" userId="2d5b7065-31bb-4181-a7f8-a73bf0c30211" providerId="ADAL" clId="{9344D105-636D-4857-BD0F-AFC44A54BCCF}" dt="2021-05-25T14:20:11.249" v="27946" actId="790"/>
          <ac:spMkLst>
            <pc:docMk/>
            <pc:sldMk cId="1880839470" sldId="10420"/>
            <ac:spMk id="86" creationId="{3D784052-28C0-4EEB-8D75-162017EFEF8A}"/>
          </ac:spMkLst>
        </pc:spChg>
        <pc:spChg chg="mod">
          <ac:chgData name="Ugo MANTEL" userId="2d5b7065-31bb-4181-a7f8-a73bf0c30211" providerId="ADAL" clId="{9344D105-636D-4857-BD0F-AFC44A54BCCF}" dt="2021-05-25T14:20:11.240" v="27933" actId="790"/>
          <ac:spMkLst>
            <pc:docMk/>
            <pc:sldMk cId="1880839470" sldId="10420"/>
            <ac:spMk id="87" creationId="{969B0457-9AFB-478C-83F9-279061671C83}"/>
          </ac:spMkLst>
        </pc:spChg>
        <pc:spChg chg="mod">
          <ac:chgData name="Ugo MANTEL" userId="2d5b7065-31bb-4181-a7f8-a73bf0c30211" providerId="ADAL" clId="{9344D105-636D-4857-BD0F-AFC44A54BCCF}" dt="2021-05-25T14:20:11.250" v="27947" actId="790"/>
          <ac:spMkLst>
            <pc:docMk/>
            <pc:sldMk cId="1880839470" sldId="10420"/>
            <ac:spMk id="88" creationId="{84C437B2-41A7-4B1D-B6B5-C74D7F2007C4}"/>
          </ac:spMkLst>
        </pc:spChg>
        <pc:spChg chg="mod">
          <ac:chgData name="Ugo MANTEL" userId="2d5b7065-31bb-4181-a7f8-a73bf0c30211" providerId="ADAL" clId="{9344D105-636D-4857-BD0F-AFC44A54BCCF}" dt="2021-05-25T14:20:11.250" v="27948" actId="790"/>
          <ac:spMkLst>
            <pc:docMk/>
            <pc:sldMk cId="1880839470" sldId="10420"/>
            <ac:spMk id="89" creationId="{7573E8A5-F804-4A0F-B74E-6A94AC2B01B9}"/>
          </ac:spMkLst>
        </pc:spChg>
        <pc:spChg chg="mod">
          <ac:chgData name="Ugo MANTEL" userId="2d5b7065-31bb-4181-a7f8-a73bf0c30211" providerId="ADAL" clId="{9344D105-636D-4857-BD0F-AFC44A54BCCF}" dt="2021-05-25T14:20:11.251" v="27949" actId="790"/>
          <ac:spMkLst>
            <pc:docMk/>
            <pc:sldMk cId="1880839470" sldId="10420"/>
            <ac:spMk id="90" creationId="{F2D1466A-128D-4CB3-8881-8422DBD50FD9}"/>
          </ac:spMkLst>
        </pc:spChg>
        <pc:spChg chg="mod">
          <ac:chgData name="Ugo MANTEL" userId="2d5b7065-31bb-4181-a7f8-a73bf0c30211" providerId="ADAL" clId="{9344D105-636D-4857-BD0F-AFC44A54BCCF}" dt="2021-05-25T14:20:11.241" v="27935" actId="790"/>
          <ac:spMkLst>
            <pc:docMk/>
            <pc:sldMk cId="1880839470" sldId="10420"/>
            <ac:spMk id="102" creationId="{E0A3228D-D7F4-4A30-B4B2-A7E4D2315ACB}"/>
          </ac:spMkLst>
        </pc:spChg>
        <pc:spChg chg="mod">
          <ac:chgData name="Ugo MANTEL" userId="2d5b7065-31bb-4181-a7f8-a73bf0c30211" providerId="ADAL" clId="{9344D105-636D-4857-BD0F-AFC44A54BCCF}" dt="2021-05-25T14:20:11.242" v="27936" actId="790"/>
          <ac:spMkLst>
            <pc:docMk/>
            <pc:sldMk cId="1880839470" sldId="10420"/>
            <ac:spMk id="103" creationId="{60955DD5-4169-4F04-B2BF-2D2A64980A04}"/>
          </ac:spMkLst>
        </pc:spChg>
        <pc:spChg chg="mod">
          <ac:chgData name="Ugo MANTEL" userId="2d5b7065-31bb-4181-a7f8-a73bf0c30211" providerId="ADAL" clId="{9344D105-636D-4857-BD0F-AFC44A54BCCF}" dt="2021-05-25T14:20:11.243" v="27937" actId="790"/>
          <ac:spMkLst>
            <pc:docMk/>
            <pc:sldMk cId="1880839470" sldId="10420"/>
            <ac:spMk id="104" creationId="{4A968F88-0BEE-4D26-A5E9-83CB21CDAC4E}"/>
          </ac:spMkLst>
        </pc:spChg>
        <pc:spChg chg="mod">
          <ac:chgData name="Ugo MANTEL" userId="2d5b7065-31bb-4181-a7f8-a73bf0c30211" providerId="ADAL" clId="{9344D105-636D-4857-BD0F-AFC44A54BCCF}" dt="2021-05-25T14:20:11.244" v="27938" actId="790"/>
          <ac:spMkLst>
            <pc:docMk/>
            <pc:sldMk cId="1880839470" sldId="10420"/>
            <ac:spMk id="105" creationId="{8CE0D118-0AFC-408B-A2A2-0061AEB48222}"/>
          </ac:spMkLst>
        </pc:spChg>
        <pc:spChg chg="mod">
          <ac:chgData name="Ugo MANTEL" userId="2d5b7065-31bb-4181-a7f8-a73bf0c30211" providerId="ADAL" clId="{9344D105-636D-4857-BD0F-AFC44A54BCCF}" dt="2021-05-25T14:20:11.244" v="27939" actId="790"/>
          <ac:spMkLst>
            <pc:docMk/>
            <pc:sldMk cId="1880839470" sldId="10420"/>
            <ac:spMk id="120" creationId="{C57198B3-D8BE-4D70-B9B4-2277FF73857B}"/>
          </ac:spMkLst>
        </pc:spChg>
        <pc:grpChg chg="add mod">
          <ac:chgData name="Ugo MANTEL" userId="2d5b7065-31bb-4181-a7f8-a73bf0c30211" providerId="ADAL" clId="{9344D105-636D-4857-BD0F-AFC44A54BCCF}" dt="2021-05-24T13:38:40.897" v="7493"/>
          <ac:grpSpMkLst>
            <pc:docMk/>
            <pc:sldMk cId="1880839470" sldId="10420"/>
            <ac:grpSpMk id="72" creationId="{C401F5AE-9161-4ED8-9A26-4E27F9303F54}"/>
          </ac:grpSpMkLst>
        </pc:grpChg>
      </pc:sldChg>
      <pc:sldChg chg="addSp delSp modSp mod">
        <pc:chgData name="Ugo MANTEL" userId="2d5b7065-31bb-4181-a7f8-a73bf0c30211" providerId="ADAL" clId="{9344D105-636D-4857-BD0F-AFC44A54BCCF}" dt="2021-05-25T14:20:11.522" v="28218" actId="790"/>
        <pc:sldMkLst>
          <pc:docMk/>
          <pc:sldMk cId="3436081094" sldId="10430"/>
        </pc:sldMkLst>
        <pc:spChg chg="add del mod">
          <ac:chgData name="Ugo MANTEL" userId="2d5b7065-31bb-4181-a7f8-a73bf0c30211" providerId="ADAL" clId="{9344D105-636D-4857-BD0F-AFC44A54BCCF}" dt="2021-05-25T14:20:11.498" v="28200" actId="790"/>
          <ac:spMkLst>
            <pc:docMk/>
            <pc:sldMk cId="3436081094" sldId="10430"/>
            <ac:spMk id="2" creationId="{076A8F7F-F895-46CF-AE68-CFD9FFD3C71A}"/>
          </ac:spMkLst>
        </pc:spChg>
        <pc:spChg chg="mod">
          <ac:chgData name="Ugo MANTEL" userId="2d5b7065-31bb-4181-a7f8-a73bf0c30211" providerId="ADAL" clId="{9344D105-636D-4857-BD0F-AFC44A54BCCF}" dt="2021-05-25T14:20:11.511" v="28210" actId="790"/>
          <ac:spMkLst>
            <pc:docMk/>
            <pc:sldMk cId="3436081094" sldId="10430"/>
            <ac:spMk id="3" creationId="{99D55450-9CBF-4572-8BF1-B9F5C66D1D7B}"/>
          </ac:spMkLst>
        </pc:spChg>
        <pc:spChg chg="mod">
          <ac:chgData name="Ugo MANTEL" userId="2d5b7065-31bb-4181-a7f8-a73bf0c30211" providerId="ADAL" clId="{9344D105-636D-4857-BD0F-AFC44A54BCCF}" dt="2021-05-25T14:20:11.499" v="28201" actId="790"/>
          <ac:spMkLst>
            <pc:docMk/>
            <pc:sldMk cId="3436081094" sldId="10430"/>
            <ac:spMk id="5" creationId="{14879C95-E469-44D8-A9AD-02681D654566}"/>
          </ac:spMkLst>
        </pc:spChg>
        <pc:spChg chg="mod">
          <ac:chgData name="Ugo MANTEL" userId="2d5b7065-31bb-4181-a7f8-a73bf0c30211" providerId="ADAL" clId="{9344D105-636D-4857-BD0F-AFC44A54BCCF}" dt="2021-05-25T14:20:11.499" v="28202" actId="790"/>
          <ac:spMkLst>
            <pc:docMk/>
            <pc:sldMk cId="3436081094" sldId="10430"/>
            <ac:spMk id="6" creationId="{668934EF-3B2B-41C8-A852-24F884CDB87E}"/>
          </ac:spMkLst>
        </pc:spChg>
        <pc:spChg chg="mod">
          <ac:chgData name="Ugo MANTEL" userId="2d5b7065-31bb-4181-a7f8-a73bf0c30211" providerId="ADAL" clId="{9344D105-636D-4857-BD0F-AFC44A54BCCF}" dt="2021-05-25T14:20:11.500" v="28203" actId="790"/>
          <ac:spMkLst>
            <pc:docMk/>
            <pc:sldMk cId="3436081094" sldId="10430"/>
            <ac:spMk id="7" creationId="{6A3CD12F-6027-43F5-950A-553D45044CF9}"/>
          </ac:spMkLst>
        </pc:spChg>
        <pc:spChg chg="mod">
          <ac:chgData name="Ugo MANTEL" userId="2d5b7065-31bb-4181-a7f8-a73bf0c30211" providerId="ADAL" clId="{9344D105-636D-4857-BD0F-AFC44A54BCCF}" dt="2021-05-25T14:20:11.501" v="28204" actId="790"/>
          <ac:spMkLst>
            <pc:docMk/>
            <pc:sldMk cId="3436081094" sldId="10430"/>
            <ac:spMk id="12" creationId="{6E04BA92-898B-4C5B-BC90-D7370A80E238}"/>
          </ac:spMkLst>
        </pc:spChg>
        <pc:spChg chg="mod">
          <ac:chgData name="Ugo MANTEL" userId="2d5b7065-31bb-4181-a7f8-a73bf0c30211" providerId="ADAL" clId="{9344D105-636D-4857-BD0F-AFC44A54BCCF}" dt="2021-05-25T14:20:11.522" v="28218" actId="790"/>
          <ac:spMkLst>
            <pc:docMk/>
            <pc:sldMk cId="3436081094" sldId="10430"/>
            <ac:spMk id="13" creationId="{67FF2AF0-191A-453A-83C2-8045CA773D57}"/>
          </ac:spMkLst>
        </pc:spChg>
        <pc:spChg chg="add del mod modVis">
          <ac:chgData name="Ugo MANTEL" userId="2d5b7065-31bb-4181-a7f8-a73bf0c30211" providerId="ADAL" clId="{9344D105-636D-4857-BD0F-AFC44A54BCCF}" dt="2021-05-25T11:07:58.734" v="16401"/>
          <ac:spMkLst>
            <pc:docMk/>
            <pc:sldMk cId="3436081094" sldId="10430"/>
            <ac:spMk id="13" creationId="{B218900B-4286-4C90-91CE-5F6242A0E968}"/>
          </ac:spMkLst>
        </pc:spChg>
        <pc:spChg chg="add del mod modVis">
          <ac:chgData name="Ugo MANTEL" userId="2d5b7065-31bb-4181-a7f8-a73bf0c30211" providerId="ADAL" clId="{9344D105-636D-4857-BD0F-AFC44A54BCCF}" dt="2021-05-25T11:08:01.420" v="16445"/>
          <ac:spMkLst>
            <pc:docMk/>
            <pc:sldMk cId="3436081094" sldId="10430"/>
            <ac:spMk id="14" creationId="{B3DAF437-C92F-4F35-A0A8-A1BA28DB1E9C}"/>
          </ac:spMkLst>
        </pc:spChg>
        <pc:spChg chg="add del mod modVis">
          <ac:chgData name="Ugo MANTEL" userId="2d5b7065-31bb-4181-a7f8-a73bf0c30211" providerId="ADAL" clId="{9344D105-636D-4857-BD0F-AFC44A54BCCF}" dt="2021-05-25T11:08:31.772" v="16543"/>
          <ac:spMkLst>
            <pc:docMk/>
            <pc:sldMk cId="3436081094" sldId="10430"/>
            <ac:spMk id="15" creationId="{F3D826D8-AC38-4681-A008-7FE9E1D5226D}"/>
          </ac:spMkLst>
        </pc:spChg>
        <pc:spChg chg="add del mod modVis">
          <ac:chgData name="Ugo MANTEL" userId="2d5b7065-31bb-4181-a7f8-a73bf0c30211" providerId="ADAL" clId="{9344D105-636D-4857-BD0F-AFC44A54BCCF}" dt="2021-05-25T11:08:32.369" v="16587"/>
          <ac:spMkLst>
            <pc:docMk/>
            <pc:sldMk cId="3436081094" sldId="10430"/>
            <ac:spMk id="16" creationId="{C7524F61-6316-443E-B380-6C1B201A19BF}"/>
          </ac:spMkLst>
        </pc:spChg>
        <pc:spChg chg="add del mod modVis">
          <ac:chgData name="Ugo MANTEL" userId="2d5b7065-31bb-4181-a7f8-a73bf0c30211" providerId="ADAL" clId="{9344D105-636D-4857-BD0F-AFC44A54BCCF}" dt="2021-05-25T11:08:33.632" v="16632"/>
          <ac:spMkLst>
            <pc:docMk/>
            <pc:sldMk cId="3436081094" sldId="10430"/>
            <ac:spMk id="17" creationId="{611A8571-EAD0-4467-9B34-3C7B13B16EAA}"/>
          </ac:spMkLst>
        </pc:spChg>
        <pc:spChg chg="add del mod modVis">
          <ac:chgData name="Ugo MANTEL" userId="2d5b7065-31bb-4181-a7f8-a73bf0c30211" providerId="ADAL" clId="{9344D105-636D-4857-BD0F-AFC44A54BCCF}" dt="2021-05-25T11:08:35.073" v="16683"/>
          <ac:spMkLst>
            <pc:docMk/>
            <pc:sldMk cId="3436081094" sldId="10430"/>
            <ac:spMk id="18" creationId="{87812A48-A3F6-4D98-B219-C09511FD5254}"/>
          </ac:spMkLst>
        </pc:spChg>
        <pc:spChg chg="add del mod modVis">
          <ac:chgData name="Ugo MANTEL" userId="2d5b7065-31bb-4181-a7f8-a73bf0c30211" providerId="ADAL" clId="{9344D105-636D-4857-BD0F-AFC44A54BCCF}" dt="2021-05-25T11:08:36.552" v="16729"/>
          <ac:spMkLst>
            <pc:docMk/>
            <pc:sldMk cId="3436081094" sldId="10430"/>
            <ac:spMk id="19" creationId="{1DAC33D8-A86B-4002-9EEA-C9AD08C46BBA}"/>
          </ac:spMkLst>
        </pc:spChg>
        <pc:spChg chg="add del mod modVis">
          <ac:chgData name="Ugo MANTEL" userId="2d5b7065-31bb-4181-a7f8-a73bf0c30211" providerId="ADAL" clId="{9344D105-636D-4857-BD0F-AFC44A54BCCF}" dt="2021-05-25T11:08:37.165" v="16773"/>
          <ac:spMkLst>
            <pc:docMk/>
            <pc:sldMk cId="3436081094" sldId="10430"/>
            <ac:spMk id="20" creationId="{0EC757E0-9112-4FAC-90F8-51A58D28B15B}"/>
          </ac:spMkLst>
        </pc:spChg>
        <pc:spChg chg="add del mod modVis">
          <ac:chgData name="Ugo MANTEL" userId="2d5b7065-31bb-4181-a7f8-a73bf0c30211" providerId="ADAL" clId="{9344D105-636D-4857-BD0F-AFC44A54BCCF}" dt="2021-05-25T11:08:39.612" v="16824"/>
          <ac:spMkLst>
            <pc:docMk/>
            <pc:sldMk cId="3436081094" sldId="10430"/>
            <ac:spMk id="21" creationId="{2227831C-4E15-42D1-9D5A-9E43EDF4EE7A}"/>
          </ac:spMkLst>
        </pc:spChg>
        <pc:spChg chg="add del mod modVis">
          <ac:chgData name="Ugo MANTEL" userId="2d5b7065-31bb-4181-a7f8-a73bf0c30211" providerId="ADAL" clId="{9344D105-636D-4857-BD0F-AFC44A54BCCF}" dt="2021-05-25T11:08:40.594" v="16870"/>
          <ac:spMkLst>
            <pc:docMk/>
            <pc:sldMk cId="3436081094" sldId="10430"/>
            <ac:spMk id="22" creationId="{EA1CBE33-5783-4A7A-84F2-DD2120D32659}"/>
          </ac:spMkLst>
        </pc:spChg>
        <pc:spChg chg="mod">
          <ac:chgData name="Ugo MANTEL" userId="2d5b7065-31bb-4181-a7f8-a73bf0c30211" providerId="ADAL" clId="{9344D105-636D-4857-BD0F-AFC44A54BCCF}" dt="2021-05-25T14:20:11.501" v="28205" actId="790"/>
          <ac:spMkLst>
            <pc:docMk/>
            <pc:sldMk cId="3436081094" sldId="10430"/>
            <ac:spMk id="23" creationId="{9D6B7B07-4A05-4C23-B8C2-BF6B61723B12}"/>
          </ac:spMkLst>
        </pc:spChg>
        <pc:spChg chg="mod">
          <ac:chgData name="Ugo MANTEL" userId="2d5b7065-31bb-4181-a7f8-a73bf0c30211" providerId="ADAL" clId="{9344D105-636D-4857-BD0F-AFC44A54BCCF}" dt="2021-05-25T14:20:11.502" v="28206" actId="790"/>
          <ac:spMkLst>
            <pc:docMk/>
            <pc:sldMk cId="3436081094" sldId="10430"/>
            <ac:spMk id="24" creationId="{92BE8562-398F-47AA-9DFF-98ED6254380E}"/>
          </ac:spMkLst>
        </pc:spChg>
        <pc:spChg chg="del">
          <ac:chgData name="Ugo MANTEL" userId="2d5b7065-31bb-4181-a7f8-a73bf0c30211" providerId="ADAL" clId="{9344D105-636D-4857-BD0F-AFC44A54BCCF}" dt="2021-05-25T13:42:16.680" v="20241" actId="478"/>
          <ac:spMkLst>
            <pc:docMk/>
            <pc:sldMk cId="3436081094" sldId="10430"/>
            <ac:spMk id="27" creationId="{F7770564-9825-4977-8E28-84052D408859}"/>
          </ac:spMkLst>
        </pc:spChg>
        <pc:spChg chg="mod">
          <ac:chgData name="Ugo MANTEL" userId="2d5b7065-31bb-4181-a7f8-a73bf0c30211" providerId="ADAL" clId="{9344D105-636D-4857-BD0F-AFC44A54BCCF}" dt="2021-05-25T14:20:11.502" v="28207" actId="790"/>
          <ac:spMkLst>
            <pc:docMk/>
            <pc:sldMk cId="3436081094" sldId="10430"/>
            <ac:spMk id="28" creationId="{B3C1858A-F04B-4556-8114-AD5557508D65}"/>
          </ac:spMkLst>
        </pc:spChg>
        <pc:spChg chg="add del mod modVis">
          <ac:chgData name="Ugo MANTEL" userId="2d5b7065-31bb-4181-a7f8-a73bf0c30211" providerId="ADAL" clId="{9344D105-636D-4857-BD0F-AFC44A54BCCF}" dt="2021-05-25T11:08:47.435" v="16918"/>
          <ac:spMkLst>
            <pc:docMk/>
            <pc:sldMk cId="3436081094" sldId="10430"/>
            <ac:spMk id="29" creationId="{F4DCBD1E-C670-4AE5-8930-B7FA2C2C0D3A}"/>
          </ac:spMkLst>
        </pc:spChg>
        <pc:spChg chg="add del mod">
          <ac:chgData name="Ugo MANTEL" userId="2d5b7065-31bb-4181-a7f8-a73bf0c30211" providerId="ADAL" clId="{9344D105-636D-4857-BD0F-AFC44A54BCCF}" dt="2021-05-25T11:08:51.779" v="16925" actId="478"/>
          <ac:spMkLst>
            <pc:docMk/>
            <pc:sldMk cId="3436081094" sldId="10430"/>
            <ac:spMk id="31" creationId="{7DCAA725-C1AC-47AD-83CF-3EF6CE73DF8F}"/>
          </ac:spMkLst>
        </pc:spChg>
        <pc:spChg chg="mod">
          <ac:chgData name="Ugo MANTEL" userId="2d5b7065-31bb-4181-a7f8-a73bf0c30211" providerId="ADAL" clId="{9344D105-636D-4857-BD0F-AFC44A54BCCF}" dt="2021-05-25T14:20:11.482" v="28187" actId="790"/>
          <ac:spMkLst>
            <pc:docMk/>
            <pc:sldMk cId="3436081094" sldId="10430"/>
            <ac:spMk id="32" creationId="{D2B59A52-D9C2-4E24-B600-1E848B32C8F5}"/>
          </ac:spMkLst>
        </pc:spChg>
        <pc:spChg chg="mod">
          <ac:chgData name="Ugo MANTEL" userId="2d5b7065-31bb-4181-a7f8-a73bf0c30211" providerId="ADAL" clId="{9344D105-636D-4857-BD0F-AFC44A54BCCF}" dt="2021-05-25T14:20:11.482" v="28188" actId="790"/>
          <ac:spMkLst>
            <pc:docMk/>
            <pc:sldMk cId="3436081094" sldId="10430"/>
            <ac:spMk id="33" creationId="{1C409526-FEBB-4615-AD48-EE2919594103}"/>
          </ac:spMkLst>
        </pc:spChg>
        <pc:spChg chg="mod">
          <ac:chgData name="Ugo MANTEL" userId="2d5b7065-31bb-4181-a7f8-a73bf0c30211" providerId="ADAL" clId="{9344D105-636D-4857-BD0F-AFC44A54BCCF}" dt="2021-05-25T14:20:11.483" v="28189" actId="790"/>
          <ac:spMkLst>
            <pc:docMk/>
            <pc:sldMk cId="3436081094" sldId="10430"/>
            <ac:spMk id="34" creationId="{CE2902A1-02DE-4841-A5FF-EC6817C779C2}"/>
          </ac:spMkLst>
        </pc:spChg>
        <pc:spChg chg="mod">
          <ac:chgData name="Ugo MANTEL" userId="2d5b7065-31bb-4181-a7f8-a73bf0c30211" providerId="ADAL" clId="{9344D105-636D-4857-BD0F-AFC44A54BCCF}" dt="2021-05-25T14:20:11.484" v="28190" actId="790"/>
          <ac:spMkLst>
            <pc:docMk/>
            <pc:sldMk cId="3436081094" sldId="10430"/>
            <ac:spMk id="35" creationId="{C69C2033-6801-4C94-9428-2C2E3E7C61BC}"/>
          </ac:spMkLst>
        </pc:spChg>
        <pc:spChg chg="mod">
          <ac:chgData name="Ugo MANTEL" userId="2d5b7065-31bb-4181-a7f8-a73bf0c30211" providerId="ADAL" clId="{9344D105-636D-4857-BD0F-AFC44A54BCCF}" dt="2021-05-25T14:20:11.484" v="28191" actId="790"/>
          <ac:spMkLst>
            <pc:docMk/>
            <pc:sldMk cId="3436081094" sldId="10430"/>
            <ac:spMk id="36" creationId="{F13CE92D-4D69-4443-A30B-E51A006B440F}"/>
          </ac:spMkLst>
        </pc:spChg>
        <pc:spChg chg="mod">
          <ac:chgData name="Ugo MANTEL" userId="2d5b7065-31bb-4181-a7f8-a73bf0c30211" providerId="ADAL" clId="{9344D105-636D-4857-BD0F-AFC44A54BCCF}" dt="2021-05-25T14:20:11.485" v="28192" actId="790"/>
          <ac:spMkLst>
            <pc:docMk/>
            <pc:sldMk cId="3436081094" sldId="10430"/>
            <ac:spMk id="37" creationId="{12A3E4D8-FE24-4296-A901-6835576F358F}"/>
          </ac:spMkLst>
        </pc:spChg>
        <pc:spChg chg="mod">
          <ac:chgData name="Ugo MANTEL" userId="2d5b7065-31bb-4181-a7f8-a73bf0c30211" providerId="ADAL" clId="{9344D105-636D-4857-BD0F-AFC44A54BCCF}" dt="2021-05-25T14:20:11.486" v="28193" actId="790"/>
          <ac:spMkLst>
            <pc:docMk/>
            <pc:sldMk cId="3436081094" sldId="10430"/>
            <ac:spMk id="38" creationId="{FA551D75-70A3-4189-B8FD-D16A5A806F6C}"/>
          </ac:spMkLst>
        </pc:spChg>
        <pc:spChg chg="mod">
          <ac:chgData name="Ugo MANTEL" userId="2d5b7065-31bb-4181-a7f8-a73bf0c30211" providerId="ADAL" clId="{9344D105-636D-4857-BD0F-AFC44A54BCCF}" dt="2021-05-25T14:20:11.486" v="28194" actId="790"/>
          <ac:spMkLst>
            <pc:docMk/>
            <pc:sldMk cId="3436081094" sldId="10430"/>
            <ac:spMk id="39" creationId="{4E0AD551-D0E4-4018-8925-446955E03DBD}"/>
          </ac:spMkLst>
        </pc:spChg>
        <pc:spChg chg="mod">
          <ac:chgData name="Ugo MANTEL" userId="2d5b7065-31bb-4181-a7f8-a73bf0c30211" providerId="ADAL" clId="{9344D105-636D-4857-BD0F-AFC44A54BCCF}" dt="2021-05-25T14:20:11.487" v="28195" actId="790"/>
          <ac:spMkLst>
            <pc:docMk/>
            <pc:sldMk cId="3436081094" sldId="10430"/>
            <ac:spMk id="40" creationId="{D4585E7A-1C58-48F0-8CCC-695615F47DDC}"/>
          </ac:spMkLst>
        </pc:spChg>
        <pc:spChg chg="mod">
          <ac:chgData name="Ugo MANTEL" userId="2d5b7065-31bb-4181-a7f8-a73bf0c30211" providerId="ADAL" clId="{9344D105-636D-4857-BD0F-AFC44A54BCCF}" dt="2021-05-25T14:20:11.487" v="28196" actId="790"/>
          <ac:spMkLst>
            <pc:docMk/>
            <pc:sldMk cId="3436081094" sldId="10430"/>
            <ac:spMk id="41" creationId="{1DF4E5BB-492B-465C-8444-C36507B49283}"/>
          </ac:spMkLst>
        </pc:spChg>
        <pc:spChg chg="mod">
          <ac:chgData name="Ugo MANTEL" userId="2d5b7065-31bb-4181-a7f8-a73bf0c30211" providerId="ADAL" clId="{9344D105-636D-4857-BD0F-AFC44A54BCCF}" dt="2021-05-25T14:20:11.488" v="28197" actId="790"/>
          <ac:spMkLst>
            <pc:docMk/>
            <pc:sldMk cId="3436081094" sldId="10430"/>
            <ac:spMk id="42" creationId="{9C8D8134-054F-4F04-A0C0-2524CCD41437}"/>
          </ac:spMkLst>
        </pc:spChg>
        <pc:spChg chg="mod">
          <ac:chgData name="Ugo MANTEL" userId="2d5b7065-31bb-4181-a7f8-a73bf0c30211" providerId="ADAL" clId="{9344D105-636D-4857-BD0F-AFC44A54BCCF}" dt="2021-05-25T14:20:11.489" v="28198" actId="790"/>
          <ac:spMkLst>
            <pc:docMk/>
            <pc:sldMk cId="3436081094" sldId="10430"/>
            <ac:spMk id="43" creationId="{6A651D37-072C-499F-BDC9-221E2F280D91}"/>
          </ac:spMkLst>
        </pc:spChg>
        <pc:spChg chg="mod">
          <ac:chgData name="Ugo MANTEL" userId="2d5b7065-31bb-4181-a7f8-a73bf0c30211" providerId="ADAL" clId="{9344D105-636D-4857-BD0F-AFC44A54BCCF}" dt="2021-05-25T14:20:11.497" v="28199" actId="790"/>
          <ac:spMkLst>
            <pc:docMk/>
            <pc:sldMk cId="3436081094" sldId="10430"/>
            <ac:spMk id="65" creationId="{FA6B510C-60D3-4CD8-A4E3-3EBD62B303AE}"/>
          </ac:spMkLst>
        </pc:spChg>
        <pc:spChg chg="add del mod modVis">
          <ac:chgData name="Ugo MANTEL" userId="2d5b7065-31bb-4181-a7f8-a73bf0c30211" providerId="ADAL" clId="{9344D105-636D-4857-BD0F-AFC44A54BCCF}" dt="2021-05-25T11:08:54.201" v="16969"/>
          <ac:spMkLst>
            <pc:docMk/>
            <pc:sldMk cId="3436081094" sldId="10430"/>
            <ac:spMk id="66" creationId="{303ADEB2-0AB7-4DA5-B6C1-EDDBCACA6708}"/>
          </ac:spMkLst>
        </pc:spChg>
        <pc:spChg chg="mod">
          <ac:chgData name="Ugo MANTEL" userId="2d5b7065-31bb-4181-a7f8-a73bf0c30211" providerId="ADAL" clId="{9344D105-636D-4857-BD0F-AFC44A54BCCF}" dt="2021-05-25T14:20:11.503" v="28208" actId="790"/>
          <ac:spMkLst>
            <pc:docMk/>
            <pc:sldMk cId="3436081094" sldId="10430"/>
            <ac:spMk id="67" creationId="{E5E66E1D-661C-4AEE-ACAF-A6E612D011ED}"/>
          </ac:spMkLst>
        </pc:spChg>
        <pc:spChg chg="mod">
          <ac:chgData name="Ugo MANTEL" userId="2d5b7065-31bb-4181-a7f8-a73bf0c30211" providerId="ADAL" clId="{9344D105-636D-4857-BD0F-AFC44A54BCCF}" dt="2021-05-25T14:20:11.503" v="28209" actId="790"/>
          <ac:spMkLst>
            <pc:docMk/>
            <pc:sldMk cId="3436081094" sldId="10430"/>
            <ac:spMk id="68" creationId="{D2F63D90-54E3-4593-AE50-12673AAD1AC5}"/>
          </ac:spMkLst>
        </pc:spChg>
        <pc:spChg chg="mod">
          <ac:chgData name="Ugo MANTEL" userId="2d5b7065-31bb-4181-a7f8-a73bf0c30211" providerId="ADAL" clId="{9344D105-636D-4857-BD0F-AFC44A54BCCF}" dt="2021-05-25T11:08:12.146" v="16495" actId="20577"/>
          <ac:spMkLst>
            <pc:docMk/>
            <pc:sldMk cId="3436081094" sldId="10430"/>
            <ac:spMk id="73" creationId="{BC60175A-9B83-4F54-8FC1-AB31B35E1F8F}"/>
          </ac:spMkLst>
        </pc:spChg>
        <pc:spChg chg="add del mod modVis">
          <ac:chgData name="Ugo MANTEL" userId="2d5b7065-31bb-4181-a7f8-a73bf0c30211" providerId="ADAL" clId="{9344D105-636D-4857-BD0F-AFC44A54BCCF}" dt="2021-05-25T11:08:56.032" v="17016"/>
          <ac:spMkLst>
            <pc:docMk/>
            <pc:sldMk cId="3436081094" sldId="10430"/>
            <ac:spMk id="74" creationId="{4D8E8C14-8A97-4839-9C61-E3898FE42748}"/>
          </ac:spMkLst>
        </pc:spChg>
        <pc:spChg chg="add del mod modVis">
          <ac:chgData name="Ugo MANTEL" userId="2d5b7065-31bb-4181-a7f8-a73bf0c30211" providerId="ADAL" clId="{9344D105-636D-4857-BD0F-AFC44A54BCCF}" dt="2021-05-25T11:08:57.754" v="17067"/>
          <ac:spMkLst>
            <pc:docMk/>
            <pc:sldMk cId="3436081094" sldId="10430"/>
            <ac:spMk id="75" creationId="{9A45CC8B-FF68-4383-BC6C-1B1FE9274F13}"/>
          </ac:spMkLst>
        </pc:spChg>
        <pc:spChg chg="mod">
          <ac:chgData name="Ugo MANTEL" userId="2d5b7065-31bb-4181-a7f8-a73bf0c30211" providerId="ADAL" clId="{9344D105-636D-4857-BD0F-AFC44A54BCCF}" dt="2021-05-25T14:20:11.520" v="28215" actId="790"/>
          <ac:spMkLst>
            <pc:docMk/>
            <pc:sldMk cId="3436081094" sldId="10430"/>
            <ac:spMk id="77" creationId="{5527824B-76F4-45D6-8FE2-1C69A0F12F7E}"/>
          </ac:spMkLst>
        </pc:spChg>
        <pc:spChg chg="del">
          <ac:chgData name="Ugo MANTEL" userId="2d5b7065-31bb-4181-a7f8-a73bf0c30211" providerId="ADAL" clId="{9344D105-636D-4857-BD0F-AFC44A54BCCF}" dt="2021-05-24T13:40:00.021" v="7520" actId="478"/>
          <ac:spMkLst>
            <pc:docMk/>
            <pc:sldMk cId="3436081094" sldId="10430"/>
            <ac:spMk id="79" creationId="{CB8A99F9-8F44-4D8F-A8C8-C3F782E45D29}"/>
          </ac:spMkLst>
        </pc:spChg>
        <pc:spChg chg="mod">
          <ac:chgData name="Ugo MANTEL" userId="2d5b7065-31bb-4181-a7f8-a73bf0c30211" providerId="ADAL" clId="{9344D105-636D-4857-BD0F-AFC44A54BCCF}" dt="2021-05-25T14:20:11.517" v="28211" actId="790"/>
          <ac:spMkLst>
            <pc:docMk/>
            <pc:sldMk cId="3436081094" sldId="10430"/>
            <ac:spMk id="80" creationId="{D1A3758C-C7AE-4A43-B86B-B40616756D1F}"/>
          </ac:spMkLst>
        </pc:spChg>
        <pc:spChg chg="mod">
          <ac:chgData name="Ugo MANTEL" userId="2d5b7065-31bb-4181-a7f8-a73bf0c30211" providerId="ADAL" clId="{9344D105-636D-4857-BD0F-AFC44A54BCCF}" dt="2021-05-25T14:20:11.521" v="28216" actId="790"/>
          <ac:spMkLst>
            <pc:docMk/>
            <pc:sldMk cId="3436081094" sldId="10430"/>
            <ac:spMk id="81" creationId="{41140C4B-D81F-4C2D-9325-CBDB4F046536}"/>
          </ac:spMkLst>
        </pc:spChg>
        <pc:spChg chg="del">
          <ac:chgData name="Ugo MANTEL" userId="2d5b7065-31bb-4181-a7f8-a73bf0c30211" providerId="ADAL" clId="{9344D105-636D-4857-BD0F-AFC44A54BCCF}" dt="2021-05-24T13:40:00.021" v="7520" actId="478"/>
          <ac:spMkLst>
            <pc:docMk/>
            <pc:sldMk cId="3436081094" sldId="10430"/>
            <ac:spMk id="81" creationId="{D27DFF83-A107-4719-9827-2921F8E1888C}"/>
          </ac:spMkLst>
        </pc:spChg>
        <pc:spChg chg="del">
          <ac:chgData name="Ugo MANTEL" userId="2d5b7065-31bb-4181-a7f8-a73bf0c30211" providerId="ADAL" clId="{9344D105-636D-4857-BD0F-AFC44A54BCCF}" dt="2021-05-24T13:40:00.021" v="7520" actId="478"/>
          <ac:spMkLst>
            <pc:docMk/>
            <pc:sldMk cId="3436081094" sldId="10430"/>
            <ac:spMk id="82" creationId="{95B0CFB8-2038-462A-A681-A3E04CA60B2F}"/>
          </ac:spMkLst>
        </pc:spChg>
        <pc:spChg chg="mod">
          <ac:chgData name="Ugo MANTEL" userId="2d5b7065-31bb-4181-a7f8-a73bf0c30211" providerId="ADAL" clId="{9344D105-636D-4857-BD0F-AFC44A54BCCF}" dt="2021-05-25T14:20:11.521" v="28217" actId="790"/>
          <ac:spMkLst>
            <pc:docMk/>
            <pc:sldMk cId="3436081094" sldId="10430"/>
            <ac:spMk id="82" creationId="{A4CD6AED-02DD-459A-B1C7-F559D9F1E86B}"/>
          </ac:spMkLst>
        </pc:spChg>
        <pc:spChg chg="del">
          <ac:chgData name="Ugo MANTEL" userId="2d5b7065-31bb-4181-a7f8-a73bf0c30211" providerId="ADAL" clId="{9344D105-636D-4857-BD0F-AFC44A54BCCF}" dt="2021-05-24T13:40:00.021" v="7520" actId="478"/>
          <ac:spMkLst>
            <pc:docMk/>
            <pc:sldMk cId="3436081094" sldId="10430"/>
            <ac:spMk id="83" creationId="{B071B5B3-8230-4EE0-8CB7-DE325D544D6E}"/>
          </ac:spMkLst>
        </pc:spChg>
        <pc:spChg chg="del">
          <ac:chgData name="Ugo MANTEL" userId="2d5b7065-31bb-4181-a7f8-a73bf0c30211" providerId="ADAL" clId="{9344D105-636D-4857-BD0F-AFC44A54BCCF}" dt="2021-05-24T13:40:00.021" v="7520" actId="478"/>
          <ac:spMkLst>
            <pc:docMk/>
            <pc:sldMk cId="3436081094" sldId="10430"/>
            <ac:spMk id="84" creationId="{48C78E64-7325-4F8D-81FB-F20A3B3C52DE}"/>
          </ac:spMkLst>
        </pc:spChg>
        <pc:spChg chg="add mod">
          <ac:chgData name="Ugo MANTEL" userId="2d5b7065-31bb-4181-a7f8-a73bf0c30211" providerId="ADAL" clId="{9344D105-636D-4857-BD0F-AFC44A54BCCF}" dt="2021-05-24T11:59:05.065" v="5292"/>
          <ac:spMkLst>
            <pc:docMk/>
            <pc:sldMk cId="3436081094" sldId="10430"/>
            <ac:spMk id="85" creationId="{901F42A7-BDFF-4D41-AF9F-7FE4D47B1848}"/>
          </ac:spMkLst>
        </pc:spChg>
        <pc:spChg chg="add mod">
          <ac:chgData name="Ugo MANTEL" userId="2d5b7065-31bb-4181-a7f8-a73bf0c30211" providerId="ADAL" clId="{9344D105-636D-4857-BD0F-AFC44A54BCCF}" dt="2021-05-25T14:20:11.518" v="28212" actId="790"/>
          <ac:spMkLst>
            <pc:docMk/>
            <pc:sldMk cId="3436081094" sldId="10430"/>
            <ac:spMk id="86" creationId="{E7961BDE-6076-4E21-960D-1961F2C205C8}"/>
          </ac:spMkLst>
        </pc:spChg>
        <pc:spChg chg="add mod">
          <ac:chgData name="Ugo MANTEL" userId="2d5b7065-31bb-4181-a7f8-a73bf0c30211" providerId="ADAL" clId="{9344D105-636D-4857-BD0F-AFC44A54BCCF}" dt="2021-05-24T13:40:00.882" v="7521"/>
          <ac:spMkLst>
            <pc:docMk/>
            <pc:sldMk cId="3436081094" sldId="10430"/>
            <ac:spMk id="87" creationId="{FF25DA73-14ED-477C-9B99-1D5DA2FA800B}"/>
          </ac:spMkLst>
        </pc:spChg>
        <pc:spChg chg="add mod">
          <ac:chgData name="Ugo MANTEL" userId="2d5b7065-31bb-4181-a7f8-a73bf0c30211" providerId="ADAL" clId="{9344D105-636D-4857-BD0F-AFC44A54BCCF}" dt="2021-05-24T13:40:00.882" v="7521"/>
          <ac:spMkLst>
            <pc:docMk/>
            <pc:sldMk cId="3436081094" sldId="10430"/>
            <ac:spMk id="88" creationId="{DBE3F4AA-FA46-4787-9255-35C92E486ECE}"/>
          </ac:spMkLst>
        </pc:spChg>
        <pc:spChg chg="add mod">
          <ac:chgData name="Ugo MANTEL" userId="2d5b7065-31bb-4181-a7f8-a73bf0c30211" providerId="ADAL" clId="{9344D105-636D-4857-BD0F-AFC44A54BCCF}" dt="2021-05-24T13:40:00.882" v="7521"/>
          <ac:spMkLst>
            <pc:docMk/>
            <pc:sldMk cId="3436081094" sldId="10430"/>
            <ac:spMk id="89" creationId="{4C8D3EF4-7154-4318-9DE1-AADE3D0EB9BA}"/>
          </ac:spMkLst>
        </pc:spChg>
        <pc:spChg chg="add mod">
          <ac:chgData name="Ugo MANTEL" userId="2d5b7065-31bb-4181-a7f8-a73bf0c30211" providerId="ADAL" clId="{9344D105-636D-4857-BD0F-AFC44A54BCCF}" dt="2021-05-24T13:40:00.882" v="7521"/>
          <ac:spMkLst>
            <pc:docMk/>
            <pc:sldMk cId="3436081094" sldId="10430"/>
            <ac:spMk id="90" creationId="{D2F0B971-BE9E-45CC-A144-B0139CDB4A50}"/>
          </ac:spMkLst>
        </pc:spChg>
        <pc:spChg chg="add mod">
          <ac:chgData name="Ugo MANTEL" userId="2d5b7065-31bb-4181-a7f8-a73bf0c30211" providerId="ADAL" clId="{9344D105-636D-4857-BD0F-AFC44A54BCCF}" dt="2021-05-24T13:40:00.882" v="7521"/>
          <ac:spMkLst>
            <pc:docMk/>
            <pc:sldMk cId="3436081094" sldId="10430"/>
            <ac:spMk id="91" creationId="{E64B60F5-8B2D-40AA-86F9-59B1E1D0FECF}"/>
          </ac:spMkLst>
        </pc:spChg>
        <pc:spChg chg="add mod">
          <ac:chgData name="Ugo MANTEL" userId="2d5b7065-31bb-4181-a7f8-a73bf0c30211" providerId="ADAL" clId="{9344D105-636D-4857-BD0F-AFC44A54BCCF}" dt="2021-05-24T13:40:00.882" v="7521"/>
          <ac:spMkLst>
            <pc:docMk/>
            <pc:sldMk cId="3436081094" sldId="10430"/>
            <ac:spMk id="92" creationId="{4764BC01-78A1-416F-96B7-4FB959471A8B}"/>
          </ac:spMkLst>
        </pc:spChg>
        <pc:spChg chg="mod">
          <ac:chgData name="Ugo MANTEL" userId="2d5b7065-31bb-4181-a7f8-a73bf0c30211" providerId="ADAL" clId="{9344D105-636D-4857-BD0F-AFC44A54BCCF}" dt="2021-05-25T14:20:11.519" v="28213" actId="790"/>
          <ac:spMkLst>
            <pc:docMk/>
            <pc:sldMk cId="3436081094" sldId="10430"/>
            <ac:spMk id="93" creationId="{F8A1DEBA-0A47-4AF0-8016-2E7AACF911FA}"/>
          </ac:spMkLst>
        </pc:spChg>
        <pc:spChg chg="mod">
          <ac:chgData name="Ugo MANTEL" userId="2d5b7065-31bb-4181-a7f8-a73bf0c30211" providerId="ADAL" clId="{9344D105-636D-4857-BD0F-AFC44A54BCCF}" dt="2021-05-25T14:20:11.519" v="28214" actId="790"/>
          <ac:spMkLst>
            <pc:docMk/>
            <pc:sldMk cId="3436081094" sldId="10430"/>
            <ac:spMk id="98" creationId="{E179A47A-9B95-4CAE-B926-4582178F5874}"/>
          </ac:spMkLst>
        </pc:spChg>
        <pc:spChg chg="add mod">
          <ac:chgData name="Ugo MANTEL" userId="2d5b7065-31bb-4181-a7f8-a73bf0c30211" providerId="ADAL" clId="{9344D105-636D-4857-BD0F-AFC44A54BCCF}" dt="2021-05-25T13:42:17.095" v="20242"/>
          <ac:spMkLst>
            <pc:docMk/>
            <pc:sldMk cId="3436081094" sldId="10430"/>
            <ac:spMk id="101" creationId="{F6ACCB39-A226-4D23-814D-75951CA84547}"/>
          </ac:spMkLst>
        </pc:spChg>
        <pc:graphicFrameChg chg="mod">
          <ac:chgData name="Ugo MANTEL" userId="2d5b7065-31bb-4181-a7f8-a73bf0c30211" providerId="ADAL" clId="{9344D105-636D-4857-BD0F-AFC44A54BCCF}" dt="2021-05-25T11:08:57.754" v="17069"/>
          <ac:graphicFrameMkLst>
            <pc:docMk/>
            <pc:sldMk cId="3436081094" sldId="10430"/>
            <ac:graphicFrameMk id="4" creationId="{FE9A305D-3669-4634-B9B4-C6C2AFA8A793}"/>
          </ac:graphicFrameMkLst>
        </pc:graphicFrameChg>
      </pc:sldChg>
      <pc:sldChg chg="modSp mod ord modTransition modShow">
        <pc:chgData name="Ugo MANTEL" userId="2d5b7065-31bb-4181-a7f8-a73bf0c30211" providerId="ADAL" clId="{9344D105-636D-4857-BD0F-AFC44A54BCCF}" dt="2021-05-24T10:05:01.986" v="2368"/>
        <pc:sldMkLst>
          <pc:docMk/>
          <pc:sldMk cId="2399574436" sldId="10432"/>
        </pc:sldMkLst>
        <pc:spChg chg="mod">
          <ac:chgData name="Ugo MANTEL" userId="2d5b7065-31bb-4181-a7f8-a73bf0c30211" providerId="ADAL" clId="{9344D105-636D-4857-BD0F-AFC44A54BCCF}" dt="2021-05-24T08:43:47.197" v="6" actId="1076"/>
          <ac:spMkLst>
            <pc:docMk/>
            <pc:sldMk cId="2399574436" sldId="10432"/>
            <ac:spMk id="67" creationId="{0256CC2F-2C47-472B-BDEF-F624F9993066}"/>
          </ac:spMkLst>
        </pc:spChg>
      </pc:sldChg>
      <pc:sldChg chg="addSp delSp modSp mod">
        <pc:chgData name="Ugo MANTEL" userId="2d5b7065-31bb-4181-a7f8-a73bf0c30211" providerId="ADAL" clId="{9344D105-636D-4857-BD0F-AFC44A54BCCF}" dt="2021-05-25T07:51:23.734" v="11614" actId="114"/>
        <pc:sldMkLst>
          <pc:docMk/>
          <pc:sldMk cId="1782056456" sldId="10434"/>
        </pc:sldMkLst>
        <pc:spChg chg="mod">
          <ac:chgData name="Ugo MANTEL" userId="2d5b7065-31bb-4181-a7f8-a73bf0c30211" providerId="ADAL" clId="{9344D105-636D-4857-BD0F-AFC44A54BCCF}" dt="2021-05-25T07:28:33.865" v="11019" actId="208"/>
          <ac:spMkLst>
            <pc:docMk/>
            <pc:sldMk cId="1782056456" sldId="10434"/>
            <ac:spMk id="4" creationId="{74ADDBE6-49E4-4049-B7BF-EE415633C5F5}"/>
          </ac:spMkLst>
        </pc:spChg>
        <pc:spChg chg="mod">
          <ac:chgData name="Ugo MANTEL" userId="2d5b7065-31bb-4181-a7f8-a73bf0c30211" providerId="ADAL" clId="{9344D105-636D-4857-BD0F-AFC44A54BCCF}" dt="2021-05-25T07:28:28.524" v="11018" actId="14100"/>
          <ac:spMkLst>
            <pc:docMk/>
            <pc:sldMk cId="1782056456" sldId="10434"/>
            <ac:spMk id="6" creationId="{459DE8FF-F3A0-454B-89BD-EA7D3F0085F4}"/>
          </ac:spMkLst>
        </pc:spChg>
        <pc:spChg chg="del">
          <ac:chgData name="Ugo MANTEL" userId="2d5b7065-31bb-4181-a7f8-a73bf0c30211" providerId="ADAL" clId="{9344D105-636D-4857-BD0F-AFC44A54BCCF}" dt="2021-05-24T13:38:57.058" v="7496" actId="478"/>
          <ac:spMkLst>
            <pc:docMk/>
            <pc:sldMk cId="1782056456" sldId="10434"/>
            <ac:spMk id="49" creationId="{67AE2F44-9EEF-43A2-8B51-BC935523C9E0}"/>
          </ac:spMkLst>
        </pc:spChg>
        <pc:spChg chg="del">
          <ac:chgData name="Ugo MANTEL" userId="2d5b7065-31bb-4181-a7f8-a73bf0c30211" providerId="ADAL" clId="{9344D105-636D-4857-BD0F-AFC44A54BCCF}" dt="2021-05-24T13:38:57.058" v="7496" actId="478"/>
          <ac:spMkLst>
            <pc:docMk/>
            <pc:sldMk cId="1782056456" sldId="10434"/>
            <ac:spMk id="50" creationId="{18A35D89-E578-465F-9F48-122A6AE9ACE7}"/>
          </ac:spMkLst>
        </pc:spChg>
        <pc:spChg chg="del">
          <ac:chgData name="Ugo MANTEL" userId="2d5b7065-31bb-4181-a7f8-a73bf0c30211" providerId="ADAL" clId="{9344D105-636D-4857-BD0F-AFC44A54BCCF}" dt="2021-05-24T13:38:57.058" v="7496" actId="478"/>
          <ac:spMkLst>
            <pc:docMk/>
            <pc:sldMk cId="1782056456" sldId="10434"/>
            <ac:spMk id="53" creationId="{4F306A22-E656-4BD9-802E-2026A2ACAD12}"/>
          </ac:spMkLst>
        </pc:spChg>
        <pc:spChg chg="del">
          <ac:chgData name="Ugo MANTEL" userId="2d5b7065-31bb-4181-a7f8-a73bf0c30211" providerId="ADAL" clId="{9344D105-636D-4857-BD0F-AFC44A54BCCF}" dt="2021-05-24T13:38:57.058" v="7496" actId="478"/>
          <ac:spMkLst>
            <pc:docMk/>
            <pc:sldMk cId="1782056456" sldId="10434"/>
            <ac:spMk id="56" creationId="{BE450877-DEBB-4F5E-82C3-2D3D2B98DF5C}"/>
          </ac:spMkLst>
        </pc:spChg>
        <pc:spChg chg="del">
          <ac:chgData name="Ugo MANTEL" userId="2d5b7065-31bb-4181-a7f8-a73bf0c30211" providerId="ADAL" clId="{9344D105-636D-4857-BD0F-AFC44A54BCCF}" dt="2021-05-24T13:38:57.058" v="7496" actId="478"/>
          <ac:spMkLst>
            <pc:docMk/>
            <pc:sldMk cId="1782056456" sldId="10434"/>
            <ac:spMk id="61" creationId="{A8693A9A-910B-4E14-AA60-3179AF2BEF5E}"/>
          </ac:spMkLst>
        </pc:spChg>
        <pc:spChg chg="mod">
          <ac:chgData name="Ugo MANTEL" userId="2d5b7065-31bb-4181-a7f8-a73bf0c30211" providerId="ADAL" clId="{9344D105-636D-4857-BD0F-AFC44A54BCCF}" dt="2021-05-25T07:51:23.734" v="11614" actId="114"/>
          <ac:spMkLst>
            <pc:docMk/>
            <pc:sldMk cId="1782056456" sldId="10434"/>
            <ac:spMk id="62" creationId="{E16C1019-EC6C-4338-A31A-ACDFD5EFC767}"/>
          </ac:spMkLst>
        </pc:spChg>
        <pc:spChg chg="add mod">
          <ac:chgData name="Ugo MANTEL" userId="2d5b7065-31bb-4181-a7f8-a73bf0c30211" providerId="ADAL" clId="{9344D105-636D-4857-BD0F-AFC44A54BCCF}" dt="2021-05-24T13:38:57.505" v="7497"/>
          <ac:spMkLst>
            <pc:docMk/>
            <pc:sldMk cId="1782056456" sldId="10434"/>
            <ac:spMk id="63" creationId="{DD475C1B-7B9D-4AB6-9E66-325A4BD40A8F}"/>
          </ac:spMkLst>
        </pc:spChg>
        <pc:spChg chg="mod">
          <ac:chgData name="Ugo MANTEL" userId="2d5b7065-31bb-4181-a7f8-a73bf0c30211" providerId="ADAL" clId="{9344D105-636D-4857-BD0F-AFC44A54BCCF}" dt="2021-05-24T13:38:57.505" v="7497"/>
          <ac:spMkLst>
            <pc:docMk/>
            <pc:sldMk cId="1782056456" sldId="10434"/>
            <ac:spMk id="65" creationId="{F7747EC1-0D4E-402C-A95D-355E6E77FD74}"/>
          </ac:spMkLst>
        </pc:spChg>
        <pc:spChg chg="mod">
          <ac:chgData name="Ugo MANTEL" userId="2d5b7065-31bb-4181-a7f8-a73bf0c30211" providerId="ADAL" clId="{9344D105-636D-4857-BD0F-AFC44A54BCCF}" dt="2021-05-24T13:38:57.505" v="7497"/>
          <ac:spMkLst>
            <pc:docMk/>
            <pc:sldMk cId="1782056456" sldId="10434"/>
            <ac:spMk id="66" creationId="{B503F8FF-5759-48BF-B6F6-187ACCBFB323}"/>
          </ac:spMkLst>
        </pc:spChg>
        <pc:spChg chg="mod">
          <ac:chgData name="Ugo MANTEL" userId="2d5b7065-31bb-4181-a7f8-a73bf0c30211" providerId="ADAL" clId="{9344D105-636D-4857-BD0F-AFC44A54BCCF}" dt="2021-05-24T13:38:57.505" v="7497"/>
          <ac:spMkLst>
            <pc:docMk/>
            <pc:sldMk cId="1782056456" sldId="10434"/>
            <ac:spMk id="67" creationId="{5A2C3551-5D73-48A2-BF9A-52C13442E23F}"/>
          </ac:spMkLst>
        </pc:spChg>
        <pc:spChg chg="mod">
          <ac:chgData name="Ugo MANTEL" userId="2d5b7065-31bb-4181-a7f8-a73bf0c30211" providerId="ADAL" clId="{9344D105-636D-4857-BD0F-AFC44A54BCCF}" dt="2021-05-24T13:38:57.505" v="7497"/>
          <ac:spMkLst>
            <pc:docMk/>
            <pc:sldMk cId="1782056456" sldId="10434"/>
            <ac:spMk id="68" creationId="{6958F9BB-E205-4FC8-BF21-85C3BF6EFBAA}"/>
          </ac:spMkLst>
        </pc:spChg>
        <pc:spChg chg="mod">
          <ac:chgData name="Ugo MANTEL" userId="2d5b7065-31bb-4181-a7f8-a73bf0c30211" providerId="ADAL" clId="{9344D105-636D-4857-BD0F-AFC44A54BCCF}" dt="2021-05-24T13:38:57.505" v="7497"/>
          <ac:spMkLst>
            <pc:docMk/>
            <pc:sldMk cId="1782056456" sldId="10434"/>
            <ac:spMk id="71" creationId="{9C68A4DD-4678-474D-AE44-ED0AA2E6999C}"/>
          </ac:spMkLst>
        </pc:spChg>
        <pc:spChg chg="mod">
          <ac:chgData name="Ugo MANTEL" userId="2d5b7065-31bb-4181-a7f8-a73bf0c30211" providerId="ADAL" clId="{9344D105-636D-4857-BD0F-AFC44A54BCCF}" dt="2021-05-24T13:38:57.505" v="7497"/>
          <ac:spMkLst>
            <pc:docMk/>
            <pc:sldMk cId="1782056456" sldId="10434"/>
            <ac:spMk id="72" creationId="{572368BE-5059-462B-B9A1-80CD037AAF13}"/>
          </ac:spMkLst>
        </pc:spChg>
        <pc:grpChg chg="add mod">
          <ac:chgData name="Ugo MANTEL" userId="2d5b7065-31bb-4181-a7f8-a73bf0c30211" providerId="ADAL" clId="{9344D105-636D-4857-BD0F-AFC44A54BCCF}" dt="2021-05-24T13:38:57.505" v="7497"/>
          <ac:grpSpMkLst>
            <pc:docMk/>
            <pc:sldMk cId="1782056456" sldId="10434"/>
            <ac:grpSpMk id="64" creationId="{486FE19E-A7E2-4669-B73B-F95602886B08}"/>
          </ac:grpSpMkLst>
        </pc:grpChg>
      </pc:sldChg>
      <pc:sldChg chg="addSp delSp modSp mod ord">
        <pc:chgData name="Ugo MANTEL" userId="2d5b7065-31bb-4181-a7f8-a73bf0c30211" providerId="ADAL" clId="{9344D105-636D-4857-BD0F-AFC44A54BCCF}" dt="2021-05-25T15:07:04.818" v="37730" actId="207"/>
        <pc:sldMkLst>
          <pc:docMk/>
          <pc:sldMk cId="2765598525" sldId="10435"/>
        </pc:sldMkLst>
        <pc:spChg chg="mod">
          <ac:chgData name="Ugo MANTEL" userId="2d5b7065-31bb-4181-a7f8-a73bf0c30211" providerId="ADAL" clId="{9344D105-636D-4857-BD0F-AFC44A54BCCF}" dt="2021-05-25T14:53:05.504" v="37377" actId="948"/>
          <ac:spMkLst>
            <pc:docMk/>
            <pc:sldMk cId="2765598525" sldId="10435"/>
            <ac:spMk id="2" creationId="{EC591099-5136-44AA-B77C-AE0AD4DCABDF}"/>
          </ac:spMkLst>
        </pc:spChg>
        <pc:spChg chg="mod">
          <ac:chgData name="Ugo MANTEL" userId="2d5b7065-31bb-4181-a7f8-a73bf0c30211" providerId="ADAL" clId="{9344D105-636D-4857-BD0F-AFC44A54BCCF}" dt="2021-05-25T14:20:13.159" v="29879" actId="790"/>
          <ac:spMkLst>
            <pc:docMk/>
            <pc:sldMk cId="2765598525" sldId="10435"/>
            <ac:spMk id="3" creationId="{DD2E96F6-2E57-4675-BC16-4DA440530E35}"/>
          </ac:spMkLst>
        </pc:spChg>
        <pc:spChg chg="mod">
          <ac:chgData name="Ugo MANTEL" userId="2d5b7065-31bb-4181-a7f8-a73bf0c30211" providerId="ADAL" clId="{9344D105-636D-4857-BD0F-AFC44A54BCCF}" dt="2021-05-25T14:20:13.160" v="29880" actId="790"/>
          <ac:spMkLst>
            <pc:docMk/>
            <pc:sldMk cId="2765598525" sldId="10435"/>
            <ac:spMk id="4" creationId="{3C26708D-8FD1-4162-A79F-E85299ED6CF0}"/>
          </ac:spMkLst>
        </pc:spChg>
        <pc:spChg chg="add del mod modVis">
          <ac:chgData name="Ugo MANTEL" userId="2d5b7065-31bb-4181-a7f8-a73bf0c30211" providerId="ADAL" clId="{9344D105-636D-4857-BD0F-AFC44A54BCCF}" dt="2021-05-24T14:54:05.260" v="8548"/>
          <ac:spMkLst>
            <pc:docMk/>
            <pc:sldMk cId="2765598525" sldId="10435"/>
            <ac:spMk id="5" creationId="{2C16E6E3-BB6E-46C5-8251-D5ED8B58BEFA}"/>
          </ac:spMkLst>
        </pc:spChg>
        <pc:spChg chg="del mod">
          <ac:chgData name="Ugo MANTEL" userId="2d5b7065-31bb-4181-a7f8-a73bf0c30211" providerId="ADAL" clId="{9344D105-636D-4857-BD0F-AFC44A54BCCF}" dt="2021-05-25T14:54:02.917" v="37420" actId="478"/>
          <ac:spMkLst>
            <pc:docMk/>
            <pc:sldMk cId="2765598525" sldId="10435"/>
            <ac:spMk id="5" creationId="{44D2D40B-8075-4B91-812D-A772560D3F86}"/>
          </ac:spMkLst>
        </pc:spChg>
        <pc:spChg chg="mod">
          <ac:chgData name="Ugo MANTEL" userId="2d5b7065-31bb-4181-a7f8-a73bf0c30211" providerId="ADAL" clId="{9344D105-636D-4857-BD0F-AFC44A54BCCF}" dt="2021-05-25T14:20:13.163" v="29881" actId="790"/>
          <ac:spMkLst>
            <pc:docMk/>
            <pc:sldMk cId="2765598525" sldId="10435"/>
            <ac:spMk id="8" creationId="{A6B52ADE-C6C9-45C2-843E-F5D6B61A9114}"/>
          </ac:spMkLst>
        </pc:spChg>
        <pc:spChg chg="mod">
          <ac:chgData name="Ugo MANTEL" userId="2d5b7065-31bb-4181-a7f8-a73bf0c30211" providerId="ADAL" clId="{9344D105-636D-4857-BD0F-AFC44A54BCCF}" dt="2021-05-25T14:20:13.164" v="29882" actId="790"/>
          <ac:spMkLst>
            <pc:docMk/>
            <pc:sldMk cId="2765598525" sldId="10435"/>
            <ac:spMk id="9" creationId="{8F0D622A-5573-4746-8AB0-56CBA48208B1}"/>
          </ac:spMkLst>
        </pc:spChg>
        <pc:spChg chg="mod">
          <ac:chgData name="Ugo MANTEL" userId="2d5b7065-31bb-4181-a7f8-a73bf0c30211" providerId="ADAL" clId="{9344D105-636D-4857-BD0F-AFC44A54BCCF}" dt="2021-05-25T14:20:13.165" v="29883" actId="790"/>
          <ac:spMkLst>
            <pc:docMk/>
            <pc:sldMk cId="2765598525" sldId="10435"/>
            <ac:spMk id="10" creationId="{D6CBEC82-D509-43A2-8044-DFD9FF7838D4}"/>
          </ac:spMkLst>
        </pc:spChg>
        <pc:spChg chg="mod">
          <ac:chgData name="Ugo MANTEL" userId="2d5b7065-31bb-4181-a7f8-a73bf0c30211" providerId="ADAL" clId="{9344D105-636D-4857-BD0F-AFC44A54BCCF}" dt="2021-05-25T14:20:13.165" v="29884" actId="790"/>
          <ac:spMkLst>
            <pc:docMk/>
            <pc:sldMk cId="2765598525" sldId="10435"/>
            <ac:spMk id="11" creationId="{94D1F405-16AC-4E70-9A21-B8DC490952C1}"/>
          </ac:spMkLst>
        </pc:spChg>
        <pc:spChg chg="mod">
          <ac:chgData name="Ugo MANTEL" userId="2d5b7065-31bb-4181-a7f8-a73bf0c30211" providerId="ADAL" clId="{9344D105-636D-4857-BD0F-AFC44A54BCCF}" dt="2021-05-25T14:20:13.166" v="29885" actId="790"/>
          <ac:spMkLst>
            <pc:docMk/>
            <pc:sldMk cId="2765598525" sldId="10435"/>
            <ac:spMk id="12" creationId="{52AD597C-357C-41FE-8444-653952863F47}"/>
          </ac:spMkLst>
        </pc:spChg>
        <pc:spChg chg="mod">
          <ac:chgData name="Ugo MANTEL" userId="2d5b7065-31bb-4181-a7f8-a73bf0c30211" providerId="ADAL" clId="{9344D105-636D-4857-BD0F-AFC44A54BCCF}" dt="2021-05-25T14:20:13.167" v="29886" actId="790"/>
          <ac:spMkLst>
            <pc:docMk/>
            <pc:sldMk cId="2765598525" sldId="10435"/>
            <ac:spMk id="13" creationId="{911F5F24-D734-4C10-9BA6-47F05CD2E240}"/>
          </ac:spMkLst>
        </pc:spChg>
        <pc:spChg chg="mod">
          <ac:chgData name="Ugo MANTEL" userId="2d5b7065-31bb-4181-a7f8-a73bf0c30211" providerId="ADAL" clId="{9344D105-636D-4857-BD0F-AFC44A54BCCF}" dt="2021-05-25T14:20:13.167" v="29887" actId="790"/>
          <ac:spMkLst>
            <pc:docMk/>
            <pc:sldMk cId="2765598525" sldId="10435"/>
            <ac:spMk id="14" creationId="{9847F5CB-BDE3-498E-940B-8F44B0358F12}"/>
          </ac:spMkLst>
        </pc:spChg>
        <pc:spChg chg="mod">
          <ac:chgData name="Ugo MANTEL" userId="2d5b7065-31bb-4181-a7f8-a73bf0c30211" providerId="ADAL" clId="{9344D105-636D-4857-BD0F-AFC44A54BCCF}" dt="2021-05-25T14:20:13.168" v="29888" actId="790"/>
          <ac:spMkLst>
            <pc:docMk/>
            <pc:sldMk cId="2765598525" sldId="10435"/>
            <ac:spMk id="15" creationId="{4E709C52-37C3-45B2-AB0F-69DA749EA359}"/>
          </ac:spMkLst>
        </pc:spChg>
        <pc:spChg chg="add del mod modVis">
          <ac:chgData name="Ugo MANTEL" userId="2d5b7065-31bb-4181-a7f8-a73bf0c30211" providerId="ADAL" clId="{9344D105-636D-4857-BD0F-AFC44A54BCCF}" dt="2021-05-25T14:44:26.122" v="35988"/>
          <ac:spMkLst>
            <pc:docMk/>
            <pc:sldMk cId="2765598525" sldId="10435"/>
            <ac:spMk id="16" creationId="{76671E79-BE20-48E1-B85B-42716EA32B5D}"/>
          </ac:spMkLst>
        </pc:spChg>
        <pc:spChg chg="add del mod modVis">
          <ac:chgData name="Ugo MANTEL" userId="2d5b7065-31bb-4181-a7f8-a73bf0c30211" providerId="ADAL" clId="{9344D105-636D-4857-BD0F-AFC44A54BCCF}" dt="2021-05-24T14:54:07.404" v="8592"/>
          <ac:spMkLst>
            <pc:docMk/>
            <pc:sldMk cId="2765598525" sldId="10435"/>
            <ac:spMk id="16" creationId="{BC96D82E-E368-4D2A-ADD5-6805BC2DC3C5}"/>
          </ac:spMkLst>
        </pc:spChg>
        <pc:spChg chg="add del mod modVis">
          <ac:chgData name="Ugo MANTEL" userId="2d5b7065-31bb-4181-a7f8-a73bf0c30211" providerId="ADAL" clId="{9344D105-636D-4857-BD0F-AFC44A54BCCF}" dt="2021-05-25T14:45:13.086" v="36034"/>
          <ac:spMkLst>
            <pc:docMk/>
            <pc:sldMk cId="2765598525" sldId="10435"/>
            <ac:spMk id="17" creationId="{F4CB949E-9F08-42C4-8C4D-D59857E22D35}"/>
          </ac:spMkLst>
        </pc:spChg>
        <pc:spChg chg="add del mod modVis">
          <ac:chgData name="Ugo MANTEL" userId="2d5b7065-31bb-4181-a7f8-a73bf0c30211" providerId="ADAL" clId="{9344D105-636D-4857-BD0F-AFC44A54BCCF}" dt="2021-05-25T14:45:15.310" v="36079"/>
          <ac:spMkLst>
            <pc:docMk/>
            <pc:sldMk cId="2765598525" sldId="10435"/>
            <ac:spMk id="18" creationId="{84255854-EB1B-4156-B5A5-91008C960A25}"/>
          </ac:spMkLst>
        </pc:spChg>
        <pc:spChg chg="add del mod modVis">
          <ac:chgData name="Ugo MANTEL" userId="2d5b7065-31bb-4181-a7f8-a73bf0c30211" providerId="ADAL" clId="{9344D105-636D-4857-BD0F-AFC44A54BCCF}" dt="2021-05-25T14:45:18.835" v="36125"/>
          <ac:spMkLst>
            <pc:docMk/>
            <pc:sldMk cId="2765598525" sldId="10435"/>
            <ac:spMk id="19" creationId="{6E538D5E-CACD-484C-ADBB-77EC53FD8532}"/>
          </ac:spMkLst>
        </pc:spChg>
        <pc:spChg chg="add del mod modVis">
          <ac:chgData name="Ugo MANTEL" userId="2d5b7065-31bb-4181-a7f8-a73bf0c30211" providerId="ADAL" clId="{9344D105-636D-4857-BD0F-AFC44A54BCCF}" dt="2021-05-25T14:45:21.287" v="36169"/>
          <ac:spMkLst>
            <pc:docMk/>
            <pc:sldMk cId="2765598525" sldId="10435"/>
            <ac:spMk id="20" creationId="{A0E4710C-5F54-4DAC-BC66-485FD8363CE0}"/>
          </ac:spMkLst>
        </pc:spChg>
        <pc:spChg chg="add del mod modVis">
          <ac:chgData name="Ugo MANTEL" userId="2d5b7065-31bb-4181-a7f8-a73bf0c30211" providerId="ADAL" clId="{9344D105-636D-4857-BD0F-AFC44A54BCCF}" dt="2021-05-25T14:51:27.318" v="36228"/>
          <ac:spMkLst>
            <pc:docMk/>
            <pc:sldMk cId="2765598525" sldId="10435"/>
            <ac:spMk id="21" creationId="{9A243DE2-2C4A-448F-9EDB-71F43D37E59C}"/>
          </ac:spMkLst>
        </pc:spChg>
        <pc:spChg chg="add del mod modVis">
          <ac:chgData name="Ugo MANTEL" userId="2d5b7065-31bb-4181-a7f8-a73bf0c30211" providerId="ADAL" clId="{9344D105-636D-4857-BD0F-AFC44A54BCCF}" dt="2021-05-25T14:51:31.768" v="36272"/>
          <ac:spMkLst>
            <pc:docMk/>
            <pc:sldMk cId="2765598525" sldId="10435"/>
            <ac:spMk id="22" creationId="{05CE547D-DBD1-49D0-A574-318FA08F3153}"/>
          </ac:spMkLst>
        </pc:spChg>
        <pc:spChg chg="add del mod modVis">
          <ac:chgData name="Ugo MANTEL" userId="2d5b7065-31bb-4181-a7f8-a73bf0c30211" providerId="ADAL" clId="{9344D105-636D-4857-BD0F-AFC44A54BCCF}" dt="2021-05-25T14:51:33.117" v="36318"/>
          <ac:spMkLst>
            <pc:docMk/>
            <pc:sldMk cId="2765598525" sldId="10435"/>
            <ac:spMk id="23" creationId="{B06A99EF-E282-4F91-8E49-53845816B70D}"/>
          </ac:spMkLst>
        </pc:spChg>
        <pc:spChg chg="add del mod modVis">
          <ac:chgData name="Ugo MANTEL" userId="2d5b7065-31bb-4181-a7f8-a73bf0c30211" providerId="ADAL" clId="{9344D105-636D-4857-BD0F-AFC44A54BCCF}" dt="2021-05-25T14:51:35.750" v="36370"/>
          <ac:spMkLst>
            <pc:docMk/>
            <pc:sldMk cId="2765598525" sldId="10435"/>
            <ac:spMk id="24" creationId="{4168F76E-16A9-4BB9-B434-F891C8C68EEF}"/>
          </ac:spMkLst>
        </pc:spChg>
        <pc:spChg chg="mod">
          <ac:chgData name="Ugo MANTEL" userId="2d5b7065-31bb-4181-a7f8-a73bf0c30211" providerId="ADAL" clId="{9344D105-636D-4857-BD0F-AFC44A54BCCF}" dt="2021-05-25T14:20:13.182" v="29897" actId="790"/>
          <ac:spMkLst>
            <pc:docMk/>
            <pc:sldMk cId="2765598525" sldId="10435"/>
            <ac:spMk id="25" creationId="{D0893839-FCA8-44A2-9EE6-AB39ECB9D8B7}"/>
          </ac:spMkLst>
        </pc:spChg>
        <pc:spChg chg="mod">
          <ac:chgData name="Ugo MANTEL" userId="2d5b7065-31bb-4181-a7f8-a73bf0c30211" providerId="ADAL" clId="{9344D105-636D-4857-BD0F-AFC44A54BCCF}" dt="2021-05-25T14:20:13.169" v="29889" actId="790"/>
          <ac:spMkLst>
            <pc:docMk/>
            <pc:sldMk cId="2765598525" sldId="10435"/>
            <ac:spMk id="26" creationId="{D3DE6BE8-F4EB-4250-A1AC-CAE093D62085}"/>
          </ac:spMkLst>
        </pc:spChg>
        <pc:spChg chg="del mod">
          <ac:chgData name="Ugo MANTEL" userId="2d5b7065-31bb-4181-a7f8-a73bf0c30211" providerId="ADAL" clId="{9344D105-636D-4857-BD0F-AFC44A54BCCF}" dt="2021-05-25T14:54:02.917" v="37420" actId="478"/>
          <ac:spMkLst>
            <pc:docMk/>
            <pc:sldMk cId="2765598525" sldId="10435"/>
            <ac:spMk id="27" creationId="{77DF0992-6025-4E2D-B409-A1CE1585BE4A}"/>
          </ac:spMkLst>
        </pc:spChg>
        <pc:spChg chg="add del mod modVis">
          <ac:chgData name="Ugo MANTEL" userId="2d5b7065-31bb-4181-a7f8-a73bf0c30211" providerId="ADAL" clId="{9344D105-636D-4857-BD0F-AFC44A54BCCF}" dt="2021-05-25T14:51:41.821" v="36414"/>
          <ac:spMkLst>
            <pc:docMk/>
            <pc:sldMk cId="2765598525" sldId="10435"/>
            <ac:spMk id="29" creationId="{3BB6A21F-2FA6-4070-86E5-20125A9474C3}"/>
          </ac:spMkLst>
        </pc:spChg>
        <pc:spChg chg="add del mod modVis">
          <ac:chgData name="Ugo MANTEL" userId="2d5b7065-31bb-4181-a7f8-a73bf0c30211" providerId="ADAL" clId="{9344D105-636D-4857-BD0F-AFC44A54BCCF}" dt="2021-05-25T14:51:44.354" v="36457"/>
          <ac:spMkLst>
            <pc:docMk/>
            <pc:sldMk cId="2765598525" sldId="10435"/>
            <ac:spMk id="30" creationId="{C536448F-4945-4F07-8D68-5848E0C0B252}"/>
          </ac:spMkLst>
        </pc:spChg>
        <pc:spChg chg="add del mod modVis">
          <ac:chgData name="Ugo MANTEL" userId="2d5b7065-31bb-4181-a7f8-a73bf0c30211" providerId="ADAL" clId="{9344D105-636D-4857-BD0F-AFC44A54BCCF}" dt="2021-05-25T14:51:53.717" v="36504"/>
          <ac:spMkLst>
            <pc:docMk/>
            <pc:sldMk cId="2765598525" sldId="10435"/>
            <ac:spMk id="31" creationId="{FAB416A2-97CA-4E3B-A98C-BBF27602B4A0}"/>
          </ac:spMkLst>
        </pc:spChg>
        <pc:spChg chg="del mod">
          <ac:chgData name="Ugo MANTEL" userId="2d5b7065-31bb-4181-a7f8-a73bf0c30211" providerId="ADAL" clId="{9344D105-636D-4857-BD0F-AFC44A54BCCF}" dt="2021-05-25T14:54:02.917" v="37420" actId="478"/>
          <ac:spMkLst>
            <pc:docMk/>
            <pc:sldMk cId="2765598525" sldId="10435"/>
            <ac:spMk id="32" creationId="{36587DAE-9B3C-4706-BA2D-0A286CB69953}"/>
          </ac:spMkLst>
        </pc:spChg>
        <pc:spChg chg="add del mod modVis">
          <ac:chgData name="Ugo MANTEL" userId="2d5b7065-31bb-4181-a7f8-a73bf0c30211" providerId="ADAL" clId="{9344D105-636D-4857-BD0F-AFC44A54BCCF}" dt="2021-05-25T14:51:55.824" v="36556"/>
          <ac:spMkLst>
            <pc:docMk/>
            <pc:sldMk cId="2765598525" sldId="10435"/>
            <ac:spMk id="34" creationId="{A8A16692-22BE-4A56-AFB9-7FF65CFB2D63}"/>
          </ac:spMkLst>
        </pc:spChg>
        <pc:spChg chg="add del mod modVis">
          <ac:chgData name="Ugo MANTEL" userId="2d5b7065-31bb-4181-a7f8-a73bf0c30211" providerId="ADAL" clId="{9344D105-636D-4857-BD0F-AFC44A54BCCF}" dt="2021-05-25T14:51:58.875" v="36600"/>
          <ac:spMkLst>
            <pc:docMk/>
            <pc:sldMk cId="2765598525" sldId="10435"/>
            <ac:spMk id="35" creationId="{69E04057-E05E-4C64-B619-D04C29F57EA4}"/>
          </ac:spMkLst>
        </pc:spChg>
        <pc:spChg chg="del mod">
          <ac:chgData name="Ugo MANTEL" userId="2d5b7065-31bb-4181-a7f8-a73bf0c30211" providerId="ADAL" clId="{9344D105-636D-4857-BD0F-AFC44A54BCCF}" dt="2021-05-25T14:54:02.917" v="37420" actId="478"/>
          <ac:spMkLst>
            <pc:docMk/>
            <pc:sldMk cId="2765598525" sldId="10435"/>
            <ac:spMk id="37" creationId="{6D996438-2A04-4866-B4C7-335C0031D0D2}"/>
          </ac:spMkLst>
        </pc:spChg>
        <pc:spChg chg="mod">
          <ac:chgData name="Ugo MANTEL" userId="2d5b7065-31bb-4181-a7f8-a73bf0c30211" providerId="ADAL" clId="{9344D105-636D-4857-BD0F-AFC44A54BCCF}" dt="2021-05-25T14:20:13.176" v="29893" actId="790"/>
          <ac:spMkLst>
            <pc:docMk/>
            <pc:sldMk cId="2765598525" sldId="10435"/>
            <ac:spMk id="39" creationId="{5D40534F-3F1E-4C03-929E-AA7F8DCD307B}"/>
          </ac:spMkLst>
        </pc:spChg>
        <pc:spChg chg="mod">
          <ac:chgData name="Ugo MANTEL" userId="2d5b7065-31bb-4181-a7f8-a73bf0c30211" providerId="ADAL" clId="{9344D105-636D-4857-BD0F-AFC44A54BCCF}" dt="2021-05-25T14:20:13.178" v="29894" actId="790"/>
          <ac:spMkLst>
            <pc:docMk/>
            <pc:sldMk cId="2765598525" sldId="10435"/>
            <ac:spMk id="40" creationId="{99AF67C3-160C-4177-9C17-3461D134EEE4}"/>
          </ac:spMkLst>
        </pc:spChg>
        <pc:spChg chg="mod">
          <ac:chgData name="Ugo MANTEL" userId="2d5b7065-31bb-4181-a7f8-a73bf0c30211" providerId="ADAL" clId="{9344D105-636D-4857-BD0F-AFC44A54BCCF}" dt="2021-05-25T14:20:13.179" v="29895" actId="790"/>
          <ac:spMkLst>
            <pc:docMk/>
            <pc:sldMk cId="2765598525" sldId="10435"/>
            <ac:spMk id="41" creationId="{E1A159BC-0828-460F-B383-CA6B6D4FA551}"/>
          </ac:spMkLst>
        </pc:spChg>
        <pc:spChg chg="mod">
          <ac:chgData name="Ugo MANTEL" userId="2d5b7065-31bb-4181-a7f8-a73bf0c30211" providerId="ADAL" clId="{9344D105-636D-4857-BD0F-AFC44A54BCCF}" dt="2021-05-25T14:20:13.181" v="29896" actId="790"/>
          <ac:spMkLst>
            <pc:docMk/>
            <pc:sldMk cId="2765598525" sldId="10435"/>
            <ac:spMk id="42" creationId="{B55D48E5-96AE-4404-9E04-DBD77B7488EA}"/>
          </ac:spMkLst>
        </pc:spChg>
        <pc:spChg chg="add del mod modVis">
          <ac:chgData name="Ugo MANTEL" userId="2d5b7065-31bb-4181-a7f8-a73bf0c30211" providerId="ADAL" clId="{9344D105-636D-4857-BD0F-AFC44A54BCCF}" dt="2021-05-25T14:52:01.255" v="36644"/>
          <ac:spMkLst>
            <pc:docMk/>
            <pc:sldMk cId="2765598525" sldId="10435"/>
            <ac:spMk id="46" creationId="{CDC9F8AE-7FA3-4FE7-9AFC-9E3FB0EA1451}"/>
          </ac:spMkLst>
        </pc:spChg>
        <pc:spChg chg="add del mod modVis">
          <ac:chgData name="Ugo MANTEL" userId="2d5b7065-31bb-4181-a7f8-a73bf0c30211" providerId="ADAL" clId="{9344D105-636D-4857-BD0F-AFC44A54BCCF}" dt="2021-05-25T14:52:02.545" v="36689"/>
          <ac:spMkLst>
            <pc:docMk/>
            <pc:sldMk cId="2765598525" sldId="10435"/>
            <ac:spMk id="48" creationId="{FD133D33-2FAD-4374-AE04-C91AC196CEA7}"/>
          </ac:spMkLst>
        </pc:spChg>
        <pc:spChg chg="mod">
          <ac:chgData name="Ugo MANTEL" userId="2d5b7065-31bb-4181-a7f8-a73bf0c30211" providerId="ADAL" clId="{9344D105-636D-4857-BD0F-AFC44A54BCCF}" dt="2021-05-25T14:20:13.191" v="29904" actId="790"/>
          <ac:spMkLst>
            <pc:docMk/>
            <pc:sldMk cId="2765598525" sldId="10435"/>
            <ac:spMk id="49" creationId="{DCA24736-C921-4820-BD41-3BB3642FD803}"/>
          </ac:spMkLst>
        </pc:spChg>
        <pc:spChg chg="add del mod modVis">
          <ac:chgData name="Ugo MANTEL" userId="2d5b7065-31bb-4181-a7f8-a73bf0c30211" providerId="ADAL" clId="{9344D105-636D-4857-BD0F-AFC44A54BCCF}" dt="2021-05-25T14:52:11.391" v="36750"/>
          <ac:spMkLst>
            <pc:docMk/>
            <pc:sldMk cId="2765598525" sldId="10435"/>
            <ac:spMk id="51" creationId="{4FE724F0-ECE6-443B-857B-B22666187BF6}"/>
          </ac:spMkLst>
        </pc:spChg>
        <pc:spChg chg="add del mod modVis">
          <ac:chgData name="Ugo MANTEL" userId="2d5b7065-31bb-4181-a7f8-a73bf0c30211" providerId="ADAL" clId="{9344D105-636D-4857-BD0F-AFC44A54BCCF}" dt="2021-05-25T14:52:12.209" v="36797"/>
          <ac:spMkLst>
            <pc:docMk/>
            <pc:sldMk cId="2765598525" sldId="10435"/>
            <ac:spMk id="53" creationId="{9451D2E0-0A99-4D8A-87EE-4043E959E2C2}"/>
          </ac:spMkLst>
        </pc:spChg>
        <pc:spChg chg="add del mod modVis">
          <ac:chgData name="Ugo MANTEL" userId="2d5b7065-31bb-4181-a7f8-a73bf0c30211" providerId="ADAL" clId="{9344D105-636D-4857-BD0F-AFC44A54BCCF}" dt="2021-05-25T14:52:13.698" v="36846"/>
          <ac:spMkLst>
            <pc:docMk/>
            <pc:sldMk cId="2765598525" sldId="10435"/>
            <ac:spMk id="55" creationId="{0AAECB8E-6CFC-48C5-AB04-BC4EAA0BF94E}"/>
          </ac:spMkLst>
        </pc:spChg>
        <pc:spChg chg="add del mod modVis">
          <ac:chgData name="Ugo MANTEL" userId="2d5b7065-31bb-4181-a7f8-a73bf0c30211" providerId="ADAL" clId="{9344D105-636D-4857-BD0F-AFC44A54BCCF}" dt="2021-05-25T14:52:16.983" v="36890"/>
          <ac:spMkLst>
            <pc:docMk/>
            <pc:sldMk cId="2765598525" sldId="10435"/>
            <ac:spMk id="56" creationId="{FE7D87B3-A4A0-4EE6-BB85-EC28382DC307}"/>
          </ac:spMkLst>
        </pc:spChg>
        <pc:spChg chg="mod">
          <ac:chgData name="Ugo MANTEL" userId="2d5b7065-31bb-4181-a7f8-a73bf0c30211" providerId="ADAL" clId="{9344D105-636D-4857-BD0F-AFC44A54BCCF}" dt="2021-05-25T15:07:04.818" v="37730" actId="207"/>
          <ac:spMkLst>
            <pc:docMk/>
            <pc:sldMk cId="2765598525" sldId="10435"/>
            <ac:spMk id="57" creationId="{1C30E004-DFA6-45BF-A5E8-2C530ABCBF9D}"/>
          </ac:spMkLst>
        </pc:spChg>
        <pc:spChg chg="add del mod modVis">
          <ac:chgData name="Ugo MANTEL" userId="2d5b7065-31bb-4181-a7f8-a73bf0c30211" providerId="ADAL" clId="{9344D105-636D-4857-BD0F-AFC44A54BCCF}" dt="2021-05-25T14:52:18.002" v="36938"/>
          <ac:spMkLst>
            <pc:docMk/>
            <pc:sldMk cId="2765598525" sldId="10435"/>
            <ac:spMk id="58" creationId="{E9473629-E720-46EF-8568-2D655F68D86B}"/>
          </ac:spMkLst>
        </pc:spChg>
        <pc:spChg chg="add del mod modVis">
          <ac:chgData name="Ugo MANTEL" userId="2d5b7065-31bb-4181-a7f8-a73bf0c30211" providerId="ADAL" clId="{9344D105-636D-4857-BD0F-AFC44A54BCCF}" dt="2021-05-25T14:52:19.553" v="36985"/>
          <ac:spMkLst>
            <pc:docMk/>
            <pc:sldMk cId="2765598525" sldId="10435"/>
            <ac:spMk id="59" creationId="{38CCD102-AB3B-4368-86F2-3566468D7EC7}"/>
          </ac:spMkLst>
        </pc:spChg>
        <pc:spChg chg="add del mod modVis">
          <ac:chgData name="Ugo MANTEL" userId="2d5b7065-31bb-4181-a7f8-a73bf0c30211" providerId="ADAL" clId="{9344D105-636D-4857-BD0F-AFC44A54BCCF}" dt="2021-05-25T14:52:21.755" v="37034"/>
          <ac:spMkLst>
            <pc:docMk/>
            <pc:sldMk cId="2765598525" sldId="10435"/>
            <ac:spMk id="60" creationId="{3E7431E5-FC7E-4C2E-AA21-7A865FD27845}"/>
          </ac:spMkLst>
        </pc:spChg>
        <pc:spChg chg="add del mod modVis">
          <ac:chgData name="Ugo MANTEL" userId="2d5b7065-31bb-4181-a7f8-a73bf0c30211" providerId="ADAL" clId="{9344D105-636D-4857-BD0F-AFC44A54BCCF}" dt="2021-05-25T14:52:23.308" v="37082"/>
          <ac:spMkLst>
            <pc:docMk/>
            <pc:sldMk cId="2765598525" sldId="10435"/>
            <ac:spMk id="61" creationId="{9FE1EE9D-A644-4CCF-AD14-ED0CAE55B2AC}"/>
          </ac:spMkLst>
        </pc:spChg>
        <pc:spChg chg="mod">
          <ac:chgData name="Ugo MANTEL" userId="2d5b7065-31bb-4181-a7f8-a73bf0c30211" providerId="ADAL" clId="{9344D105-636D-4857-BD0F-AFC44A54BCCF}" dt="2021-05-25T14:20:13.202" v="29916" actId="790"/>
          <ac:spMkLst>
            <pc:docMk/>
            <pc:sldMk cId="2765598525" sldId="10435"/>
            <ac:spMk id="62" creationId="{B4DB3DD5-8015-4912-B437-0DA63DBB4290}"/>
          </ac:spMkLst>
        </pc:spChg>
        <pc:spChg chg="mod">
          <ac:chgData name="Ugo MANTEL" userId="2d5b7065-31bb-4181-a7f8-a73bf0c30211" providerId="ADAL" clId="{9344D105-636D-4857-BD0F-AFC44A54BCCF}" dt="2021-05-25T15:06:45.822" v="37728" actId="207"/>
          <ac:spMkLst>
            <pc:docMk/>
            <pc:sldMk cId="2765598525" sldId="10435"/>
            <ac:spMk id="63" creationId="{FEC106FA-F773-4E76-A121-BFA96EB32610}"/>
          </ac:spMkLst>
        </pc:spChg>
        <pc:spChg chg="add mod">
          <ac:chgData name="Ugo MANTEL" userId="2d5b7065-31bb-4181-a7f8-a73bf0c30211" providerId="ADAL" clId="{9344D105-636D-4857-BD0F-AFC44A54BCCF}" dt="2021-05-25T14:20:13.194" v="29907" actId="790"/>
          <ac:spMkLst>
            <pc:docMk/>
            <pc:sldMk cId="2765598525" sldId="10435"/>
            <ac:spMk id="64" creationId="{566DDF3C-152B-405E-91B5-BFE3854E9B99}"/>
          </ac:spMkLst>
        </pc:spChg>
        <pc:spChg chg="mod">
          <ac:chgData name="Ugo MANTEL" userId="2d5b7065-31bb-4181-a7f8-a73bf0c30211" providerId="ADAL" clId="{9344D105-636D-4857-BD0F-AFC44A54BCCF}" dt="2021-05-25T14:20:13.192" v="29905" actId="790"/>
          <ac:spMkLst>
            <pc:docMk/>
            <pc:sldMk cId="2765598525" sldId="10435"/>
            <ac:spMk id="65" creationId="{63BC922A-E119-45ED-AD41-4AA3DB639CCA}"/>
          </ac:spMkLst>
        </pc:spChg>
        <pc:spChg chg="mod">
          <ac:chgData name="Ugo MANTEL" userId="2d5b7065-31bb-4181-a7f8-a73bf0c30211" providerId="ADAL" clId="{9344D105-636D-4857-BD0F-AFC44A54BCCF}" dt="2021-05-25T14:20:13.185" v="29899" actId="790"/>
          <ac:spMkLst>
            <pc:docMk/>
            <pc:sldMk cId="2765598525" sldId="10435"/>
            <ac:spMk id="66" creationId="{C6A8EA40-B6D5-497D-9B6D-39FDC84D3A91}"/>
          </ac:spMkLst>
        </pc:spChg>
        <pc:spChg chg="mod">
          <ac:chgData name="Ugo MANTEL" userId="2d5b7065-31bb-4181-a7f8-a73bf0c30211" providerId="ADAL" clId="{9344D105-636D-4857-BD0F-AFC44A54BCCF}" dt="2021-05-25T14:20:13.186" v="29900" actId="790"/>
          <ac:spMkLst>
            <pc:docMk/>
            <pc:sldMk cId="2765598525" sldId="10435"/>
            <ac:spMk id="68" creationId="{B3FDAE9B-6237-4D44-9C56-6C2ABE08C1C5}"/>
          </ac:spMkLst>
        </pc:spChg>
        <pc:spChg chg="mod">
          <ac:chgData name="Ugo MANTEL" userId="2d5b7065-31bb-4181-a7f8-a73bf0c30211" providerId="ADAL" clId="{9344D105-636D-4857-BD0F-AFC44A54BCCF}" dt="2021-05-25T14:20:13.187" v="29901" actId="790"/>
          <ac:spMkLst>
            <pc:docMk/>
            <pc:sldMk cId="2765598525" sldId="10435"/>
            <ac:spMk id="69" creationId="{C19101E2-49D4-4D57-84DB-BD95186C2384}"/>
          </ac:spMkLst>
        </pc:spChg>
        <pc:spChg chg="mod">
          <ac:chgData name="Ugo MANTEL" userId="2d5b7065-31bb-4181-a7f8-a73bf0c30211" providerId="ADAL" clId="{9344D105-636D-4857-BD0F-AFC44A54BCCF}" dt="2021-05-25T14:20:13.188" v="29902" actId="790"/>
          <ac:spMkLst>
            <pc:docMk/>
            <pc:sldMk cId="2765598525" sldId="10435"/>
            <ac:spMk id="70" creationId="{E7F54798-5D30-4D44-9892-860B1F1097BA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71" creationId="{EBF350A2-42A1-4B3B-8BCA-A2D2134472BE}"/>
          </ac:spMkLst>
        </pc:spChg>
        <pc:spChg chg="mod">
          <ac:chgData name="Ugo MANTEL" userId="2d5b7065-31bb-4181-a7f8-a73bf0c30211" providerId="ADAL" clId="{9344D105-636D-4857-BD0F-AFC44A54BCCF}" dt="2021-05-25T15:06:37.103" v="37727" actId="207"/>
          <ac:spMkLst>
            <pc:docMk/>
            <pc:sldMk cId="2765598525" sldId="10435"/>
            <ac:spMk id="72" creationId="{38D55508-C45D-4729-9781-105E4D6EE81A}"/>
          </ac:spMkLst>
        </pc:spChg>
        <pc:spChg chg="add del mod">
          <ac:chgData name="Ugo MANTEL" userId="2d5b7065-31bb-4181-a7f8-a73bf0c30211" providerId="ADAL" clId="{9344D105-636D-4857-BD0F-AFC44A54BCCF}" dt="2021-05-24T14:59:42.108" v="8699" actId="478"/>
          <ac:spMkLst>
            <pc:docMk/>
            <pc:sldMk cId="2765598525" sldId="10435"/>
            <ac:spMk id="74" creationId="{292764CF-10F4-49A0-B397-83D340FEA71D}"/>
          </ac:spMkLst>
        </pc:spChg>
        <pc:spChg chg="add mod">
          <ac:chgData name="Ugo MANTEL" userId="2d5b7065-31bb-4181-a7f8-a73bf0c30211" providerId="ADAL" clId="{9344D105-636D-4857-BD0F-AFC44A54BCCF}" dt="2021-05-25T14:36:44.340" v="35220" actId="20577"/>
          <ac:spMkLst>
            <pc:docMk/>
            <pc:sldMk cId="2765598525" sldId="10435"/>
            <ac:spMk id="74" creationId="{9340E5FC-697B-43AC-AAB2-9AA78202819D}"/>
          </ac:spMkLst>
        </pc:spChg>
        <pc:spChg chg="add del mod modVis">
          <ac:chgData name="Ugo MANTEL" userId="2d5b7065-31bb-4181-a7f8-a73bf0c30211" providerId="ADAL" clId="{9344D105-636D-4857-BD0F-AFC44A54BCCF}" dt="2021-05-25T14:52:36.827" v="37131"/>
          <ac:spMkLst>
            <pc:docMk/>
            <pc:sldMk cId="2765598525" sldId="10435"/>
            <ac:spMk id="75" creationId="{386F2538-542C-494B-B322-5D9E7DDC91E4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75" creationId="{E5FC04A8-52CF-41DE-BED3-372C7A65D4B9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76" creationId="{0109298A-4D1E-48AD-A8A7-8491650452B9}"/>
          </ac:spMkLst>
        </pc:spChg>
        <pc:spChg chg="add del mod modVis">
          <ac:chgData name="Ugo MANTEL" userId="2d5b7065-31bb-4181-a7f8-a73bf0c30211" providerId="ADAL" clId="{9344D105-636D-4857-BD0F-AFC44A54BCCF}" dt="2021-05-25T14:52:39.087" v="37186"/>
          <ac:spMkLst>
            <pc:docMk/>
            <pc:sldMk cId="2765598525" sldId="10435"/>
            <ac:spMk id="76" creationId="{9172DF2A-B153-436C-A52F-59F6E33132B2}"/>
          </ac:spMkLst>
        </pc:spChg>
        <pc:spChg chg="add del mod modVis">
          <ac:chgData name="Ugo MANTEL" userId="2d5b7065-31bb-4181-a7f8-a73bf0c30211" providerId="ADAL" clId="{9344D105-636D-4857-BD0F-AFC44A54BCCF}" dt="2021-05-25T14:52:40.307" v="37234"/>
          <ac:spMkLst>
            <pc:docMk/>
            <pc:sldMk cId="2765598525" sldId="10435"/>
            <ac:spMk id="77" creationId="{2BB9540D-5E1A-465C-BAE1-A754DF6EB9C9}"/>
          </ac:spMkLst>
        </pc:spChg>
        <pc:spChg chg="add del mod">
          <ac:chgData name="Ugo MANTEL" userId="2d5b7065-31bb-4181-a7f8-a73bf0c30211" providerId="ADAL" clId="{9344D105-636D-4857-BD0F-AFC44A54BCCF}" dt="2021-05-24T14:59:42.108" v="8699" actId="478"/>
          <ac:spMkLst>
            <pc:docMk/>
            <pc:sldMk cId="2765598525" sldId="10435"/>
            <ac:spMk id="77" creationId="{F2685504-415F-4F81-90BC-FCB18C2AE34D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78" creationId="{75F90EA6-8710-43EB-B25E-161FD75CE73F}"/>
          </ac:spMkLst>
        </pc:spChg>
        <pc:spChg chg="add del mod modVis">
          <ac:chgData name="Ugo MANTEL" userId="2d5b7065-31bb-4181-a7f8-a73bf0c30211" providerId="ADAL" clId="{9344D105-636D-4857-BD0F-AFC44A54BCCF}" dt="2021-05-25T14:52:42.370" v="37284"/>
          <ac:spMkLst>
            <pc:docMk/>
            <pc:sldMk cId="2765598525" sldId="10435"/>
            <ac:spMk id="78" creationId="{F31F33C7-8293-47EB-BEB4-666046305D30}"/>
          </ac:spMkLst>
        </pc:spChg>
        <pc:spChg chg="add del mod modVis">
          <ac:chgData name="Ugo MANTEL" userId="2d5b7065-31bb-4181-a7f8-a73bf0c30211" providerId="ADAL" clId="{9344D105-636D-4857-BD0F-AFC44A54BCCF}" dt="2021-05-25T14:52:50.906" v="37328"/>
          <ac:spMkLst>
            <pc:docMk/>
            <pc:sldMk cId="2765598525" sldId="10435"/>
            <ac:spMk id="80" creationId="{1DF56314-B2E5-4507-83E0-F0A3A26E4BC9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80" creationId="{40764960-A1FE-4651-B30B-04E9D810895C}"/>
          </ac:spMkLst>
        </pc:spChg>
        <pc:spChg chg="add del mod modVis">
          <ac:chgData name="Ugo MANTEL" userId="2d5b7065-31bb-4181-a7f8-a73bf0c30211" providerId="ADAL" clId="{9344D105-636D-4857-BD0F-AFC44A54BCCF}" dt="2021-05-25T14:52:59.944" v="37372"/>
          <ac:spMkLst>
            <pc:docMk/>
            <pc:sldMk cId="2765598525" sldId="10435"/>
            <ac:spMk id="81" creationId="{80500E7B-E46F-4EE0-BE3D-378D13940888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81" creationId="{EE0161A1-0C77-4036-8990-B248035D5E64}"/>
          </ac:spMkLst>
        </pc:spChg>
        <pc:spChg chg="add del mod modVis">
          <ac:chgData name="Ugo MANTEL" userId="2d5b7065-31bb-4181-a7f8-a73bf0c30211" providerId="ADAL" clId="{9344D105-636D-4857-BD0F-AFC44A54BCCF}" dt="2021-05-25T14:53:05.549" v="37417"/>
          <ac:spMkLst>
            <pc:docMk/>
            <pc:sldMk cId="2765598525" sldId="10435"/>
            <ac:spMk id="82" creationId="{2ACABEC2-2E4D-4D05-BAEF-303A5B687EC7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82" creationId="{AACE9C96-D3EF-47FB-9C7F-8D0278976DB0}"/>
          </ac:spMkLst>
        </pc:spChg>
        <pc:spChg chg="add del mod">
          <ac:chgData name="Ugo MANTEL" userId="2d5b7065-31bb-4181-a7f8-a73bf0c30211" providerId="ADAL" clId="{9344D105-636D-4857-BD0F-AFC44A54BCCF}" dt="2021-05-24T15:09:24.334" v="8783" actId="478"/>
          <ac:spMkLst>
            <pc:docMk/>
            <pc:sldMk cId="2765598525" sldId="10435"/>
            <ac:spMk id="83" creationId="{F183E12A-5ABA-493B-876C-40DA85FADEB1}"/>
          </ac:spMkLst>
        </pc:spChg>
        <pc:spChg chg="add mod">
          <ac:chgData name="Ugo MANTEL" userId="2d5b7065-31bb-4181-a7f8-a73bf0c30211" providerId="ADAL" clId="{9344D105-636D-4857-BD0F-AFC44A54BCCF}" dt="2021-05-25T14:20:13.195" v="29908" actId="790"/>
          <ac:spMkLst>
            <pc:docMk/>
            <pc:sldMk cId="2765598525" sldId="10435"/>
            <ac:spMk id="84" creationId="{4054EE9B-8E45-40D1-8288-56C20079DF82}"/>
          </ac:spMkLst>
        </pc:spChg>
        <pc:spChg chg="add mod">
          <ac:chgData name="Ugo MANTEL" userId="2d5b7065-31bb-4181-a7f8-a73bf0c30211" providerId="ADAL" clId="{9344D105-636D-4857-BD0F-AFC44A54BCCF}" dt="2021-05-25T14:20:13.196" v="29909" actId="790"/>
          <ac:spMkLst>
            <pc:docMk/>
            <pc:sldMk cId="2765598525" sldId="10435"/>
            <ac:spMk id="85" creationId="{4F2CC5AE-1ECD-4C7F-B5BC-7C0C3EAA70FD}"/>
          </ac:spMkLst>
        </pc:spChg>
        <pc:spChg chg="add mod">
          <ac:chgData name="Ugo MANTEL" userId="2d5b7065-31bb-4181-a7f8-a73bf0c30211" providerId="ADAL" clId="{9344D105-636D-4857-BD0F-AFC44A54BCCF}" dt="2021-05-25T14:20:13.197" v="29910" actId="790"/>
          <ac:spMkLst>
            <pc:docMk/>
            <pc:sldMk cId="2765598525" sldId="10435"/>
            <ac:spMk id="86" creationId="{0EB4F0E5-0360-4090-9486-E155A4293D5C}"/>
          </ac:spMkLst>
        </pc:spChg>
        <pc:spChg chg="add mod">
          <ac:chgData name="Ugo MANTEL" userId="2d5b7065-31bb-4181-a7f8-a73bf0c30211" providerId="ADAL" clId="{9344D105-636D-4857-BD0F-AFC44A54BCCF}" dt="2021-05-25T14:20:13.197" v="29911" actId="790"/>
          <ac:spMkLst>
            <pc:docMk/>
            <pc:sldMk cId="2765598525" sldId="10435"/>
            <ac:spMk id="87" creationId="{E972938D-05F4-4787-A501-7EB8C2A635E3}"/>
          </ac:spMkLst>
        </pc:spChg>
        <pc:spChg chg="add mod">
          <ac:chgData name="Ugo MANTEL" userId="2d5b7065-31bb-4181-a7f8-a73bf0c30211" providerId="ADAL" clId="{9344D105-636D-4857-BD0F-AFC44A54BCCF}" dt="2021-05-25T14:20:13.198" v="29912" actId="790"/>
          <ac:spMkLst>
            <pc:docMk/>
            <pc:sldMk cId="2765598525" sldId="10435"/>
            <ac:spMk id="88" creationId="{CA26FE7A-62CF-441A-8876-93155FF3E42E}"/>
          </ac:spMkLst>
        </pc:spChg>
        <pc:spChg chg="add mod">
          <ac:chgData name="Ugo MANTEL" userId="2d5b7065-31bb-4181-a7f8-a73bf0c30211" providerId="ADAL" clId="{9344D105-636D-4857-BD0F-AFC44A54BCCF}" dt="2021-05-25T14:20:13.199" v="29913" actId="790"/>
          <ac:spMkLst>
            <pc:docMk/>
            <pc:sldMk cId="2765598525" sldId="10435"/>
            <ac:spMk id="89" creationId="{D21E2756-8745-43D7-8058-14502CF2ADCE}"/>
          </ac:spMkLst>
        </pc:spChg>
        <pc:spChg chg="add mod">
          <ac:chgData name="Ugo MANTEL" userId="2d5b7065-31bb-4181-a7f8-a73bf0c30211" providerId="ADAL" clId="{9344D105-636D-4857-BD0F-AFC44A54BCCF}" dt="2021-05-25T14:20:13.200" v="29914" actId="790"/>
          <ac:spMkLst>
            <pc:docMk/>
            <pc:sldMk cId="2765598525" sldId="10435"/>
            <ac:spMk id="90" creationId="{F50F646F-5FB0-44EF-8DB6-F985EDBCA99C}"/>
          </ac:spMkLst>
        </pc:spChg>
        <pc:spChg chg="add mod">
          <ac:chgData name="Ugo MANTEL" userId="2d5b7065-31bb-4181-a7f8-a73bf0c30211" providerId="ADAL" clId="{9344D105-636D-4857-BD0F-AFC44A54BCCF}" dt="2021-05-25T14:20:13.201" v="29915" actId="790"/>
          <ac:spMkLst>
            <pc:docMk/>
            <pc:sldMk cId="2765598525" sldId="10435"/>
            <ac:spMk id="91" creationId="{B2DD806F-1AF8-432C-8F0C-C618F2BDE4CB}"/>
          </ac:spMkLst>
        </pc:spChg>
        <pc:graphicFrameChg chg="mod">
          <ac:chgData name="Ugo MANTEL" userId="2d5b7065-31bb-4181-a7f8-a73bf0c30211" providerId="ADAL" clId="{9344D105-636D-4857-BD0F-AFC44A54BCCF}" dt="2021-05-25T14:53:05.550" v="37419"/>
          <ac:graphicFrameMkLst>
            <pc:docMk/>
            <pc:sldMk cId="2765598525" sldId="10435"/>
            <ac:graphicFrameMk id="28" creationId="{0CFB0338-4C68-4D9D-A30B-D80E54257229}"/>
          </ac:graphicFrameMkLst>
        </pc:graphicFrameChg>
        <pc:picChg chg="add mod">
          <ac:chgData name="Ugo MANTEL" userId="2d5b7065-31bb-4181-a7f8-a73bf0c30211" providerId="ADAL" clId="{9344D105-636D-4857-BD0F-AFC44A54BCCF}" dt="2021-05-25T14:36:41.557" v="35218"/>
          <ac:picMkLst>
            <pc:docMk/>
            <pc:sldMk cId="2765598525" sldId="10435"/>
            <ac:picMk id="71" creationId="{420EBBD2-A57E-4F29-BEA7-19D2E58EECD4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4:20:11.224" v="27910" actId="790"/>
        <pc:sldMkLst>
          <pc:docMk/>
          <pc:sldMk cId="3781687056" sldId="10437"/>
        </pc:sldMkLst>
        <pc:spChg chg="mod">
          <ac:chgData name="Ugo MANTEL" userId="2d5b7065-31bb-4181-a7f8-a73bf0c30211" providerId="ADAL" clId="{9344D105-636D-4857-BD0F-AFC44A54BCCF}" dt="2021-05-25T14:20:11.150" v="27815" actId="790"/>
          <ac:spMkLst>
            <pc:docMk/>
            <pc:sldMk cId="3781687056" sldId="10437"/>
            <ac:spMk id="2" creationId="{6141F854-3009-40D7-9038-56590105A49E}"/>
          </ac:spMkLst>
        </pc:spChg>
        <pc:spChg chg="mod">
          <ac:chgData name="Ugo MANTEL" userId="2d5b7065-31bb-4181-a7f8-a73bf0c30211" providerId="ADAL" clId="{9344D105-636D-4857-BD0F-AFC44A54BCCF}" dt="2021-05-25T14:20:11.156" v="27816" actId="790"/>
          <ac:spMkLst>
            <pc:docMk/>
            <pc:sldMk cId="3781687056" sldId="10437"/>
            <ac:spMk id="3" creationId="{F5CA8CC9-6A13-4BDE-9953-50691A73BA81}"/>
          </ac:spMkLst>
        </pc:spChg>
        <pc:spChg chg="mod">
          <ac:chgData name="Ugo MANTEL" userId="2d5b7065-31bb-4181-a7f8-a73bf0c30211" providerId="ADAL" clId="{9344D105-636D-4857-BD0F-AFC44A54BCCF}" dt="2021-05-25T14:20:11.183" v="27861" actId="790"/>
          <ac:spMkLst>
            <pc:docMk/>
            <pc:sldMk cId="3781687056" sldId="10437"/>
            <ac:spMk id="4" creationId="{8F15B80F-09DF-4F44-A671-16DAD8DB32D1}"/>
          </ac:spMkLst>
        </pc:spChg>
        <pc:spChg chg="mod">
          <ac:chgData name="Ugo MANTEL" userId="2d5b7065-31bb-4181-a7f8-a73bf0c30211" providerId="ADAL" clId="{9344D105-636D-4857-BD0F-AFC44A54BCCF}" dt="2021-05-25T14:20:11.149" v="27814" actId="790"/>
          <ac:spMkLst>
            <pc:docMk/>
            <pc:sldMk cId="3781687056" sldId="10437"/>
            <ac:spMk id="14" creationId="{79163A55-8253-4415-87E3-49B6AA0C98BF}"/>
          </ac:spMkLst>
        </pc:spChg>
        <pc:spChg chg="mod">
          <ac:chgData name="Ugo MANTEL" userId="2d5b7065-31bb-4181-a7f8-a73bf0c30211" providerId="ADAL" clId="{9344D105-636D-4857-BD0F-AFC44A54BCCF}" dt="2021-05-25T14:20:11.148" v="27813" actId="790"/>
          <ac:spMkLst>
            <pc:docMk/>
            <pc:sldMk cId="3781687056" sldId="10437"/>
            <ac:spMk id="15" creationId="{C7CC0E72-2C4D-4227-BE31-58EBB8D10C2D}"/>
          </ac:spMkLst>
        </pc:spChg>
        <pc:spChg chg="mod">
          <ac:chgData name="Ugo MANTEL" userId="2d5b7065-31bb-4181-a7f8-a73bf0c30211" providerId="ADAL" clId="{9344D105-636D-4857-BD0F-AFC44A54BCCF}" dt="2021-05-25T14:20:11.148" v="27812" actId="790"/>
          <ac:spMkLst>
            <pc:docMk/>
            <pc:sldMk cId="3781687056" sldId="10437"/>
            <ac:spMk id="16" creationId="{D2E2D690-327F-4633-A872-ADB29F27F398}"/>
          </ac:spMkLst>
        </pc:spChg>
        <pc:spChg chg="mod">
          <ac:chgData name="Ugo MANTEL" userId="2d5b7065-31bb-4181-a7f8-a73bf0c30211" providerId="ADAL" clId="{9344D105-636D-4857-BD0F-AFC44A54BCCF}" dt="2021-05-25T14:20:11.190" v="27874" actId="790"/>
          <ac:spMkLst>
            <pc:docMk/>
            <pc:sldMk cId="3781687056" sldId="10437"/>
            <ac:spMk id="17" creationId="{A2D0F004-7BB1-4CB7-8D0B-42321F6A5542}"/>
          </ac:spMkLst>
        </pc:spChg>
        <pc:spChg chg="mod">
          <ac:chgData name="Ugo MANTEL" userId="2d5b7065-31bb-4181-a7f8-a73bf0c30211" providerId="ADAL" clId="{9344D105-636D-4857-BD0F-AFC44A54BCCF}" dt="2021-05-25T14:20:11.159" v="27821" actId="790"/>
          <ac:spMkLst>
            <pc:docMk/>
            <pc:sldMk cId="3781687056" sldId="10437"/>
            <ac:spMk id="21" creationId="{AF93235F-7D4B-4DEB-B632-8AD82BB62757}"/>
          </ac:spMkLst>
        </pc:spChg>
        <pc:spChg chg="mod">
          <ac:chgData name="Ugo MANTEL" userId="2d5b7065-31bb-4181-a7f8-a73bf0c30211" providerId="ADAL" clId="{9344D105-636D-4857-BD0F-AFC44A54BCCF}" dt="2021-05-25T14:20:11.156" v="27817" actId="790"/>
          <ac:spMkLst>
            <pc:docMk/>
            <pc:sldMk cId="3781687056" sldId="10437"/>
            <ac:spMk id="25" creationId="{C509ABA6-0D56-4D9A-8217-F214397AC6C6}"/>
          </ac:spMkLst>
        </pc:spChg>
        <pc:spChg chg="mod">
          <ac:chgData name="Ugo MANTEL" userId="2d5b7065-31bb-4181-a7f8-a73bf0c30211" providerId="ADAL" clId="{9344D105-636D-4857-BD0F-AFC44A54BCCF}" dt="2021-05-25T14:20:11.157" v="27818" actId="790"/>
          <ac:spMkLst>
            <pc:docMk/>
            <pc:sldMk cId="3781687056" sldId="10437"/>
            <ac:spMk id="30" creationId="{52F7899A-6E23-45C9-AB1D-5A04E49DE8D3}"/>
          </ac:spMkLst>
        </pc:spChg>
        <pc:spChg chg="mod">
          <ac:chgData name="Ugo MANTEL" userId="2d5b7065-31bb-4181-a7f8-a73bf0c30211" providerId="ADAL" clId="{9344D105-636D-4857-BD0F-AFC44A54BCCF}" dt="2021-05-25T14:20:11.158" v="27819" actId="790"/>
          <ac:spMkLst>
            <pc:docMk/>
            <pc:sldMk cId="3781687056" sldId="10437"/>
            <ac:spMk id="31" creationId="{39A4E537-6B70-42D6-B76D-22EBE99E5324}"/>
          </ac:spMkLst>
        </pc:spChg>
        <pc:spChg chg="mod">
          <ac:chgData name="Ugo MANTEL" userId="2d5b7065-31bb-4181-a7f8-a73bf0c30211" providerId="ADAL" clId="{9344D105-636D-4857-BD0F-AFC44A54BCCF}" dt="2021-05-25T14:20:11.158" v="27820" actId="790"/>
          <ac:spMkLst>
            <pc:docMk/>
            <pc:sldMk cId="3781687056" sldId="10437"/>
            <ac:spMk id="32" creationId="{E344EE6B-B062-4077-8C00-8A44A9ED2DC4}"/>
          </ac:spMkLst>
        </pc:spChg>
        <pc:spChg chg="mod">
          <ac:chgData name="Ugo MANTEL" userId="2d5b7065-31bb-4181-a7f8-a73bf0c30211" providerId="ADAL" clId="{9344D105-636D-4857-BD0F-AFC44A54BCCF}" dt="2021-05-25T14:20:11.160" v="27822" actId="790"/>
          <ac:spMkLst>
            <pc:docMk/>
            <pc:sldMk cId="3781687056" sldId="10437"/>
            <ac:spMk id="44" creationId="{477526AF-EDB0-4811-B55E-5B4DBA8CB600}"/>
          </ac:spMkLst>
        </pc:spChg>
        <pc:spChg chg="mod">
          <ac:chgData name="Ugo MANTEL" userId="2d5b7065-31bb-4181-a7f8-a73bf0c30211" providerId="ADAL" clId="{9344D105-636D-4857-BD0F-AFC44A54BCCF}" dt="2021-05-25T14:20:11.160" v="27823" actId="790"/>
          <ac:spMkLst>
            <pc:docMk/>
            <pc:sldMk cId="3781687056" sldId="10437"/>
            <ac:spMk id="45" creationId="{2BA6CE4E-7982-4D26-9262-C56F0898C5E2}"/>
          </ac:spMkLst>
        </pc:spChg>
        <pc:spChg chg="mod">
          <ac:chgData name="Ugo MANTEL" userId="2d5b7065-31bb-4181-a7f8-a73bf0c30211" providerId="ADAL" clId="{9344D105-636D-4857-BD0F-AFC44A54BCCF}" dt="2021-05-25T14:20:11.161" v="27824" actId="790"/>
          <ac:spMkLst>
            <pc:docMk/>
            <pc:sldMk cId="3781687056" sldId="10437"/>
            <ac:spMk id="46" creationId="{78000759-D0F4-4489-B0F9-BB8EC55A1191}"/>
          </ac:spMkLst>
        </pc:spChg>
        <pc:spChg chg="mod">
          <ac:chgData name="Ugo MANTEL" userId="2d5b7065-31bb-4181-a7f8-a73bf0c30211" providerId="ADAL" clId="{9344D105-636D-4857-BD0F-AFC44A54BCCF}" dt="2021-05-25T14:20:11.162" v="27825" actId="790"/>
          <ac:spMkLst>
            <pc:docMk/>
            <pc:sldMk cId="3781687056" sldId="10437"/>
            <ac:spMk id="47" creationId="{0D2666E1-A6F4-409F-9431-C0A5F6D79FC6}"/>
          </ac:spMkLst>
        </pc:spChg>
        <pc:spChg chg="mod">
          <ac:chgData name="Ugo MANTEL" userId="2d5b7065-31bb-4181-a7f8-a73bf0c30211" providerId="ADAL" clId="{9344D105-636D-4857-BD0F-AFC44A54BCCF}" dt="2021-05-25T14:20:11.163" v="27826" actId="790"/>
          <ac:spMkLst>
            <pc:docMk/>
            <pc:sldMk cId="3781687056" sldId="10437"/>
            <ac:spMk id="51" creationId="{60050807-8211-434C-BE82-707449B0447B}"/>
          </ac:spMkLst>
        </pc:spChg>
        <pc:spChg chg="mod">
          <ac:chgData name="Ugo MANTEL" userId="2d5b7065-31bb-4181-a7f8-a73bf0c30211" providerId="ADAL" clId="{9344D105-636D-4857-BD0F-AFC44A54BCCF}" dt="2021-05-25T14:20:11.163" v="27827" actId="790"/>
          <ac:spMkLst>
            <pc:docMk/>
            <pc:sldMk cId="3781687056" sldId="10437"/>
            <ac:spMk id="62" creationId="{7D8F5ED0-E7B3-4EAD-A092-DD77FEE8ABC5}"/>
          </ac:spMkLst>
        </pc:spChg>
        <pc:spChg chg="mod">
          <ac:chgData name="Ugo MANTEL" userId="2d5b7065-31bb-4181-a7f8-a73bf0c30211" providerId="ADAL" clId="{9344D105-636D-4857-BD0F-AFC44A54BCCF}" dt="2021-05-25T14:20:11.164" v="27828" actId="790"/>
          <ac:spMkLst>
            <pc:docMk/>
            <pc:sldMk cId="3781687056" sldId="10437"/>
            <ac:spMk id="63" creationId="{A827C968-C9A3-42BF-9067-1B9B7FACBBE1}"/>
          </ac:spMkLst>
        </pc:spChg>
        <pc:spChg chg="mod">
          <ac:chgData name="Ugo MANTEL" userId="2d5b7065-31bb-4181-a7f8-a73bf0c30211" providerId="ADAL" clId="{9344D105-636D-4857-BD0F-AFC44A54BCCF}" dt="2021-05-25T14:20:11.164" v="27829" actId="790"/>
          <ac:spMkLst>
            <pc:docMk/>
            <pc:sldMk cId="3781687056" sldId="10437"/>
            <ac:spMk id="64" creationId="{936D48D8-1ACB-4C16-905F-95AF33ADDFE8}"/>
          </ac:spMkLst>
        </pc:spChg>
        <pc:spChg chg="mod">
          <ac:chgData name="Ugo MANTEL" userId="2d5b7065-31bb-4181-a7f8-a73bf0c30211" providerId="ADAL" clId="{9344D105-636D-4857-BD0F-AFC44A54BCCF}" dt="2021-05-25T14:20:11.165" v="27830" actId="790"/>
          <ac:spMkLst>
            <pc:docMk/>
            <pc:sldMk cId="3781687056" sldId="10437"/>
            <ac:spMk id="65" creationId="{280CB374-1003-4E64-B285-3AD939EEEBA9}"/>
          </ac:spMkLst>
        </pc:spChg>
        <pc:spChg chg="mod">
          <ac:chgData name="Ugo MANTEL" userId="2d5b7065-31bb-4181-a7f8-a73bf0c30211" providerId="ADAL" clId="{9344D105-636D-4857-BD0F-AFC44A54BCCF}" dt="2021-05-25T14:20:11.166" v="27831" actId="790"/>
          <ac:spMkLst>
            <pc:docMk/>
            <pc:sldMk cId="3781687056" sldId="10437"/>
            <ac:spMk id="97" creationId="{6E066559-1B4D-4775-A03B-28E34099AAD8}"/>
          </ac:spMkLst>
        </pc:spChg>
        <pc:spChg chg="mod">
          <ac:chgData name="Ugo MANTEL" userId="2d5b7065-31bb-4181-a7f8-a73bf0c30211" providerId="ADAL" clId="{9344D105-636D-4857-BD0F-AFC44A54BCCF}" dt="2021-05-25T14:20:11.166" v="27832" actId="790"/>
          <ac:spMkLst>
            <pc:docMk/>
            <pc:sldMk cId="3781687056" sldId="10437"/>
            <ac:spMk id="98" creationId="{F900BD09-AFFE-497B-B047-11FEDC423513}"/>
          </ac:spMkLst>
        </pc:spChg>
        <pc:spChg chg="mod">
          <ac:chgData name="Ugo MANTEL" userId="2d5b7065-31bb-4181-a7f8-a73bf0c30211" providerId="ADAL" clId="{9344D105-636D-4857-BD0F-AFC44A54BCCF}" dt="2021-05-25T14:20:11.167" v="27833" actId="790"/>
          <ac:spMkLst>
            <pc:docMk/>
            <pc:sldMk cId="3781687056" sldId="10437"/>
            <ac:spMk id="99" creationId="{DC487871-5C77-464A-96E3-EB8F962B5B65}"/>
          </ac:spMkLst>
        </pc:spChg>
        <pc:spChg chg="mod">
          <ac:chgData name="Ugo MANTEL" userId="2d5b7065-31bb-4181-a7f8-a73bf0c30211" providerId="ADAL" clId="{9344D105-636D-4857-BD0F-AFC44A54BCCF}" dt="2021-05-25T14:20:11.167" v="27834" actId="790"/>
          <ac:spMkLst>
            <pc:docMk/>
            <pc:sldMk cId="3781687056" sldId="10437"/>
            <ac:spMk id="100" creationId="{E861CDD7-D84C-4719-BEF7-4DE00D716D3B}"/>
          </ac:spMkLst>
        </pc:spChg>
        <pc:spChg chg="mod">
          <ac:chgData name="Ugo MANTEL" userId="2d5b7065-31bb-4181-a7f8-a73bf0c30211" providerId="ADAL" clId="{9344D105-636D-4857-BD0F-AFC44A54BCCF}" dt="2021-05-25T14:20:11.168" v="27835" actId="790"/>
          <ac:spMkLst>
            <pc:docMk/>
            <pc:sldMk cId="3781687056" sldId="10437"/>
            <ac:spMk id="105" creationId="{4E53DF95-5458-4785-8AB8-BA8F7CC5269E}"/>
          </ac:spMkLst>
        </pc:spChg>
        <pc:spChg chg="mod">
          <ac:chgData name="Ugo MANTEL" userId="2d5b7065-31bb-4181-a7f8-a73bf0c30211" providerId="ADAL" clId="{9344D105-636D-4857-BD0F-AFC44A54BCCF}" dt="2021-05-25T14:20:11.168" v="27836" actId="790"/>
          <ac:spMkLst>
            <pc:docMk/>
            <pc:sldMk cId="3781687056" sldId="10437"/>
            <ac:spMk id="106" creationId="{E56D1CA8-2FB9-43F1-A907-EB7C2D369A11}"/>
          </ac:spMkLst>
        </pc:spChg>
        <pc:spChg chg="mod">
          <ac:chgData name="Ugo MANTEL" userId="2d5b7065-31bb-4181-a7f8-a73bf0c30211" providerId="ADAL" clId="{9344D105-636D-4857-BD0F-AFC44A54BCCF}" dt="2021-05-25T14:20:11.169" v="27837" actId="790"/>
          <ac:spMkLst>
            <pc:docMk/>
            <pc:sldMk cId="3781687056" sldId="10437"/>
            <ac:spMk id="107" creationId="{051E6C51-8EC8-4D80-924E-5F5E3BC36BE1}"/>
          </ac:spMkLst>
        </pc:spChg>
        <pc:spChg chg="mod">
          <ac:chgData name="Ugo MANTEL" userId="2d5b7065-31bb-4181-a7f8-a73bf0c30211" providerId="ADAL" clId="{9344D105-636D-4857-BD0F-AFC44A54BCCF}" dt="2021-05-25T14:20:11.169" v="27838" actId="790"/>
          <ac:spMkLst>
            <pc:docMk/>
            <pc:sldMk cId="3781687056" sldId="10437"/>
            <ac:spMk id="108" creationId="{952E5143-D5F8-491F-ACA6-DBB69B23DBC2}"/>
          </ac:spMkLst>
        </pc:spChg>
        <pc:spChg chg="mod">
          <ac:chgData name="Ugo MANTEL" userId="2d5b7065-31bb-4181-a7f8-a73bf0c30211" providerId="ADAL" clId="{9344D105-636D-4857-BD0F-AFC44A54BCCF}" dt="2021-05-25T14:20:11.170" v="27839" actId="790"/>
          <ac:spMkLst>
            <pc:docMk/>
            <pc:sldMk cId="3781687056" sldId="10437"/>
            <ac:spMk id="111" creationId="{120AA726-0FF6-4209-BB20-1BA916108E4E}"/>
          </ac:spMkLst>
        </pc:spChg>
        <pc:spChg chg="mod">
          <ac:chgData name="Ugo MANTEL" userId="2d5b7065-31bb-4181-a7f8-a73bf0c30211" providerId="ADAL" clId="{9344D105-636D-4857-BD0F-AFC44A54BCCF}" dt="2021-05-25T14:20:11.171" v="27840" actId="790"/>
          <ac:spMkLst>
            <pc:docMk/>
            <pc:sldMk cId="3781687056" sldId="10437"/>
            <ac:spMk id="113" creationId="{BF24D132-C786-48A4-9A3E-983BFF02BDDA}"/>
          </ac:spMkLst>
        </pc:spChg>
        <pc:spChg chg="mod">
          <ac:chgData name="Ugo MANTEL" userId="2d5b7065-31bb-4181-a7f8-a73bf0c30211" providerId="ADAL" clId="{9344D105-636D-4857-BD0F-AFC44A54BCCF}" dt="2021-05-25T14:20:11.171" v="27841" actId="790"/>
          <ac:spMkLst>
            <pc:docMk/>
            <pc:sldMk cId="3781687056" sldId="10437"/>
            <ac:spMk id="121" creationId="{0CF79484-111D-4568-AFFF-3CBDCB38027C}"/>
          </ac:spMkLst>
        </pc:spChg>
        <pc:spChg chg="mod">
          <ac:chgData name="Ugo MANTEL" userId="2d5b7065-31bb-4181-a7f8-a73bf0c30211" providerId="ADAL" clId="{9344D105-636D-4857-BD0F-AFC44A54BCCF}" dt="2021-05-25T14:20:11.172" v="27842" actId="790"/>
          <ac:spMkLst>
            <pc:docMk/>
            <pc:sldMk cId="3781687056" sldId="10437"/>
            <ac:spMk id="122" creationId="{CE6AD5A9-0724-4E52-8533-36B2B7A8E8FB}"/>
          </ac:spMkLst>
        </pc:spChg>
        <pc:spChg chg="mod">
          <ac:chgData name="Ugo MANTEL" userId="2d5b7065-31bb-4181-a7f8-a73bf0c30211" providerId="ADAL" clId="{9344D105-636D-4857-BD0F-AFC44A54BCCF}" dt="2021-05-25T14:20:11.172" v="27843" actId="790"/>
          <ac:spMkLst>
            <pc:docMk/>
            <pc:sldMk cId="3781687056" sldId="10437"/>
            <ac:spMk id="123" creationId="{AB25344D-A8FC-4A5C-A43F-4B01CA4A8800}"/>
          </ac:spMkLst>
        </pc:spChg>
        <pc:spChg chg="mod">
          <ac:chgData name="Ugo MANTEL" userId="2d5b7065-31bb-4181-a7f8-a73bf0c30211" providerId="ADAL" clId="{9344D105-636D-4857-BD0F-AFC44A54BCCF}" dt="2021-05-25T14:20:11.173" v="27844" actId="790"/>
          <ac:spMkLst>
            <pc:docMk/>
            <pc:sldMk cId="3781687056" sldId="10437"/>
            <ac:spMk id="124" creationId="{5980143D-7AF7-4D97-8D06-A50037CCB903}"/>
          </ac:spMkLst>
        </pc:spChg>
        <pc:spChg chg="mod">
          <ac:chgData name="Ugo MANTEL" userId="2d5b7065-31bb-4181-a7f8-a73bf0c30211" providerId="ADAL" clId="{9344D105-636D-4857-BD0F-AFC44A54BCCF}" dt="2021-05-25T14:20:11.173" v="27845" actId="790"/>
          <ac:spMkLst>
            <pc:docMk/>
            <pc:sldMk cId="3781687056" sldId="10437"/>
            <ac:spMk id="129" creationId="{555638A0-D999-4327-A4A7-179DEE0BEA1B}"/>
          </ac:spMkLst>
        </pc:spChg>
        <pc:spChg chg="mod">
          <ac:chgData name="Ugo MANTEL" userId="2d5b7065-31bb-4181-a7f8-a73bf0c30211" providerId="ADAL" clId="{9344D105-636D-4857-BD0F-AFC44A54BCCF}" dt="2021-05-25T14:20:11.174" v="27846" actId="790"/>
          <ac:spMkLst>
            <pc:docMk/>
            <pc:sldMk cId="3781687056" sldId="10437"/>
            <ac:spMk id="130" creationId="{D30FFD4A-C467-4F1C-A4DF-BCB3EB71D32F}"/>
          </ac:spMkLst>
        </pc:spChg>
        <pc:spChg chg="mod">
          <ac:chgData name="Ugo MANTEL" userId="2d5b7065-31bb-4181-a7f8-a73bf0c30211" providerId="ADAL" clId="{9344D105-636D-4857-BD0F-AFC44A54BCCF}" dt="2021-05-25T14:20:11.175" v="27847" actId="790"/>
          <ac:spMkLst>
            <pc:docMk/>
            <pc:sldMk cId="3781687056" sldId="10437"/>
            <ac:spMk id="131" creationId="{93EEF8DD-E42C-4C2B-94DD-89C3DDAF9A59}"/>
          </ac:spMkLst>
        </pc:spChg>
        <pc:spChg chg="mod">
          <ac:chgData name="Ugo MANTEL" userId="2d5b7065-31bb-4181-a7f8-a73bf0c30211" providerId="ADAL" clId="{9344D105-636D-4857-BD0F-AFC44A54BCCF}" dt="2021-05-25T14:20:11.175" v="27848" actId="790"/>
          <ac:spMkLst>
            <pc:docMk/>
            <pc:sldMk cId="3781687056" sldId="10437"/>
            <ac:spMk id="132" creationId="{37866BA4-BF7F-46F4-9BDC-A7E6E551D6F2}"/>
          </ac:spMkLst>
        </pc:spChg>
        <pc:spChg chg="mod">
          <ac:chgData name="Ugo MANTEL" userId="2d5b7065-31bb-4181-a7f8-a73bf0c30211" providerId="ADAL" clId="{9344D105-636D-4857-BD0F-AFC44A54BCCF}" dt="2021-05-25T14:20:11.176" v="27849" actId="790"/>
          <ac:spMkLst>
            <pc:docMk/>
            <pc:sldMk cId="3781687056" sldId="10437"/>
            <ac:spMk id="144" creationId="{433FC52C-1389-4204-AEEB-C9CA9E418A00}"/>
          </ac:spMkLst>
        </pc:spChg>
        <pc:spChg chg="mod">
          <ac:chgData name="Ugo MANTEL" userId="2d5b7065-31bb-4181-a7f8-a73bf0c30211" providerId="ADAL" clId="{9344D105-636D-4857-BD0F-AFC44A54BCCF}" dt="2021-05-25T14:20:11.177" v="27850" actId="790"/>
          <ac:spMkLst>
            <pc:docMk/>
            <pc:sldMk cId="3781687056" sldId="10437"/>
            <ac:spMk id="145" creationId="{6A96C0AC-EDD4-48F7-A707-F61145038153}"/>
          </ac:spMkLst>
        </pc:spChg>
        <pc:spChg chg="mod">
          <ac:chgData name="Ugo MANTEL" userId="2d5b7065-31bb-4181-a7f8-a73bf0c30211" providerId="ADAL" clId="{9344D105-636D-4857-BD0F-AFC44A54BCCF}" dt="2021-05-25T14:20:11.177" v="27851" actId="790"/>
          <ac:spMkLst>
            <pc:docMk/>
            <pc:sldMk cId="3781687056" sldId="10437"/>
            <ac:spMk id="146" creationId="{054F79DE-098B-4A1C-93C7-642B122E7D15}"/>
          </ac:spMkLst>
        </pc:spChg>
        <pc:spChg chg="mod">
          <ac:chgData name="Ugo MANTEL" userId="2d5b7065-31bb-4181-a7f8-a73bf0c30211" providerId="ADAL" clId="{9344D105-636D-4857-BD0F-AFC44A54BCCF}" dt="2021-05-25T14:20:11.178" v="27852" actId="790"/>
          <ac:spMkLst>
            <pc:docMk/>
            <pc:sldMk cId="3781687056" sldId="10437"/>
            <ac:spMk id="147" creationId="{C050FFFB-6045-4F5E-B830-458E17DA18F1}"/>
          </ac:spMkLst>
        </pc:spChg>
        <pc:spChg chg="mod">
          <ac:chgData name="Ugo MANTEL" userId="2d5b7065-31bb-4181-a7f8-a73bf0c30211" providerId="ADAL" clId="{9344D105-636D-4857-BD0F-AFC44A54BCCF}" dt="2021-05-25T14:20:11.218" v="27900" actId="790"/>
          <ac:spMkLst>
            <pc:docMk/>
            <pc:sldMk cId="3781687056" sldId="10437"/>
            <ac:spMk id="149" creationId="{51177F13-2291-4C01-AEE0-FF9DC1F9FBC4}"/>
          </ac:spMkLst>
        </pc:spChg>
        <pc:spChg chg="mod">
          <ac:chgData name="Ugo MANTEL" userId="2d5b7065-31bb-4181-a7f8-a73bf0c30211" providerId="ADAL" clId="{9344D105-636D-4857-BD0F-AFC44A54BCCF}" dt="2021-05-25T14:20:11.179" v="27853" actId="790"/>
          <ac:spMkLst>
            <pc:docMk/>
            <pc:sldMk cId="3781687056" sldId="10437"/>
            <ac:spMk id="150" creationId="{8EAE2B76-2313-4656-A866-046474D9996A}"/>
          </ac:spMkLst>
        </pc:spChg>
        <pc:spChg chg="mod">
          <ac:chgData name="Ugo MANTEL" userId="2d5b7065-31bb-4181-a7f8-a73bf0c30211" providerId="ADAL" clId="{9344D105-636D-4857-BD0F-AFC44A54BCCF}" dt="2021-05-25T14:20:11.180" v="27854" actId="790"/>
          <ac:spMkLst>
            <pc:docMk/>
            <pc:sldMk cId="3781687056" sldId="10437"/>
            <ac:spMk id="151" creationId="{1EC6A59F-072B-4B31-95CB-BE3AA5E1AF39}"/>
          </ac:spMkLst>
        </pc:spChg>
        <pc:spChg chg="mod">
          <ac:chgData name="Ugo MANTEL" userId="2d5b7065-31bb-4181-a7f8-a73bf0c30211" providerId="ADAL" clId="{9344D105-636D-4857-BD0F-AFC44A54BCCF}" dt="2021-05-25T14:20:11.180" v="27855" actId="790"/>
          <ac:spMkLst>
            <pc:docMk/>
            <pc:sldMk cId="3781687056" sldId="10437"/>
            <ac:spMk id="152" creationId="{EF73B3A9-E91B-41E1-8986-2718E25E62D9}"/>
          </ac:spMkLst>
        </pc:spChg>
        <pc:spChg chg="mod">
          <ac:chgData name="Ugo MANTEL" userId="2d5b7065-31bb-4181-a7f8-a73bf0c30211" providerId="ADAL" clId="{9344D105-636D-4857-BD0F-AFC44A54BCCF}" dt="2021-05-25T14:20:11.181" v="27856" actId="790"/>
          <ac:spMkLst>
            <pc:docMk/>
            <pc:sldMk cId="3781687056" sldId="10437"/>
            <ac:spMk id="153" creationId="{6326A5C1-03CF-4303-91D8-855CCFCB6188}"/>
          </ac:spMkLst>
        </pc:spChg>
        <pc:spChg chg="mod">
          <ac:chgData name="Ugo MANTEL" userId="2d5b7065-31bb-4181-a7f8-a73bf0c30211" providerId="ADAL" clId="{9344D105-636D-4857-BD0F-AFC44A54BCCF}" dt="2021-05-25T14:20:11.181" v="27857" actId="790"/>
          <ac:spMkLst>
            <pc:docMk/>
            <pc:sldMk cId="3781687056" sldId="10437"/>
            <ac:spMk id="154" creationId="{94C8C856-D1CB-4225-A7D9-CA0FD6CF89C6}"/>
          </ac:spMkLst>
        </pc:spChg>
        <pc:spChg chg="mod">
          <ac:chgData name="Ugo MANTEL" userId="2d5b7065-31bb-4181-a7f8-a73bf0c30211" providerId="ADAL" clId="{9344D105-636D-4857-BD0F-AFC44A54BCCF}" dt="2021-05-25T14:20:11.182" v="27858" actId="790"/>
          <ac:spMkLst>
            <pc:docMk/>
            <pc:sldMk cId="3781687056" sldId="10437"/>
            <ac:spMk id="155" creationId="{54C742CD-5C48-4EB7-99B5-8A28818C5366}"/>
          </ac:spMkLst>
        </pc:spChg>
        <pc:spChg chg="mod">
          <ac:chgData name="Ugo MANTEL" userId="2d5b7065-31bb-4181-a7f8-a73bf0c30211" providerId="ADAL" clId="{9344D105-636D-4857-BD0F-AFC44A54BCCF}" dt="2021-05-25T14:20:11.182" v="27859" actId="790"/>
          <ac:spMkLst>
            <pc:docMk/>
            <pc:sldMk cId="3781687056" sldId="10437"/>
            <ac:spMk id="156" creationId="{1F440329-79EC-471D-BDCF-46FA131899D6}"/>
          </ac:spMkLst>
        </pc:spChg>
        <pc:spChg chg="mod">
          <ac:chgData name="Ugo MANTEL" userId="2d5b7065-31bb-4181-a7f8-a73bf0c30211" providerId="ADAL" clId="{9344D105-636D-4857-BD0F-AFC44A54BCCF}" dt="2021-05-25T14:20:11.183" v="27860" actId="790"/>
          <ac:spMkLst>
            <pc:docMk/>
            <pc:sldMk cId="3781687056" sldId="10437"/>
            <ac:spMk id="157" creationId="{12F4AF09-179E-4827-BED1-C78EB213DC6B}"/>
          </ac:spMkLst>
        </pc:spChg>
        <pc:spChg chg="mod">
          <ac:chgData name="Ugo MANTEL" userId="2d5b7065-31bb-4181-a7f8-a73bf0c30211" providerId="ADAL" clId="{9344D105-636D-4857-BD0F-AFC44A54BCCF}" dt="2021-05-25T14:20:11.218" v="27901" actId="790"/>
          <ac:spMkLst>
            <pc:docMk/>
            <pc:sldMk cId="3781687056" sldId="10437"/>
            <ac:spMk id="158" creationId="{940755A0-54AE-46D5-A1E6-19420F62A0B1}"/>
          </ac:spMkLst>
        </pc:spChg>
        <pc:spChg chg="mod">
          <ac:chgData name="Ugo MANTEL" userId="2d5b7065-31bb-4181-a7f8-a73bf0c30211" providerId="ADAL" clId="{9344D105-636D-4857-BD0F-AFC44A54BCCF}" dt="2021-05-25T14:20:11.184" v="27862" actId="790"/>
          <ac:spMkLst>
            <pc:docMk/>
            <pc:sldMk cId="3781687056" sldId="10437"/>
            <ac:spMk id="159" creationId="{B80AF701-FD02-4A49-AF04-0D717773F8CE}"/>
          </ac:spMkLst>
        </pc:spChg>
        <pc:spChg chg="mod">
          <ac:chgData name="Ugo MANTEL" userId="2d5b7065-31bb-4181-a7f8-a73bf0c30211" providerId="ADAL" clId="{9344D105-636D-4857-BD0F-AFC44A54BCCF}" dt="2021-05-25T14:20:11.184" v="27863" actId="790"/>
          <ac:spMkLst>
            <pc:docMk/>
            <pc:sldMk cId="3781687056" sldId="10437"/>
            <ac:spMk id="160" creationId="{6794BF10-E356-4CFA-A5D2-64019521185A}"/>
          </ac:spMkLst>
        </pc:spChg>
        <pc:spChg chg="mod">
          <ac:chgData name="Ugo MANTEL" userId="2d5b7065-31bb-4181-a7f8-a73bf0c30211" providerId="ADAL" clId="{9344D105-636D-4857-BD0F-AFC44A54BCCF}" dt="2021-05-25T14:20:11.185" v="27864" actId="790"/>
          <ac:spMkLst>
            <pc:docMk/>
            <pc:sldMk cId="3781687056" sldId="10437"/>
            <ac:spMk id="161" creationId="{98B95108-A1D7-406A-9437-35CC8389273C}"/>
          </ac:spMkLst>
        </pc:spChg>
        <pc:spChg chg="mod">
          <ac:chgData name="Ugo MANTEL" userId="2d5b7065-31bb-4181-a7f8-a73bf0c30211" providerId="ADAL" clId="{9344D105-636D-4857-BD0F-AFC44A54BCCF}" dt="2021-05-25T14:20:11.185" v="27865" actId="790"/>
          <ac:spMkLst>
            <pc:docMk/>
            <pc:sldMk cId="3781687056" sldId="10437"/>
            <ac:spMk id="162" creationId="{E1AEBA31-2AB3-475A-A9D4-798F713EEFD7}"/>
          </ac:spMkLst>
        </pc:spChg>
        <pc:spChg chg="mod">
          <ac:chgData name="Ugo MANTEL" userId="2d5b7065-31bb-4181-a7f8-a73bf0c30211" providerId="ADAL" clId="{9344D105-636D-4857-BD0F-AFC44A54BCCF}" dt="2021-05-25T14:20:11.186" v="27866" actId="790"/>
          <ac:spMkLst>
            <pc:docMk/>
            <pc:sldMk cId="3781687056" sldId="10437"/>
            <ac:spMk id="163" creationId="{A02BA35A-F494-480F-8210-97DCAE0F40D4}"/>
          </ac:spMkLst>
        </pc:spChg>
        <pc:spChg chg="mod">
          <ac:chgData name="Ugo MANTEL" userId="2d5b7065-31bb-4181-a7f8-a73bf0c30211" providerId="ADAL" clId="{9344D105-636D-4857-BD0F-AFC44A54BCCF}" dt="2021-05-25T14:20:11.187" v="27867" actId="790"/>
          <ac:spMkLst>
            <pc:docMk/>
            <pc:sldMk cId="3781687056" sldId="10437"/>
            <ac:spMk id="164" creationId="{96799BBD-9716-4675-B816-A24F8B182973}"/>
          </ac:spMkLst>
        </pc:spChg>
        <pc:spChg chg="mod">
          <ac:chgData name="Ugo MANTEL" userId="2d5b7065-31bb-4181-a7f8-a73bf0c30211" providerId="ADAL" clId="{9344D105-636D-4857-BD0F-AFC44A54BCCF}" dt="2021-05-25T14:20:11.219" v="27902" actId="790"/>
          <ac:spMkLst>
            <pc:docMk/>
            <pc:sldMk cId="3781687056" sldId="10437"/>
            <ac:spMk id="165" creationId="{D4EDE54C-EDC4-47FA-8DE8-CB94D6B5C6A5}"/>
          </ac:spMkLst>
        </pc:spChg>
        <pc:spChg chg="mod">
          <ac:chgData name="Ugo MANTEL" userId="2d5b7065-31bb-4181-a7f8-a73bf0c30211" providerId="ADAL" clId="{9344D105-636D-4857-BD0F-AFC44A54BCCF}" dt="2021-05-25T14:20:11.219" v="27903" actId="790"/>
          <ac:spMkLst>
            <pc:docMk/>
            <pc:sldMk cId="3781687056" sldId="10437"/>
            <ac:spMk id="166" creationId="{B6AA02B5-624F-48CC-968A-ED55D21C1D4B}"/>
          </ac:spMkLst>
        </pc:spChg>
        <pc:spChg chg="mod">
          <ac:chgData name="Ugo MANTEL" userId="2d5b7065-31bb-4181-a7f8-a73bf0c30211" providerId="ADAL" clId="{9344D105-636D-4857-BD0F-AFC44A54BCCF}" dt="2021-05-25T14:20:11.220" v="27904" actId="790"/>
          <ac:spMkLst>
            <pc:docMk/>
            <pc:sldMk cId="3781687056" sldId="10437"/>
            <ac:spMk id="167" creationId="{AABEE270-608F-479B-8CA5-B82D4B6E27AA}"/>
          </ac:spMkLst>
        </pc:spChg>
        <pc:spChg chg="mod">
          <ac:chgData name="Ugo MANTEL" userId="2d5b7065-31bb-4181-a7f8-a73bf0c30211" providerId="ADAL" clId="{9344D105-636D-4857-BD0F-AFC44A54BCCF}" dt="2021-05-25T14:20:11.187" v="27868" actId="790"/>
          <ac:spMkLst>
            <pc:docMk/>
            <pc:sldMk cId="3781687056" sldId="10437"/>
            <ac:spMk id="168" creationId="{F93FCD89-38BE-4A9F-89B4-7F9F1F03E6AA}"/>
          </ac:spMkLst>
        </pc:spChg>
        <pc:spChg chg="mod">
          <ac:chgData name="Ugo MANTEL" userId="2d5b7065-31bb-4181-a7f8-a73bf0c30211" providerId="ADAL" clId="{9344D105-636D-4857-BD0F-AFC44A54BCCF}" dt="2021-05-25T14:20:11.221" v="27906" actId="790"/>
          <ac:spMkLst>
            <pc:docMk/>
            <pc:sldMk cId="3781687056" sldId="10437"/>
            <ac:spMk id="169" creationId="{01F3BF53-D1F7-4A33-B6FA-94F3E4805773}"/>
          </ac:spMkLst>
        </pc:spChg>
        <pc:spChg chg="mod">
          <ac:chgData name="Ugo MANTEL" userId="2d5b7065-31bb-4181-a7f8-a73bf0c30211" providerId="ADAL" clId="{9344D105-636D-4857-BD0F-AFC44A54BCCF}" dt="2021-05-25T14:20:11.188" v="27869" actId="790"/>
          <ac:spMkLst>
            <pc:docMk/>
            <pc:sldMk cId="3781687056" sldId="10437"/>
            <ac:spMk id="171" creationId="{1C8173C6-5E3A-4216-8804-5399B6AA31C6}"/>
          </ac:spMkLst>
        </pc:spChg>
        <pc:spChg chg="mod">
          <ac:chgData name="Ugo MANTEL" userId="2d5b7065-31bb-4181-a7f8-a73bf0c30211" providerId="ADAL" clId="{9344D105-636D-4857-BD0F-AFC44A54BCCF}" dt="2021-05-25T14:20:11.188" v="27870" actId="790"/>
          <ac:spMkLst>
            <pc:docMk/>
            <pc:sldMk cId="3781687056" sldId="10437"/>
            <ac:spMk id="172" creationId="{863FD84C-845E-42CC-B2EE-54140523C6B3}"/>
          </ac:spMkLst>
        </pc:spChg>
        <pc:spChg chg="mod">
          <ac:chgData name="Ugo MANTEL" userId="2d5b7065-31bb-4181-a7f8-a73bf0c30211" providerId="ADAL" clId="{9344D105-636D-4857-BD0F-AFC44A54BCCF}" dt="2021-05-25T14:20:11.189" v="27871" actId="790"/>
          <ac:spMkLst>
            <pc:docMk/>
            <pc:sldMk cId="3781687056" sldId="10437"/>
            <ac:spMk id="173" creationId="{1DD71EE6-7E10-4444-888A-89EBA3A5DBED}"/>
          </ac:spMkLst>
        </pc:spChg>
        <pc:spChg chg="mod">
          <ac:chgData name="Ugo MANTEL" userId="2d5b7065-31bb-4181-a7f8-a73bf0c30211" providerId="ADAL" clId="{9344D105-636D-4857-BD0F-AFC44A54BCCF}" dt="2021-05-25T14:20:11.222" v="27907" actId="790"/>
          <ac:spMkLst>
            <pc:docMk/>
            <pc:sldMk cId="3781687056" sldId="10437"/>
            <ac:spMk id="175" creationId="{B6151360-4C3B-4926-8A80-73D55AF3ADD6}"/>
          </ac:spMkLst>
        </pc:spChg>
        <pc:spChg chg="mod">
          <ac:chgData name="Ugo MANTEL" userId="2d5b7065-31bb-4181-a7f8-a73bf0c30211" providerId="ADAL" clId="{9344D105-636D-4857-BD0F-AFC44A54BCCF}" dt="2021-05-25T14:20:11.189" v="27872" actId="790"/>
          <ac:spMkLst>
            <pc:docMk/>
            <pc:sldMk cId="3781687056" sldId="10437"/>
            <ac:spMk id="176" creationId="{04D2C6B9-3B58-4E34-BE83-8AA3849160DE}"/>
          </ac:spMkLst>
        </pc:spChg>
        <pc:spChg chg="mod">
          <ac:chgData name="Ugo MANTEL" userId="2d5b7065-31bb-4181-a7f8-a73bf0c30211" providerId="ADAL" clId="{9344D105-636D-4857-BD0F-AFC44A54BCCF}" dt="2021-05-25T14:20:11.190" v="27873" actId="790"/>
          <ac:spMkLst>
            <pc:docMk/>
            <pc:sldMk cId="3781687056" sldId="10437"/>
            <ac:spMk id="177" creationId="{93AA6B9B-95A6-4425-A52D-B73C84CE1796}"/>
          </ac:spMkLst>
        </pc:spChg>
        <pc:spChg chg="mod">
          <ac:chgData name="Ugo MANTEL" userId="2d5b7065-31bb-4181-a7f8-a73bf0c30211" providerId="ADAL" clId="{9344D105-636D-4857-BD0F-AFC44A54BCCF}" dt="2021-05-25T14:20:11.191" v="27875" actId="790"/>
          <ac:spMkLst>
            <pc:docMk/>
            <pc:sldMk cId="3781687056" sldId="10437"/>
            <ac:spMk id="183" creationId="{289DFA16-857A-412F-9C0A-278A9227568F}"/>
          </ac:spMkLst>
        </pc:spChg>
        <pc:spChg chg="mod">
          <ac:chgData name="Ugo MANTEL" userId="2d5b7065-31bb-4181-a7f8-a73bf0c30211" providerId="ADAL" clId="{9344D105-636D-4857-BD0F-AFC44A54BCCF}" dt="2021-05-25T14:20:11.222" v="27908" actId="790"/>
          <ac:spMkLst>
            <pc:docMk/>
            <pc:sldMk cId="3781687056" sldId="10437"/>
            <ac:spMk id="184" creationId="{DF9017A1-87B5-47BF-980F-88AE8D9EFEBC}"/>
          </ac:spMkLst>
        </pc:spChg>
        <pc:spChg chg="mod">
          <ac:chgData name="Ugo MANTEL" userId="2d5b7065-31bb-4181-a7f8-a73bf0c30211" providerId="ADAL" clId="{9344D105-636D-4857-BD0F-AFC44A54BCCF}" dt="2021-05-25T14:20:11.223" v="27909" actId="790"/>
          <ac:spMkLst>
            <pc:docMk/>
            <pc:sldMk cId="3781687056" sldId="10437"/>
            <ac:spMk id="190" creationId="{DA8DD1D5-D78F-473A-9071-2505FC3D8F8E}"/>
          </ac:spMkLst>
        </pc:spChg>
        <pc:spChg chg="mod">
          <ac:chgData name="Ugo MANTEL" userId="2d5b7065-31bb-4181-a7f8-a73bf0c30211" providerId="ADAL" clId="{9344D105-636D-4857-BD0F-AFC44A54BCCF}" dt="2021-05-25T14:20:11.224" v="27910" actId="790"/>
          <ac:spMkLst>
            <pc:docMk/>
            <pc:sldMk cId="3781687056" sldId="10437"/>
            <ac:spMk id="191" creationId="{7F91FB9F-8162-4A56-A275-1FAC63ED8765}"/>
          </ac:spMkLst>
        </pc:spChg>
        <pc:spChg chg="del">
          <ac:chgData name="Ugo MANTEL" userId="2d5b7065-31bb-4181-a7f8-a73bf0c30211" providerId="ADAL" clId="{9344D105-636D-4857-BD0F-AFC44A54BCCF}" dt="2021-05-24T13:38:36.096" v="7490" actId="478"/>
          <ac:spMkLst>
            <pc:docMk/>
            <pc:sldMk cId="3781687056" sldId="10437"/>
            <ac:spMk id="191" creationId="{AC631514-7B0C-49EF-BC32-8C77406BE9E2}"/>
          </ac:spMkLst>
        </pc:spChg>
        <pc:spChg chg="del">
          <ac:chgData name="Ugo MANTEL" userId="2d5b7065-31bb-4181-a7f8-a73bf0c30211" providerId="ADAL" clId="{9344D105-636D-4857-BD0F-AFC44A54BCCF}" dt="2021-05-24T13:38:36.096" v="7490" actId="478"/>
          <ac:spMkLst>
            <pc:docMk/>
            <pc:sldMk cId="3781687056" sldId="10437"/>
            <ac:spMk id="192" creationId="{77A774EB-5CD9-452C-99C4-7531B1842BE1}"/>
          </ac:spMkLst>
        </pc:spChg>
        <pc:spChg chg="mod">
          <ac:chgData name="Ugo MANTEL" userId="2d5b7065-31bb-4181-a7f8-a73bf0c30211" providerId="ADAL" clId="{9344D105-636D-4857-BD0F-AFC44A54BCCF}" dt="2021-05-25T14:20:11.192" v="27876" actId="790"/>
          <ac:spMkLst>
            <pc:docMk/>
            <pc:sldMk cId="3781687056" sldId="10437"/>
            <ac:spMk id="193" creationId="{915FFD09-509D-4ABE-A16F-AF3093003B4D}"/>
          </ac:spMkLst>
        </pc:spChg>
        <pc:spChg chg="mod">
          <ac:chgData name="Ugo MANTEL" userId="2d5b7065-31bb-4181-a7f8-a73bf0c30211" providerId="ADAL" clId="{9344D105-636D-4857-BD0F-AFC44A54BCCF}" dt="2021-05-25T14:20:11.193" v="27877" actId="790"/>
          <ac:spMkLst>
            <pc:docMk/>
            <pc:sldMk cId="3781687056" sldId="10437"/>
            <ac:spMk id="194" creationId="{7EB2B24B-10F1-4463-82D8-A136B9B73716}"/>
          </ac:spMkLst>
        </pc:spChg>
        <pc:spChg chg="mod">
          <ac:chgData name="Ugo MANTEL" userId="2d5b7065-31bb-4181-a7f8-a73bf0c30211" providerId="ADAL" clId="{9344D105-636D-4857-BD0F-AFC44A54BCCF}" dt="2021-05-25T14:20:11.193" v="27878" actId="790"/>
          <ac:spMkLst>
            <pc:docMk/>
            <pc:sldMk cId="3781687056" sldId="10437"/>
            <ac:spMk id="195" creationId="{47138FD4-27DF-40DB-BAE0-23F8E66AD89B}"/>
          </ac:spMkLst>
        </pc:spChg>
        <pc:spChg chg="mod">
          <ac:chgData name="Ugo MANTEL" userId="2d5b7065-31bb-4181-a7f8-a73bf0c30211" providerId="ADAL" clId="{9344D105-636D-4857-BD0F-AFC44A54BCCF}" dt="2021-05-25T14:20:11.194" v="27879" actId="790"/>
          <ac:spMkLst>
            <pc:docMk/>
            <pc:sldMk cId="3781687056" sldId="10437"/>
            <ac:spMk id="196" creationId="{4FB2EC28-4905-4CA5-BF08-392B3782DA49}"/>
          </ac:spMkLst>
        </pc:spChg>
        <pc:spChg chg="mod">
          <ac:chgData name="Ugo MANTEL" userId="2d5b7065-31bb-4181-a7f8-a73bf0c30211" providerId="ADAL" clId="{9344D105-636D-4857-BD0F-AFC44A54BCCF}" dt="2021-05-25T14:20:11.194" v="27880" actId="790"/>
          <ac:spMkLst>
            <pc:docMk/>
            <pc:sldMk cId="3781687056" sldId="10437"/>
            <ac:spMk id="197" creationId="{3A832681-45CF-4B0A-B698-69DF86F8325C}"/>
          </ac:spMkLst>
        </pc:spChg>
        <pc:spChg chg="mod">
          <ac:chgData name="Ugo MANTEL" userId="2d5b7065-31bb-4181-a7f8-a73bf0c30211" providerId="ADAL" clId="{9344D105-636D-4857-BD0F-AFC44A54BCCF}" dt="2021-05-25T14:20:11.195" v="27881" actId="790"/>
          <ac:spMkLst>
            <pc:docMk/>
            <pc:sldMk cId="3781687056" sldId="10437"/>
            <ac:spMk id="198" creationId="{E0927A02-123E-4F6E-A17B-48818630B8DA}"/>
          </ac:spMkLst>
        </pc:spChg>
        <pc:spChg chg="mod">
          <ac:chgData name="Ugo MANTEL" userId="2d5b7065-31bb-4181-a7f8-a73bf0c30211" providerId="ADAL" clId="{9344D105-636D-4857-BD0F-AFC44A54BCCF}" dt="2021-05-25T14:20:11.196" v="27882" actId="790"/>
          <ac:spMkLst>
            <pc:docMk/>
            <pc:sldMk cId="3781687056" sldId="10437"/>
            <ac:spMk id="199" creationId="{8CA4A8A4-2C34-4930-B088-A9E050673F3D}"/>
          </ac:spMkLst>
        </pc:spChg>
        <pc:spChg chg="del">
          <ac:chgData name="Ugo MANTEL" userId="2d5b7065-31bb-4181-a7f8-a73bf0c30211" providerId="ADAL" clId="{9344D105-636D-4857-BD0F-AFC44A54BCCF}" dt="2021-05-24T13:38:36.096" v="7490" actId="478"/>
          <ac:spMkLst>
            <pc:docMk/>
            <pc:sldMk cId="3781687056" sldId="10437"/>
            <ac:spMk id="200" creationId="{ACB1A372-A853-44C9-A57A-ABCAFF8B4529}"/>
          </ac:spMkLst>
        </pc:spChg>
        <pc:spChg chg="mod">
          <ac:chgData name="Ugo MANTEL" userId="2d5b7065-31bb-4181-a7f8-a73bf0c30211" providerId="ADAL" clId="{9344D105-636D-4857-BD0F-AFC44A54BCCF}" dt="2021-05-25T14:20:11.196" v="27883" actId="790"/>
          <ac:spMkLst>
            <pc:docMk/>
            <pc:sldMk cId="3781687056" sldId="10437"/>
            <ac:spMk id="201" creationId="{22C293ED-3457-456B-B33E-9B30D283EC28}"/>
          </ac:spMkLst>
        </pc:spChg>
        <pc:spChg chg="mod">
          <ac:chgData name="Ugo MANTEL" userId="2d5b7065-31bb-4181-a7f8-a73bf0c30211" providerId="ADAL" clId="{9344D105-636D-4857-BD0F-AFC44A54BCCF}" dt="2021-05-25T14:20:11.197" v="27884" actId="790"/>
          <ac:spMkLst>
            <pc:docMk/>
            <pc:sldMk cId="3781687056" sldId="10437"/>
            <ac:spMk id="202" creationId="{2C411495-2DDE-4ED8-87D0-24644C529575}"/>
          </ac:spMkLst>
        </pc:spChg>
        <pc:spChg chg="mod">
          <ac:chgData name="Ugo MANTEL" userId="2d5b7065-31bb-4181-a7f8-a73bf0c30211" providerId="ADAL" clId="{9344D105-636D-4857-BD0F-AFC44A54BCCF}" dt="2021-05-25T14:20:11.198" v="27885" actId="790"/>
          <ac:spMkLst>
            <pc:docMk/>
            <pc:sldMk cId="3781687056" sldId="10437"/>
            <ac:spMk id="203" creationId="{7A291F4F-8749-4061-BCD8-D0352D5BBAFA}"/>
          </ac:spMkLst>
        </pc:spChg>
        <pc:spChg chg="mod">
          <ac:chgData name="Ugo MANTEL" userId="2d5b7065-31bb-4181-a7f8-a73bf0c30211" providerId="ADAL" clId="{9344D105-636D-4857-BD0F-AFC44A54BCCF}" dt="2021-05-25T14:20:11.199" v="27886" actId="790"/>
          <ac:spMkLst>
            <pc:docMk/>
            <pc:sldMk cId="3781687056" sldId="10437"/>
            <ac:spMk id="204" creationId="{333F5019-7477-45B2-9491-F98E8A940981}"/>
          </ac:spMkLst>
        </pc:spChg>
        <pc:spChg chg="mod">
          <ac:chgData name="Ugo MANTEL" userId="2d5b7065-31bb-4181-a7f8-a73bf0c30211" providerId="ADAL" clId="{9344D105-636D-4857-BD0F-AFC44A54BCCF}" dt="2021-05-25T14:20:11.199" v="27887" actId="790"/>
          <ac:spMkLst>
            <pc:docMk/>
            <pc:sldMk cId="3781687056" sldId="10437"/>
            <ac:spMk id="206" creationId="{ADD53EE2-BB87-4918-A4B7-FBC3599F15EC}"/>
          </ac:spMkLst>
        </pc:spChg>
        <pc:spChg chg="mod">
          <ac:chgData name="Ugo MANTEL" userId="2d5b7065-31bb-4181-a7f8-a73bf0c30211" providerId="ADAL" clId="{9344D105-636D-4857-BD0F-AFC44A54BCCF}" dt="2021-05-25T14:20:11.200" v="27888" actId="790"/>
          <ac:spMkLst>
            <pc:docMk/>
            <pc:sldMk cId="3781687056" sldId="10437"/>
            <ac:spMk id="207" creationId="{EE59E0A7-A0EB-4AA2-91E2-F7A50124575E}"/>
          </ac:spMkLst>
        </pc:spChg>
        <pc:spChg chg="mod">
          <ac:chgData name="Ugo MANTEL" userId="2d5b7065-31bb-4181-a7f8-a73bf0c30211" providerId="ADAL" clId="{9344D105-636D-4857-BD0F-AFC44A54BCCF}" dt="2021-05-25T14:20:11.200" v="27889" actId="790"/>
          <ac:spMkLst>
            <pc:docMk/>
            <pc:sldMk cId="3781687056" sldId="10437"/>
            <ac:spMk id="208" creationId="{0363F8E2-3219-4530-BBCF-E04F28BC621F}"/>
          </ac:spMkLst>
        </pc:spChg>
        <pc:spChg chg="mod">
          <ac:chgData name="Ugo MANTEL" userId="2d5b7065-31bb-4181-a7f8-a73bf0c30211" providerId="ADAL" clId="{9344D105-636D-4857-BD0F-AFC44A54BCCF}" dt="2021-05-25T14:20:11.201" v="27890" actId="790"/>
          <ac:spMkLst>
            <pc:docMk/>
            <pc:sldMk cId="3781687056" sldId="10437"/>
            <ac:spMk id="209" creationId="{31F9DB55-FB49-48A9-829D-19B3145A727D}"/>
          </ac:spMkLst>
        </pc:spChg>
        <pc:spChg chg="mod">
          <ac:chgData name="Ugo MANTEL" userId="2d5b7065-31bb-4181-a7f8-a73bf0c30211" providerId="ADAL" clId="{9344D105-636D-4857-BD0F-AFC44A54BCCF}" dt="2021-05-25T14:20:11.203" v="27891" actId="790"/>
          <ac:spMkLst>
            <pc:docMk/>
            <pc:sldMk cId="3781687056" sldId="10437"/>
            <ac:spMk id="210" creationId="{02DFB263-4201-4CE5-9E34-D9E8F5DCEF68}"/>
          </ac:spMkLst>
        </pc:spChg>
        <pc:spChg chg="mod">
          <ac:chgData name="Ugo MANTEL" userId="2d5b7065-31bb-4181-a7f8-a73bf0c30211" providerId="ADAL" clId="{9344D105-636D-4857-BD0F-AFC44A54BCCF}" dt="2021-05-25T14:20:11.205" v="27892" actId="790"/>
          <ac:spMkLst>
            <pc:docMk/>
            <pc:sldMk cId="3781687056" sldId="10437"/>
            <ac:spMk id="211" creationId="{E80B6C42-3CAD-4FA1-9728-E3089DD967C0}"/>
          </ac:spMkLst>
        </pc:spChg>
        <pc:spChg chg="mod">
          <ac:chgData name="Ugo MANTEL" userId="2d5b7065-31bb-4181-a7f8-a73bf0c30211" providerId="ADAL" clId="{9344D105-636D-4857-BD0F-AFC44A54BCCF}" dt="2021-05-25T14:20:11.206" v="27893" actId="790"/>
          <ac:spMkLst>
            <pc:docMk/>
            <pc:sldMk cId="3781687056" sldId="10437"/>
            <ac:spMk id="212" creationId="{37F99B79-C2EB-4E9B-8867-29C88DDE31D2}"/>
          </ac:spMkLst>
        </pc:spChg>
        <pc:spChg chg="mod">
          <ac:chgData name="Ugo MANTEL" userId="2d5b7065-31bb-4181-a7f8-a73bf0c30211" providerId="ADAL" clId="{9344D105-636D-4857-BD0F-AFC44A54BCCF}" dt="2021-05-25T14:20:11.208" v="27894" actId="790"/>
          <ac:spMkLst>
            <pc:docMk/>
            <pc:sldMk cId="3781687056" sldId="10437"/>
            <ac:spMk id="213" creationId="{5EE59935-F88B-4713-91C2-CDA6D67F98C8}"/>
          </ac:spMkLst>
        </pc:spChg>
        <pc:spChg chg="mod">
          <ac:chgData name="Ugo MANTEL" userId="2d5b7065-31bb-4181-a7f8-a73bf0c30211" providerId="ADAL" clId="{9344D105-636D-4857-BD0F-AFC44A54BCCF}" dt="2021-05-25T14:20:11.210" v="27895" actId="790"/>
          <ac:spMkLst>
            <pc:docMk/>
            <pc:sldMk cId="3781687056" sldId="10437"/>
            <ac:spMk id="214" creationId="{BE823D1E-AA34-4C5D-A606-17F7CE404F90}"/>
          </ac:spMkLst>
        </pc:spChg>
        <pc:spChg chg="mod">
          <ac:chgData name="Ugo MANTEL" userId="2d5b7065-31bb-4181-a7f8-a73bf0c30211" providerId="ADAL" clId="{9344D105-636D-4857-BD0F-AFC44A54BCCF}" dt="2021-05-25T14:20:11.212" v="27896" actId="790"/>
          <ac:spMkLst>
            <pc:docMk/>
            <pc:sldMk cId="3781687056" sldId="10437"/>
            <ac:spMk id="215" creationId="{B62FC16B-4040-4AF6-B5CC-BF978E5158FB}"/>
          </ac:spMkLst>
        </pc:spChg>
        <pc:spChg chg="mod">
          <ac:chgData name="Ugo MANTEL" userId="2d5b7065-31bb-4181-a7f8-a73bf0c30211" providerId="ADAL" clId="{9344D105-636D-4857-BD0F-AFC44A54BCCF}" dt="2021-05-25T14:20:11.213" v="27897" actId="790"/>
          <ac:spMkLst>
            <pc:docMk/>
            <pc:sldMk cId="3781687056" sldId="10437"/>
            <ac:spMk id="216" creationId="{9C9C8A51-74C6-4591-B716-ABF7D96667F0}"/>
          </ac:spMkLst>
        </pc:spChg>
        <pc:spChg chg="mod">
          <ac:chgData name="Ugo MANTEL" userId="2d5b7065-31bb-4181-a7f8-a73bf0c30211" providerId="ADAL" clId="{9344D105-636D-4857-BD0F-AFC44A54BCCF}" dt="2021-05-25T14:20:11.216" v="27898" actId="790"/>
          <ac:spMkLst>
            <pc:docMk/>
            <pc:sldMk cId="3781687056" sldId="10437"/>
            <ac:spMk id="228" creationId="{C5E41BFB-BA58-4B75-B52C-2FED687832D0}"/>
          </ac:spMkLst>
        </pc:spChg>
        <pc:spChg chg="mod">
          <ac:chgData name="Ugo MANTEL" userId="2d5b7065-31bb-4181-a7f8-a73bf0c30211" providerId="ADAL" clId="{9344D105-636D-4857-BD0F-AFC44A54BCCF}" dt="2021-05-25T14:20:11.217" v="27899" actId="790"/>
          <ac:spMkLst>
            <pc:docMk/>
            <pc:sldMk cId="3781687056" sldId="10437"/>
            <ac:spMk id="229" creationId="{CBB51DE1-A100-48E7-817E-76CD6A70193B}"/>
          </ac:spMkLst>
        </pc:spChg>
        <pc:spChg chg="del">
          <ac:chgData name="Ugo MANTEL" userId="2d5b7065-31bb-4181-a7f8-a73bf0c30211" providerId="ADAL" clId="{9344D105-636D-4857-BD0F-AFC44A54BCCF}" dt="2021-05-24T13:38:36.096" v="7490" actId="478"/>
          <ac:spMkLst>
            <pc:docMk/>
            <pc:sldMk cId="3781687056" sldId="10437"/>
            <ac:spMk id="231" creationId="{D33EE3AC-6A01-4797-B09B-10EDC4BA1F44}"/>
          </ac:spMkLst>
        </pc:spChg>
        <pc:spChg chg="del">
          <ac:chgData name="Ugo MANTEL" userId="2d5b7065-31bb-4181-a7f8-a73bf0c30211" providerId="ADAL" clId="{9344D105-636D-4857-BD0F-AFC44A54BCCF}" dt="2021-05-24T13:38:36.096" v="7490" actId="478"/>
          <ac:spMkLst>
            <pc:docMk/>
            <pc:sldMk cId="3781687056" sldId="10437"/>
            <ac:spMk id="236" creationId="{F1ABE7E4-6101-4028-94E8-06D28E561CE1}"/>
          </ac:spMkLst>
        </pc:spChg>
        <pc:spChg chg="add mod">
          <ac:chgData name="Ugo MANTEL" userId="2d5b7065-31bb-4181-a7f8-a73bf0c30211" providerId="ADAL" clId="{9344D105-636D-4857-BD0F-AFC44A54BCCF}" dt="2021-05-25T14:20:11.220" v="27905" actId="790"/>
          <ac:spMkLst>
            <pc:docMk/>
            <pc:sldMk cId="3781687056" sldId="10437"/>
            <ac:spMk id="238" creationId="{F826A47F-757C-409C-BEA6-01FCBF8A383B}"/>
          </ac:spMkLst>
        </pc:spChg>
        <pc:spChg chg="mod">
          <ac:chgData name="Ugo MANTEL" userId="2d5b7065-31bb-4181-a7f8-a73bf0c30211" providerId="ADAL" clId="{9344D105-636D-4857-BD0F-AFC44A54BCCF}" dt="2021-05-24T13:38:36.536" v="7491"/>
          <ac:spMkLst>
            <pc:docMk/>
            <pc:sldMk cId="3781687056" sldId="10437"/>
            <ac:spMk id="240" creationId="{13739CED-36E7-4042-8E31-7FC1FA8FC488}"/>
          </ac:spMkLst>
        </pc:spChg>
        <pc:spChg chg="mod">
          <ac:chgData name="Ugo MANTEL" userId="2d5b7065-31bb-4181-a7f8-a73bf0c30211" providerId="ADAL" clId="{9344D105-636D-4857-BD0F-AFC44A54BCCF}" dt="2021-05-24T13:38:36.536" v="7491"/>
          <ac:spMkLst>
            <pc:docMk/>
            <pc:sldMk cId="3781687056" sldId="10437"/>
            <ac:spMk id="241" creationId="{2A39AAA1-5B67-4357-939C-F53D8008D2DF}"/>
          </ac:spMkLst>
        </pc:spChg>
        <pc:spChg chg="mod">
          <ac:chgData name="Ugo MANTEL" userId="2d5b7065-31bb-4181-a7f8-a73bf0c30211" providerId="ADAL" clId="{9344D105-636D-4857-BD0F-AFC44A54BCCF}" dt="2021-05-24T13:38:36.536" v="7491"/>
          <ac:spMkLst>
            <pc:docMk/>
            <pc:sldMk cId="3781687056" sldId="10437"/>
            <ac:spMk id="242" creationId="{4BEFCB21-CC2C-4D05-B885-30FAE32863F1}"/>
          </ac:spMkLst>
        </pc:spChg>
        <pc:spChg chg="mod">
          <ac:chgData name="Ugo MANTEL" userId="2d5b7065-31bb-4181-a7f8-a73bf0c30211" providerId="ADAL" clId="{9344D105-636D-4857-BD0F-AFC44A54BCCF}" dt="2021-05-24T13:38:36.536" v="7491"/>
          <ac:spMkLst>
            <pc:docMk/>
            <pc:sldMk cId="3781687056" sldId="10437"/>
            <ac:spMk id="243" creationId="{BD9C4DEC-2369-4827-9F9A-3E9E4EEE84C0}"/>
          </ac:spMkLst>
        </pc:spChg>
        <pc:spChg chg="mod">
          <ac:chgData name="Ugo MANTEL" userId="2d5b7065-31bb-4181-a7f8-a73bf0c30211" providerId="ADAL" clId="{9344D105-636D-4857-BD0F-AFC44A54BCCF}" dt="2021-05-24T13:38:36.536" v="7491"/>
          <ac:spMkLst>
            <pc:docMk/>
            <pc:sldMk cId="3781687056" sldId="10437"/>
            <ac:spMk id="244" creationId="{BCCD53EC-6927-442A-BAAE-7B54EA6A2A57}"/>
          </ac:spMkLst>
        </pc:spChg>
        <pc:spChg chg="mod">
          <ac:chgData name="Ugo MANTEL" userId="2d5b7065-31bb-4181-a7f8-a73bf0c30211" providerId="ADAL" clId="{9344D105-636D-4857-BD0F-AFC44A54BCCF}" dt="2021-05-24T13:38:36.536" v="7491"/>
          <ac:spMkLst>
            <pc:docMk/>
            <pc:sldMk cId="3781687056" sldId="10437"/>
            <ac:spMk id="245" creationId="{12C8EFD0-71B9-4983-9923-5CE05799F1EF}"/>
          </ac:spMkLst>
        </pc:spChg>
        <pc:grpChg chg="add mod">
          <ac:chgData name="Ugo MANTEL" userId="2d5b7065-31bb-4181-a7f8-a73bf0c30211" providerId="ADAL" clId="{9344D105-636D-4857-BD0F-AFC44A54BCCF}" dt="2021-05-24T13:38:36.536" v="7491"/>
          <ac:grpSpMkLst>
            <pc:docMk/>
            <pc:sldMk cId="3781687056" sldId="10437"/>
            <ac:grpSpMk id="239" creationId="{7C488335-E6BD-440F-8B27-E7018F4C66D7}"/>
          </ac:grpSpMkLst>
        </pc:grpChg>
      </pc:sldChg>
      <pc:sldChg chg="addSp delSp modSp mod">
        <pc:chgData name="Ugo MANTEL" userId="2d5b7065-31bb-4181-a7f8-a73bf0c30211" providerId="ADAL" clId="{9344D105-636D-4857-BD0F-AFC44A54BCCF}" dt="2021-05-25T14:20:12.715" v="29455" actId="790"/>
        <pc:sldMkLst>
          <pc:docMk/>
          <pc:sldMk cId="203190409" sldId="10438"/>
        </pc:sldMkLst>
        <pc:spChg chg="mod">
          <ac:chgData name="Ugo MANTEL" userId="2d5b7065-31bb-4181-a7f8-a73bf0c30211" providerId="ADAL" clId="{9344D105-636D-4857-BD0F-AFC44A54BCCF}" dt="2021-05-25T14:20:12.681" v="29421" actId="790"/>
          <ac:spMkLst>
            <pc:docMk/>
            <pc:sldMk cId="203190409" sldId="10438"/>
            <ac:spMk id="2" creationId="{1B8B41D0-3B5A-41F2-BD36-274CA5605C3A}"/>
          </ac:spMkLst>
        </pc:spChg>
        <pc:spChg chg="mod">
          <ac:chgData name="Ugo MANTEL" userId="2d5b7065-31bb-4181-a7f8-a73bf0c30211" providerId="ADAL" clId="{9344D105-636D-4857-BD0F-AFC44A54BCCF}" dt="2021-05-25T14:20:12.675" v="29413" actId="790"/>
          <ac:spMkLst>
            <pc:docMk/>
            <pc:sldMk cId="203190409" sldId="10438"/>
            <ac:spMk id="3" creationId="{F2961EB7-FC0B-4AEF-8BF3-7969101BE0A7}"/>
          </ac:spMkLst>
        </pc:spChg>
        <pc:spChg chg="mod">
          <ac:chgData name="Ugo MANTEL" userId="2d5b7065-31bb-4181-a7f8-a73bf0c30211" providerId="ADAL" clId="{9344D105-636D-4857-BD0F-AFC44A54BCCF}" dt="2021-05-25T14:20:12.675" v="29414" actId="790"/>
          <ac:spMkLst>
            <pc:docMk/>
            <pc:sldMk cId="203190409" sldId="10438"/>
            <ac:spMk id="4" creationId="{43E0D5C7-0986-42B1-8E8C-7B58D0CBD773}"/>
          </ac:spMkLst>
        </pc:spChg>
        <pc:spChg chg="mod">
          <ac:chgData name="Ugo MANTEL" userId="2d5b7065-31bb-4181-a7f8-a73bf0c30211" providerId="ADAL" clId="{9344D105-636D-4857-BD0F-AFC44A54BCCF}" dt="2021-05-25T14:20:12.682" v="29422" actId="790"/>
          <ac:spMkLst>
            <pc:docMk/>
            <pc:sldMk cId="203190409" sldId="10438"/>
            <ac:spMk id="5" creationId="{32E0BE14-B2E8-4A96-ADE4-0BE247A47D79}"/>
          </ac:spMkLst>
        </pc:spChg>
        <pc:spChg chg="mod">
          <ac:chgData name="Ugo MANTEL" userId="2d5b7065-31bb-4181-a7f8-a73bf0c30211" providerId="ADAL" clId="{9344D105-636D-4857-BD0F-AFC44A54BCCF}" dt="2021-05-25T14:20:12.683" v="29423" actId="790"/>
          <ac:spMkLst>
            <pc:docMk/>
            <pc:sldMk cId="203190409" sldId="10438"/>
            <ac:spMk id="6" creationId="{8AEA1672-C0F9-4DB2-A6F4-76831980F749}"/>
          </ac:spMkLst>
        </pc:spChg>
        <pc:spChg chg="mod">
          <ac:chgData name="Ugo MANTEL" userId="2d5b7065-31bb-4181-a7f8-a73bf0c30211" providerId="ADAL" clId="{9344D105-636D-4857-BD0F-AFC44A54BCCF}" dt="2021-05-25T14:20:12.679" v="29419" actId="790"/>
          <ac:spMkLst>
            <pc:docMk/>
            <pc:sldMk cId="203190409" sldId="10438"/>
            <ac:spMk id="7" creationId="{064EAC16-1947-4EB5-B699-F79BA984701D}"/>
          </ac:spMkLst>
        </pc:spChg>
        <pc:spChg chg="mod">
          <ac:chgData name="Ugo MANTEL" userId="2d5b7065-31bb-4181-a7f8-a73bf0c30211" providerId="ADAL" clId="{9344D105-636D-4857-BD0F-AFC44A54BCCF}" dt="2021-05-25T14:20:12.680" v="29420" actId="790"/>
          <ac:spMkLst>
            <pc:docMk/>
            <pc:sldMk cId="203190409" sldId="10438"/>
            <ac:spMk id="8" creationId="{17235FB0-B480-4F11-BAB2-ECCE97A0AE35}"/>
          </ac:spMkLst>
        </pc:spChg>
        <pc:spChg chg="mod">
          <ac:chgData name="Ugo MANTEL" userId="2d5b7065-31bb-4181-a7f8-a73bf0c30211" providerId="ADAL" clId="{9344D105-636D-4857-BD0F-AFC44A54BCCF}" dt="2021-05-25T14:20:12.684" v="29424" actId="790"/>
          <ac:spMkLst>
            <pc:docMk/>
            <pc:sldMk cId="203190409" sldId="10438"/>
            <ac:spMk id="9" creationId="{E57AC7D2-FC03-4826-B2B4-B86B10C8A912}"/>
          </ac:spMkLst>
        </pc:spChg>
        <pc:spChg chg="mod">
          <ac:chgData name="Ugo MANTEL" userId="2d5b7065-31bb-4181-a7f8-a73bf0c30211" providerId="ADAL" clId="{9344D105-636D-4857-BD0F-AFC44A54BCCF}" dt="2021-05-25T14:20:12.702" v="29438" actId="790"/>
          <ac:spMkLst>
            <pc:docMk/>
            <pc:sldMk cId="203190409" sldId="10438"/>
            <ac:spMk id="10" creationId="{EC4BC8E5-CDE6-4BDA-8B1B-E89284306AC8}"/>
          </ac:spMkLst>
        </pc:spChg>
        <pc:spChg chg="add mod topLvl">
          <ac:chgData name="Ugo MANTEL" userId="2d5b7065-31bb-4181-a7f8-a73bf0c30211" providerId="ADAL" clId="{9344D105-636D-4857-BD0F-AFC44A54BCCF}" dt="2021-05-24T14:47:11.755" v="7719" actId="164"/>
          <ac:spMkLst>
            <pc:docMk/>
            <pc:sldMk cId="203190409" sldId="10438"/>
            <ac:spMk id="11" creationId="{D489FD78-2D59-476D-8E96-270FF18F9533}"/>
          </ac:spMkLst>
        </pc:spChg>
        <pc:spChg chg="add del mod modVis">
          <ac:chgData name="Ugo MANTEL" userId="2d5b7065-31bb-4181-a7f8-a73bf0c30211" providerId="ADAL" clId="{9344D105-636D-4857-BD0F-AFC44A54BCCF}" dt="2021-05-25T10:55:07.778" v="16069"/>
          <ac:spMkLst>
            <pc:docMk/>
            <pc:sldMk cId="203190409" sldId="10438"/>
            <ac:spMk id="11" creationId="{D6E8FD7F-9268-4292-B40F-6698994E2EC0}"/>
          </ac:spMkLst>
        </pc:spChg>
        <pc:spChg chg="mod">
          <ac:chgData name="Ugo MANTEL" userId="2d5b7065-31bb-4181-a7f8-a73bf0c30211" providerId="ADAL" clId="{9344D105-636D-4857-BD0F-AFC44A54BCCF}" dt="2021-05-25T14:20:12.678" v="29417" actId="790"/>
          <ac:spMkLst>
            <pc:docMk/>
            <pc:sldMk cId="203190409" sldId="10438"/>
            <ac:spMk id="12" creationId="{06146879-726F-492D-B854-B9E140208671}"/>
          </ac:spMkLst>
        </pc:spChg>
        <pc:spChg chg="mod">
          <ac:chgData name="Ugo MANTEL" userId="2d5b7065-31bb-4181-a7f8-a73bf0c30211" providerId="ADAL" clId="{9344D105-636D-4857-BD0F-AFC44A54BCCF}" dt="2021-05-25T14:20:12.706" v="29444" actId="790"/>
          <ac:spMkLst>
            <pc:docMk/>
            <pc:sldMk cId="203190409" sldId="10438"/>
            <ac:spMk id="13" creationId="{E9F049B4-9F79-4754-AA4A-B557B2A6D3C9}"/>
          </ac:spMkLst>
        </pc:spChg>
        <pc:spChg chg="add del mod modVis">
          <ac:chgData name="Ugo MANTEL" userId="2d5b7065-31bb-4181-a7f8-a73bf0c30211" providerId="ADAL" clId="{9344D105-636D-4857-BD0F-AFC44A54BCCF}" dt="2021-05-25T10:55:13.548" v="16120"/>
          <ac:spMkLst>
            <pc:docMk/>
            <pc:sldMk cId="203190409" sldId="10438"/>
            <ac:spMk id="15" creationId="{6F68B8DC-0228-463D-89F2-EC0FA01FD761}"/>
          </ac:spMkLst>
        </pc:spChg>
        <pc:spChg chg="del mod">
          <ac:chgData name="Ugo MANTEL" userId="2d5b7065-31bb-4181-a7f8-a73bf0c30211" providerId="ADAL" clId="{9344D105-636D-4857-BD0F-AFC44A54BCCF}" dt="2021-05-24T14:24:04.950" v="7628" actId="478"/>
          <ac:spMkLst>
            <pc:docMk/>
            <pc:sldMk cId="203190409" sldId="10438"/>
            <ac:spMk id="15" creationId="{DAE4D5A4-6F3F-4926-A840-226BDE6AAEF8}"/>
          </ac:spMkLst>
        </pc:spChg>
        <pc:spChg chg="add del mod modVis">
          <ac:chgData name="Ugo MANTEL" userId="2d5b7065-31bb-4181-a7f8-a73bf0c30211" providerId="ADAL" clId="{9344D105-636D-4857-BD0F-AFC44A54BCCF}" dt="2021-05-25T10:55:14.158" v="16164"/>
          <ac:spMkLst>
            <pc:docMk/>
            <pc:sldMk cId="203190409" sldId="10438"/>
            <ac:spMk id="16" creationId="{4312FD21-C57A-42CF-89C6-9FE9B7F2C2CC}"/>
          </ac:spMkLst>
        </pc:spChg>
        <pc:spChg chg="add mod topLvl">
          <ac:chgData name="Ugo MANTEL" userId="2d5b7065-31bb-4181-a7f8-a73bf0c30211" providerId="ADAL" clId="{9344D105-636D-4857-BD0F-AFC44A54BCCF}" dt="2021-05-24T14:47:05.783" v="7716" actId="164"/>
          <ac:spMkLst>
            <pc:docMk/>
            <pc:sldMk cId="203190409" sldId="10438"/>
            <ac:spMk id="16" creationId="{8473335B-AFB7-4A3F-818E-EE03A4BEAAA7}"/>
          </ac:spMkLst>
        </pc:spChg>
        <pc:spChg chg="mod">
          <ac:chgData name="Ugo MANTEL" userId="2d5b7065-31bb-4181-a7f8-a73bf0c30211" providerId="ADAL" clId="{9344D105-636D-4857-BD0F-AFC44A54BCCF}" dt="2021-05-25T14:20:12.699" v="29434" actId="790"/>
          <ac:spMkLst>
            <pc:docMk/>
            <pc:sldMk cId="203190409" sldId="10438"/>
            <ac:spMk id="18" creationId="{E5E5B17C-AF5B-4FCB-935E-796FE66056AC}"/>
          </ac:spMkLst>
        </pc:spChg>
        <pc:spChg chg="mod">
          <ac:chgData name="Ugo MANTEL" userId="2d5b7065-31bb-4181-a7f8-a73bf0c30211" providerId="ADAL" clId="{9344D105-636D-4857-BD0F-AFC44A54BCCF}" dt="2021-05-25T14:20:12.684" v="29425" actId="790"/>
          <ac:spMkLst>
            <pc:docMk/>
            <pc:sldMk cId="203190409" sldId="10438"/>
            <ac:spMk id="19" creationId="{D183DC4A-A310-4818-8DE5-DD81DA31ACA2}"/>
          </ac:spMkLst>
        </pc:spChg>
        <pc:spChg chg="mod">
          <ac:chgData name="Ugo MANTEL" userId="2d5b7065-31bb-4181-a7f8-a73bf0c30211" providerId="ADAL" clId="{9344D105-636D-4857-BD0F-AFC44A54BCCF}" dt="2021-05-25T14:20:12.685" v="29426" actId="790"/>
          <ac:spMkLst>
            <pc:docMk/>
            <pc:sldMk cId="203190409" sldId="10438"/>
            <ac:spMk id="20" creationId="{54E8F179-87EF-4A92-9C29-92D7E20EB946}"/>
          </ac:spMkLst>
        </pc:spChg>
        <pc:spChg chg="mod">
          <ac:chgData name="Ugo MANTEL" userId="2d5b7065-31bb-4181-a7f8-a73bf0c30211" providerId="ADAL" clId="{9344D105-636D-4857-BD0F-AFC44A54BCCF}" dt="2021-05-25T14:20:12.686" v="29427" actId="790"/>
          <ac:spMkLst>
            <pc:docMk/>
            <pc:sldMk cId="203190409" sldId="10438"/>
            <ac:spMk id="21" creationId="{44BA4EC0-19D7-41DC-B319-396D8267BC37}"/>
          </ac:spMkLst>
        </pc:spChg>
        <pc:spChg chg="mod">
          <ac:chgData name="Ugo MANTEL" userId="2d5b7065-31bb-4181-a7f8-a73bf0c30211" providerId="ADAL" clId="{9344D105-636D-4857-BD0F-AFC44A54BCCF}" dt="2021-05-25T14:20:12.686" v="29428" actId="790"/>
          <ac:spMkLst>
            <pc:docMk/>
            <pc:sldMk cId="203190409" sldId="10438"/>
            <ac:spMk id="22" creationId="{43B8FABF-5816-42AC-8939-29224794884E}"/>
          </ac:spMkLst>
        </pc:spChg>
        <pc:spChg chg="add mod topLvl">
          <ac:chgData name="Ugo MANTEL" userId="2d5b7065-31bb-4181-a7f8-a73bf0c30211" providerId="ADAL" clId="{9344D105-636D-4857-BD0F-AFC44A54BCCF}" dt="2021-05-24T14:47:05.783" v="7716" actId="164"/>
          <ac:spMkLst>
            <pc:docMk/>
            <pc:sldMk cId="203190409" sldId="10438"/>
            <ac:spMk id="24" creationId="{69B96CDF-ECB1-4FCC-8EAF-31F7FA7A3782}"/>
          </ac:spMkLst>
        </pc:spChg>
        <pc:spChg chg="add del mod modVis">
          <ac:chgData name="Ugo MANTEL" userId="2d5b7065-31bb-4181-a7f8-a73bf0c30211" providerId="ADAL" clId="{9344D105-636D-4857-BD0F-AFC44A54BCCF}" dt="2021-05-25T10:55:24.260" v="16209"/>
          <ac:spMkLst>
            <pc:docMk/>
            <pc:sldMk cId="203190409" sldId="10438"/>
            <ac:spMk id="24" creationId="{D350A040-858C-4856-82F7-1EC4D868A151}"/>
          </ac:spMkLst>
        </pc:spChg>
        <pc:spChg chg="add del mod modVis">
          <ac:chgData name="Ugo MANTEL" userId="2d5b7065-31bb-4181-a7f8-a73bf0c30211" providerId="ADAL" clId="{9344D105-636D-4857-BD0F-AFC44A54BCCF}" dt="2021-05-25T10:55:28.821" v="16255"/>
          <ac:spMkLst>
            <pc:docMk/>
            <pc:sldMk cId="203190409" sldId="10438"/>
            <ac:spMk id="26" creationId="{63D4AE9A-5991-40E9-B855-1C863D0D897E}"/>
          </ac:spMkLst>
        </pc:spChg>
        <pc:spChg chg="add del mod modVis">
          <ac:chgData name="Ugo MANTEL" userId="2d5b7065-31bb-4181-a7f8-a73bf0c30211" providerId="ADAL" clId="{9344D105-636D-4857-BD0F-AFC44A54BCCF}" dt="2021-05-24T14:46:55.339" v="7712"/>
          <ac:spMkLst>
            <pc:docMk/>
            <pc:sldMk cId="203190409" sldId="10438"/>
            <ac:spMk id="27" creationId="{350C9F27-DE68-463D-BCFC-A6337D0D7C82}"/>
          </ac:spMkLst>
        </pc:spChg>
        <pc:spChg chg="add del mod modVis">
          <ac:chgData name="Ugo MANTEL" userId="2d5b7065-31bb-4181-a7f8-a73bf0c30211" providerId="ADAL" clId="{9344D105-636D-4857-BD0F-AFC44A54BCCF}" dt="2021-05-25T10:55:30.806" v="16305"/>
          <ac:spMkLst>
            <pc:docMk/>
            <pc:sldMk cId="203190409" sldId="10438"/>
            <ac:spMk id="27" creationId="{7CE5E4FE-9717-40CC-B52D-A9E9ADF185D4}"/>
          </ac:spMkLst>
        </pc:spChg>
        <pc:spChg chg="add del mod modVis">
          <ac:chgData name="Ugo MANTEL" userId="2d5b7065-31bb-4181-a7f8-a73bf0c30211" providerId="ADAL" clId="{9344D105-636D-4857-BD0F-AFC44A54BCCF}" dt="2021-05-25T13:37:48.007" v="19838"/>
          <ac:spMkLst>
            <pc:docMk/>
            <pc:sldMk cId="203190409" sldId="10438"/>
            <ac:spMk id="28" creationId="{FE6F39AD-20C0-43C1-AE2B-750085E04F2B}"/>
          </ac:spMkLst>
        </pc:spChg>
        <pc:spChg chg="add del mod modVis">
          <ac:chgData name="Ugo MANTEL" userId="2d5b7065-31bb-4181-a7f8-a73bf0c30211" providerId="ADAL" clId="{9344D105-636D-4857-BD0F-AFC44A54BCCF}" dt="2021-05-25T13:37:51.492" v="19882"/>
          <ac:spMkLst>
            <pc:docMk/>
            <pc:sldMk cId="203190409" sldId="10438"/>
            <ac:spMk id="29" creationId="{7C7F684A-B499-4457-A8A4-3D6AFC233D5F}"/>
          </ac:spMkLst>
        </pc:spChg>
        <pc:spChg chg="add del mod modVis">
          <ac:chgData name="Ugo MANTEL" userId="2d5b7065-31bb-4181-a7f8-a73bf0c30211" providerId="ADAL" clId="{9344D105-636D-4857-BD0F-AFC44A54BCCF}" dt="2021-05-25T13:41:05.582" v="19930"/>
          <ac:spMkLst>
            <pc:docMk/>
            <pc:sldMk cId="203190409" sldId="10438"/>
            <ac:spMk id="30" creationId="{F1001B9D-29DF-427F-914D-0A37D53312D1}"/>
          </ac:spMkLst>
        </pc:spChg>
        <pc:spChg chg="add del mod modVis">
          <ac:chgData name="Ugo MANTEL" userId="2d5b7065-31bb-4181-a7f8-a73bf0c30211" providerId="ADAL" clId="{9344D105-636D-4857-BD0F-AFC44A54BCCF}" dt="2021-05-25T13:41:06.243" v="19974"/>
          <ac:spMkLst>
            <pc:docMk/>
            <pc:sldMk cId="203190409" sldId="10438"/>
            <ac:spMk id="31" creationId="{7A42D9FF-F44B-4613-A6C9-85EF24B10C03}"/>
          </ac:spMkLst>
        </pc:spChg>
        <pc:spChg chg="add del mod modVis">
          <ac:chgData name="Ugo MANTEL" userId="2d5b7065-31bb-4181-a7f8-a73bf0c30211" providerId="ADAL" clId="{9344D105-636D-4857-BD0F-AFC44A54BCCF}" dt="2021-05-25T13:41:08.550" v="20023"/>
          <ac:spMkLst>
            <pc:docMk/>
            <pc:sldMk cId="203190409" sldId="10438"/>
            <ac:spMk id="32" creationId="{7377CC9A-0A49-4E4E-B5BE-3BE5C85C1D70}"/>
          </ac:spMkLst>
        </pc:spChg>
        <pc:spChg chg="mod">
          <ac:chgData name="Ugo MANTEL" userId="2d5b7065-31bb-4181-a7f8-a73bf0c30211" providerId="ADAL" clId="{9344D105-636D-4857-BD0F-AFC44A54BCCF}" dt="2021-05-25T14:20:12.700" v="29435" actId="790"/>
          <ac:spMkLst>
            <pc:docMk/>
            <pc:sldMk cId="203190409" sldId="10438"/>
            <ac:spMk id="33" creationId="{243F8FAD-0118-4F1B-B40B-A7D84FD36396}"/>
          </ac:spMkLst>
        </pc:spChg>
        <pc:spChg chg="add del mod modVis">
          <ac:chgData name="Ugo MANTEL" userId="2d5b7065-31bb-4181-a7f8-a73bf0c30211" providerId="ADAL" clId="{9344D105-636D-4857-BD0F-AFC44A54BCCF}" dt="2021-05-25T13:41:10.739" v="20074"/>
          <ac:spMkLst>
            <pc:docMk/>
            <pc:sldMk cId="203190409" sldId="10438"/>
            <ac:spMk id="34" creationId="{4D806653-2B9B-4388-8661-10136BFA0C61}"/>
          </ac:spMkLst>
        </pc:spChg>
        <pc:spChg chg="add del mod modVis">
          <ac:chgData name="Ugo MANTEL" userId="2d5b7065-31bb-4181-a7f8-a73bf0c30211" providerId="ADAL" clId="{9344D105-636D-4857-BD0F-AFC44A54BCCF}" dt="2021-05-25T13:41:13.312" v="20128"/>
          <ac:spMkLst>
            <pc:docMk/>
            <pc:sldMk cId="203190409" sldId="10438"/>
            <ac:spMk id="35" creationId="{85EEEC39-DF82-4EE3-98E8-11947CA3E4DB}"/>
          </ac:spMkLst>
        </pc:spChg>
        <pc:spChg chg="add del mod modVis">
          <ac:chgData name="Ugo MANTEL" userId="2d5b7065-31bb-4181-a7f8-a73bf0c30211" providerId="ADAL" clId="{9344D105-636D-4857-BD0F-AFC44A54BCCF}" dt="2021-05-25T13:41:14.719" v="20177"/>
          <ac:spMkLst>
            <pc:docMk/>
            <pc:sldMk cId="203190409" sldId="10438"/>
            <ac:spMk id="36" creationId="{8409D04D-8F08-44D4-B5CC-B12531799BA9}"/>
          </ac:spMkLst>
        </pc:spChg>
        <pc:spChg chg="add del mod modVis">
          <ac:chgData name="Ugo MANTEL" userId="2d5b7065-31bb-4181-a7f8-a73bf0c30211" providerId="ADAL" clId="{9344D105-636D-4857-BD0F-AFC44A54BCCF}" dt="2021-05-25T13:41:16.242" v="20228"/>
          <ac:spMkLst>
            <pc:docMk/>
            <pc:sldMk cId="203190409" sldId="10438"/>
            <ac:spMk id="37" creationId="{D9BB6A1F-353D-4A84-81DE-882891090821}"/>
          </ac:spMkLst>
        </pc:spChg>
        <pc:spChg chg="mod">
          <ac:chgData name="Ugo MANTEL" userId="2d5b7065-31bb-4181-a7f8-a73bf0c30211" providerId="ADAL" clId="{9344D105-636D-4857-BD0F-AFC44A54BCCF}" dt="2021-05-25T14:20:12.687" v="29429" actId="790"/>
          <ac:spMkLst>
            <pc:docMk/>
            <pc:sldMk cId="203190409" sldId="10438"/>
            <ac:spMk id="47" creationId="{9E10C541-E455-4AF2-AA1A-715E3DF2DDC1}"/>
          </ac:spMkLst>
        </pc:spChg>
        <pc:spChg chg="mod">
          <ac:chgData name="Ugo MANTEL" userId="2d5b7065-31bb-4181-a7f8-a73bf0c30211" providerId="ADAL" clId="{9344D105-636D-4857-BD0F-AFC44A54BCCF}" dt="2021-05-25T14:20:12.688" v="29430" actId="790"/>
          <ac:spMkLst>
            <pc:docMk/>
            <pc:sldMk cId="203190409" sldId="10438"/>
            <ac:spMk id="49" creationId="{B10468A4-1BAC-4153-BC9A-99B8715C0AD1}"/>
          </ac:spMkLst>
        </pc:spChg>
        <pc:spChg chg="mod">
          <ac:chgData name="Ugo MANTEL" userId="2d5b7065-31bb-4181-a7f8-a73bf0c30211" providerId="ADAL" clId="{9344D105-636D-4857-BD0F-AFC44A54BCCF}" dt="2021-05-25T14:20:12.679" v="29418" actId="790"/>
          <ac:spMkLst>
            <pc:docMk/>
            <pc:sldMk cId="203190409" sldId="10438"/>
            <ac:spMk id="50" creationId="{06AD3339-7557-4559-B2EA-6A391CF2BF0C}"/>
          </ac:spMkLst>
        </pc:spChg>
        <pc:spChg chg="mod">
          <ac:chgData name="Ugo MANTEL" userId="2d5b7065-31bb-4181-a7f8-a73bf0c30211" providerId="ADAL" clId="{9344D105-636D-4857-BD0F-AFC44A54BCCF}" dt="2021-05-25T14:20:12.700" v="29436" actId="790"/>
          <ac:spMkLst>
            <pc:docMk/>
            <pc:sldMk cId="203190409" sldId="10438"/>
            <ac:spMk id="88" creationId="{336D463B-B815-4500-8F61-78A091129044}"/>
          </ac:spMkLst>
        </pc:spChg>
        <pc:spChg chg="del">
          <ac:chgData name="Ugo MANTEL" userId="2d5b7065-31bb-4181-a7f8-a73bf0c30211" providerId="ADAL" clId="{9344D105-636D-4857-BD0F-AFC44A54BCCF}" dt="2021-05-24T14:32:42.791" v="7634" actId="478"/>
          <ac:spMkLst>
            <pc:docMk/>
            <pc:sldMk cId="203190409" sldId="10438"/>
            <ac:spMk id="90" creationId="{C1682200-357E-4434-8AD7-5A0786BF6D1B}"/>
          </ac:spMkLst>
        </pc:spChg>
        <pc:spChg chg="mod">
          <ac:chgData name="Ugo MANTEL" userId="2d5b7065-31bb-4181-a7f8-a73bf0c30211" providerId="ADAL" clId="{9344D105-636D-4857-BD0F-AFC44A54BCCF}" dt="2021-05-25T14:20:12.705" v="29442" actId="790"/>
          <ac:spMkLst>
            <pc:docMk/>
            <pc:sldMk cId="203190409" sldId="10438"/>
            <ac:spMk id="96" creationId="{5BB653FA-7502-456B-9DD5-1867522D3A88}"/>
          </ac:spMkLst>
        </pc:spChg>
        <pc:spChg chg="mod">
          <ac:chgData name="Ugo MANTEL" userId="2d5b7065-31bb-4181-a7f8-a73bf0c30211" providerId="ADAL" clId="{9344D105-636D-4857-BD0F-AFC44A54BCCF}" dt="2021-05-25T14:20:12.689" v="29431" actId="790"/>
          <ac:spMkLst>
            <pc:docMk/>
            <pc:sldMk cId="203190409" sldId="10438"/>
            <ac:spMk id="100" creationId="{EF6C7B41-C54E-4684-BB9A-36701E115EBF}"/>
          </ac:spMkLst>
        </pc:spChg>
        <pc:spChg chg="add mod">
          <ac:chgData name="Ugo MANTEL" userId="2d5b7065-31bb-4181-a7f8-a73bf0c30211" providerId="ADAL" clId="{9344D105-636D-4857-BD0F-AFC44A54BCCF}" dt="2021-05-25T14:20:12.715" v="29455" actId="790"/>
          <ac:spMkLst>
            <pc:docMk/>
            <pc:sldMk cId="203190409" sldId="10438"/>
            <ac:spMk id="101" creationId="{DA7B562D-2A6F-42DF-9E67-3035C79FFC2C}"/>
          </ac:spMkLst>
        </pc:spChg>
        <pc:spChg chg="add del mod">
          <ac:chgData name="Ugo MANTEL" userId="2d5b7065-31bb-4181-a7f8-a73bf0c30211" providerId="ADAL" clId="{9344D105-636D-4857-BD0F-AFC44A54BCCF}" dt="2021-05-24T14:40:19.725" v="7649" actId="478"/>
          <ac:spMkLst>
            <pc:docMk/>
            <pc:sldMk cId="203190409" sldId="10438"/>
            <ac:spMk id="104" creationId="{CFA94D86-1971-42A0-9448-BAA2E2C45B5B}"/>
          </ac:spMkLst>
        </pc:spChg>
        <pc:spChg chg="mod">
          <ac:chgData name="Ugo MANTEL" userId="2d5b7065-31bb-4181-a7f8-a73bf0c30211" providerId="ADAL" clId="{9344D105-636D-4857-BD0F-AFC44A54BCCF}" dt="2021-05-25T14:20:12.676" v="29415" actId="790"/>
          <ac:spMkLst>
            <pc:docMk/>
            <pc:sldMk cId="203190409" sldId="10438"/>
            <ac:spMk id="107" creationId="{31D0AEAA-51DD-4312-8DD3-D5664A3B479D}"/>
          </ac:spMkLst>
        </pc:spChg>
        <pc:spChg chg="mod">
          <ac:chgData name="Ugo MANTEL" userId="2d5b7065-31bb-4181-a7f8-a73bf0c30211" providerId="ADAL" clId="{9344D105-636D-4857-BD0F-AFC44A54BCCF}" dt="2021-05-25T14:20:12.701" v="29437" actId="790"/>
          <ac:spMkLst>
            <pc:docMk/>
            <pc:sldMk cId="203190409" sldId="10438"/>
            <ac:spMk id="108" creationId="{B4E79E7D-0395-4CE2-8F8E-F7FFDE4BA106}"/>
          </ac:spMkLst>
        </pc:spChg>
        <pc:spChg chg="mod">
          <ac:chgData name="Ugo MANTEL" userId="2d5b7065-31bb-4181-a7f8-a73bf0c30211" providerId="ADAL" clId="{9344D105-636D-4857-BD0F-AFC44A54BCCF}" dt="2021-05-25T14:20:12.703" v="29439" actId="790"/>
          <ac:spMkLst>
            <pc:docMk/>
            <pc:sldMk cId="203190409" sldId="10438"/>
            <ac:spMk id="119" creationId="{EEF55E94-FD53-41D7-A423-6B56C40D88A1}"/>
          </ac:spMkLst>
        </pc:spChg>
        <pc:spChg chg="mod">
          <ac:chgData name="Ugo MANTEL" userId="2d5b7065-31bb-4181-a7f8-a73bf0c30211" providerId="ADAL" clId="{9344D105-636D-4857-BD0F-AFC44A54BCCF}" dt="2021-05-25T14:20:12.704" v="29441" actId="790"/>
          <ac:spMkLst>
            <pc:docMk/>
            <pc:sldMk cId="203190409" sldId="10438"/>
            <ac:spMk id="120" creationId="{697B9F9F-BFD2-4BBC-A2BC-06F0D17B4298}"/>
          </ac:spMkLst>
        </pc:spChg>
        <pc:spChg chg="mod">
          <ac:chgData name="Ugo MANTEL" userId="2d5b7065-31bb-4181-a7f8-a73bf0c30211" providerId="ADAL" clId="{9344D105-636D-4857-BD0F-AFC44A54BCCF}" dt="2021-05-25T14:20:12.703" v="29440" actId="790"/>
          <ac:spMkLst>
            <pc:docMk/>
            <pc:sldMk cId="203190409" sldId="10438"/>
            <ac:spMk id="122" creationId="{7ED4A8D8-06EE-4620-B65B-5E3B52A3ABAE}"/>
          </ac:spMkLst>
        </pc:spChg>
        <pc:spChg chg="mod">
          <ac:chgData name="Ugo MANTEL" userId="2d5b7065-31bb-4181-a7f8-a73bf0c30211" providerId="ADAL" clId="{9344D105-636D-4857-BD0F-AFC44A54BCCF}" dt="2021-05-25T14:20:12.705" v="29443" actId="790"/>
          <ac:spMkLst>
            <pc:docMk/>
            <pc:sldMk cId="203190409" sldId="10438"/>
            <ac:spMk id="123" creationId="{CCD5F39F-64EB-4F4E-BE6B-002C617492EF}"/>
          </ac:spMkLst>
        </pc:spChg>
        <pc:spChg chg="add mod topLvl">
          <ac:chgData name="Ugo MANTEL" userId="2d5b7065-31bb-4181-a7f8-a73bf0c30211" providerId="ADAL" clId="{9344D105-636D-4857-BD0F-AFC44A54BCCF}" dt="2021-05-24T14:47:05.783" v="7716" actId="164"/>
          <ac:spMkLst>
            <pc:docMk/>
            <pc:sldMk cId="203190409" sldId="10438"/>
            <ac:spMk id="126" creationId="{A071D757-3E3E-4DAB-B99E-4CE0A996D62E}"/>
          </ac:spMkLst>
        </pc:spChg>
        <pc:spChg chg="add del mod">
          <ac:chgData name="Ugo MANTEL" userId="2d5b7065-31bb-4181-a7f8-a73bf0c30211" providerId="ADAL" clId="{9344D105-636D-4857-BD0F-AFC44A54BCCF}" dt="2021-05-25T12:02:53.542" v="17662" actId="478"/>
          <ac:spMkLst>
            <pc:docMk/>
            <pc:sldMk cId="203190409" sldId="10438"/>
            <ac:spMk id="133" creationId="{7294821F-DD1A-470E-80B2-DD66F0F39C78}"/>
          </ac:spMkLst>
        </pc:spChg>
        <pc:spChg chg="add mod topLvl">
          <ac:chgData name="Ugo MANTEL" userId="2d5b7065-31bb-4181-a7f8-a73bf0c30211" providerId="ADAL" clId="{9344D105-636D-4857-BD0F-AFC44A54BCCF}" dt="2021-05-24T14:47:05.783" v="7716" actId="164"/>
          <ac:spMkLst>
            <pc:docMk/>
            <pc:sldMk cId="203190409" sldId="10438"/>
            <ac:spMk id="133" creationId="{89E77EB5-D50F-43AC-BD66-ED3BD6152E8A}"/>
          </ac:spMkLst>
        </pc:spChg>
        <pc:spChg chg="add del mod">
          <ac:chgData name="Ugo MANTEL" userId="2d5b7065-31bb-4181-a7f8-a73bf0c30211" providerId="ADAL" clId="{9344D105-636D-4857-BD0F-AFC44A54BCCF}" dt="2021-05-25T12:02:53.542" v="17662" actId="478"/>
          <ac:spMkLst>
            <pc:docMk/>
            <pc:sldMk cId="203190409" sldId="10438"/>
            <ac:spMk id="134" creationId="{B5EB8F10-6193-413D-8348-DAD43B3247AD}"/>
          </ac:spMkLst>
        </pc:spChg>
        <pc:spChg chg="add mod topLvl">
          <ac:chgData name="Ugo MANTEL" userId="2d5b7065-31bb-4181-a7f8-a73bf0c30211" providerId="ADAL" clId="{9344D105-636D-4857-BD0F-AFC44A54BCCF}" dt="2021-05-24T14:47:05.783" v="7716" actId="164"/>
          <ac:spMkLst>
            <pc:docMk/>
            <pc:sldMk cId="203190409" sldId="10438"/>
            <ac:spMk id="134" creationId="{EC75B39B-5C3C-4BCA-818C-3C93CC086703}"/>
          </ac:spMkLst>
        </pc:spChg>
        <pc:spChg chg="mod">
          <ac:chgData name="Ugo MANTEL" userId="2d5b7065-31bb-4181-a7f8-a73bf0c30211" providerId="ADAL" clId="{9344D105-636D-4857-BD0F-AFC44A54BCCF}" dt="2021-05-25T14:20:12.712" v="29452" actId="790"/>
          <ac:spMkLst>
            <pc:docMk/>
            <pc:sldMk cId="203190409" sldId="10438"/>
            <ac:spMk id="154" creationId="{A7269958-7FC5-479F-B17B-49D115F118B6}"/>
          </ac:spMkLst>
        </pc:spChg>
        <pc:spChg chg="mod">
          <ac:chgData name="Ugo MANTEL" userId="2d5b7065-31bb-4181-a7f8-a73bf0c30211" providerId="ADAL" clId="{9344D105-636D-4857-BD0F-AFC44A54BCCF}" dt="2021-05-25T14:20:12.707" v="29445" actId="790"/>
          <ac:spMkLst>
            <pc:docMk/>
            <pc:sldMk cId="203190409" sldId="10438"/>
            <ac:spMk id="165" creationId="{C389F3EC-7313-454E-9942-F14FD0BD4C77}"/>
          </ac:spMkLst>
        </pc:spChg>
        <pc:spChg chg="mod">
          <ac:chgData name="Ugo MANTEL" userId="2d5b7065-31bb-4181-a7f8-a73bf0c30211" providerId="ADAL" clId="{9344D105-636D-4857-BD0F-AFC44A54BCCF}" dt="2021-05-25T14:20:12.708" v="29446" actId="790"/>
          <ac:spMkLst>
            <pc:docMk/>
            <pc:sldMk cId="203190409" sldId="10438"/>
            <ac:spMk id="166" creationId="{A3938D6F-1923-42FF-B2ED-6C2BEA79BA03}"/>
          </ac:spMkLst>
        </pc:spChg>
        <pc:spChg chg="mod">
          <ac:chgData name="Ugo MANTEL" userId="2d5b7065-31bb-4181-a7f8-a73bf0c30211" providerId="ADAL" clId="{9344D105-636D-4857-BD0F-AFC44A54BCCF}" dt="2021-05-25T14:20:12.709" v="29447" actId="790"/>
          <ac:spMkLst>
            <pc:docMk/>
            <pc:sldMk cId="203190409" sldId="10438"/>
            <ac:spMk id="168" creationId="{C423BD9F-9E4A-46B8-89D7-67C1FE84B168}"/>
          </ac:spMkLst>
        </pc:spChg>
        <pc:spChg chg="mod">
          <ac:chgData name="Ugo MANTEL" userId="2d5b7065-31bb-4181-a7f8-a73bf0c30211" providerId="ADAL" clId="{9344D105-636D-4857-BD0F-AFC44A54BCCF}" dt="2021-05-25T14:20:12.709" v="29448" actId="790"/>
          <ac:spMkLst>
            <pc:docMk/>
            <pc:sldMk cId="203190409" sldId="10438"/>
            <ac:spMk id="169" creationId="{7881ABC3-A97B-4E90-939F-E48D9595FFFF}"/>
          </ac:spMkLst>
        </pc:spChg>
        <pc:spChg chg="mod">
          <ac:chgData name="Ugo MANTEL" userId="2d5b7065-31bb-4181-a7f8-a73bf0c30211" providerId="ADAL" clId="{9344D105-636D-4857-BD0F-AFC44A54BCCF}" dt="2021-05-25T14:20:12.710" v="29449" actId="790"/>
          <ac:spMkLst>
            <pc:docMk/>
            <pc:sldMk cId="203190409" sldId="10438"/>
            <ac:spMk id="170" creationId="{A886CA56-9620-415B-9489-A004AB6EB706}"/>
          </ac:spMkLst>
        </pc:spChg>
        <pc:spChg chg="mod">
          <ac:chgData name="Ugo MANTEL" userId="2d5b7065-31bb-4181-a7f8-a73bf0c30211" providerId="ADAL" clId="{9344D105-636D-4857-BD0F-AFC44A54BCCF}" dt="2021-05-25T14:20:12.711" v="29450" actId="790"/>
          <ac:spMkLst>
            <pc:docMk/>
            <pc:sldMk cId="203190409" sldId="10438"/>
            <ac:spMk id="171" creationId="{BCC6DEFD-6FEB-4777-9432-E3B2F5C51000}"/>
          </ac:spMkLst>
        </pc:spChg>
        <pc:spChg chg="mod">
          <ac:chgData name="Ugo MANTEL" userId="2d5b7065-31bb-4181-a7f8-a73bf0c30211" providerId="ADAL" clId="{9344D105-636D-4857-BD0F-AFC44A54BCCF}" dt="2021-05-25T14:20:12.712" v="29451" actId="790"/>
          <ac:spMkLst>
            <pc:docMk/>
            <pc:sldMk cId="203190409" sldId="10438"/>
            <ac:spMk id="172" creationId="{04568322-5012-422B-991D-C9A4712E25C9}"/>
          </ac:spMkLst>
        </pc:spChg>
        <pc:spChg chg="mod">
          <ac:chgData name="Ugo MANTEL" userId="2d5b7065-31bb-4181-a7f8-a73bf0c30211" providerId="ADAL" clId="{9344D105-636D-4857-BD0F-AFC44A54BCCF}" dt="2021-05-25T14:20:12.713" v="29453" actId="790"/>
          <ac:spMkLst>
            <pc:docMk/>
            <pc:sldMk cId="203190409" sldId="10438"/>
            <ac:spMk id="197" creationId="{EB1ED8EE-1371-4F31-B475-A7FD22F01C88}"/>
          </ac:spMkLst>
        </pc:spChg>
        <pc:spChg chg="mod">
          <ac:chgData name="Ugo MANTEL" userId="2d5b7065-31bb-4181-a7f8-a73bf0c30211" providerId="ADAL" clId="{9344D105-636D-4857-BD0F-AFC44A54BCCF}" dt="2021-05-25T14:20:12.714" v="29454" actId="790"/>
          <ac:spMkLst>
            <pc:docMk/>
            <pc:sldMk cId="203190409" sldId="10438"/>
            <ac:spMk id="212" creationId="{F492C173-DFD6-47CF-9BB4-C8925127E1EE}"/>
          </ac:spMkLst>
        </pc:spChg>
        <pc:spChg chg="mod">
          <ac:chgData name="Ugo MANTEL" userId="2d5b7065-31bb-4181-a7f8-a73bf0c30211" providerId="ADAL" clId="{9344D105-636D-4857-BD0F-AFC44A54BCCF}" dt="2021-05-25T13:41:28.823" v="20232" actId="1076"/>
          <ac:spMkLst>
            <pc:docMk/>
            <pc:sldMk cId="203190409" sldId="10438"/>
            <ac:spMk id="1025" creationId="{308FC967-D46E-4BB5-97B6-0297E9035F94}"/>
          </ac:spMkLst>
        </pc:spChg>
        <pc:spChg chg="mod">
          <ac:chgData name="Ugo MANTEL" userId="2d5b7065-31bb-4181-a7f8-a73bf0c30211" providerId="ADAL" clId="{9344D105-636D-4857-BD0F-AFC44A54BCCF}" dt="2021-05-25T14:20:12.698" v="29432" actId="790"/>
          <ac:spMkLst>
            <pc:docMk/>
            <pc:sldMk cId="203190409" sldId="10438"/>
            <ac:spMk id="1031" creationId="{A3845A5C-C65F-4C44-AE3B-D3285DF51268}"/>
          </ac:spMkLst>
        </pc:spChg>
        <pc:spChg chg="mod">
          <ac:chgData name="Ugo MANTEL" userId="2d5b7065-31bb-4181-a7f8-a73bf0c30211" providerId="ADAL" clId="{9344D105-636D-4857-BD0F-AFC44A54BCCF}" dt="2021-05-25T14:20:12.698" v="29433" actId="790"/>
          <ac:spMkLst>
            <pc:docMk/>
            <pc:sldMk cId="203190409" sldId="10438"/>
            <ac:spMk id="1035" creationId="{9164A53F-4711-41A4-BE3D-8D2F4243A495}"/>
          </ac:spMkLst>
        </pc:spChg>
        <pc:spChg chg="mod">
          <ac:chgData name="Ugo MANTEL" userId="2d5b7065-31bb-4181-a7f8-a73bf0c30211" providerId="ADAL" clId="{9344D105-636D-4857-BD0F-AFC44A54BCCF}" dt="2021-05-25T14:20:12.677" v="29416" actId="790"/>
          <ac:spMkLst>
            <pc:docMk/>
            <pc:sldMk cId="203190409" sldId="10438"/>
            <ac:spMk id="4107" creationId="{EBC573C8-C4E3-432A-81F7-B99236DF594A}"/>
          </ac:spMkLst>
        </pc:spChg>
        <pc:grpChg chg="add del mod">
          <ac:chgData name="Ugo MANTEL" userId="2d5b7065-31bb-4181-a7f8-a73bf0c30211" providerId="ADAL" clId="{9344D105-636D-4857-BD0F-AFC44A54BCCF}" dt="2021-05-24T14:47:02.413" v="7715" actId="165"/>
          <ac:grpSpMkLst>
            <pc:docMk/>
            <pc:sldMk cId="203190409" sldId="10438"/>
            <ac:grpSpMk id="26" creationId="{BA57FACE-F680-4AB7-BAFC-3DFEE71A0A44}"/>
          </ac:grpSpMkLst>
        </pc:grpChg>
        <pc:grpChg chg="add mod">
          <ac:chgData name="Ugo MANTEL" userId="2d5b7065-31bb-4181-a7f8-a73bf0c30211" providerId="ADAL" clId="{9344D105-636D-4857-BD0F-AFC44A54BCCF}" dt="2021-05-24T14:47:11.755" v="7719" actId="164"/>
          <ac:grpSpMkLst>
            <pc:docMk/>
            <pc:sldMk cId="203190409" sldId="10438"/>
            <ac:grpSpMk id="28" creationId="{DC302806-E07A-4B84-BADE-29F36147DCDE}"/>
          </ac:grpSpMkLst>
        </pc:grpChg>
        <pc:grpChg chg="add del mod">
          <ac:chgData name="Ugo MANTEL" userId="2d5b7065-31bb-4181-a7f8-a73bf0c30211" providerId="ADAL" clId="{9344D105-636D-4857-BD0F-AFC44A54BCCF}" dt="2021-05-24T15:01:36.072" v="8729" actId="478"/>
          <ac:grpSpMkLst>
            <pc:docMk/>
            <pc:sldMk cId="203190409" sldId="10438"/>
            <ac:grpSpMk id="29" creationId="{018D25A6-B3DB-48DA-9456-B79FE0CF4713}"/>
          </ac:grpSpMkLst>
        </pc:grpChg>
        <pc:graphicFrameChg chg="mod">
          <ac:chgData name="Ugo MANTEL" userId="2d5b7065-31bb-4181-a7f8-a73bf0c30211" providerId="ADAL" clId="{9344D105-636D-4857-BD0F-AFC44A54BCCF}" dt="2021-05-25T13:41:16.243" v="20230"/>
          <ac:graphicFrameMkLst>
            <pc:docMk/>
            <pc:sldMk cId="203190409" sldId="10438"/>
            <ac:graphicFrameMk id="17" creationId="{FF44A7FF-DA1D-48E9-88AF-BFA57A1D74D1}"/>
          </ac:graphicFrameMkLst>
        </pc:graphicFrameChg>
        <pc:picChg chg="del">
          <ac:chgData name="Ugo MANTEL" userId="2d5b7065-31bb-4181-a7f8-a73bf0c30211" providerId="ADAL" clId="{9344D105-636D-4857-BD0F-AFC44A54BCCF}" dt="2021-05-25T12:04:13.699" v="17664" actId="478"/>
          <ac:picMkLst>
            <pc:docMk/>
            <pc:sldMk cId="203190409" sldId="10438"/>
            <ac:picMk id="14" creationId="{07DF01FF-E042-464B-8D89-C1DD5F2A3011}"/>
          </ac:picMkLst>
        </pc:picChg>
        <pc:picChg chg="del">
          <ac:chgData name="Ugo MANTEL" userId="2d5b7065-31bb-4181-a7f8-a73bf0c30211" providerId="ADAL" clId="{9344D105-636D-4857-BD0F-AFC44A54BCCF}" dt="2021-05-25T12:04:13.699" v="17664" actId="478"/>
          <ac:picMkLst>
            <pc:docMk/>
            <pc:sldMk cId="203190409" sldId="10438"/>
            <ac:picMk id="41" creationId="{8ADC216A-F93F-421D-872E-AFDDDE309ED2}"/>
          </ac:picMkLst>
        </pc:picChg>
        <pc:picChg chg="add mod">
          <ac:chgData name="Ugo MANTEL" userId="2d5b7065-31bb-4181-a7f8-a73bf0c30211" providerId="ADAL" clId="{9344D105-636D-4857-BD0F-AFC44A54BCCF}" dt="2021-05-25T11:13:52.666" v="17160"/>
          <ac:picMkLst>
            <pc:docMk/>
            <pc:sldMk cId="203190409" sldId="10438"/>
            <ac:picMk id="126" creationId="{2A75CCDB-25C5-4323-BE0D-DD0A18FC90DE}"/>
          </ac:picMkLst>
        </pc:picChg>
        <pc:picChg chg="add del mod">
          <ac:chgData name="Ugo MANTEL" userId="2d5b7065-31bb-4181-a7f8-a73bf0c30211" providerId="ADAL" clId="{9344D105-636D-4857-BD0F-AFC44A54BCCF}" dt="2021-05-25T12:04:36.033" v="17669" actId="478"/>
          <ac:picMkLst>
            <pc:docMk/>
            <pc:sldMk cId="203190409" sldId="10438"/>
            <ac:picMk id="135" creationId="{46F1DD94-3D8E-441E-A980-2D954A14717D}"/>
          </ac:picMkLst>
        </pc:picChg>
        <pc:picChg chg="add mod">
          <ac:chgData name="Ugo MANTEL" userId="2d5b7065-31bb-4181-a7f8-a73bf0c30211" providerId="ADAL" clId="{9344D105-636D-4857-BD0F-AFC44A54BCCF}" dt="2021-05-25T12:04:14.437" v="17665"/>
          <ac:picMkLst>
            <pc:docMk/>
            <pc:sldMk cId="203190409" sldId="10438"/>
            <ac:picMk id="136" creationId="{29D51AE9-D0E3-4F88-AEC5-5AC8F8DF433A}"/>
          </ac:picMkLst>
        </pc:picChg>
        <pc:picChg chg="add mod">
          <ac:chgData name="Ugo MANTEL" userId="2d5b7065-31bb-4181-a7f8-a73bf0c30211" providerId="ADAL" clId="{9344D105-636D-4857-BD0F-AFC44A54BCCF}" dt="2021-05-25T12:04:36.386" v="17670"/>
          <ac:picMkLst>
            <pc:docMk/>
            <pc:sldMk cId="203190409" sldId="10438"/>
            <ac:picMk id="137" creationId="{8D3DEFB0-1A92-4818-A79D-F7EAB2BA967D}"/>
          </ac:picMkLst>
        </pc:picChg>
      </pc:sldChg>
      <pc:sldChg chg="addSp modSp">
        <pc:chgData name="Ugo MANTEL" userId="2d5b7065-31bb-4181-a7f8-a73bf0c30211" providerId="ADAL" clId="{9344D105-636D-4857-BD0F-AFC44A54BCCF}" dt="2021-05-24T11:59:50.270" v="5300"/>
        <pc:sldMkLst>
          <pc:docMk/>
          <pc:sldMk cId="442974380" sldId="10440"/>
        </pc:sldMkLst>
        <pc:spChg chg="add mod">
          <ac:chgData name="Ugo MANTEL" userId="2d5b7065-31bb-4181-a7f8-a73bf0c30211" providerId="ADAL" clId="{9344D105-636D-4857-BD0F-AFC44A54BCCF}" dt="2021-05-24T11:59:50.270" v="5300"/>
          <ac:spMkLst>
            <pc:docMk/>
            <pc:sldMk cId="442974380" sldId="10440"/>
            <ac:spMk id="70" creationId="{69512478-4F7C-4EB8-B587-69AC4EA2524C}"/>
          </ac:spMkLst>
        </pc:spChg>
      </pc:sldChg>
      <pc:sldChg chg="addSp delSp modSp mod">
        <pc:chgData name="Ugo MANTEL" userId="2d5b7065-31bb-4181-a7f8-a73bf0c30211" providerId="ADAL" clId="{9344D105-636D-4857-BD0F-AFC44A54BCCF}" dt="2021-05-25T14:20:11.345" v="28061" actId="790"/>
        <pc:sldMkLst>
          <pc:docMk/>
          <pc:sldMk cId="1845337448" sldId="10441"/>
        </pc:sldMkLst>
        <pc:spChg chg="mod">
          <ac:chgData name="Ugo MANTEL" userId="2d5b7065-31bb-4181-a7f8-a73bf0c30211" providerId="ADAL" clId="{9344D105-636D-4857-BD0F-AFC44A54BCCF}" dt="2021-05-25T14:20:11.341" v="28057" actId="790"/>
          <ac:spMkLst>
            <pc:docMk/>
            <pc:sldMk cId="1845337448" sldId="10441"/>
            <ac:spMk id="2" creationId="{1B8B41D0-3B5A-41F2-BD36-274CA5605C3A}"/>
          </ac:spMkLst>
        </pc:spChg>
        <pc:spChg chg="mod">
          <ac:chgData name="Ugo MANTEL" userId="2d5b7065-31bb-4181-a7f8-a73bf0c30211" providerId="ADAL" clId="{9344D105-636D-4857-BD0F-AFC44A54BCCF}" dt="2021-05-25T14:20:11.304" v="28014" actId="790"/>
          <ac:spMkLst>
            <pc:docMk/>
            <pc:sldMk cId="1845337448" sldId="10441"/>
            <ac:spMk id="3" creationId="{F2961EB7-FC0B-4AEF-8BF3-7969101BE0A7}"/>
          </ac:spMkLst>
        </pc:spChg>
        <pc:spChg chg="mod">
          <ac:chgData name="Ugo MANTEL" userId="2d5b7065-31bb-4181-a7f8-a73bf0c30211" providerId="ADAL" clId="{9344D105-636D-4857-BD0F-AFC44A54BCCF}" dt="2021-05-25T14:20:11.305" v="28015" actId="790"/>
          <ac:spMkLst>
            <pc:docMk/>
            <pc:sldMk cId="1845337448" sldId="10441"/>
            <ac:spMk id="4" creationId="{43E0D5C7-0986-42B1-8E8C-7B58D0CBD773}"/>
          </ac:spMkLst>
        </pc:spChg>
        <pc:spChg chg="mod">
          <ac:chgData name="Ugo MANTEL" userId="2d5b7065-31bb-4181-a7f8-a73bf0c30211" providerId="ADAL" clId="{9344D105-636D-4857-BD0F-AFC44A54BCCF}" dt="2021-05-25T14:20:11.310" v="28022" actId="790"/>
          <ac:spMkLst>
            <pc:docMk/>
            <pc:sldMk cId="1845337448" sldId="10441"/>
            <ac:spMk id="5" creationId="{32E0BE14-B2E8-4A96-ADE4-0BE247A47D79}"/>
          </ac:spMkLst>
        </pc:spChg>
        <pc:spChg chg="mod">
          <ac:chgData name="Ugo MANTEL" userId="2d5b7065-31bb-4181-a7f8-a73bf0c30211" providerId="ADAL" clId="{9344D105-636D-4857-BD0F-AFC44A54BCCF}" dt="2021-05-25T14:20:11.310" v="28023" actId="790"/>
          <ac:spMkLst>
            <pc:docMk/>
            <pc:sldMk cId="1845337448" sldId="10441"/>
            <ac:spMk id="6" creationId="{8AEA1672-C0F9-4DB2-A6F4-76831980F749}"/>
          </ac:spMkLst>
        </pc:spChg>
        <pc:spChg chg="mod">
          <ac:chgData name="Ugo MANTEL" userId="2d5b7065-31bb-4181-a7f8-a73bf0c30211" providerId="ADAL" clId="{9344D105-636D-4857-BD0F-AFC44A54BCCF}" dt="2021-05-25T14:20:11.308" v="28020" actId="790"/>
          <ac:spMkLst>
            <pc:docMk/>
            <pc:sldMk cId="1845337448" sldId="10441"/>
            <ac:spMk id="7" creationId="{064EAC16-1947-4EB5-B699-F79BA984701D}"/>
          </ac:spMkLst>
        </pc:spChg>
        <pc:spChg chg="mod">
          <ac:chgData name="Ugo MANTEL" userId="2d5b7065-31bb-4181-a7f8-a73bf0c30211" providerId="ADAL" clId="{9344D105-636D-4857-BD0F-AFC44A54BCCF}" dt="2021-05-25T14:20:11.309" v="28021" actId="790"/>
          <ac:spMkLst>
            <pc:docMk/>
            <pc:sldMk cId="1845337448" sldId="10441"/>
            <ac:spMk id="8" creationId="{17235FB0-B480-4F11-BAB2-ECCE97A0AE35}"/>
          </ac:spMkLst>
        </pc:spChg>
        <pc:spChg chg="mod">
          <ac:chgData name="Ugo MANTEL" userId="2d5b7065-31bb-4181-a7f8-a73bf0c30211" providerId="ADAL" clId="{9344D105-636D-4857-BD0F-AFC44A54BCCF}" dt="2021-05-25T14:20:11.311" v="28024" actId="790"/>
          <ac:spMkLst>
            <pc:docMk/>
            <pc:sldMk cId="1845337448" sldId="10441"/>
            <ac:spMk id="9" creationId="{E57AC7D2-FC03-4826-B2B4-B86B10C8A912}"/>
          </ac:spMkLst>
        </pc:spChg>
        <pc:spChg chg="mod">
          <ac:chgData name="Ugo MANTEL" userId="2d5b7065-31bb-4181-a7f8-a73bf0c30211" providerId="ADAL" clId="{9344D105-636D-4857-BD0F-AFC44A54BCCF}" dt="2021-05-25T14:20:11.327" v="28037" actId="790"/>
          <ac:spMkLst>
            <pc:docMk/>
            <pc:sldMk cId="1845337448" sldId="10441"/>
            <ac:spMk id="10" creationId="{EC4BC8E5-CDE6-4BDA-8B1B-E89284306AC8}"/>
          </ac:spMkLst>
        </pc:spChg>
        <pc:spChg chg="add mod">
          <ac:chgData name="Ugo MANTEL" userId="2d5b7065-31bb-4181-a7f8-a73bf0c30211" providerId="ADAL" clId="{9344D105-636D-4857-BD0F-AFC44A54BCCF}" dt="2021-05-25T11:05:22.356" v="16317" actId="207"/>
          <ac:spMkLst>
            <pc:docMk/>
            <pc:sldMk cId="1845337448" sldId="10441"/>
            <ac:spMk id="11" creationId="{9FCF51CF-1529-4B62-8125-E2230C13243E}"/>
          </ac:spMkLst>
        </pc:spChg>
        <pc:spChg chg="mod">
          <ac:chgData name="Ugo MANTEL" userId="2d5b7065-31bb-4181-a7f8-a73bf0c30211" providerId="ADAL" clId="{9344D105-636D-4857-BD0F-AFC44A54BCCF}" dt="2021-05-25T14:20:11.307" v="28018" actId="790"/>
          <ac:spMkLst>
            <pc:docMk/>
            <pc:sldMk cId="1845337448" sldId="10441"/>
            <ac:spMk id="12" creationId="{06146879-726F-492D-B854-B9E140208671}"/>
          </ac:spMkLst>
        </pc:spChg>
        <pc:spChg chg="mod">
          <ac:chgData name="Ugo MANTEL" userId="2d5b7065-31bb-4181-a7f8-a73bf0c30211" providerId="ADAL" clId="{9344D105-636D-4857-BD0F-AFC44A54BCCF}" dt="2021-05-25T14:20:11.332" v="28044" actId="790"/>
          <ac:spMkLst>
            <pc:docMk/>
            <pc:sldMk cId="1845337448" sldId="10441"/>
            <ac:spMk id="13" creationId="{E9F049B4-9F79-4754-AA4A-B557B2A6D3C9}"/>
          </ac:spMkLst>
        </pc:spChg>
        <pc:spChg chg="mod">
          <ac:chgData name="Ugo MANTEL" userId="2d5b7065-31bb-4181-a7f8-a73bf0c30211" providerId="ADAL" clId="{9344D105-636D-4857-BD0F-AFC44A54BCCF}" dt="2021-05-25T14:20:11.343" v="28059" actId="790"/>
          <ac:spMkLst>
            <pc:docMk/>
            <pc:sldMk cId="1845337448" sldId="10441"/>
            <ac:spMk id="15" creationId="{F7EB4D52-F761-46DD-8A27-ACFCD9D9408B}"/>
          </ac:spMkLst>
        </pc:spChg>
        <pc:spChg chg="mod">
          <ac:chgData name="Ugo MANTEL" userId="2d5b7065-31bb-4181-a7f8-a73bf0c30211" providerId="ADAL" clId="{9344D105-636D-4857-BD0F-AFC44A54BCCF}" dt="2021-05-25T14:20:11.324" v="28033" actId="790"/>
          <ac:spMkLst>
            <pc:docMk/>
            <pc:sldMk cId="1845337448" sldId="10441"/>
            <ac:spMk id="18" creationId="{E5E5B17C-AF5B-4FCB-935E-796FE66056AC}"/>
          </ac:spMkLst>
        </pc:spChg>
        <pc:spChg chg="mod">
          <ac:chgData name="Ugo MANTEL" userId="2d5b7065-31bb-4181-a7f8-a73bf0c30211" providerId="ADAL" clId="{9344D105-636D-4857-BD0F-AFC44A54BCCF}" dt="2021-05-25T14:20:11.311" v="28025" actId="790"/>
          <ac:spMkLst>
            <pc:docMk/>
            <pc:sldMk cId="1845337448" sldId="10441"/>
            <ac:spMk id="19" creationId="{D183DC4A-A310-4818-8DE5-DD81DA31ACA2}"/>
          </ac:spMkLst>
        </pc:spChg>
        <pc:spChg chg="mod">
          <ac:chgData name="Ugo MANTEL" userId="2d5b7065-31bb-4181-a7f8-a73bf0c30211" providerId="ADAL" clId="{9344D105-636D-4857-BD0F-AFC44A54BCCF}" dt="2021-05-25T14:20:11.312" v="28026" actId="790"/>
          <ac:spMkLst>
            <pc:docMk/>
            <pc:sldMk cId="1845337448" sldId="10441"/>
            <ac:spMk id="20" creationId="{54E8F179-87EF-4A92-9C29-92D7E20EB946}"/>
          </ac:spMkLst>
        </pc:spChg>
        <pc:spChg chg="mod">
          <ac:chgData name="Ugo MANTEL" userId="2d5b7065-31bb-4181-a7f8-a73bf0c30211" providerId="ADAL" clId="{9344D105-636D-4857-BD0F-AFC44A54BCCF}" dt="2021-05-25T14:20:11.313" v="28027" actId="790"/>
          <ac:spMkLst>
            <pc:docMk/>
            <pc:sldMk cId="1845337448" sldId="10441"/>
            <ac:spMk id="21" creationId="{44BA4EC0-19D7-41DC-B319-396D8267BC37}"/>
          </ac:spMkLst>
        </pc:spChg>
        <pc:spChg chg="mod">
          <ac:chgData name="Ugo MANTEL" userId="2d5b7065-31bb-4181-a7f8-a73bf0c30211" providerId="ADAL" clId="{9344D105-636D-4857-BD0F-AFC44A54BCCF}" dt="2021-05-25T14:20:11.313" v="28028" actId="790"/>
          <ac:spMkLst>
            <pc:docMk/>
            <pc:sldMk cId="1845337448" sldId="10441"/>
            <ac:spMk id="22" creationId="{43B8FABF-5816-42AC-8939-29224794884E}"/>
          </ac:spMkLst>
        </pc:spChg>
        <pc:spChg chg="mod">
          <ac:chgData name="Ugo MANTEL" userId="2d5b7065-31bb-4181-a7f8-a73bf0c30211" providerId="ADAL" clId="{9344D105-636D-4857-BD0F-AFC44A54BCCF}" dt="2021-05-25T14:20:11.325" v="28034" actId="790"/>
          <ac:spMkLst>
            <pc:docMk/>
            <pc:sldMk cId="1845337448" sldId="10441"/>
            <ac:spMk id="33" creationId="{243F8FAD-0118-4F1B-B40B-A7D84FD36396}"/>
          </ac:spMkLst>
        </pc:spChg>
        <pc:spChg chg="mod">
          <ac:chgData name="Ugo MANTEL" userId="2d5b7065-31bb-4181-a7f8-a73bf0c30211" providerId="ADAL" clId="{9344D105-636D-4857-BD0F-AFC44A54BCCF}" dt="2021-05-25T14:20:11.314" v="28029" actId="790"/>
          <ac:spMkLst>
            <pc:docMk/>
            <pc:sldMk cId="1845337448" sldId="10441"/>
            <ac:spMk id="47" creationId="{9E10C541-E455-4AF2-AA1A-715E3DF2DDC1}"/>
          </ac:spMkLst>
        </pc:spChg>
        <pc:spChg chg="mod">
          <ac:chgData name="Ugo MANTEL" userId="2d5b7065-31bb-4181-a7f8-a73bf0c30211" providerId="ADAL" clId="{9344D105-636D-4857-BD0F-AFC44A54BCCF}" dt="2021-05-25T14:20:11.315" v="28030" actId="790"/>
          <ac:spMkLst>
            <pc:docMk/>
            <pc:sldMk cId="1845337448" sldId="10441"/>
            <ac:spMk id="49" creationId="{B10468A4-1BAC-4153-BC9A-99B8715C0AD1}"/>
          </ac:spMkLst>
        </pc:spChg>
        <pc:spChg chg="mod">
          <ac:chgData name="Ugo MANTEL" userId="2d5b7065-31bb-4181-a7f8-a73bf0c30211" providerId="ADAL" clId="{9344D105-636D-4857-BD0F-AFC44A54BCCF}" dt="2021-05-25T14:20:11.307" v="28019" actId="790"/>
          <ac:spMkLst>
            <pc:docMk/>
            <pc:sldMk cId="1845337448" sldId="10441"/>
            <ac:spMk id="50" creationId="{06AD3339-7557-4559-B2EA-6A391CF2BF0C}"/>
          </ac:spMkLst>
        </pc:spChg>
        <pc:spChg chg="mod">
          <ac:chgData name="Ugo MANTEL" userId="2d5b7065-31bb-4181-a7f8-a73bf0c30211" providerId="ADAL" clId="{9344D105-636D-4857-BD0F-AFC44A54BCCF}" dt="2021-05-25T14:20:11.326" v="28035" actId="790"/>
          <ac:spMkLst>
            <pc:docMk/>
            <pc:sldMk cId="1845337448" sldId="10441"/>
            <ac:spMk id="88" creationId="{336D463B-B815-4500-8F61-78A091129044}"/>
          </ac:spMkLst>
        </pc:spChg>
        <pc:spChg chg="mod">
          <ac:chgData name="Ugo MANTEL" userId="2d5b7065-31bb-4181-a7f8-a73bf0c30211" providerId="ADAL" clId="{9344D105-636D-4857-BD0F-AFC44A54BCCF}" dt="2021-05-25T14:20:11.328" v="28039" actId="790"/>
          <ac:spMkLst>
            <pc:docMk/>
            <pc:sldMk cId="1845337448" sldId="10441"/>
            <ac:spMk id="90" creationId="{C1682200-357E-4434-8AD7-5A0786BF6D1B}"/>
          </ac:spMkLst>
        </pc:spChg>
        <pc:spChg chg="mod">
          <ac:chgData name="Ugo MANTEL" userId="2d5b7065-31bb-4181-a7f8-a73bf0c30211" providerId="ADAL" clId="{9344D105-636D-4857-BD0F-AFC44A54BCCF}" dt="2021-05-25T14:20:11.330" v="28042" actId="790"/>
          <ac:spMkLst>
            <pc:docMk/>
            <pc:sldMk cId="1845337448" sldId="10441"/>
            <ac:spMk id="96" creationId="{5BB653FA-7502-456B-9DD5-1867522D3A88}"/>
          </ac:spMkLst>
        </pc:spChg>
        <pc:spChg chg="mod">
          <ac:chgData name="Ugo MANTEL" userId="2d5b7065-31bb-4181-a7f8-a73bf0c30211" providerId="ADAL" clId="{9344D105-636D-4857-BD0F-AFC44A54BCCF}" dt="2021-05-25T14:20:11.316" v="28031" actId="790"/>
          <ac:spMkLst>
            <pc:docMk/>
            <pc:sldMk cId="1845337448" sldId="10441"/>
            <ac:spMk id="100" creationId="{EF6C7B41-C54E-4684-BB9A-36701E115EBF}"/>
          </ac:spMkLst>
        </pc:spChg>
        <pc:spChg chg="del mod">
          <ac:chgData name="Ugo MANTEL" userId="2d5b7065-31bb-4181-a7f8-a73bf0c30211" providerId="ADAL" clId="{9344D105-636D-4857-BD0F-AFC44A54BCCF}" dt="2021-05-25T07:51:30.766" v="11617" actId="478"/>
          <ac:spMkLst>
            <pc:docMk/>
            <pc:sldMk cId="1845337448" sldId="10441"/>
            <ac:spMk id="101" creationId="{8EB0214B-2FE2-432F-AA82-C10DEC9DB30E}"/>
          </ac:spMkLst>
        </pc:spChg>
        <pc:spChg chg="mod">
          <ac:chgData name="Ugo MANTEL" userId="2d5b7065-31bb-4181-a7f8-a73bf0c30211" providerId="ADAL" clId="{9344D105-636D-4857-BD0F-AFC44A54BCCF}" dt="2021-05-25T14:20:11.305" v="28016" actId="790"/>
          <ac:spMkLst>
            <pc:docMk/>
            <pc:sldMk cId="1845337448" sldId="10441"/>
            <ac:spMk id="107" creationId="{31D0AEAA-51DD-4312-8DD3-D5664A3B479D}"/>
          </ac:spMkLst>
        </pc:spChg>
        <pc:spChg chg="mod">
          <ac:chgData name="Ugo MANTEL" userId="2d5b7065-31bb-4181-a7f8-a73bf0c30211" providerId="ADAL" clId="{9344D105-636D-4857-BD0F-AFC44A54BCCF}" dt="2021-05-25T14:20:11.326" v="28036" actId="790"/>
          <ac:spMkLst>
            <pc:docMk/>
            <pc:sldMk cId="1845337448" sldId="10441"/>
            <ac:spMk id="108" creationId="{B4E79E7D-0395-4CE2-8F8E-F7FFDE4BA106}"/>
          </ac:spMkLst>
        </pc:spChg>
        <pc:spChg chg="mod">
          <ac:chgData name="Ugo MANTEL" userId="2d5b7065-31bb-4181-a7f8-a73bf0c30211" providerId="ADAL" clId="{9344D105-636D-4857-BD0F-AFC44A54BCCF}" dt="2021-05-25T14:20:11.328" v="28038" actId="790"/>
          <ac:spMkLst>
            <pc:docMk/>
            <pc:sldMk cId="1845337448" sldId="10441"/>
            <ac:spMk id="119" creationId="{EEF55E94-FD53-41D7-A423-6B56C40D88A1}"/>
          </ac:spMkLst>
        </pc:spChg>
        <pc:spChg chg="mod">
          <ac:chgData name="Ugo MANTEL" userId="2d5b7065-31bb-4181-a7f8-a73bf0c30211" providerId="ADAL" clId="{9344D105-636D-4857-BD0F-AFC44A54BCCF}" dt="2021-05-25T14:20:11.330" v="28041" actId="790"/>
          <ac:spMkLst>
            <pc:docMk/>
            <pc:sldMk cId="1845337448" sldId="10441"/>
            <ac:spMk id="120" creationId="{697B9F9F-BFD2-4BBC-A2BC-06F0D17B4298}"/>
          </ac:spMkLst>
        </pc:spChg>
        <pc:spChg chg="mod">
          <ac:chgData name="Ugo MANTEL" userId="2d5b7065-31bb-4181-a7f8-a73bf0c30211" providerId="ADAL" clId="{9344D105-636D-4857-BD0F-AFC44A54BCCF}" dt="2021-05-25T14:20:11.329" v="28040" actId="790"/>
          <ac:spMkLst>
            <pc:docMk/>
            <pc:sldMk cId="1845337448" sldId="10441"/>
            <ac:spMk id="122" creationId="{7ED4A8D8-06EE-4620-B65B-5E3B52A3ABAE}"/>
          </ac:spMkLst>
        </pc:spChg>
        <pc:spChg chg="mod">
          <ac:chgData name="Ugo MANTEL" userId="2d5b7065-31bb-4181-a7f8-a73bf0c30211" providerId="ADAL" clId="{9344D105-636D-4857-BD0F-AFC44A54BCCF}" dt="2021-05-25T14:20:11.331" v="28043" actId="790"/>
          <ac:spMkLst>
            <pc:docMk/>
            <pc:sldMk cId="1845337448" sldId="10441"/>
            <ac:spMk id="123" creationId="{CCD5F39F-64EB-4F4E-BE6B-002C617492EF}"/>
          </ac:spMkLst>
        </pc:spChg>
        <pc:spChg chg="mod">
          <ac:chgData name="Ugo MANTEL" userId="2d5b7065-31bb-4181-a7f8-a73bf0c30211" providerId="ADAL" clId="{9344D105-636D-4857-BD0F-AFC44A54BCCF}" dt="2021-05-25T14:20:11.341" v="28058" actId="790"/>
          <ac:spMkLst>
            <pc:docMk/>
            <pc:sldMk cId="1845337448" sldId="10441"/>
            <ac:spMk id="126" creationId="{E06ED3AF-AFD9-4773-A600-1A02210910C0}"/>
          </ac:spMkLst>
        </pc:spChg>
        <pc:spChg chg="add mod">
          <ac:chgData name="Ugo MANTEL" userId="2d5b7065-31bb-4181-a7f8-a73bf0c30211" providerId="ADAL" clId="{9344D105-636D-4857-BD0F-AFC44A54BCCF}" dt="2021-05-25T11:05:30.719" v="16327" actId="20577"/>
          <ac:spMkLst>
            <pc:docMk/>
            <pc:sldMk cId="1845337448" sldId="10441"/>
            <ac:spMk id="133" creationId="{24284652-47EB-43CC-87EB-BEEB65193ECD}"/>
          </ac:spMkLst>
        </pc:spChg>
        <pc:spChg chg="add mod">
          <ac:chgData name="Ugo MANTEL" userId="2d5b7065-31bb-4181-a7f8-a73bf0c30211" providerId="ADAL" clId="{9344D105-636D-4857-BD0F-AFC44A54BCCF}" dt="2021-05-25T11:14:54.441" v="17421" actId="1076"/>
          <ac:spMkLst>
            <pc:docMk/>
            <pc:sldMk cId="1845337448" sldId="10441"/>
            <ac:spMk id="135" creationId="{BEA4B1EB-1724-43B4-B472-FABCE6D3B8CD}"/>
          </ac:spMkLst>
        </pc:spChg>
        <pc:spChg chg="mod">
          <ac:chgData name="Ugo MANTEL" userId="2d5b7065-31bb-4181-a7f8-a73bf0c30211" providerId="ADAL" clId="{9344D105-636D-4857-BD0F-AFC44A54BCCF}" dt="2021-05-25T14:20:11.344" v="28060" actId="790"/>
          <ac:spMkLst>
            <pc:docMk/>
            <pc:sldMk cId="1845337448" sldId="10441"/>
            <ac:spMk id="138" creationId="{4EA20FC4-BD02-4A2A-B729-2FB8D8C2F641}"/>
          </ac:spMkLst>
        </pc:spChg>
        <pc:spChg chg="mod">
          <ac:chgData name="Ugo MANTEL" userId="2d5b7065-31bb-4181-a7f8-a73bf0c30211" providerId="ADAL" clId="{9344D105-636D-4857-BD0F-AFC44A54BCCF}" dt="2021-05-25T14:20:11.345" v="28061" actId="790"/>
          <ac:spMkLst>
            <pc:docMk/>
            <pc:sldMk cId="1845337448" sldId="10441"/>
            <ac:spMk id="139" creationId="{43174406-7F8F-43EB-A041-39BA3704E438}"/>
          </ac:spMkLst>
        </pc:spChg>
        <pc:spChg chg="del mod">
          <ac:chgData name="Ugo MANTEL" userId="2d5b7065-31bb-4181-a7f8-a73bf0c30211" providerId="ADAL" clId="{9344D105-636D-4857-BD0F-AFC44A54BCCF}" dt="2021-05-24T13:39:52.412" v="7519" actId="478"/>
          <ac:spMkLst>
            <pc:docMk/>
            <pc:sldMk cId="1845337448" sldId="10441"/>
            <ac:spMk id="141" creationId="{C19E2399-AA4C-4252-873E-38280C3DF296}"/>
          </ac:spMkLst>
        </pc:spChg>
        <pc:spChg chg="del mod">
          <ac:chgData name="Ugo MANTEL" userId="2d5b7065-31bb-4181-a7f8-a73bf0c30211" providerId="ADAL" clId="{9344D105-636D-4857-BD0F-AFC44A54BCCF}" dt="2021-05-24T13:39:52.412" v="7519" actId="478"/>
          <ac:spMkLst>
            <pc:docMk/>
            <pc:sldMk cId="1845337448" sldId="10441"/>
            <ac:spMk id="144" creationId="{1AE2D588-096B-4C4C-B474-EC3FF281ECD7}"/>
          </ac:spMkLst>
        </pc:spChg>
        <pc:spChg chg="del mod">
          <ac:chgData name="Ugo MANTEL" userId="2d5b7065-31bb-4181-a7f8-a73bf0c30211" providerId="ADAL" clId="{9344D105-636D-4857-BD0F-AFC44A54BCCF}" dt="2021-05-24T13:39:52.412" v="7519" actId="478"/>
          <ac:spMkLst>
            <pc:docMk/>
            <pc:sldMk cId="1845337448" sldId="10441"/>
            <ac:spMk id="146" creationId="{16575D1F-B714-4E35-B5DC-2A598E791BBC}"/>
          </ac:spMkLst>
        </pc:spChg>
        <pc:spChg chg="add mod">
          <ac:chgData name="Ugo MANTEL" userId="2d5b7065-31bb-4181-a7f8-a73bf0c30211" providerId="ADAL" clId="{9344D105-636D-4857-BD0F-AFC44A54BCCF}" dt="2021-05-25T13:42:05.437" v="20238"/>
          <ac:spMkLst>
            <pc:docMk/>
            <pc:sldMk cId="1845337448" sldId="10441"/>
            <ac:spMk id="146" creationId="{45837117-C7D9-4C78-AFF2-3F97A1E0F3DA}"/>
          </ac:spMkLst>
        </pc:spChg>
        <pc:spChg chg="del mod">
          <ac:chgData name="Ugo MANTEL" userId="2d5b7065-31bb-4181-a7f8-a73bf0c30211" providerId="ADAL" clId="{9344D105-636D-4857-BD0F-AFC44A54BCCF}" dt="2021-05-24T13:39:52.412" v="7519" actId="478"/>
          <ac:spMkLst>
            <pc:docMk/>
            <pc:sldMk cId="1845337448" sldId="10441"/>
            <ac:spMk id="153" creationId="{C4D2AEA3-DC3E-4430-855E-11D7FEBA0E01}"/>
          </ac:spMkLst>
        </pc:spChg>
        <pc:spChg chg="mod">
          <ac:chgData name="Ugo MANTEL" userId="2d5b7065-31bb-4181-a7f8-a73bf0c30211" providerId="ADAL" clId="{9344D105-636D-4857-BD0F-AFC44A54BCCF}" dt="2021-05-25T14:20:11.337" v="28052" actId="790"/>
          <ac:spMkLst>
            <pc:docMk/>
            <pc:sldMk cId="1845337448" sldId="10441"/>
            <ac:spMk id="154" creationId="{A7269958-7FC5-479F-B17B-49D115F118B6}"/>
          </ac:spMkLst>
        </pc:spChg>
        <pc:spChg chg="del mod">
          <ac:chgData name="Ugo MANTEL" userId="2d5b7065-31bb-4181-a7f8-a73bf0c30211" providerId="ADAL" clId="{9344D105-636D-4857-BD0F-AFC44A54BCCF}" dt="2021-05-24T13:39:52.412" v="7519" actId="478"/>
          <ac:spMkLst>
            <pc:docMk/>
            <pc:sldMk cId="1845337448" sldId="10441"/>
            <ac:spMk id="155" creationId="{24811E8C-1BDE-449F-8847-3DF240F42E2A}"/>
          </ac:spMkLst>
        </pc:spChg>
        <pc:spChg chg="add mod">
          <ac:chgData name="Ugo MANTEL" userId="2d5b7065-31bb-4181-a7f8-a73bf0c30211" providerId="ADAL" clId="{9344D105-636D-4857-BD0F-AFC44A54BCCF}" dt="2021-05-25T14:20:11.339" v="28055" actId="790"/>
          <ac:spMkLst>
            <pc:docMk/>
            <pc:sldMk cId="1845337448" sldId="10441"/>
            <ac:spMk id="156" creationId="{78B42A74-8402-46F7-85B4-4EA55358E9EE}"/>
          </ac:spMkLst>
        </pc:spChg>
        <pc:spChg chg="mod topLvl">
          <ac:chgData name="Ugo MANTEL" userId="2d5b7065-31bb-4181-a7f8-a73bf0c30211" providerId="ADAL" clId="{9344D105-636D-4857-BD0F-AFC44A54BCCF}" dt="2021-05-24T13:39:36.708" v="7514"/>
          <ac:spMkLst>
            <pc:docMk/>
            <pc:sldMk cId="1845337448" sldId="10441"/>
            <ac:spMk id="158" creationId="{018C1073-1707-42C1-9EB1-0419864D0894}"/>
          </ac:spMkLst>
        </pc:spChg>
        <pc:spChg chg="mod topLvl">
          <ac:chgData name="Ugo MANTEL" userId="2d5b7065-31bb-4181-a7f8-a73bf0c30211" providerId="ADAL" clId="{9344D105-636D-4857-BD0F-AFC44A54BCCF}" dt="2021-05-24T13:39:34.631" v="7512" actId="6549"/>
          <ac:spMkLst>
            <pc:docMk/>
            <pc:sldMk cId="1845337448" sldId="10441"/>
            <ac:spMk id="159" creationId="{1F60C19C-B20E-4713-B9B2-B460BB96CBCC}"/>
          </ac:spMkLst>
        </pc:spChg>
        <pc:spChg chg="mod topLvl">
          <ac:chgData name="Ugo MANTEL" userId="2d5b7065-31bb-4181-a7f8-a73bf0c30211" providerId="ADAL" clId="{9344D105-636D-4857-BD0F-AFC44A54BCCF}" dt="2021-05-24T13:39:23.179" v="7504"/>
          <ac:spMkLst>
            <pc:docMk/>
            <pc:sldMk cId="1845337448" sldId="10441"/>
            <ac:spMk id="160" creationId="{17966E04-7D6E-4A88-871C-02D8F9F76972}"/>
          </ac:spMkLst>
        </pc:spChg>
        <pc:spChg chg="mod topLvl">
          <ac:chgData name="Ugo MANTEL" userId="2d5b7065-31bb-4181-a7f8-a73bf0c30211" providerId="ADAL" clId="{9344D105-636D-4857-BD0F-AFC44A54BCCF}" dt="2021-05-25T14:20:11.340" v="28056" actId="790"/>
          <ac:spMkLst>
            <pc:docMk/>
            <pc:sldMk cId="1845337448" sldId="10441"/>
            <ac:spMk id="161" creationId="{B53FB642-A247-41DF-B8C1-743170CD37A4}"/>
          </ac:spMkLst>
        </pc:spChg>
        <pc:spChg chg="mod topLvl">
          <ac:chgData name="Ugo MANTEL" userId="2d5b7065-31bb-4181-a7f8-a73bf0c30211" providerId="ADAL" clId="{9344D105-636D-4857-BD0F-AFC44A54BCCF}" dt="2021-05-24T13:39:17.444" v="7500" actId="165"/>
          <ac:spMkLst>
            <pc:docMk/>
            <pc:sldMk cId="1845337448" sldId="10441"/>
            <ac:spMk id="162" creationId="{9F73F5EE-B015-43F6-8CCF-FE13D398FD9A}"/>
          </ac:spMkLst>
        </pc:spChg>
        <pc:spChg chg="mod topLvl">
          <ac:chgData name="Ugo MANTEL" userId="2d5b7065-31bb-4181-a7f8-a73bf0c30211" providerId="ADAL" clId="{9344D105-636D-4857-BD0F-AFC44A54BCCF}" dt="2021-05-24T13:39:26.171" v="7508"/>
          <ac:spMkLst>
            <pc:docMk/>
            <pc:sldMk cId="1845337448" sldId="10441"/>
            <ac:spMk id="163" creationId="{915CE087-6A01-4C8B-9F1A-FC807317FFA9}"/>
          </ac:spMkLst>
        </pc:spChg>
        <pc:spChg chg="mod">
          <ac:chgData name="Ugo MANTEL" userId="2d5b7065-31bb-4181-a7f8-a73bf0c30211" providerId="ADAL" clId="{9344D105-636D-4857-BD0F-AFC44A54BCCF}" dt="2021-05-25T14:20:11.332" v="28045" actId="790"/>
          <ac:spMkLst>
            <pc:docMk/>
            <pc:sldMk cId="1845337448" sldId="10441"/>
            <ac:spMk id="165" creationId="{C389F3EC-7313-454E-9942-F14FD0BD4C77}"/>
          </ac:spMkLst>
        </pc:spChg>
        <pc:spChg chg="mod">
          <ac:chgData name="Ugo MANTEL" userId="2d5b7065-31bb-4181-a7f8-a73bf0c30211" providerId="ADAL" clId="{9344D105-636D-4857-BD0F-AFC44A54BCCF}" dt="2021-05-25T14:20:11.333" v="28046" actId="790"/>
          <ac:spMkLst>
            <pc:docMk/>
            <pc:sldMk cId="1845337448" sldId="10441"/>
            <ac:spMk id="166" creationId="{A3938D6F-1923-42FF-B2ED-6C2BEA79BA03}"/>
          </ac:spMkLst>
        </pc:spChg>
        <pc:spChg chg="mod">
          <ac:chgData name="Ugo MANTEL" userId="2d5b7065-31bb-4181-a7f8-a73bf0c30211" providerId="ADAL" clId="{9344D105-636D-4857-BD0F-AFC44A54BCCF}" dt="2021-05-25T14:20:11.334" v="28047" actId="790"/>
          <ac:spMkLst>
            <pc:docMk/>
            <pc:sldMk cId="1845337448" sldId="10441"/>
            <ac:spMk id="168" creationId="{C423BD9F-9E4A-46B8-89D7-67C1FE84B168}"/>
          </ac:spMkLst>
        </pc:spChg>
        <pc:spChg chg="mod">
          <ac:chgData name="Ugo MANTEL" userId="2d5b7065-31bb-4181-a7f8-a73bf0c30211" providerId="ADAL" clId="{9344D105-636D-4857-BD0F-AFC44A54BCCF}" dt="2021-05-25T14:20:11.334" v="28048" actId="790"/>
          <ac:spMkLst>
            <pc:docMk/>
            <pc:sldMk cId="1845337448" sldId="10441"/>
            <ac:spMk id="169" creationId="{7881ABC3-A97B-4E90-939F-E48D9595FFFF}"/>
          </ac:spMkLst>
        </pc:spChg>
        <pc:spChg chg="mod">
          <ac:chgData name="Ugo MANTEL" userId="2d5b7065-31bb-4181-a7f8-a73bf0c30211" providerId="ADAL" clId="{9344D105-636D-4857-BD0F-AFC44A54BCCF}" dt="2021-05-25T14:20:11.335" v="28049" actId="790"/>
          <ac:spMkLst>
            <pc:docMk/>
            <pc:sldMk cId="1845337448" sldId="10441"/>
            <ac:spMk id="170" creationId="{A886CA56-9620-415B-9489-A004AB6EB706}"/>
          </ac:spMkLst>
        </pc:spChg>
        <pc:spChg chg="mod">
          <ac:chgData name="Ugo MANTEL" userId="2d5b7065-31bb-4181-a7f8-a73bf0c30211" providerId="ADAL" clId="{9344D105-636D-4857-BD0F-AFC44A54BCCF}" dt="2021-05-25T14:20:11.336" v="28050" actId="790"/>
          <ac:spMkLst>
            <pc:docMk/>
            <pc:sldMk cId="1845337448" sldId="10441"/>
            <ac:spMk id="171" creationId="{BCC6DEFD-6FEB-4777-9432-E3B2F5C51000}"/>
          </ac:spMkLst>
        </pc:spChg>
        <pc:spChg chg="mod">
          <ac:chgData name="Ugo MANTEL" userId="2d5b7065-31bb-4181-a7f8-a73bf0c30211" providerId="ADAL" clId="{9344D105-636D-4857-BD0F-AFC44A54BCCF}" dt="2021-05-25T14:20:11.336" v="28051" actId="790"/>
          <ac:spMkLst>
            <pc:docMk/>
            <pc:sldMk cId="1845337448" sldId="10441"/>
            <ac:spMk id="172" creationId="{04568322-5012-422B-991D-C9A4712E25C9}"/>
          </ac:spMkLst>
        </pc:spChg>
        <pc:spChg chg="mod">
          <ac:chgData name="Ugo MANTEL" userId="2d5b7065-31bb-4181-a7f8-a73bf0c30211" providerId="ADAL" clId="{9344D105-636D-4857-BD0F-AFC44A54BCCF}" dt="2021-05-25T14:20:11.337" v="28053" actId="790"/>
          <ac:spMkLst>
            <pc:docMk/>
            <pc:sldMk cId="1845337448" sldId="10441"/>
            <ac:spMk id="197" creationId="{EB1ED8EE-1371-4F31-B475-A7FD22F01C88}"/>
          </ac:spMkLst>
        </pc:spChg>
        <pc:spChg chg="mod">
          <ac:chgData name="Ugo MANTEL" userId="2d5b7065-31bb-4181-a7f8-a73bf0c30211" providerId="ADAL" clId="{9344D105-636D-4857-BD0F-AFC44A54BCCF}" dt="2021-05-25T14:20:11.338" v="28054" actId="790"/>
          <ac:spMkLst>
            <pc:docMk/>
            <pc:sldMk cId="1845337448" sldId="10441"/>
            <ac:spMk id="212" creationId="{F492C173-DFD6-47CF-9BB4-C8925127E1EE}"/>
          </ac:spMkLst>
        </pc:spChg>
        <pc:spChg chg="del">
          <ac:chgData name="Ugo MANTEL" userId="2d5b7065-31bb-4181-a7f8-a73bf0c30211" providerId="ADAL" clId="{9344D105-636D-4857-BD0F-AFC44A54BCCF}" dt="2021-05-25T13:42:05.097" v="20237" actId="478"/>
          <ac:spMkLst>
            <pc:docMk/>
            <pc:sldMk cId="1845337448" sldId="10441"/>
            <ac:spMk id="1025" creationId="{308FC967-D46E-4BB5-97B6-0297E9035F94}"/>
          </ac:spMkLst>
        </pc:spChg>
        <pc:spChg chg="mod">
          <ac:chgData name="Ugo MANTEL" userId="2d5b7065-31bb-4181-a7f8-a73bf0c30211" providerId="ADAL" clId="{9344D105-636D-4857-BD0F-AFC44A54BCCF}" dt="2021-05-25T14:20:11.324" v="28032" actId="790"/>
          <ac:spMkLst>
            <pc:docMk/>
            <pc:sldMk cId="1845337448" sldId="10441"/>
            <ac:spMk id="1035" creationId="{9164A53F-4711-41A4-BE3D-8D2F4243A495}"/>
          </ac:spMkLst>
        </pc:spChg>
        <pc:spChg chg="mod">
          <ac:chgData name="Ugo MANTEL" userId="2d5b7065-31bb-4181-a7f8-a73bf0c30211" providerId="ADAL" clId="{9344D105-636D-4857-BD0F-AFC44A54BCCF}" dt="2021-05-25T14:20:11.306" v="28017" actId="790"/>
          <ac:spMkLst>
            <pc:docMk/>
            <pc:sldMk cId="1845337448" sldId="10441"/>
            <ac:spMk id="4107" creationId="{EBC573C8-C4E3-432A-81F7-B99236DF594A}"/>
          </ac:spMkLst>
        </pc:spChg>
        <pc:grpChg chg="add del mod">
          <ac:chgData name="Ugo MANTEL" userId="2d5b7065-31bb-4181-a7f8-a73bf0c30211" providerId="ADAL" clId="{9344D105-636D-4857-BD0F-AFC44A54BCCF}" dt="2021-05-24T13:39:17.444" v="7500" actId="165"/>
          <ac:grpSpMkLst>
            <pc:docMk/>
            <pc:sldMk cId="1845337448" sldId="10441"/>
            <ac:grpSpMk id="157" creationId="{EBA903E7-3E52-4B8B-BD22-35FFAB3C9B0B}"/>
          </ac:grpSpMkLst>
        </pc:grpChg>
        <pc:picChg chg="del">
          <ac:chgData name="Ugo MANTEL" userId="2d5b7065-31bb-4181-a7f8-a73bf0c30211" providerId="ADAL" clId="{9344D105-636D-4857-BD0F-AFC44A54BCCF}" dt="2021-05-25T12:01:45.694" v="17658" actId="478"/>
          <ac:picMkLst>
            <pc:docMk/>
            <pc:sldMk cId="1845337448" sldId="10441"/>
            <ac:picMk id="14" creationId="{07DF01FF-E042-464B-8D89-C1DD5F2A3011}"/>
          </ac:picMkLst>
        </pc:picChg>
        <pc:picChg chg="del">
          <ac:chgData name="Ugo MANTEL" userId="2d5b7065-31bb-4181-a7f8-a73bf0c30211" providerId="ADAL" clId="{9344D105-636D-4857-BD0F-AFC44A54BCCF}" dt="2021-05-25T12:04:42.910" v="17671" actId="478"/>
          <ac:picMkLst>
            <pc:docMk/>
            <pc:sldMk cId="1845337448" sldId="10441"/>
            <ac:picMk id="140" creationId="{2EAD89C5-26FC-45ED-A1DA-748F4B83DD1B}"/>
          </ac:picMkLst>
        </pc:picChg>
        <pc:picChg chg="add mod">
          <ac:chgData name="Ugo MANTEL" userId="2d5b7065-31bb-4181-a7f8-a73bf0c30211" providerId="ADAL" clId="{9344D105-636D-4857-BD0F-AFC44A54BCCF}" dt="2021-05-25T12:01:55.162" v="17661" actId="12788"/>
          <ac:picMkLst>
            <pc:docMk/>
            <pc:sldMk cId="1845337448" sldId="10441"/>
            <ac:picMk id="141" creationId="{36F9EF7D-7AB8-49D2-9EC6-2189F6F67D32}"/>
          </ac:picMkLst>
        </pc:picChg>
        <pc:picChg chg="add mod">
          <ac:chgData name="Ugo MANTEL" userId="2d5b7065-31bb-4181-a7f8-a73bf0c30211" providerId="ADAL" clId="{9344D105-636D-4857-BD0F-AFC44A54BCCF}" dt="2021-05-25T12:04:43.283" v="17672"/>
          <ac:picMkLst>
            <pc:docMk/>
            <pc:sldMk cId="1845337448" sldId="10441"/>
            <ac:picMk id="144" creationId="{373DE498-E617-4BEE-B33D-37D1473B21DC}"/>
          </ac:picMkLst>
        </pc:picChg>
      </pc:sldChg>
      <pc:sldChg chg="addSp modSp mod">
        <pc:chgData name="Ugo MANTEL" userId="2d5b7065-31bb-4181-a7f8-a73bf0c30211" providerId="ADAL" clId="{9344D105-636D-4857-BD0F-AFC44A54BCCF}" dt="2021-05-25T14:20:12.665" v="29404" actId="790"/>
        <pc:sldMkLst>
          <pc:docMk/>
          <pc:sldMk cId="119867206" sldId="10442"/>
        </pc:sldMkLst>
        <pc:spChg chg="mod">
          <ac:chgData name="Ugo MANTEL" userId="2d5b7065-31bb-4181-a7f8-a73bf0c30211" providerId="ADAL" clId="{9344D105-636D-4857-BD0F-AFC44A54BCCF}" dt="2021-05-25T14:20:12.608" v="29349" actId="790"/>
          <ac:spMkLst>
            <pc:docMk/>
            <pc:sldMk cId="119867206" sldId="10442"/>
            <ac:spMk id="2" creationId="{65FB54C3-7A29-4F52-9D6B-AA323F834961}"/>
          </ac:spMkLst>
        </pc:spChg>
        <pc:spChg chg="add mod">
          <ac:chgData name="Ugo MANTEL" userId="2d5b7065-31bb-4181-a7f8-a73bf0c30211" providerId="ADAL" clId="{9344D105-636D-4857-BD0F-AFC44A54BCCF}" dt="2021-05-25T14:20:12.609" v="29350" actId="790"/>
          <ac:spMkLst>
            <pc:docMk/>
            <pc:sldMk cId="119867206" sldId="10442"/>
            <ac:spMk id="16" creationId="{E625AD53-64CF-42F3-AA64-D4ABD13045AB}"/>
          </ac:spMkLst>
        </pc:spChg>
        <pc:spChg chg="mod">
          <ac:chgData name="Ugo MANTEL" userId="2d5b7065-31bb-4181-a7f8-a73bf0c30211" providerId="ADAL" clId="{9344D105-636D-4857-BD0F-AFC44A54BCCF}" dt="2021-05-25T14:20:12.610" v="29351" actId="790"/>
          <ac:spMkLst>
            <pc:docMk/>
            <pc:sldMk cId="119867206" sldId="10442"/>
            <ac:spMk id="19" creationId="{CE784874-640E-4FCC-A7A8-772CCF499F02}"/>
          </ac:spMkLst>
        </pc:spChg>
        <pc:spChg chg="mod">
          <ac:chgData name="Ugo MANTEL" userId="2d5b7065-31bb-4181-a7f8-a73bf0c30211" providerId="ADAL" clId="{9344D105-636D-4857-BD0F-AFC44A54BCCF}" dt="2021-05-25T14:20:12.623" v="29367" actId="790"/>
          <ac:spMkLst>
            <pc:docMk/>
            <pc:sldMk cId="119867206" sldId="10442"/>
            <ac:spMk id="20" creationId="{D1FA0833-EFF2-4B7E-9171-123851B44050}"/>
          </ac:spMkLst>
        </pc:spChg>
        <pc:spChg chg="mod">
          <ac:chgData name="Ugo MANTEL" userId="2d5b7065-31bb-4181-a7f8-a73bf0c30211" providerId="ADAL" clId="{9344D105-636D-4857-BD0F-AFC44A54BCCF}" dt="2021-05-25T14:20:12.624" v="29369" actId="790"/>
          <ac:spMkLst>
            <pc:docMk/>
            <pc:sldMk cId="119867206" sldId="10442"/>
            <ac:spMk id="22" creationId="{F3C04D9E-BF7B-4E81-8F68-CB75E5A8639B}"/>
          </ac:spMkLst>
        </pc:spChg>
        <pc:spChg chg="mod">
          <ac:chgData name="Ugo MANTEL" userId="2d5b7065-31bb-4181-a7f8-a73bf0c30211" providerId="ADAL" clId="{9344D105-636D-4857-BD0F-AFC44A54BCCF}" dt="2021-05-25T14:20:12.626" v="29371" actId="790"/>
          <ac:spMkLst>
            <pc:docMk/>
            <pc:sldMk cId="119867206" sldId="10442"/>
            <ac:spMk id="23" creationId="{69708570-8585-4B93-8B60-BFE38DA082AC}"/>
          </ac:spMkLst>
        </pc:spChg>
        <pc:spChg chg="mod">
          <ac:chgData name="Ugo MANTEL" userId="2d5b7065-31bb-4181-a7f8-a73bf0c30211" providerId="ADAL" clId="{9344D105-636D-4857-BD0F-AFC44A54BCCF}" dt="2021-05-25T14:20:12.611" v="29352" actId="790"/>
          <ac:spMkLst>
            <pc:docMk/>
            <pc:sldMk cId="119867206" sldId="10442"/>
            <ac:spMk id="28" creationId="{138E85E6-5B09-4B9A-A67C-B8BF0299E406}"/>
          </ac:spMkLst>
        </pc:spChg>
        <pc:spChg chg="mod">
          <ac:chgData name="Ugo MANTEL" userId="2d5b7065-31bb-4181-a7f8-a73bf0c30211" providerId="ADAL" clId="{9344D105-636D-4857-BD0F-AFC44A54BCCF}" dt="2021-05-25T14:20:12.618" v="29361" actId="790"/>
          <ac:spMkLst>
            <pc:docMk/>
            <pc:sldMk cId="119867206" sldId="10442"/>
            <ac:spMk id="30" creationId="{3234BEDE-0EAA-43C8-B745-6264596C01F6}"/>
          </ac:spMkLst>
        </pc:spChg>
        <pc:spChg chg="mod">
          <ac:chgData name="Ugo MANTEL" userId="2d5b7065-31bb-4181-a7f8-a73bf0c30211" providerId="ADAL" clId="{9344D105-636D-4857-BD0F-AFC44A54BCCF}" dt="2021-05-25T14:20:12.620" v="29363" actId="790"/>
          <ac:spMkLst>
            <pc:docMk/>
            <pc:sldMk cId="119867206" sldId="10442"/>
            <ac:spMk id="31" creationId="{FBCCFBAE-290E-4D09-9A7A-6DD2B4B74D5E}"/>
          </ac:spMkLst>
        </pc:spChg>
        <pc:spChg chg="mod">
          <ac:chgData name="Ugo MANTEL" userId="2d5b7065-31bb-4181-a7f8-a73bf0c30211" providerId="ADAL" clId="{9344D105-636D-4857-BD0F-AFC44A54BCCF}" dt="2021-05-25T14:20:12.622" v="29365" actId="790"/>
          <ac:spMkLst>
            <pc:docMk/>
            <pc:sldMk cId="119867206" sldId="10442"/>
            <ac:spMk id="33" creationId="{D943280D-7597-44ED-8893-A5890193057B}"/>
          </ac:spMkLst>
        </pc:spChg>
        <pc:spChg chg="mod">
          <ac:chgData name="Ugo MANTEL" userId="2d5b7065-31bb-4181-a7f8-a73bf0c30211" providerId="ADAL" clId="{9344D105-636D-4857-BD0F-AFC44A54BCCF}" dt="2021-05-25T14:20:12.615" v="29357" actId="790"/>
          <ac:spMkLst>
            <pc:docMk/>
            <pc:sldMk cId="119867206" sldId="10442"/>
            <ac:spMk id="34" creationId="{4FDBDE50-D4D5-423B-89F8-28819E20B66A}"/>
          </ac:spMkLst>
        </pc:spChg>
        <pc:spChg chg="mod">
          <ac:chgData name="Ugo MANTEL" userId="2d5b7065-31bb-4181-a7f8-a73bf0c30211" providerId="ADAL" clId="{9344D105-636D-4857-BD0F-AFC44A54BCCF}" dt="2021-05-25T14:20:12.617" v="29359" actId="790"/>
          <ac:spMkLst>
            <pc:docMk/>
            <pc:sldMk cId="119867206" sldId="10442"/>
            <ac:spMk id="35" creationId="{04821F65-85B0-49C8-8185-2D9762D2388E}"/>
          </ac:spMkLst>
        </pc:spChg>
        <pc:spChg chg="mod">
          <ac:chgData name="Ugo MANTEL" userId="2d5b7065-31bb-4181-a7f8-a73bf0c30211" providerId="ADAL" clId="{9344D105-636D-4857-BD0F-AFC44A54BCCF}" dt="2021-05-25T14:20:12.613" v="29354" actId="790"/>
          <ac:spMkLst>
            <pc:docMk/>
            <pc:sldMk cId="119867206" sldId="10442"/>
            <ac:spMk id="36" creationId="{482A1232-234F-4E6C-ABD1-A62108139B77}"/>
          </ac:spMkLst>
        </pc:spChg>
        <pc:spChg chg="mod">
          <ac:chgData name="Ugo MANTEL" userId="2d5b7065-31bb-4181-a7f8-a73bf0c30211" providerId="ADAL" clId="{9344D105-636D-4857-BD0F-AFC44A54BCCF}" dt="2021-05-25T14:20:12.612" v="29353" actId="790"/>
          <ac:spMkLst>
            <pc:docMk/>
            <pc:sldMk cId="119867206" sldId="10442"/>
            <ac:spMk id="38" creationId="{044C8133-1CA2-451F-9021-BE7A6E1D59C4}"/>
          </ac:spMkLst>
        </pc:spChg>
        <pc:spChg chg="mod">
          <ac:chgData name="Ugo MANTEL" userId="2d5b7065-31bb-4181-a7f8-a73bf0c30211" providerId="ADAL" clId="{9344D105-636D-4857-BD0F-AFC44A54BCCF}" dt="2021-05-25T14:20:12.614" v="29355" actId="790"/>
          <ac:spMkLst>
            <pc:docMk/>
            <pc:sldMk cId="119867206" sldId="10442"/>
            <ac:spMk id="45" creationId="{3E502BB1-A8E8-4A13-9372-A8667C6FB05E}"/>
          </ac:spMkLst>
        </pc:spChg>
        <pc:spChg chg="mod">
          <ac:chgData name="Ugo MANTEL" userId="2d5b7065-31bb-4181-a7f8-a73bf0c30211" providerId="ADAL" clId="{9344D105-636D-4857-BD0F-AFC44A54BCCF}" dt="2021-05-25T14:20:12.614" v="29356" actId="790"/>
          <ac:spMkLst>
            <pc:docMk/>
            <pc:sldMk cId="119867206" sldId="10442"/>
            <ac:spMk id="53" creationId="{2D090911-243F-4A27-B4DB-205B60F55F47}"/>
          </ac:spMkLst>
        </pc:spChg>
        <pc:spChg chg="mod">
          <ac:chgData name="Ugo MANTEL" userId="2d5b7065-31bb-4181-a7f8-a73bf0c30211" providerId="ADAL" clId="{9344D105-636D-4857-BD0F-AFC44A54BCCF}" dt="2021-05-25T14:20:12.616" v="29358" actId="790"/>
          <ac:spMkLst>
            <pc:docMk/>
            <pc:sldMk cId="119867206" sldId="10442"/>
            <ac:spMk id="55" creationId="{22FD3FE4-143E-452C-8A68-21746130045F}"/>
          </ac:spMkLst>
        </pc:spChg>
        <pc:spChg chg="mod">
          <ac:chgData name="Ugo MANTEL" userId="2d5b7065-31bb-4181-a7f8-a73bf0c30211" providerId="ADAL" clId="{9344D105-636D-4857-BD0F-AFC44A54BCCF}" dt="2021-05-25T14:20:12.617" v="29360" actId="790"/>
          <ac:spMkLst>
            <pc:docMk/>
            <pc:sldMk cId="119867206" sldId="10442"/>
            <ac:spMk id="56" creationId="{33345204-2C0C-4D2E-A957-6156AE4001F9}"/>
          </ac:spMkLst>
        </pc:spChg>
        <pc:spChg chg="mod">
          <ac:chgData name="Ugo MANTEL" userId="2d5b7065-31bb-4181-a7f8-a73bf0c30211" providerId="ADAL" clId="{9344D105-636D-4857-BD0F-AFC44A54BCCF}" dt="2021-05-25T14:20:12.619" v="29362" actId="790"/>
          <ac:spMkLst>
            <pc:docMk/>
            <pc:sldMk cId="119867206" sldId="10442"/>
            <ac:spMk id="57" creationId="{4C0ABB09-009A-4915-B6C6-174B5F04C563}"/>
          </ac:spMkLst>
        </pc:spChg>
        <pc:spChg chg="mod">
          <ac:chgData name="Ugo MANTEL" userId="2d5b7065-31bb-4181-a7f8-a73bf0c30211" providerId="ADAL" clId="{9344D105-636D-4857-BD0F-AFC44A54BCCF}" dt="2021-05-25T14:20:12.621" v="29364" actId="790"/>
          <ac:spMkLst>
            <pc:docMk/>
            <pc:sldMk cId="119867206" sldId="10442"/>
            <ac:spMk id="58" creationId="{824D8A0B-4FEC-4235-92B9-B2E5612B441F}"/>
          </ac:spMkLst>
        </pc:spChg>
        <pc:spChg chg="mod">
          <ac:chgData name="Ugo MANTEL" userId="2d5b7065-31bb-4181-a7f8-a73bf0c30211" providerId="ADAL" clId="{9344D105-636D-4857-BD0F-AFC44A54BCCF}" dt="2021-05-25T14:20:12.622" v="29366" actId="790"/>
          <ac:spMkLst>
            <pc:docMk/>
            <pc:sldMk cId="119867206" sldId="10442"/>
            <ac:spMk id="59" creationId="{D24B7842-328D-4964-A761-7041F79F2020}"/>
          </ac:spMkLst>
        </pc:spChg>
        <pc:spChg chg="mod">
          <ac:chgData name="Ugo MANTEL" userId="2d5b7065-31bb-4181-a7f8-a73bf0c30211" providerId="ADAL" clId="{9344D105-636D-4857-BD0F-AFC44A54BCCF}" dt="2021-05-25T14:20:12.624" v="29368" actId="790"/>
          <ac:spMkLst>
            <pc:docMk/>
            <pc:sldMk cId="119867206" sldId="10442"/>
            <ac:spMk id="61" creationId="{2344C252-77C1-47F1-9695-C9D5C41D6734}"/>
          </ac:spMkLst>
        </pc:spChg>
        <pc:spChg chg="mod">
          <ac:chgData name="Ugo MANTEL" userId="2d5b7065-31bb-4181-a7f8-a73bf0c30211" providerId="ADAL" clId="{9344D105-636D-4857-BD0F-AFC44A54BCCF}" dt="2021-05-25T14:20:12.625" v="29370" actId="790"/>
          <ac:spMkLst>
            <pc:docMk/>
            <pc:sldMk cId="119867206" sldId="10442"/>
            <ac:spMk id="63" creationId="{2FE9B556-371C-4FD0-9F35-D909BFD38D55}"/>
          </ac:spMkLst>
        </pc:spChg>
        <pc:spChg chg="mod">
          <ac:chgData name="Ugo MANTEL" userId="2d5b7065-31bb-4181-a7f8-a73bf0c30211" providerId="ADAL" clId="{9344D105-636D-4857-BD0F-AFC44A54BCCF}" dt="2021-05-25T14:20:12.627" v="29372" actId="790"/>
          <ac:spMkLst>
            <pc:docMk/>
            <pc:sldMk cId="119867206" sldId="10442"/>
            <ac:spMk id="64" creationId="{26041E40-EA63-4937-8610-E0F42F136D9A}"/>
          </ac:spMkLst>
        </pc:spChg>
        <pc:spChg chg="mod">
          <ac:chgData name="Ugo MANTEL" userId="2d5b7065-31bb-4181-a7f8-a73bf0c30211" providerId="ADAL" clId="{9344D105-636D-4857-BD0F-AFC44A54BCCF}" dt="2021-05-25T14:20:12.665" v="29404" actId="790"/>
          <ac:spMkLst>
            <pc:docMk/>
            <pc:sldMk cId="119867206" sldId="10442"/>
            <ac:spMk id="95" creationId="{56206D67-3BB2-497F-AB77-ABD8C7C318BA}"/>
          </ac:spMkLst>
        </pc:spChg>
        <pc:spChg chg="mod">
          <ac:chgData name="Ugo MANTEL" userId="2d5b7065-31bb-4181-a7f8-a73bf0c30211" providerId="ADAL" clId="{9344D105-636D-4857-BD0F-AFC44A54BCCF}" dt="2021-05-25T14:20:12.628" v="29373" actId="790"/>
          <ac:spMkLst>
            <pc:docMk/>
            <pc:sldMk cId="119867206" sldId="10442"/>
            <ac:spMk id="104" creationId="{4533AB2B-0301-4919-81AB-4BE02FE8A291}"/>
          </ac:spMkLst>
        </pc:spChg>
        <pc:spChg chg="mod">
          <ac:chgData name="Ugo MANTEL" userId="2d5b7065-31bb-4181-a7f8-a73bf0c30211" providerId="ADAL" clId="{9344D105-636D-4857-BD0F-AFC44A54BCCF}" dt="2021-05-25T14:20:12.629" v="29374" actId="790"/>
          <ac:spMkLst>
            <pc:docMk/>
            <pc:sldMk cId="119867206" sldId="10442"/>
            <ac:spMk id="105" creationId="{B75BBABA-FB81-456B-BD42-DFD10AA7AE3B}"/>
          </ac:spMkLst>
        </pc:spChg>
        <pc:spChg chg="mod">
          <ac:chgData name="Ugo MANTEL" userId="2d5b7065-31bb-4181-a7f8-a73bf0c30211" providerId="ADAL" clId="{9344D105-636D-4857-BD0F-AFC44A54BCCF}" dt="2021-05-25T14:20:12.630" v="29375" actId="790"/>
          <ac:spMkLst>
            <pc:docMk/>
            <pc:sldMk cId="119867206" sldId="10442"/>
            <ac:spMk id="106" creationId="{A133B2BE-2068-4A99-9833-0DA5D8BC0137}"/>
          </ac:spMkLst>
        </pc:spChg>
        <pc:spChg chg="mod">
          <ac:chgData name="Ugo MANTEL" userId="2d5b7065-31bb-4181-a7f8-a73bf0c30211" providerId="ADAL" clId="{9344D105-636D-4857-BD0F-AFC44A54BCCF}" dt="2021-05-25T14:20:12.631" v="29376" actId="790"/>
          <ac:spMkLst>
            <pc:docMk/>
            <pc:sldMk cId="119867206" sldId="10442"/>
            <ac:spMk id="108" creationId="{F09EEB06-45F0-47E2-B53C-B3DD95201528}"/>
          </ac:spMkLst>
        </pc:spChg>
        <pc:spChg chg="mod">
          <ac:chgData name="Ugo MANTEL" userId="2d5b7065-31bb-4181-a7f8-a73bf0c30211" providerId="ADAL" clId="{9344D105-636D-4857-BD0F-AFC44A54BCCF}" dt="2021-05-25T14:20:12.632" v="29377" actId="790"/>
          <ac:spMkLst>
            <pc:docMk/>
            <pc:sldMk cId="119867206" sldId="10442"/>
            <ac:spMk id="109" creationId="{6E2B6BAA-BDFD-4BED-B53C-733E75F8298A}"/>
          </ac:spMkLst>
        </pc:spChg>
        <pc:spChg chg="mod">
          <ac:chgData name="Ugo MANTEL" userId="2d5b7065-31bb-4181-a7f8-a73bf0c30211" providerId="ADAL" clId="{9344D105-636D-4857-BD0F-AFC44A54BCCF}" dt="2021-05-25T14:20:12.634" v="29378" actId="790"/>
          <ac:spMkLst>
            <pc:docMk/>
            <pc:sldMk cId="119867206" sldId="10442"/>
            <ac:spMk id="110" creationId="{F899CAD4-8D7B-4725-8ACD-6E5C03C61B9B}"/>
          </ac:spMkLst>
        </pc:spChg>
        <pc:spChg chg="mod">
          <ac:chgData name="Ugo MANTEL" userId="2d5b7065-31bb-4181-a7f8-a73bf0c30211" providerId="ADAL" clId="{9344D105-636D-4857-BD0F-AFC44A54BCCF}" dt="2021-05-25T14:20:12.635" v="29379" actId="790"/>
          <ac:spMkLst>
            <pc:docMk/>
            <pc:sldMk cId="119867206" sldId="10442"/>
            <ac:spMk id="112" creationId="{891230FB-1862-448C-B85F-FFE2EADAC578}"/>
          </ac:spMkLst>
        </pc:spChg>
        <pc:spChg chg="mod">
          <ac:chgData name="Ugo MANTEL" userId="2d5b7065-31bb-4181-a7f8-a73bf0c30211" providerId="ADAL" clId="{9344D105-636D-4857-BD0F-AFC44A54BCCF}" dt="2021-05-25T14:20:12.636" v="29380" actId="790"/>
          <ac:spMkLst>
            <pc:docMk/>
            <pc:sldMk cId="119867206" sldId="10442"/>
            <ac:spMk id="113" creationId="{71A9A602-8981-4663-A273-24A1CB6A59CE}"/>
          </ac:spMkLst>
        </pc:spChg>
        <pc:spChg chg="mod">
          <ac:chgData name="Ugo MANTEL" userId="2d5b7065-31bb-4181-a7f8-a73bf0c30211" providerId="ADAL" clId="{9344D105-636D-4857-BD0F-AFC44A54BCCF}" dt="2021-05-25T14:20:12.636" v="29381" actId="790"/>
          <ac:spMkLst>
            <pc:docMk/>
            <pc:sldMk cId="119867206" sldId="10442"/>
            <ac:spMk id="129" creationId="{823B65AE-6671-43D3-A32F-C41395D3CB4C}"/>
          </ac:spMkLst>
        </pc:spChg>
        <pc:spChg chg="mod">
          <ac:chgData name="Ugo MANTEL" userId="2d5b7065-31bb-4181-a7f8-a73bf0c30211" providerId="ADAL" clId="{9344D105-636D-4857-BD0F-AFC44A54BCCF}" dt="2021-05-25T14:20:12.637" v="29382" actId="790"/>
          <ac:spMkLst>
            <pc:docMk/>
            <pc:sldMk cId="119867206" sldId="10442"/>
            <ac:spMk id="130" creationId="{7274C6BD-E1D3-4025-AEAC-93EF095573B3}"/>
          </ac:spMkLst>
        </pc:spChg>
        <pc:spChg chg="mod">
          <ac:chgData name="Ugo MANTEL" userId="2d5b7065-31bb-4181-a7f8-a73bf0c30211" providerId="ADAL" clId="{9344D105-636D-4857-BD0F-AFC44A54BCCF}" dt="2021-05-25T14:20:12.640" v="29383" actId="790"/>
          <ac:spMkLst>
            <pc:docMk/>
            <pc:sldMk cId="119867206" sldId="10442"/>
            <ac:spMk id="175" creationId="{5C2DEDAC-44EB-4334-9FDA-E49190484943}"/>
          </ac:spMkLst>
        </pc:spChg>
        <pc:spChg chg="mod">
          <ac:chgData name="Ugo MANTEL" userId="2d5b7065-31bb-4181-a7f8-a73bf0c30211" providerId="ADAL" clId="{9344D105-636D-4857-BD0F-AFC44A54BCCF}" dt="2021-05-25T14:20:12.640" v="29384" actId="790"/>
          <ac:spMkLst>
            <pc:docMk/>
            <pc:sldMk cId="119867206" sldId="10442"/>
            <ac:spMk id="176" creationId="{91408530-0C52-4970-8D86-5CE1F7C05DE8}"/>
          </ac:spMkLst>
        </pc:spChg>
        <pc:spChg chg="mod">
          <ac:chgData name="Ugo MANTEL" userId="2d5b7065-31bb-4181-a7f8-a73bf0c30211" providerId="ADAL" clId="{9344D105-636D-4857-BD0F-AFC44A54BCCF}" dt="2021-05-25T14:20:12.641" v="29385" actId="790"/>
          <ac:spMkLst>
            <pc:docMk/>
            <pc:sldMk cId="119867206" sldId="10442"/>
            <ac:spMk id="177" creationId="{4C7285FD-5877-4C09-A20C-3127954D24A7}"/>
          </ac:spMkLst>
        </pc:spChg>
        <pc:spChg chg="mod">
          <ac:chgData name="Ugo MANTEL" userId="2d5b7065-31bb-4181-a7f8-a73bf0c30211" providerId="ADAL" clId="{9344D105-636D-4857-BD0F-AFC44A54BCCF}" dt="2021-05-25T14:20:12.642" v="29386" actId="790"/>
          <ac:spMkLst>
            <pc:docMk/>
            <pc:sldMk cId="119867206" sldId="10442"/>
            <ac:spMk id="178" creationId="{D64EFAA4-6D69-4699-8A02-F0DB7533D687}"/>
          </ac:spMkLst>
        </pc:spChg>
        <pc:spChg chg="mod">
          <ac:chgData name="Ugo MANTEL" userId="2d5b7065-31bb-4181-a7f8-a73bf0c30211" providerId="ADAL" clId="{9344D105-636D-4857-BD0F-AFC44A54BCCF}" dt="2021-05-25T14:20:12.642" v="29387" actId="790"/>
          <ac:spMkLst>
            <pc:docMk/>
            <pc:sldMk cId="119867206" sldId="10442"/>
            <ac:spMk id="181" creationId="{5A48DF51-841E-4C28-8685-6DEC806A15D8}"/>
          </ac:spMkLst>
        </pc:spChg>
        <pc:spChg chg="mod">
          <ac:chgData name="Ugo MANTEL" userId="2d5b7065-31bb-4181-a7f8-a73bf0c30211" providerId="ADAL" clId="{9344D105-636D-4857-BD0F-AFC44A54BCCF}" dt="2021-05-25T14:20:12.643" v="29388" actId="790"/>
          <ac:spMkLst>
            <pc:docMk/>
            <pc:sldMk cId="119867206" sldId="10442"/>
            <ac:spMk id="182" creationId="{76599DB5-B50D-4D47-A7C5-E17568B9C49D}"/>
          </ac:spMkLst>
        </pc:spChg>
        <pc:spChg chg="mod">
          <ac:chgData name="Ugo MANTEL" userId="2d5b7065-31bb-4181-a7f8-a73bf0c30211" providerId="ADAL" clId="{9344D105-636D-4857-BD0F-AFC44A54BCCF}" dt="2021-05-25T14:20:12.648" v="29389" actId="790"/>
          <ac:spMkLst>
            <pc:docMk/>
            <pc:sldMk cId="119867206" sldId="10442"/>
            <ac:spMk id="202" creationId="{7AEDB99C-DE6E-44A0-96B3-4866C7E1A7D2}"/>
          </ac:spMkLst>
        </pc:spChg>
        <pc:spChg chg="mod">
          <ac:chgData name="Ugo MANTEL" userId="2d5b7065-31bb-4181-a7f8-a73bf0c30211" providerId="ADAL" clId="{9344D105-636D-4857-BD0F-AFC44A54BCCF}" dt="2021-05-25T14:20:12.649" v="29390" actId="790"/>
          <ac:spMkLst>
            <pc:docMk/>
            <pc:sldMk cId="119867206" sldId="10442"/>
            <ac:spMk id="203" creationId="{188A6C56-2174-4152-976A-6D8A2575B158}"/>
          </ac:spMkLst>
        </pc:spChg>
        <pc:spChg chg="mod">
          <ac:chgData name="Ugo MANTEL" userId="2d5b7065-31bb-4181-a7f8-a73bf0c30211" providerId="ADAL" clId="{9344D105-636D-4857-BD0F-AFC44A54BCCF}" dt="2021-05-25T14:20:12.649" v="29391" actId="790"/>
          <ac:spMkLst>
            <pc:docMk/>
            <pc:sldMk cId="119867206" sldId="10442"/>
            <ac:spMk id="204" creationId="{DD0C0FD2-5C64-4550-AD6C-2FE2255D828D}"/>
          </ac:spMkLst>
        </pc:spChg>
        <pc:spChg chg="mod">
          <ac:chgData name="Ugo MANTEL" userId="2d5b7065-31bb-4181-a7f8-a73bf0c30211" providerId="ADAL" clId="{9344D105-636D-4857-BD0F-AFC44A54BCCF}" dt="2021-05-25T14:20:12.650" v="29392" actId="790"/>
          <ac:spMkLst>
            <pc:docMk/>
            <pc:sldMk cId="119867206" sldId="10442"/>
            <ac:spMk id="206" creationId="{E74E2BC6-B95F-4767-B3ED-44D142CD7092}"/>
          </ac:spMkLst>
        </pc:spChg>
        <pc:spChg chg="mod">
          <ac:chgData name="Ugo MANTEL" userId="2d5b7065-31bb-4181-a7f8-a73bf0c30211" providerId="ADAL" clId="{9344D105-636D-4857-BD0F-AFC44A54BCCF}" dt="2021-05-25T14:20:12.651" v="29393" actId="790"/>
          <ac:spMkLst>
            <pc:docMk/>
            <pc:sldMk cId="119867206" sldId="10442"/>
            <ac:spMk id="209" creationId="{F4CE7B0C-5294-4930-B5A4-B333C27010D3}"/>
          </ac:spMkLst>
        </pc:spChg>
        <pc:spChg chg="mod">
          <ac:chgData name="Ugo MANTEL" userId="2d5b7065-31bb-4181-a7f8-a73bf0c30211" providerId="ADAL" clId="{9344D105-636D-4857-BD0F-AFC44A54BCCF}" dt="2021-05-25T14:20:12.651" v="29394" actId="790"/>
          <ac:spMkLst>
            <pc:docMk/>
            <pc:sldMk cId="119867206" sldId="10442"/>
            <ac:spMk id="210" creationId="{9DAE5F46-A6B4-4B74-8576-ABA442D6A216}"/>
          </ac:spMkLst>
        </pc:spChg>
        <pc:spChg chg="mod">
          <ac:chgData name="Ugo MANTEL" userId="2d5b7065-31bb-4181-a7f8-a73bf0c30211" providerId="ADAL" clId="{9344D105-636D-4857-BD0F-AFC44A54BCCF}" dt="2021-05-25T14:20:12.652" v="29395" actId="790"/>
          <ac:spMkLst>
            <pc:docMk/>
            <pc:sldMk cId="119867206" sldId="10442"/>
            <ac:spMk id="212" creationId="{FACEDCAC-5D6C-4607-8510-1FE1033318FA}"/>
          </ac:spMkLst>
        </pc:spChg>
        <pc:spChg chg="mod">
          <ac:chgData name="Ugo MANTEL" userId="2d5b7065-31bb-4181-a7f8-a73bf0c30211" providerId="ADAL" clId="{9344D105-636D-4857-BD0F-AFC44A54BCCF}" dt="2021-05-25T14:20:12.653" v="29396" actId="790"/>
          <ac:spMkLst>
            <pc:docMk/>
            <pc:sldMk cId="119867206" sldId="10442"/>
            <ac:spMk id="213" creationId="{7C91C66F-61E5-43C3-8903-04464463B492}"/>
          </ac:spMkLst>
        </pc:spChg>
        <pc:spChg chg="mod">
          <ac:chgData name="Ugo MANTEL" userId="2d5b7065-31bb-4181-a7f8-a73bf0c30211" providerId="ADAL" clId="{9344D105-636D-4857-BD0F-AFC44A54BCCF}" dt="2021-05-25T14:20:12.655" v="29397" actId="790"/>
          <ac:spMkLst>
            <pc:docMk/>
            <pc:sldMk cId="119867206" sldId="10442"/>
            <ac:spMk id="221" creationId="{8379F084-8F95-415E-B6D7-CFB4E7A3FBC3}"/>
          </ac:spMkLst>
        </pc:spChg>
        <pc:spChg chg="mod">
          <ac:chgData name="Ugo MANTEL" userId="2d5b7065-31bb-4181-a7f8-a73bf0c30211" providerId="ADAL" clId="{9344D105-636D-4857-BD0F-AFC44A54BCCF}" dt="2021-05-25T14:20:12.656" v="29398" actId="790"/>
          <ac:spMkLst>
            <pc:docMk/>
            <pc:sldMk cId="119867206" sldId="10442"/>
            <ac:spMk id="222" creationId="{157E94B0-0409-44CE-B65C-7866FFC77D20}"/>
          </ac:spMkLst>
        </pc:spChg>
        <pc:spChg chg="mod">
          <ac:chgData name="Ugo MANTEL" userId="2d5b7065-31bb-4181-a7f8-a73bf0c30211" providerId="ADAL" clId="{9344D105-636D-4857-BD0F-AFC44A54BCCF}" dt="2021-05-25T14:20:12.657" v="29399" actId="790"/>
          <ac:spMkLst>
            <pc:docMk/>
            <pc:sldMk cId="119867206" sldId="10442"/>
            <ac:spMk id="223" creationId="{59ED9AFD-7240-46F5-B8E5-2E05AA930F79}"/>
          </ac:spMkLst>
        </pc:spChg>
        <pc:spChg chg="mod">
          <ac:chgData name="Ugo MANTEL" userId="2d5b7065-31bb-4181-a7f8-a73bf0c30211" providerId="ADAL" clId="{9344D105-636D-4857-BD0F-AFC44A54BCCF}" dt="2021-05-25T14:20:12.657" v="29400" actId="790"/>
          <ac:spMkLst>
            <pc:docMk/>
            <pc:sldMk cId="119867206" sldId="10442"/>
            <ac:spMk id="224" creationId="{0F99E4E2-C619-4FF5-88D4-C03F403E16A2}"/>
          </ac:spMkLst>
        </pc:spChg>
        <pc:spChg chg="mod">
          <ac:chgData name="Ugo MANTEL" userId="2d5b7065-31bb-4181-a7f8-a73bf0c30211" providerId="ADAL" clId="{9344D105-636D-4857-BD0F-AFC44A54BCCF}" dt="2021-05-25T14:20:12.662" v="29401" actId="790"/>
          <ac:spMkLst>
            <pc:docMk/>
            <pc:sldMk cId="119867206" sldId="10442"/>
            <ac:spMk id="238" creationId="{976BB76C-7D05-41FD-8AE5-B595546207B4}"/>
          </ac:spMkLst>
        </pc:spChg>
        <pc:spChg chg="mod">
          <ac:chgData name="Ugo MANTEL" userId="2d5b7065-31bb-4181-a7f8-a73bf0c30211" providerId="ADAL" clId="{9344D105-636D-4857-BD0F-AFC44A54BCCF}" dt="2021-05-25T14:20:12.663" v="29402" actId="790"/>
          <ac:spMkLst>
            <pc:docMk/>
            <pc:sldMk cId="119867206" sldId="10442"/>
            <ac:spMk id="239" creationId="{3BF5477F-7E89-4507-B592-C57D6A65E6E7}"/>
          </ac:spMkLst>
        </pc:spChg>
        <pc:spChg chg="mod">
          <ac:chgData name="Ugo MANTEL" userId="2d5b7065-31bb-4181-a7f8-a73bf0c30211" providerId="ADAL" clId="{9344D105-636D-4857-BD0F-AFC44A54BCCF}" dt="2021-05-25T14:20:12.664" v="29403" actId="790"/>
          <ac:spMkLst>
            <pc:docMk/>
            <pc:sldMk cId="119867206" sldId="10442"/>
            <ac:spMk id="240" creationId="{E26E8541-5CB2-40C9-A7FD-2B9BAF28C0AA}"/>
          </ac:spMkLst>
        </pc:spChg>
      </pc:sldChg>
      <pc:sldChg chg="addSp delSp modSp mod ord">
        <pc:chgData name="Ugo MANTEL" userId="2d5b7065-31bb-4181-a7f8-a73bf0c30211" providerId="ADAL" clId="{9344D105-636D-4857-BD0F-AFC44A54BCCF}" dt="2021-05-25T14:20:11.401" v="28116" actId="790"/>
        <pc:sldMkLst>
          <pc:docMk/>
          <pc:sldMk cId="3186676131" sldId="10444"/>
        </pc:sldMkLst>
        <pc:spChg chg="mod">
          <ac:chgData name="Ugo MANTEL" userId="2d5b7065-31bb-4181-a7f8-a73bf0c30211" providerId="ADAL" clId="{9344D105-636D-4857-BD0F-AFC44A54BCCF}" dt="2021-05-25T14:20:11.351" v="28067" actId="790"/>
          <ac:spMkLst>
            <pc:docMk/>
            <pc:sldMk cId="3186676131" sldId="10444"/>
            <ac:spMk id="2" creationId="{1B8B41D0-3B5A-41F2-BD36-274CA5605C3A}"/>
          </ac:spMkLst>
        </pc:spChg>
        <pc:spChg chg="mod">
          <ac:chgData name="Ugo MANTEL" userId="2d5b7065-31bb-4181-a7f8-a73bf0c30211" providerId="ADAL" clId="{9344D105-636D-4857-BD0F-AFC44A54BCCF}" dt="2021-05-25T14:20:11.376" v="28096" actId="790"/>
          <ac:spMkLst>
            <pc:docMk/>
            <pc:sldMk cId="3186676131" sldId="10444"/>
            <ac:spMk id="3" creationId="{F2961EB7-FC0B-4AEF-8BF3-7969101BE0A7}"/>
          </ac:spMkLst>
        </pc:spChg>
        <pc:spChg chg="mod">
          <ac:chgData name="Ugo MANTEL" userId="2d5b7065-31bb-4181-a7f8-a73bf0c30211" providerId="ADAL" clId="{9344D105-636D-4857-BD0F-AFC44A54BCCF}" dt="2021-05-25T14:20:11.346" v="28062" actId="790"/>
          <ac:spMkLst>
            <pc:docMk/>
            <pc:sldMk cId="3186676131" sldId="10444"/>
            <ac:spMk id="4" creationId="{43E0D5C7-0986-42B1-8E8C-7B58D0CBD773}"/>
          </ac:spMkLst>
        </pc:spChg>
        <pc:spChg chg="mod">
          <ac:chgData name="Ugo MANTEL" userId="2d5b7065-31bb-4181-a7f8-a73bf0c30211" providerId="ADAL" clId="{9344D105-636D-4857-BD0F-AFC44A54BCCF}" dt="2021-05-25T14:20:11.352" v="28068" actId="790"/>
          <ac:spMkLst>
            <pc:docMk/>
            <pc:sldMk cId="3186676131" sldId="10444"/>
            <ac:spMk id="5" creationId="{32E0BE14-B2E8-4A96-ADE4-0BE247A47D79}"/>
          </ac:spMkLst>
        </pc:spChg>
        <pc:spChg chg="mod">
          <ac:chgData name="Ugo MANTEL" userId="2d5b7065-31bb-4181-a7f8-a73bf0c30211" providerId="ADAL" clId="{9344D105-636D-4857-BD0F-AFC44A54BCCF}" dt="2021-05-25T14:20:11.353" v="28069" actId="790"/>
          <ac:spMkLst>
            <pc:docMk/>
            <pc:sldMk cId="3186676131" sldId="10444"/>
            <ac:spMk id="6" creationId="{8AEA1672-C0F9-4DB2-A6F4-76831980F749}"/>
          </ac:spMkLst>
        </pc:spChg>
        <pc:spChg chg="mod">
          <ac:chgData name="Ugo MANTEL" userId="2d5b7065-31bb-4181-a7f8-a73bf0c30211" providerId="ADAL" clId="{9344D105-636D-4857-BD0F-AFC44A54BCCF}" dt="2021-05-25T14:20:11.348" v="28065" actId="790"/>
          <ac:spMkLst>
            <pc:docMk/>
            <pc:sldMk cId="3186676131" sldId="10444"/>
            <ac:spMk id="7" creationId="{064EAC16-1947-4EB5-B699-F79BA984701D}"/>
          </ac:spMkLst>
        </pc:spChg>
        <pc:spChg chg="mod">
          <ac:chgData name="Ugo MANTEL" userId="2d5b7065-31bb-4181-a7f8-a73bf0c30211" providerId="ADAL" clId="{9344D105-636D-4857-BD0F-AFC44A54BCCF}" dt="2021-05-25T14:20:11.349" v="28066" actId="790"/>
          <ac:spMkLst>
            <pc:docMk/>
            <pc:sldMk cId="3186676131" sldId="10444"/>
            <ac:spMk id="8" creationId="{17235FB0-B480-4F11-BAB2-ECCE97A0AE35}"/>
          </ac:spMkLst>
        </pc:spChg>
        <pc:spChg chg="mod">
          <ac:chgData name="Ugo MANTEL" userId="2d5b7065-31bb-4181-a7f8-a73bf0c30211" providerId="ADAL" clId="{9344D105-636D-4857-BD0F-AFC44A54BCCF}" dt="2021-05-25T14:20:11.353" v="28070" actId="790"/>
          <ac:spMkLst>
            <pc:docMk/>
            <pc:sldMk cId="3186676131" sldId="10444"/>
            <ac:spMk id="9" creationId="{E57AC7D2-FC03-4826-B2B4-B86B10C8A912}"/>
          </ac:spMkLst>
        </pc:spChg>
        <pc:spChg chg="mod">
          <ac:chgData name="Ugo MANTEL" userId="2d5b7065-31bb-4181-a7f8-a73bf0c30211" providerId="ADAL" clId="{9344D105-636D-4857-BD0F-AFC44A54BCCF}" dt="2021-05-25T14:20:11.369" v="28083" actId="790"/>
          <ac:spMkLst>
            <pc:docMk/>
            <pc:sldMk cId="3186676131" sldId="10444"/>
            <ac:spMk id="10" creationId="{EC4BC8E5-CDE6-4BDA-8B1B-E89284306AC8}"/>
          </ac:spMkLst>
        </pc:spChg>
        <pc:spChg chg="mod">
          <ac:chgData name="Ugo MANTEL" userId="2d5b7065-31bb-4181-a7f8-a73bf0c30211" providerId="ADAL" clId="{9344D105-636D-4857-BD0F-AFC44A54BCCF}" dt="2021-05-25T14:20:11.377" v="28097" actId="790"/>
          <ac:spMkLst>
            <pc:docMk/>
            <pc:sldMk cId="3186676131" sldId="10444"/>
            <ac:spMk id="12" creationId="{06146879-726F-492D-B854-B9E140208671}"/>
          </ac:spMkLst>
        </pc:spChg>
        <pc:spChg chg="mod">
          <ac:chgData name="Ugo MANTEL" userId="2d5b7065-31bb-4181-a7f8-a73bf0c30211" providerId="ADAL" clId="{9344D105-636D-4857-BD0F-AFC44A54BCCF}" dt="2021-05-25T14:20:11.380" v="28103" actId="790"/>
          <ac:spMkLst>
            <pc:docMk/>
            <pc:sldMk cId="3186676131" sldId="10444"/>
            <ac:spMk id="13" creationId="{E9F049B4-9F79-4754-AA4A-B557B2A6D3C9}"/>
          </ac:spMkLst>
        </pc:spChg>
        <pc:spChg chg="mod">
          <ac:chgData name="Ugo MANTEL" userId="2d5b7065-31bb-4181-a7f8-a73bf0c30211" providerId="ADAL" clId="{9344D105-636D-4857-BD0F-AFC44A54BCCF}" dt="2021-05-25T14:20:11.367" v="28079" actId="790"/>
          <ac:spMkLst>
            <pc:docMk/>
            <pc:sldMk cId="3186676131" sldId="10444"/>
            <ac:spMk id="18" creationId="{E5E5B17C-AF5B-4FCB-935E-796FE66056AC}"/>
          </ac:spMkLst>
        </pc:spChg>
        <pc:spChg chg="mod">
          <ac:chgData name="Ugo MANTEL" userId="2d5b7065-31bb-4181-a7f8-a73bf0c30211" providerId="ADAL" clId="{9344D105-636D-4857-BD0F-AFC44A54BCCF}" dt="2021-05-25T14:20:11.354" v="28071" actId="790"/>
          <ac:spMkLst>
            <pc:docMk/>
            <pc:sldMk cId="3186676131" sldId="10444"/>
            <ac:spMk id="19" creationId="{D183DC4A-A310-4818-8DE5-DD81DA31ACA2}"/>
          </ac:spMkLst>
        </pc:spChg>
        <pc:spChg chg="mod">
          <ac:chgData name="Ugo MANTEL" userId="2d5b7065-31bb-4181-a7f8-a73bf0c30211" providerId="ADAL" clId="{9344D105-636D-4857-BD0F-AFC44A54BCCF}" dt="2021-05-25T14:20:11.355" v="28072" actId="790"/>
          <ac:spMkLst>
            <pc:docMk/>
            <pc:sldMk cId="3186676131" sldId="10444"/>
            <ac:spMk id="20" creationId="{54E8F179-87EF-4A92-9C29-92D7E20EB946}"/>
          </ac:spMkLst>
        </pc:spChg>
        <pc:spChg chg="mod">
          <ac:chgData name="Ugo MANTEL" userId="2d5b7065-31bb-4181-a7f8-a73bf0c30211" providerId="ADAL" clId="{9344D105-636D-4857-BD0F-AFC44A54BCCF}" dt="2021-05-25T14:20:11.355" v="28073" actId="790"/>
          <ac:spMkLst>
            <pc:docMk/>
            <pc:sldMk cId="3186676131" sldId="10444"/>
            <ac:spMk id="21" creationId="{44BA4EC0-19D7-41DC-B319-396D8267BC37}"/>
          </ac:spMkLst>
        </pc:spChg>
        <pc:spChg chg="mod">
          <ac:chgData name="Ugo MANTEL" userId="2d5b7065-31bb-4181-a7f8-a73bf0c30211" providerId="ADAL" clId="{9344D105-636D-4857-BD0F-AFC44A54BCCF}" dt="2021-05-25T14:20:11.356" v="28074" actId="790"/>
          <ac:spMkLst>
            <pc:docMk/>
            <pc:sldMk cId="3186676131" sldId="10444"/>
            <ac:spMk id="22" creationId="{43B8FABF-5816-42AC-8939-29224794884E}"/>
          </ac:spMkLst>
        </pc:spChg>
        <pc:spChg chg="mod">
          <ac:chgData name="Ugo MANTEL" userId="2d5b7065-31bb-4181-a7f8-a73bf0c30211" providerId="ADAL" clId="{9344D105-636D-4857-BD0F-AFC44A54BCCF}" dt="2021-05-25T14:20:11.395" v="28109" actId="790"/>
          <ac:spMkLst>
            <pc:docMk/>
            <pc:sldMk cId="3186676131" sldId="10444"/>
            <ac:spMk id="29" creationId="{D4661B80-5EE1-48F5-BFBD-98AF2499F029}"/>
          </ac:spMkLst>
        </pc:spChg>
        <pc:spChg chg="mod">
          <ac:chgData name="Ugo MANTEL" userId="2d5b7065-31bb-4181-a7f8-a73bf0c30211" providerId="ADAL" clId="{9344D105-636D-4857-BD0F-AFC44A54BCCF}" dt="2021-05-25T14:20:11.367" v="28080" actId="790"/>
          <ac:spMkLst>
            <pc:docMk/>
            <pc:sldMk cId="3186676131" sldId="10444"/>
            <ac:spMk id="33" creationId="{243F8FAD-0118-4F1B-B40B-A7D84FD36396}"/>
          </ac:spMkLst>
        </pc:spChg>
        <pc:spChg chg="mod">
          <ac:chgData name="Ugo MANTEL" userId="2d5b7065-31bb-4181-a7f8-a73bf0c30211" providerId="ADAL" clId="{9344D105-636D-4857-BD0F-AFC44A54BCCF}" dt="2021-05-25T14:20:11.356" v="28075" actId="790"/>
          <ac:spMkLst>
            <pc:docMk/>
            <pc:sldMk cId="3186676131" sldId="10444"/>
            <ac:spMk id="47" creationId="{9E10C541-E455-4AF2-AA1A-715E3DF2DDC1}"/>
          </ac:spMkLst>
        </pc:spChg>
        <pc:spChg chg="mod">
          <ac:chgData name="Ugo MANTEL" userId="2d5b7065-31bb-4181-a7f8-a73bf0c30211" providerId="ADAL" clId="{9344D105-636D-4857-BD0F-AFC44A54BCCF}" dt="2021-05-25T14:20:11.357" v="28076" actId="790"/>
          <ac:spMkLst>
            <pc:docMk/>
            <pc:sldMk cId="3186676131" sldId="10444"/>
            <ac:spMk id="49" creationId="{B10468A4-1BAC-4153-BC9A-99B8715C0AD1}"/>
          </ac:spMkLst>
        </pc:spChg>
        <pc:spChg chg="mod">
          <ac:chgData name="Ugo MANTEL" userId="2d5b7065-31bb-4181-a7f8-a73bf0c30211" providerId="ADAL" clId="{9344D105-636D-4857-BD0F-AFC44A54BCCF}" dt="2021-05-25T14:20:11.377" v="28098" actId="790"/>
          <ac:spMkLst>
            <pc:docMk/>
            <pc:sldMk cId="3186676131" sldId="10444"/>
            <ac:spMk id="50" creationId="{06AD3339-7557-4559-B2EA-6A391CF2BF0C}"/>
          </ac:spMkLst>
        </pc:spChg>
        <pc:spChg chg="mod">
          <ac:chgData name="Ugo MANTEL" userId="2d5b7065-31bb-4181-a7f8-a73bf0c30211" providerId="ADAL" clId="{9344D105-636D-4857-BD0F-AFC44A54BCCF}" dt="2021-05-25T14:20:11.368" v="28081" actId="790"/>
          <ac:spMkLst>
            <pc:docMk/>
            <pc:sldMk cId="3186676131" sldId="10444"/>
            <ac:spMk id="88" creationId="{336D463B-B815-4500-8F61-78A091129044}"/>
          </ac:spMkLst>
        </pc:spChg>
        <pc:spChg chg="mod">
          <ac:chgData name="Ugo MANTEL" userId="2d5b7065-31bb-4181-a7f8-a73bf0c30211" providerId="ADAL" clId="{9344D105-636D-4857-BD0F-AFC44A54BCCF}" dt="2021-05-25T14:20:11.370" v="28085" actId="790"/>
          <ac:spMkLst>
            <pc:docMk/>
            <pc:sldMk cId="3186676131" sldId="10444"/>
            <ac:spMk id="90" creationId="{C1682200-357E-4434-8AD7-5A0786BF6D1B}"/>
          </ac:spMkLst>
        </pc:spChg>
        <pc:spChg chg="mod">
          <ac:chgData name="Ugo MANTEL" userId="2d5b7065-31bb-4181-a7f8-a73bf0c30211" providerId="ADAL" clId="{9344D105-636D-4857-BD0F-AFC44A54BCCF}" dt="2021-05-25T14:20:11.379" v="28101" actId="790"/>
          <ac:spMkLst>
            <pc:docMk/>
            <pc:sldMk cId="3186676131" sldId="10444"/>
            <ac:spMk id="96" creationId="{5BB653FA-7502-456B-9DD5-1867522D3A88}"/>
          </ac:spMkLst>
        </pc:spChg>
        <pc:spChg chg="mod">
          <ac:chgData name="Ugo MANTEL" userId="2d5b7065-31bb-4181-a7f8-a73bf0c30211" providerId="ADAL" clId="{9344D105-636D-4857-BD0F-AFC44A54BCCF}" dt="2021-05-25T14:20:11.358" v="28077" actId="790"/>
          <ac:spMkLst>
            <pc:docMk/>
            <pc:sldMk cId="3186676131" sldId="10444"/>
            <ac:spMk id="100" creationId="{EF6C7B41-C54E-4684-BB9A-36701E115EBF}"/>
          </ac:spMkLst>
        </pc:spChg>
        <pc:spChg chg="mod">
          <ac:chgData name="Ugo MANTEL" userId="2d5b7065-31bb-4181-a7f8-a73bf0c30211" providerId="ADAL" clId="{9344D105-636D-4857-BD0F-AFC44A54BCCF}" dt="2021-05-25T14:20:11.382" v="28105" actId="790"/>
          <ac:spMkLst>
            <pc:docMk/>
            <pc:sldMk cId="3186676131" sldId="10444"/>
            <ac:spMk id="102" creationId="{F73D6114-13EA-4394-9588-C5437D84D81B}"/>
          </ac:spMkLst>
        </pc:spChg>
        <pc:spChg chg="mod">
          <ac:chgData name="Ugo MANTEL" userId="2d5b7065-31bb-4181-a7f8-a73bf0c30211" providerId="ADAL" clId="{9344D105-636D-4857-BD0F-AFC44A54BCCF}" dt="2021-05-25T14:20:11.347" v="28063" actId="790"/>
          <ac:spMkLst>
            <pc:docMk/>
            <pc:sldMk cId="3186676131" sldId="10444"/>
            <ac:spMk id="107" creationId="{31D0AEAA-51DD-4312-8DD3-D5664A3B479D}"/>
          </ac:spMkLst>
        </pc:spChg>
        <pc:spChg chg="mod">
          <ac:chgData name="Ugo MANTEL" userId="2d5b7065-31bb-4181-a7f8-a73bf0c30211" providerId="ADAL" clId="{9344D105-636D-4857-BD0F-AFC44A54BCCF}" dt="2021-05-25T14:20:11.368" v="28082" actId="790"/>
          <ac:spMkLst>
            <pc:docMk/>
            <pc:sldMk cId="3186676131" sldId="10444"/>
            <ac:spMk id="108" creationId="{B4E79E7D-0395-4CE2-8F8E-F7FFDE4BA106}"/>
          </ac:spMkLst>
        </pc:spChg>
        <pc:spChg chg="mod">
          <ac:chgData name="Ugo MANTEL" userId="2d5b7065-31bb-4181-a7f8-a73bf0c30211" providerId="ADAL" clId="{9344D105-636D-4857-BD0F-AFC44A54BCCF}" dt="2021-05-25T14:20:11.370" v="28084" actId="790"/>
          <ac:spMkLst>
            <pc:docMk/>
            <pc:sldMk cId="3186676131" sldId="10444"/>
            <ac:spMk id="119" creationId="{EEF55E94-FD53-41D7-A423-6B56C40D88A1}"/>
          </ac:spMkLst>
        </pc:spChg>
        <pc:spChg chg="mod">
          <ac:chgData name="Ugo MANTEL" userId="2d5b7065-31bb-4181-a7f8-a73bf0c30211" providerId="ADAL" clId="{9344D105-636D-4857-BD0F-AFC44A54BCCF}" dt="2021-05-25T14:20:11.379" v="28100" actId="790"/>
          <ac:spMkLst>
            <pc:docMk/>
            <pc:sldMk cId="3186676131" sldId="10444"/>
            <ac:spMk id="120" creationId="{697B9F9F-BFD2-4BBC-A2BC-06F0D17B4298}"/>
          </ac:spMkLst>
        </pc:spChg>
        <pc:spChg chg="mod">
          <ac:chgData name="Ugo MANTEL" userId="2d5b7065-31bb-4181-a7f8-a73bf0c30211" providerId="ADAL" clId="{9344D105-636D-4857-BD0F-AFC44A54BCCF}" dt="2021-05-25T14:20:11.378" v="28099" actId="790"/>
          <ac:spMkLst>
            <pc:docMk/>
            <pc:sldMk cId="3186676131" sldId="10444"/>
            <ac:spMk id="122" creationId="{7ED4A8D8-06EE-4620-B65B-5E3B52A3ABAE}"/>
          </ac:spMkLst>
        </pc:spChg>
        <pc:spChg chg="mod">
          <ac:chgData name="Ugo MANTEL" userId="2d5b7065-31bb-4181-a7f8-a73bf0c30211" providerId="ADAL" clId="{9344D105-636D-4857-BD0F-AFC44A54BCCF}" dt="2021-05-25T14:20:11.380" v="28102" actId="790"/>
          <ac:spMkLst>
            <pc:docMk/>
            <pc:sldMk cId="3186676131" sldId="10444"/>
            <ac:spMk id="123" creationId="{CCD5F39F-64EB-4F4E-BE6B-002C617492EF}"/>
          </ac:spMkLst>
        </pc:spChg>
        <pc:spChg chg="mod">
          <ac:chgData name="Ugo MANTEL" userId="2d5b7065-31bb-4181-a7f8-a73bf0c30211" providerId="ADAL" clId="{9344D105-636D-4857-BD0F-AFC44A54BCCF}" dt="2021-05-25T14:20:11.386" v="28106" actId="790"/>
          <ac:spMkLst>
            <pc:docMk/>
            <pc:sldMk cId="3186676131" sldId="10444"/>
            <ac:spMk id="134" creationId="{6B4E0DC8-DDD6-4557-BA29-2351AE686AFF}"/>
          </ac:spMkLst>
        </pc:spChg>
        <pc:spChg chg="mod">
          <ac:chgData name="Ugo MANTEL" userId="2d5b7065-31bb-4181-a7f8-a73bf0c30211" providerId="ADAL" clId="{9344D105-636D-4857-BD0F-AFC44A54BCCF}" dt="2021-05-25T14:20:11.388" v="28107" actId="790"/>
          <ac:spMkLst>
            <pc:docMk/>
            <pc:sldMk cId="3186676131" sldId="10444"/>
            <ac:spMk id="138" creationId="{279E6DEF-1C4D-4696-B825-7122AC695BE5}"/>
          </ac:spMkLst>
        </pc:spChg>
        <pc:spChg chg="mod">
          <ac:chgData name="Ugo MANTEL" userId="2d5b7065-31bb-4181-a7f8-a73bf0c30211" providerId="ADAL" clId="{9344D105-636D-4857-BD0F-AFC44A54BCCF}" dt="2021-05-25T14:20:11.391" v="28108" actId="790"/>
          <ac:spMkLst>
            <pc:docMk/>
            <pc:sldMk cId="3186676131" sldId="10444"/>
            <ac:spMk id="144" creationId="{8F3BDE8F-DB0C-4D11-B86C-50FF55DED7FE}"/>
          </ac:spMkLst>
        </pc:spChg>
        <pc:spChg chg="mod">
          <ac:chgData name="Ugo MANTEL" userId="2d5b7065-31bb-4181-a7f8-a73bf0c30211" providerId="ADAL" clId="{9344D105-636D-4857-BD0F-AFC44A54BCCF}" dt="2021-05-25T14:20:11.373" v="28090" actId="790"/>
          <ac:spMkLst>
            <pc:docMk/>
            <pc:sldMk cId="3186676131" sldId="10444"/>
            <ac:spMk id="154" creationId="{A7269958-7FC5-479F-B17B-49D115F118B6}"/>
          </ac:spMkLst>
        </pc:spChg>
        <pc:spChg chg="mod">
          <ac:chgData name="Ugo MANTEL" userId="2d5b7065-31bb-4181-a7f8-a73bf0c30211" providerId="ADAL" clId="{9344D105-636D-4857-BD0F-AFC44A54BCCF}" dt="2021-05-25T14:20:11.375" v="28093" actId="790"/>
          <ac:spMkLst>
            <pc:docMk/>
            <pc:sldMk cId="3186676131" sldId="10444"/>
            <ac:spMk id="159" creationId="{B1BCC205-D7BB-4643-BF09-2992F3238E10}"/>
          </ac:spMkLst>
        </pc:spChg>
        <pc:spChg chg="mod">
          <ac:chgData name="Ugo MANTEL" userId="2d5b7065-31bb-4181-a7f8-a73bf0c30211" providerId="ADAL" clId="{9344D105-636D-4857-BD0F-AFC44A54BCCF}" dt="2021-05-25T14:20:11.371" v="28086" actId="790"/>
          <ac:spMkLst>
            <pc:docMk/>
            <pc:sldMk cId="3186676131" sldId="10444"/>
            <ac:spMk id="165" creationId="{C389F3EC-7313-454E-9942-F14FD0BD4C77}"/>
          </ac:spMkLst>
        </pc:spChg>
        <pc:spChg chg="mod">
          <ac:chgData name="Ugo MANTEL" userId="2d5b7065-31bb-4181-a7f8-a73bf0c30211" providerId="ADAL" clId="{9344D105-636D-4857-BD0F-AFC44A54BCCF}" dt="2021-05-25T14:20:11.375" v="28094" actId="790"/>
          <ac:spMkLst>
            <pc:docMk/>
            <pc:sldMk cId="3186676131" sldId="10444"/>
            <ac:spMk id="166" creationId="{A3938D6F-1923-42FF-B2ED-6C2BEA79BA03}"/>
          </ac:spMkLst>
        </pc:spChg>
        <pc:spChg chg="mod">
          <ac:chgData name="Ugo MANTEL" userId="2d5b7065-31bb-4181-a7f8-a73bf0c30211" providerId="ADAL" clId="{9344D105-636D-4857-BD0F-AFC44A54BCCF}" dt="2021-05-25T14:20:11.381" v="28104" actId="790"/>
          <ac:spMkLst>
            <pc:docMk/>
            <pc:sldMk cId="3186676131" sldId="10444"/>
            <ac:spMk id="168" creationId="{C423BD9F-9E4A-46B8-89D7-67C1FE84B168}"/>
          </ac:spMkLst>
        </pc:spChg>
        <pc:spChg chg="mod">
          <ac:chgData name="Ugo MANTEL" userId="2d5b7065-31bb-4181-a7f8-a73bf0c30211" providerId="ADAL" clId="{9344D105-636D-4857-BD0F-AFC44A54BCCF}" dt="2021-05-25T14:20:11.371" v="28087" actId="790"/>
          <ac:spMkLst>
            <pc:docMk/>
            <pc:sldMk cId="3186676131" sldId="10444"/>
            <ac:spMk id="169" creationId="{7881ABC3-A97B-4E90-939F-E48D9595FFFF}"/>
          </ac:spMkLst>
        </pc:spChg>
        <pc:spChg chg="mod">
          <ac:chgData name="Ugo MANTEL" userId="2d5b7065-31bb-4181-a7f8-a73bf0c30211" providerId="ADAL" clId="{9344D105-636D-4857-BD0F-AFC44A54BCCF}" dt="2021-05-25T14:20:11.372" v="28088" actId="790"/>
          <ac:spMkLst>
            <pc:docMk/>
            <pc:sldMk cId="3186676131" sldId="10444"/>
            <ac:spMk id="170" creationId="{A886CA56-9620-415B-9489-A004AB6EB706}"/>
          </ac:spMkLst>
        </pc:spChg>
        <pc:spChg chg="mod">
          <ac:chgData name="Ugo MANTEL" userId="2d5b7065-31bb-4181-a7f8-a73bf0c30211" providerId="ADAL" clId="{9344D105-636D-4857-BD0F-AFC44A54BCCF}" dt="2021-05-25T14:20:11.372" v="28089" actId="790"/>
          <ac:spMkLst>
            <pc:docMk/>
            <pc:sldMk cId="3186676131" sldId="10444"/>
            <ac:spMk id="171" creationId="{BCC6DEFD-6FEB-4777-9432-E3B2F5C51000}"/>
          </ac:spMkLst>
        </pc:spChg>
        <pc:spChg chg="mod">
          <ac:chgData name="Ugo MANTEL" userId="2d5b7065-31bb-4181-a7f8-a73bf0c30211" providerId="ADAL" clId="{9344D105-636D-4857-BD0F-AFC44A54BCCF}" dt="2021-05-25T14:20:11.376" v="28095" actId="790"/>
          <ac:spMkLst>
            <pc:docMk/>
            <pc:sldMk cId="3186676131" sldId="10444"/>
            <ac:spMk id="172" creationId="{04568322-5012-422B-991D-C9A4712E25C9}"/>
          </ac:spMkLst>
        </pc:spChg>
        <pc:spChg chg="mod">
          <ac:chgData name="Ugo MANTEL" userId="2d5b7065-31bb-4181-a7f8-a73bf0c30211" providerId="ADAL" clId="{9344D105-636D-4857-BD0F-AFC44A54BCCF}" dt="2021-05-25T14:20:11.395" v="28110" actId="790"/>
          <ac:spMkLst>
            <pc:docMk/>
            <pc:sldMk cId="3186676131" sldId="10444"/>
            <ac:spMk id="174" creationId="{DC0F08AF-8ADE-4433-8307-ED43F84D0DCC}"/>
          </ac:spMkLst>
        </pc:spChg>
        <pc:spChg chg="mod">
          <ac:chgData name="Ugo MANTEL" userId="2d5b7065-31bb-4181-a7f8-a73bf0c30211" providerId="ADAL" clId="{9344D105-636D-4857-BD0F-AFC44A54BCCF}" dt="2021-05-25T14:20:11.398" v="28112" actId="790"/>
          <ac:spMkLst>
            <pc:docMk/>
            <pc:sldMk cId="3186676131" sldId="10444"/>
            <ac:spMk id="181" creationId="{7B1EA177-A78F-476E-9C85-82B6D6EE8C9B}"/>
          </ac:spMkLst>
        </pc:spChg>
        <pc:spChg chg="mod">
          <ac:chgData name="Ugo MANTEL" userId="2d5b7065-31bb-4181-a7f8-a73bf0c30211" providerId="ADAL" clId="{9344D105-636D-4857-BD0F-AFC44A54BCCF}" dt="2021-05-25T14:20:11.398" v="28113" actId="790"/>
          <ac:spMkLst>
            <pc:docMk/>
            <pc:sldMk cId="3186676131" sldId="10444"/>
            <ac:spMk id="183" creationId="{0B82F722-7307-45F1-BCDC-54AF78D10E83}"/>
          </ac:spMkLst>
        </pc:spChg>
        <pc:spChg chg="mod">
          <ac:chgData name="Ugo MANTEL" userId="2d5b7065-31bb-4181-a7f8-a73bf0c30211" providerId="ADAL" clId="{9344D105-636D-4857-BD0F-AFC44A54BCCF}" dt="2021-05-25T14:20:11.399" v="28114" actId="790"/>
          <ac:spMkLst>
            <pc:docMk/>
            <pc:sldMk cId="3186676131" sldId="10444"/>
            <ac:spMk id="184" creationId="{10A87F2B-CE19-49A3-9FC4-902C47706B1B}"/>
          </ac:spMkLst>
        </pc:spChg>
        <pc:spChg chg="mod">
          <ac:chgData name="Ugo MANTEL" userId="2d5b7065-31bb-4181-a7f8-a73bf0c30211" providerId="ADAL" clId="{9344D105-636D-4857-BD0F-AFC44A54BCCF}" dt="2021-05-25T14:20:11.399" v="28115" actId="790"/>
          <ac:spMkLst>
            <pc:docMk/>
            <pc:sldMk cId="3186676131" sldId="10444"/>
            <ac:spMk id="185" creationId="{C68575BD-C83D-43AB-B618-1CDCA176A1D8}"/>
          </ac:spMkLst>
        </pc:spChg>
        <pc:spChg chg="del">
          <ac:chgData name="Ugo MANTEL" userId="2d5b7065-31bb-4181-a7f8-a73bf0c30211" providerId="ADAL" clId="{9344D105-636D-4857-BD0F-AFC44A54BCCF}" dt="2021-05-24T13:40:16.025" v="7525" actId="478"/>
          <ac:spMkLst>
            <pc:docMk/>
            <pc:sldMk cId="3186676131" sldId="10444"/>
            <ac:spMk id="186" creationId="{F2FE201E-FB2E-4FB2-9AF8-51F02E7F68D2}"/>
          </ac:spMkLst>
        </pc:spChg>
        <pc:spChg chg="del">
          <ac:chgData name="Ugo MANTEL" userId="2d5b7065-31bb-4181-a7f8-a73bf0c30211" providerId="ADAL" clId="{9344D105-636D-4857-BD0F-AFC44A54BCCF}" dt="2021-05-24T13:40:16.025" v="7525" actId="478"/>
          <ac:spMkLst>
            <pc:docMk/>
            <pc:sldMk cId="3186676131" sldId="10444"/>
            <ac:spMk id="187" creationId="{3ECD9B9B-A705-4089-9594-212A41EF7034}"/>
          </ac:spMkLst>
        </pc:spChg>
        <pc:spChg chg="del mod topLvl">
          <ac:chgData name="Ugo MANTEL" userId="2d5b7065-31bb-4181-a7f8-a73bf0c30211" providerId="ADAL" clId="{9344D105-636D-4857-BD0F-AFC44A54BCCF}" dt="2021-05-25T11:30:22.635" v="17549" actId="478"/>
          <ac:spMkLst>
            <pc:docMk/>
            <pc:sldMk cId="3186676131" sldId="10444"/>
            <ac:spMk id="187" creationId="{FD69F2B5-1414-4964-B361-918C83A2C1F1}"/>
          </ac:spMkLst>
        </pc:spChg>
        <pc:spChg chg="del">
          <ac:chgData name="Ugo MANTEL" userId="2d5b7065-31bb-4181-a7f8-a73bf0c30211" providerId="ADAL" clId="{9344D105-636D-4857-BD0F-AFC44A54BCCF}" dt="2021-05-24T13:40:16.025" v="7525" actId="478"/>
          <ac:spMkLst>
            <pc:docMk/>
            <pc:sldMk cId="3186676131" sldId="10444"/>
            <ac:spMk id="188" creationId="{8650B8D7-2F20-41EF-942C-3138C502BDDF}"/>
          </ac:spMkLst>
        </pc:spChg>
        <pc:spChg chg="del mod topLvl">
          <ac:chgData name="Ugo MANTEL" userId="2d5b7065-31bb-4181-a7f8-a73bf0c30211" providerId="ADAL" clId="{9344D105-636D-4857-BD0F-AFC44A54BCCF}" dt="2021-05-25T11:26:05.504" v="17445" actId="478"/>
          <ac:spMkLst>
            <pc:docMk/>
            <pc:sldMk cId="3186676131" sldId="10444"/>
            <ac:spMk id="189" creationId="{0FA45DD8-1AED-4F4D-9998-42AD718FEC75}"/>
          </ac:spMkLst>
        </pc:spChg>
        <pc:spChg chg="del">
          <ac:chgData name="Ugo MANTEL" userId="2d5b7065-31bb-4181-a7f8-a73bf0c30211" providerId="ADAL" clId="{9344D105-636D-4857-BD0F-AFC44A54BCCF}" dt="2021-05-24T13:40:16.025" v="7525" actId="478"/>
          <ac:spMkLst>
            <pc:docMk/>
            <pc:sldMk cId="3186676131" sldId="10444"/>
            <ac:spMk id="189" creationId="{13186B74-6471-4593-A76A-1D0500A1A6AC}"/>
          </ac:spMkLst>
        </pc:spChg>
        <pc:spChg chg="mod">
          <ac:chgData name="Ugo MANTEL" userId="2d5b7065-31bb-4181-a7f8-a73bf0c30211" providerId="ADAL" clId="{9344D105-636D-4857-BD0F-AFC44A54BCCF}" dt="2021-05-25T14:20:11.401" v="28116" actId="790"/>
          <ac:spMkLst>
            <pc:docMk/>
            <pc:sldMk cId="3186676131" sldId="10444"/>
            <ac:spMk id="189" creationId="{F82F8CF7-943B-4ED8-8EE5-44353AB332F5}"/>
          </ac:spMkLst>
        </pc:spChg>
        <pc:spChg chg="del mod">
          <ac:chgData name="Ugo MANTEL" userId="2d5b7065-31bb-4181-a7f8-a73bf0c30211" providerId="ADAL" clId="{9344D105-636D-4857-BD0F-AFC44A54BCCF}" dt="2021-05-25T11:25:58.936" v="17443" actId="478"/>
          <ac:spMkLst>
            <pc:docMk/>
            <pc:sldMk cId="3186676131" sldId="10444"/>
            <ac:spMk id="190" creationId="{3EA46364-1C18-4F17-97B7-57B23DA1CFDF}"/>
          </ac:spMkLst>
        </pc:spChg>
        <pc:spChg chg="del">
          <ac:chgData name="Ugo MANTEL" userId="2d5b7065-31bb-4181-a7f8-a73bf0c30211" providerId="ADAL" clId="{9344D105-636D-4857-BD0F-AFC44A54BCCF}" dt="2021-05-24T13:40:16.025" v="7525" actId="478"/>
          <ac:spMkLst>
            <pc:docMk/>
            <pc:sldMk cId="3186676131" sldId="10444"/>
            <ac:spMk id="190" creationId="{F7D7AD75-8C50-41A1-97D2-7048446D7ED5}"/>
          </ac:spMkLst>
        </pc:spChg>
        <pc:spChg chg="add mod">
          <ac:chgData name="Ugo MANTEL" userId="2d5b7065-31bb-4181-a7f8-a73bf0c30211" providerId="ADAL" clId="{9344D105-636D-4857-BD0F-AFC44A54BCCF}" dt="2021-05-25T14:20:11.396" v="28111" actId="790"/>
          <ac:spMkLst>
            <pc:docMk/>
            <pc:sldMk cId="3186676131" sldId="10444"/>
            <ac:spMk id="191" creationId="{BCCB0F70-F9E3-49F7-B9CC-4810707D22BC}"/>
          </ac:spMkLst>
        </pc:spChg>
        <pc:spChg chg="add mod">
          <ac:chgData name="Ugo MANTEL" userId="2d5b7065-31bb-4181-a7f8-a73bf0c30211" providerId="ADAL" clId="{9344D105-636D-4857-BD0F-AFC44A54BCCF}" dt="2021-05-24T13:40:16.503" v="7526"/>
          <ac:spMkLst>
            <pc:docMk/>
            <pc:sldMk cId="3186676131" sldId="10444"/>
            <ac:spMk id="192" creationId="{94A34A46-8E0E-47FF-881E-66715653B41E}"/>
          </ac:spMkLst>
        </pc:spChg>
        <pc:spChg chg="add mod">
          <ac:chgData name="Ugo MANTEL" userId="2d5b7065-31bb-4181-a7f8-a73bf0c30211" providerId="ADAL" clId="{9344D105-636D-4857-BD0F-AFC44A54BCCF}" dt="2021-05-24T13:40:16.503" v="7526"/>
          <ac:spMkLst>
            <pc:docMk/>
            <pc:sldMk cId="3186676131" sldId="10444"/>
            <ac:spMk id="193" creationId="{D7E2235E-5186-4226-B6BB-3EC83201E1E8}"/>
          </ac:spMkLst>
        </pc:spChg>
        <pc:spChg chg="add mod">
          <ac:chgData name="Ugo MANTEL" userId="2d5b7065-31bb-4181-a7f8-a73bf0c30211" providerId="ADAL" clId="{9344D105-636D-4857-BD0F-AFC44A54BCCF}" dt="2021-05-24T13:40:16.503" v="7526"/>
          <ac:spMkLst>
            <pc:docMk/>
            <pc:sldMk cId="3186676131" sldId="10444"/>
            <ac:spMk id="194" creationId="{5733A862-B877-44F6-A87C-4D2A2B1AA3D5}"/>
          </ac:spMkLst>
        </pc:spChg>
        <pc:spChg chg="add mod">
          <ac:chgData name="Ugo MANTEL" userId="2d5b7065-31bb-4181-a7f8-a73bf0c30211" providerId="ADAL" clId="{9344D105-636D-4857-BD0F-AFC44A54BCCF}" dt="2021-05-24T13:40:16.503" v="7526"/>
          <ac:spMkLst>
            <pc:docMk/>
            <pc:sldMk cId="3186676131" sldId="10444"/>
            <ac:spMk id="195" creationId="{9134F630-89B7-4C04-85D0-A0215E053331}"/>
          </ac:spMkLst>
        </pc:spChg>
        <pc:spChg chg="add mod">
          <ac:chgData name="Ugo MANTEL" userId="2d5b7065-31bb-4181-a7f8-a73bf0c30211" providerId="ADAL" clId="{9344D105-636D-4857-BD0F-AFC44A54BCCF}" dt="2021-05-24T13:40:16.503" v="7526"/>
          <ac:spMkLst>
            <pc:docMk/>
            <pc:sldMk cId="3186676131" sldId="10444"/>
            <ac:spMk id="196" creationId="{E4224438-3C05-4BDB-9AF9-00E317DDDEB1}"/>
          </ac:spMkLst>
        </pc:spChg>
        <pc:spChg chg="mod">
          <ac:chgData name="Ugo MANTEL" userId="2d5b7065-31bb-4181-a7f8-a73bf0c30211" providerId="ADAL" clId="{9344D105-636D-4857-BD0F-AFC44A54BCCF}" dt="2021-05-25T14:20:11.373" v="28091" actId="790"/>
          <ac:spMkLst>
            <pc:docMk/>
            <pc:sldMk cId="3186676131" sldId="10444"/>
            <ac:spMk id="197" creationId="{EB1ED8EE-1371-4F31-B475-A7FD22F01C88}"/>
          </ac:spMkLst>
        </pc:spChg>
        <pc:spChg chg="add mod">
          <ac:chgData name="Ugo MANTEL" userId="2d5b7065-31bb-4181-a7f8-a73bf0c30211" providerId="ADAL" clId="{9344D105-636D-4857-BD0F-AFC44A54BCCF}" dt="2021-05-24T13:40:16.503" v="7526"/>
          <ac:spMkLst>
            <pc:docMk/>
            <pc:sldMk cId="3186676131" sldId="10444"/>
            <ac:spMk id="198" creationId="{AD17A495-0B0F-4F46-9F7D-200C03BF0AF5}"/>
          </ac:spMkLst>
        </pc:spChg>
        <pc:spChg chg="add mod">
          <ac:chgData name="Ugo MANTEL" userId="2d5b7065-31bb-4181-a7f8-a73bf0c30211" providerId="ADAL" clId="{9344D105-636D-4857-BD0F-AFC44A54BCCF}" dt="2021-05-25T13:42:10.829" v="20240"/>
          <ac:spMkLst>
            <pc:docMk/>
            <pc:sldMk cId="3186676131" sldId="10444"/>
            <ac:spMk id="207" creationId="{FCCD51FF-BA42-42F6-B436-385E02CBD657}"/>
          </ac:spMkLst>
        </pc:spChg>
        <pc:spChg chg="mod">
          <ac:chgData name="Ugo MANTEL" userId="2d5b7065-31bb-4181-a7f8-a73bf0c30211" providerId="ADAL" clId="{9344D105-636D-4857-BD0F-AFC44A54BCCF}" dt="2021-05-25T14:20:11.374" v="28092" actId="790"/>
          <ac:spMkLst>
            <pc:docMk/>
            <pc:sldMk cId="3186676131" sldId="10444"/>
            <ac:spMk id="212" creationId="{F492C173-DFD6-47CF-9BB4-C8925127E1EE}"/>
          </ac:spMkLst>
        </pc:spChg>
        <pc:spChg chg="del">
          <ac:chgData name="Ugo MANTEL" userId="2d5b7065-31bb-4181-a7f8-a73bf0c30211" providerId="ADAL" clId="{9344D105-636D-4857-BD0F-AFC44A54BCCF}" dt="2021-05-25T13:42:10.535" v="20239" actId="478"/>
          <ac:spMkLst>
            <pc:docMk/>
            <pc:sldMk cId="3186676131" sldId="10444"/>
            <ac:spMk id="1025" creationId="{308FC967-D46E-4BB5-97B6-0297E9035F94}"/>
          </ac:spMkLst>
        </pc:spChg>
        <pc:spChg chg="mod">
          <ac:chgData name="Ugo MANTEL" userId="2d5b7065-31bb-4181-a7f8-a73bf0c30211" providerId="ADAL" clId="{9344D105-636D-4857-BD0F-AFC44A54BCCF}" dt="2021-05-25T14:20:11.366" v="28078" actId="790"/>
          <ac:spMkLst>
            <pc:docMk/>
            <pc:sldMk cId="3186676131" sldId="10444"/>
            <ac:spMk id="1035" creationId="{9164A53F-4711-41A4-BE3D-8D2F4243A495}"/>
          </ac:spMkLst>
        </pc:spChg>
        <pc:spChg chg="mod">
          <ac:chgData name="Ugo MANTEL" userId="2d5b7065-31bb-4181-a7f8-a73bf0c30211" providerId="ADAL" clId="{9344D105-636D-4857-BD0F-AFC44A54BCCF}" dt="2021-05-25T14:20:11.347" v="28064" actId="790"/>
          <ac:spMkLst>
            <pc:docMk/>
            <pc:sldMk cId="3186676131" sldId="10444"/>
            <ac:spMk id="4107" creationId="{EBC573C8-C4E3-432A-81F7-B99236DF594A}"/>
          </ac:spMkLst>
        </pc:spChg>
        <pc:grpChg chg="add del mod">
          <ac:chgData name="Ugo MANTEL" userId="2d5b7065-31bb-4181-a7f8-a73bf0c30211" providerId="ADAL" clId="{9344D105-636D-4857-BD0F-AFC44A54BCCF}" dt="2021-05-25T11:26:02.669" v="17444" actId="165"/>
          <ac:grpSpMkLst>
            <pc:docMk/>
            <pc:sldMk cId="3186676131" sldId="10444"/>
            <ac:grpSpMk id="186" creationId="{D85C4C4B-F764-4359-97A1-B87BD640D0BD}"/>
          </ac:grpSpMkLst>
        </pc:grpChg>
        <pc:grpChg chg="del mod">
          <ac:chgData name="Ugo MANTEL" userId="2d5b7065-31bb-4181-a7f8-a73bf0c30211" providerId="ADAL" clId="{9344D105-636D-4857-BD0F-AFC44A54BCCF}" dt="2021-05-25T11:25:58.936" v="17443" actId="478"/>
          <ac:grpSpMkLst>
            <pc:docMk/>
            <pc:sldMk cId="3186676131" sldId="10444"/>
            <ac:grpSpMk id="188" creationId="{F64728FE-1829-48B6-8240-411496CC059F}"/>
          </ac:grpSpMkLst>
        </pc:grpChg>
        <pc:picChg chg="add mod">
          <ac:chgData name="Ugo MANTEL" userId="2d5b7065-31bb-4181-a7f8-a73bf0c30211" providerId="ADAL" clId="{9344D105-636D-4857-BD0F-AFC44A54BCCF}" dt="2021-05-25T11:13:32.865" v="17159"/>
          <ac:picMkLst>
            <pc:docMk/>
            <pc:sldMk cId="3186676131" sldId="10444"/>
            <ac:picMk id="182" creationId="{BDF161B8-9EB7-4E9C-B875-F4E304F06B4B}"/>
          </ac:picMkLst>
        </pc:picChg>
      </pc:sldChg>
      <pc:sldChg chg="addSp modSp mod">
        <pc:chgData name="Ugo MANTEL" userId="2d5b7065-31bb-4181-a7f8-a73bf0c30211" providerId="ADAL" clId="{9344D105-636D-4857-BD0F-AFC44A54BCCF}" dt="2021-05-25T14:20:12.607" v="29348" actId="790"/>
        <pc:sldMkLst>
          <pc:docMk/>
          <pc:sldMk cId="3037564285" sldId="10446"/>
        </pc:sldMkLst>
        <pc:spChg chg="mod">
          <ac:chgData name="Ugo MANTEL" userId="2d5b7065-31bb-4181-a7f8-a73bf0c30211" providerId="ADAL" clId="{9344D105-636D-4857-BD0F-AFC44A54BCCF}" dt="2021-05-25T14:20:12.582" v="29323" actId="790"/>
          <ac:spMkLst>
            <pc:docMk/>
            <pc:sldMk cId="3037564285" sldId="10446"/>
            <ac:spMk id="2" creationId="{F603210B-1675-4AF7-9A14-5F2A22C81270}"/>
          </ac:spMkLst>
        </pc:spChg>
        <pc:spChg chg="mod">
          <ac:chgData name="Ugo MANTEL" userId="2d5b7065-31bb-4181-a7f8-a73bf0c30211" providerId="ADAL" clId="{9344D105-636D-4857-BD0F-AFC44A54BCCF}" dt="2021-05-25T14:20:12.583" v="29324" actId="790"/>
          <ac:spMkLst>
            <pc:docMk/>
            <pc:sldMk cId="3037564285" sldId="10446"/>
            <ac:spMk id="4" creationId="{74ADDBE6-49E4-4049-B7BF-EE415633C5F5}"/>
          </ac:spMkLst>
        </pc:spChg>
        <pc:spChg chg="mod">
          <ac:chgData name="Ugo MANTEL" userId="2d5b7065-31bb-4181-a7f8-a73bf0c30211" providerId="ADAL" clId="{9344D105-636D-4857-BD0F-AFC44A54BCCF}" dt="2021-05-25T14:20:12.585" v="29325" actId="790"/>
          <ac:spMkLst>
            <pc:docMk/>
            <pc:sldMk cId="3037564285" sldId="10446"/>
            <ac:spMk id="5" creationId="{B0DA252B-E0E1-4EDA-AD43-C3699C200482}"/>
          </ac:spMkLst>
        </pc:spChg>
        <pc:spChg chg="mod">
          <ac:chgData name="Ugo MANTEL" userId="2d5b7065-31bb-4181-a7f8-a73bf0c30211" providerId="ADAL" clId="{9344D105-636D-4857-BD0F-AFC44A54BCCF}" dt="2021-05-25T14:20:12.585" v="29326" actId="790"/>
          <ac:spMkLst>
            <pc:docMk/>
            <pc:sldMk cId="3037564285" sldId="10446"/>
            <ac:spMk id="6" creationId="{459DE8FF-F3A0-454B-89BD-EA7D3F0085F4}"/>
          </ac:spMkLst>
        </pc:spChg>
        <pc:spChg chg="mod">
          <ac:chgData name="Ugo MANTEL" userId="2d5b7065-31bb-4181-a7f8-a73bf0c30211" providerId="ADAL" clId="{9344D105-636D-4857-BD0F-AFC44A54BCCF}" dt="2021-05-25T14:20:12.586" v="29327" actId="790"/>
          <ac:spMkLst>
            <pc:docMk/>
            <pc:sldMk cId="3037564285" sldId="10446"/>
            <ac:spMk id="8" creationId="{A6584CFE-199B-42FA-9B02-35D30052E24D}"/>
          </ac:spMkLst>
        </pc:spChg>
        <pc:spChg chg="mod">
          <ac:chgData name="Ugo MANTEL" userId="2d5b7065-31bb-4181-a7f8-a73bf0c30211" providerId="ADAL" clId="{9344D105-636D-4857-BD0F-AFC44A54BCCF}" dt="2021-05-25T14:20:12.587" v="29328" actId="790"/>
          <ac:spMkLst>
            <pc:docMk/>
            <pc:sldMk cId="3037564285" sldId="10446"/>
            <ac:spMk id="9" creationId="{5513411E-B0D4-4A2B-B16E-9DD5102ED097}"/>
          </ac:spMkLst>
        </pc:spChg>
        <pc:spChg chg="mod">
          <ac:chgData name="Ugo MANTEL" userId="2d5b7065-31bb-4181-a7f8-a73bf0c30211" providerId="ADAL" clId="{9344D105-636D-4857-BD0F-AFC44A54BCCF}" dt="2021-05-25T14:20:12.604" v="29344" actId="790"/>
          <ac:spMkLst>
            <pc:docMk/>
            <pc:sldMk cId="3037564285" sldId="10446"/>
            <ac:spMk id="11" creationId="{E7BC247D-1E44-429A-AF83-8E39E9FFE026}"/>
          </ac:spMkLst>
        </pc:spChg>
        <pc:spChg chg="mod">
          <ac:chgData name="Ugo MANTEL" userId="2d5b7065-31bb-4181-a7f8-a73bf0c30211" providerId="ADAL" clId="{9344D105-636D-4857-BD0F-AFC44A54BCCF}" dt="2021-05-25T14:20:12.603" v="29343" actId="790"/>
          <ac:spMkLst>
            <pc:docMk/>
            <pc:sldMk cId="3037564285" sldId="10446"/>
            <ac:spMk id="12" creationId="{C7013414-76D7-4268-AAD2-A87055DAACA5}"/>
          </ac:spMkLst>
        </pc:spChg>
        <pc:spChg chg="mod">
          <ac:chgData name="Ugo MANTEL" userId="2d5b7065-31bb-4181-a7f8-a73bf0c30211" providerId="ADAL" clId="{9344D105-636D-4857-BD0F-AFC44A54BCCF}" dt="2021-05-25T14:20:12.605" v="29345" actId="790"/>
          <ac:spMkLst>
            <pc:docMk/>
            <pc:sldMk cId="3037564285" sldId="10446"/>
            <ac:spMk id="31" creationId="{97E5D4A5-0DD4-47F0-90BC-7FD43285E269}"/>
          </ac:spMkLst>
        </pc:spChg>
        <pc:spChg chg="mod">
          <ac:chgData name="Ugo MANTEL" userId="2d5b7065-31bb-4181-a7f8-a73bf0c30211" providerId="ADAL" clId="{9344D105-636D-4857-BD0F-AFC44A54BCCF}" dt="2021-05-25T14:20:12.588" v="29329" actId="790"/>
          <ac:spMkLst>
            <pc:docMk/>
            <pc:sldMk cId="3037564285" sldId="10446"/>
            <ac:spMk id="32" creationId="{72E4FA22-5F72-4B8A-966C-5EAB2962F5DE}"/>
          </ac:spMkLst>
        </pc:spChg>
        <pc:spChg chg="mod">
          <ac:chgData name="Ugo MANTEL" userId="2d5b7065-31bb-4181-a7f8-a73bf0c30211" providerId="ADAL" clId="{9344D105-636D-4857-BD0F-AFC44A54BCCF}" dt="2021-05-25T14:20:12.590" v="29330" actId="790"/>
          <ac:spMkLst>
            <pc:docMk/>
            <pc:sldMk cId="3037564285" sldId="10446"/>
            <ac:spMk id="33" creationId="{BC847A98-E385-4268-A8B8-68418B0916EB}"/>
          </ac:spMkLst>
        </pc:spChg>
        <pc:spChg chg="mod">
          <ac:chgData name="Ugo MANTEL" userId="2d5b7065-31bb-4181-a7f8-a73bf0c30211" providerId="ADAL" clId="{9344D105-636D-4857-BD0F-AFC44A54BCCF}" dt="2021-05-25T14:20:12.591" v="29331" actId="790"/>
          <ac:spMkLst>
            <pc:docMk/>
            <pc:sldMk cId="3037564285" sldId="10446"/>
            <ac:spMk id="34" creationId="{98055D65-32A6-4AE6-AA0E-584E4895BE34}"/>
          </ac:spMkLst>
        </pc:spChg>
        <pc:spChg chg="mod">
          <ac:chgData name="Ugo MANTEL" userId="2d5b7065-31bb-4181-a7f8-a73bf0c30211" providerId="ADAL" clId="{9344D105-636D-4857-BD0F-AFC44A54BCCF}" dt="2021-05-25T14:20:12.594" v="29332" actId="790"/>
          <ac:spMkLst>
            <pc:docMk/>
            <pc:sldMk cId="3037564285" sldId="10446"/>
            <ac:spMk id="35" creationId="{81BD3286-79C1-4AD5-827B-F5E96A7F940D}"/>
          </ac:spMkLst>
        </pc:spChg>
        <pc:spChg chg="mod">
          <ac:chgData name="Ugo MANTEL" userId="2d5b7065-31bb-4181-a7f8-a73bf0c30211" providerId="ADAL" clId="{9344D105-636D-4857-BD0F-AFC44A54BCCF}" dt="2021-05-25T14:20:12.595" v="29333" actId="790"/>
          <ac:spMkLst>
            <pc:docMk/>
            <pc:sldMk cId="3037564285" sldId="10446"/>
            <ac:spMk id="36" creationId="{9D0D108D-E040-46E8-9D27-8421B7B8A6B6}"/>
          </ac:spMkLst>
        </pc:spChg>
        <pc:spChg chg="mod">
          <ac:chgData name="Ugo MANTEL" userId="2d5b7065-31bb-4181-a7f8-a73bf0c30211" providerId="ADAL" clId="{9344D105-636D-4857-BD0F-AFC44A54BCCF}" dt="2021-05-25T14:20:12.596" v="29334" actId="790"/>
          <ac:spMkLst>
            <pc:docMk/>
            <pc:sldMk cId="3037564285" sldId="10446"/>
            <ac:spMk id="37" creationId="{685DD430-D135-4898-B681-DADA54449406}"/>
          </ac:spMkLst>
        </pc:spChg>
        <pc:spChg chg="mod">
          <ac:chgData name="Ugo MANTEL" userId="2d5b7065-31bb-4181-a7f8-a73bf0c30211" providerId="ADAL" clId="{9344D105-636D-4857-BD0F-AFC44A54BCCF}" dt="2021-05-25T14:20:12.597" v="29335" actId="790"/>
          <ac:spMkLst>
            <pc:docMk/>
            <pc:sldMk cId="3037564285" sldId="10446"/>
            <ac:spMk id="38" creationId="{33227BCF-594C-48FC-A668-E9496B25076E}"/>
          </ac:spMkLst>
        </pc:spChg>
        <pc:spChg chg="mod">
          <ac:chgData name="Ugo MANTEL" userId="2d5b7065-31bb-4181-a7f8-a73bf0c30211" providerId="ADAL" clId="{9344D105-636D-4857-BD0F-AFC44A54BCCF}" dt="2021-05-25T14:20:12.598" v="29336" actId="790"/>
          <ac:spMkLst>
            <pc:docMk/>
            <pc:sldMk cId="3037564285" sldId="10446"/>
            <ac:spMk id="42" creationId="{FB53C860-4349-483B-9A2E-4EA3FEEC44A4}"/>
          </ac:spMkLst>
        </pc:spChg>
        <pc:spChg chg="mod">
          <ac:chgData name="Ugo MANTEL" userId="2d5b7065-31bb-4181-a7f8-a73bf0c30211" providerId="ADAL" clId="{9344D105-636D-4857-BD0F-AFC44A54BCCF}" dt="2021-05-25T14:20:12.599" v="29337" actId="790"/>
          <ac:spMkLst>
            <pc:docMk/>
            <pc:sldMk cId="3037564285" sldId="10446"/>
            <ac:spMk id="43" creationId="{9BAD9349-B578-4C93-89B0-5E143458F95D}"/>
          </ac:spMkLst>
        </pc:spChg>
        <pc:spChg chg="mod">
          <ac:chgData name="Ugo MANTEL" userId="2d5b7065-31bb-4181-a7f8-a73bf0c30211" providerId="ADAL" clId="{9344D105-636D-4857-BD0F-AFC44A54BCCF}" dt="2021-05-25T14:20:12.607" v="29348" actId="790"/>
          <ac:spMkLst>
            <pc:docMk/>
            <pc:sldMk cId="3037564285" sldId="10446"/>
            <ac:spMk id="44" creationId="{E5EF6BB7-12AD-4BED-BE01-7621431FB3E1}"/>
          </ac:spMkLst>
        </pc:spChg>
        <pc:spChg chg="add mod">
          <ac:chgData name="Ugo MANTEL" userId="2d5b7065-31bb-4181-a7f8-a73bf0c30211" providerId="ADAL" clId="{9344D105-636D-4857-BD0F-AFC44A54BCCF}" dt="2021-05-24T11:59:37.837" v="5296"/>
          <ac:spMkLst>
            <pc:docMk/>
            <pc:sldMk cId="3037564285" sldId="10446"/>
            <ac:spMk id="45" creationId="{9858D135-1CE8-4023-B383-64DDA4FA4FF5}"/>
          </ac:spMkLst>
        </pc:spChg>
        <pc:spChg chg="mod">
          <ac:chgData name="Ugo MANTEL" userId="2d5b7065-31bb-4181-a7f8-a73bf0c30211" providerId="ADAL" clId="{9344D105-636D-4857-BD0F-AFC44A54BCCF}" dt="2021-05-25T14:20:12.599" v="29338" actId="790"/>
          <ac:spMkLst>
            <pc:docMk/>
            <pc:sldMk cId="3037564285" sldId="10446"/>
            <ac:spMk id="58" creationId="{F3BBC108-E3A8-4285-8482-6573BB5A9BFA}"/>
          </ac:spMkLst>
        </pc:spChg>
        <pc:spChg chg="mod">
          <ac:chgData name="Ugo MANTEL" userId="2d5b7065-31bb-4181-a7f8-a73bf0c30211" providerId="ADAL" clId="{9344D105-636D-4857-BD0F-AFC44A54BCCF}" dt="2021-05-25T14:20:12.600" v="29339" actId="790"/>
          <ac:spMkLst>
            <pc:docMk/>
            <pc:sldMk cId="3037564285" sldId="10446"/>
            <ac:spMk id="60" creationId="{502A1A2A-5BE4-4CEC-87C8-F81B82FE17A0}"/>
          </ac:spMkLst>
        </pc:spChg>
        <pc:spChg chg="mod">
          <ac:chgData name="Ugo MANTEL" userId="2d5b7065-31bb-4181-a7f8-a73bf0c30211" providerId="ADAL" clId="{9344D105-636D-4857-BD0F-AFC44A54BCCF}" dt="2021-05-25T14:20:12.601" v="29340" actId="790"/>
          <ac:spMkLst>
            <pc:docMk/>
            <pc:sldMk cId="3037564285" sldId="10446"/>
            <ac:spMk id="69" creationId="{19F48430-90DF-40FF-A00A-84E93A59C005}"/>
          </ac:spMkLst>
        </pc:spChg>
        <pc:spChg chg="mod">
          <ac:chgData name="Ugo MANTEL" userId="2d5b7065-31bb-4181-a7f8-a73bf0c30211" providerId="ADAL" clId="{9344D105-636D-4857-BD0F-AFC44A54BCCF}" dt="2021-05-25T14:20:12.602" v="29341" actId="790"/>
          <ac:spMkLst>
            <pc:docMk/>
            <pc:sldMk cId="3037564285" sldId="10446"/>
            <ac:spMk id="70" creationId="{712AF8AD-F5B4-45E9-AA35-3836D1A918F9}"/>
          </ac:spMkLst>
        </pc:spChg>
        <pc:spChg chg="mod">
          <ac:chgData name="Ugo MANTEL" userId="2d5b7065-31bb-4181-a7f8-a73bf0c30211" providerId="ADAL" clId="{9344D105-636D-4857-BD0F-AFC44A54BCCF}" dt="2021-05-25T14:20:12.603" v="29342" actId="790"/>
          <ac:spMkLst>
            <pc:docMk/>
            <pc:sldMk cId="3037564285" sldId="10446"/>
            <ac:spMk id="73" creationId="{37CE42CA-0196-4A12-823E-1A27C547E4D3}"/>
          </ac:spMkLst>
        </pc:spChg>
        <pc:spChg chg="mod">
          <ac:chgData name="Ugo MANTEL" userId="2d5b7065-31bb-4181-a7f8-a73bf0c30211" providerId="ADAL" clId="{9344D105-636D-4857-BD0F-AFC44A54BCCF}" dt="2021-05-25T14:20:12.605" v="29346" actId="790"/>
          <ac:spMkLst>
            <pc:docMk/>
            <pc:sldMk cId="3037564285" sldId="10446"/>
            <ac:spMk id="78" creationId="{9A9481B5-737E-45DE-81D8-2F715985CC57}"/>
          </ac:spMkLst>
        </pc:spChg>
        <pc:spChg chg="mod">
          <ac:chgData name="Ugo MANTEL" userId="2d5b7065-31bb-4181-a7f8-a73bf0c30211" providerId="ADAL" clId="{9344D105-636D-4857-BD0F-AFC44A54BCCF}" dt="2021-05-25T14:20:12.606" v="29347" actId="790"/>
          <ac:spMkLst>
            <pc:docMk/>
            <pc:sldMk cId="3037564285" sldId="10446"/>
            <ac:spMk id="80" creationId="{53EEF4E9-317D-4996-82F1-5D806F6EA3E2}"/>
          </ac:spMkLst>
        </pc:spChg>
      </pc:sldChg>
      <pc:sldChg chg="addSp delSp modSp mod">
        <pc:chgData name="Ugo MANTEL" userId="2d5b7065-31bb-4181-a7f8-a73bf0c30211" providerId="ADAL" clId="{9344D105-636D-4857-BD0F-AFC44A54BCCF}" dt="2021-05-25T14:20:11.277" v="27981" actId="790"/>
        <pc:sldMkLst>
          <pc:docMk/>
          <pc:sldMk cId="3968368318" sldId="10448"/>
        </pc:sldMkLst>
        <pc:spChg chg="mod">
          <ac:chgData name="Ugo MANTEL" userId="2d5b7065-31bb-4181-a7f8-a73bf0c30211" providerId="ADAL" clId="{9344D105-636D-4857-BD0F-AFC44A54BCCF}" dt="2021-05-25T14:20:11.252" v="27950" actId="790"/>
          <ac:spMkLst>
            <pc:docMk/>
            <pc:sldMk cId="3968368318" sldId="10448"/>
            <ac:spMk id="2" creationId="{22CE637A-08CD-4B57-9E43-4D794A97D425}"/>
          </ac:spMkLst>
        </pc:spChg>
        <pc:spChg chg="mod">
          <ac:chgData name="Ugo MANTEL" userId="2d5b7065-31bb-4181-a7f8-a73bf0c30211" providerId="ADAL" clId="{9344D105-636D-4857-BD0F-AFC44A54BCCF}" dt="2021-05-25T14:20:11.254" v="27952" actId="790"/>
          <ac:spMkLst>
            <pc:docMk/>
            <pc:sldMk cId="3968368318" sldId="10448"/>
            <ac:spMk id="18" creationId="{B77F2001-EECC-4091-A46F-B13C297AFD91}"/>
          </ac:spMkLst>
        </pc:spChg>
        <pc:spChg chg="mod">
          <ac:chgData name="Ugo MANTEL" userId="2d5b7065-31bb-4181-a7f8-a73bf0c30211" providerId="ADAL" clId="{9344D105-636D-4857-BD0F-AFC44A54BCCF}" dt="2021-05-25T14:20:11.253" v="27951" actId="790"/>
          <ac:spMkLst>
            <pc:docMk/>
            <pc:sldMk cId="3968368318" sldId="10448"/>
            <ac:spMk id="23" creationId="{0C95EF0E-C411-407B-BF74-3CD0A42FA4B6}"/>
          </ac:spMkLst>
        </pc:spChg>
        <pc:spChg chg="mod">
          <ac:chgData name="Ugo MANTEL" userId="2d5b7065-31bb-4181-a7f8-a73bf0c30211" providerId="ADAL" clId="{9344D105-636D-4857-BD0F-AFC44A54BCCF}" dt="2021-05-25T14:20:11.254" v="27953" actId="790"/>
          <ac:spMkLst>
            <pc:docMk/>
            <pc:sldMk cId="3968368318" sldId="10448"/>
            <ac:spMk id="26" creationId="{1467DC4C-D91B-4890-86E8-8B6B324D9380}"/>
          </ac:spMkLst>
        </pc:spChg>
        <pc:spChg chg="mod">
          <ac:chgData name="Ugo MANTEL" userId="2d5b7065-31bb-4181-a7f8-a73bf0c30211" providerId="ADAL" clId="{9344D105-636D-4857-BD0F-AFC44A54BCCF}" dt="2021-05-25T14:20:11.255" v="27954" actId="790"/>
          <ac:spMkLst>
            <pc:docMk/>
            <pc:sldMk cId="3968368318" sldId="10448"/>
            <ac:spMk id="29" creationId="{D49177BB-F71C-42AC-9A8C-812D68405634}"/>
          </ac:spMkLst>
        </pc:spChg>
        <pc:spChg chg="mod">
          <ac:chgData name="Ugo MANTEL" userId="2d5b7065-31bb-4181-a7f8-a73bf0c30211" providerId="ADAL" clId="{9344D105-636D-4857-BD0F-AFC44A54BCCF}" dt="2021-05-25T14:20:11.255" v="27955" actId="790"/>
          <ac:spMkLst>
            <pc:docMk/>
            <pc:sldMk cId="3968368318" sldId="10448"/>
            <ac:spMk id="30" creationId="{990B3219-5A14-48A6-A29D-258D28CA817A}"/>
          </ac:spMkLst>
        </pc:spChg>
        <pc:spChg chg="mod">
          <ac:chgData name="Ugo MANTEL" userId="2d5b7065-31bb-4181-a7f8-a73bf0c30211" providerId="ADAL" clId="{9344D105-636D-4857-BD0F-AFC44A54BCCF}" dt="2021-05-25T14:20:11.256" v="27956" actId="790"/>
          <ac:spMkLst>
            <pc:docMk/>
            <pc:sldMk cId="3968368318" sldId="10448"/>
            <ac:spMk id="31" creationId="{98270023-57CC-4644-A288-9156D3D5FBCE}"/>
          </ac:spMkLst>
        </pc:spChg>
        <pc:spChg chg="mod">
          <ac:chgData name="Ugo MANTEL" userId="2d5b7065-31bb-4181-a7f8-a73bf0c30211" providerId="ADAL" clId="{9344D105-636D-4857-BD0F-AFC44A54BCCF}" dt="2021-05-25T14:20:11.256" v="27957" actId="790"/>
          <ac:spMkLst>
            <pc:docMk/>
            <pc:sldMk cId="3968368318" sldId="10448"/>
            <ac:spMk id="32" creationId="{9E722F19-F936-4688-BE29-34529CE98CFB}"/>
          </ac:spMkLst>
        </pc:spChg>
        <pc:spChg chg="mod">
          <ac:chgData name="Ugo MANTEL" userId="2d5b7065-31bb-4181-a7f8-a73bf0c30211" providerId="ADAL" clId="{9344D105-636D-4857-BD0F-AFC44A54BCCF}" dt="2021-05-25T14:20:11.257" v="27958" actId="790"/>
          <ac:spMkLst>
            <pc:docMk/>
            <pc:sldMk cId="3968368318" sldId="10448"/>
            <ac:spMk id="41" creationId="{013DFE0D-012C-4AE2-A406-883249D468BC}"/>
          </ac:spMkLst>
        </pc:spChg>
        <pc:spChg chg="mod">
          <ac:chgData name="Ugo MANTEL" userId="2d5b7065-31bb-4181-a7f8-a73bf0c30211" providerId="ADAL" clId="{9344D105-636D-4857-BD0F-AFC44A54BCCF}" dt="2021-05-25T07:51:18.414" v="11613" actId="114"/>
          <ac:spMkLst>
            <pc:docMk/>
            <pc:sldMk cId="3968368318" sldId="10448"/>
            <ac:spMk id="44" creationId="{0B53E553-6743-45FB-AE8E-BF6F0D532CEA}"/>
          </ac:spMkLst>
        </pc:spChg>
        <pc:spChg chg="mod">
          <ac:chgData name="Ugo MANTEL" userId="2d5b7065-31bb-4181-a7f8-a73bf0c30211" providerId="ADAL" clId="{9344D105-636D-4857-BD0F-AFC44A54BCCF}" dt="2021-05-25T14:20:11.258" v="27959" actId="790"/>
          <ac:spMkLst>
            <pc:docMk/>
            <pc:sldMk cId="3968368318" sldId="10448"/>
            <ac:spMk id="45" creationId="{81D23D10-6232-4D82-8BCF-13B9525E1855}"/>
          </ac:spMkLst>
        </pc:spChg>
        <pc:spChg chg="mod">
          <ac:chgData name="Ugo MANTEL" userId="2d5b7065-31bb-4181-a7f8-a73bf0c30211" providerId="ADAL" clId="{9344D105-636D-4857-BD0F-AFC44A54BCCF}" dt="2021-05-25T14:20:11.259" v="27960" actId="790"/>
          <ac:spMkLst>
            <pc:docMk/>
            <pc:sldMk cId="3968368318" sldId="10448"/>
            <ac:spMk id="46" creationId="{041E4A41-5EFF-4E8D-82D0-B598CD53AEB6}"/>
          </ac:spMkLst>
        </pc:spChg>
        <pc:spChg chg="mod">
          <ac:chgData name="Ugo MANTEL" userId="2d5b7065-31bb-4181-a7f8-a73bf0c30211" providerId="ADAL" clId="{9344D105-636D-4857-BD0F-AFC44A54BCCF}" dt="2021-05-25T14:20:11.260" v="27961" actId="790"/>
          <ac:spMkLst>
            <pc:docMk/>
            <pc:sldMk cId="3968368318" sldId="10448"/>
            <ac:spMk id="49" creationId="{9FC58EF0-5CD6-4A71-8940-F6C8C883FBD1}"/>
          </ac:spMkLst>
        </pc:spChg>
        <pc:spChg chg="mod">
          <ac:chgData name="Ugo MANTEL" userId="2d5b7065-31bb-4181-a7f8-a73bf0c30211" providerId="ADAL" clId="{9344D105-636D-4857-BD0F-AFC44A54BCCF}" dt="2021-05-25T14:20:11.261" v="27962" actId="790"/>
          <ac:spMkLst>
            <pc:docMk/>
            <pc:sldMk cId="3968368318" sldId="10448"/>
            <ac:spMk id="50" creationId="{0B6C5844-4A3E-4824-8EAE-60D3B3E1BFF5}"/>
          </ac:spMkLst>
        </pc:spChg>
        <pc:spChg chg="mod">
          <ac:chgData name="Ugo MANTEL" userId="2d5b7065-31bb-4181-a7f8-a73bf0c30211" providerId="ADAL" clId="{9344D105-636D-4857-BD0F-AFC44A54BCCF}" dt="2021-05-25T14:20:11.261" v="27963" actId="790"/>
          <ac:spMkLst>
            <pc:docMk/>
            <pc:sldMk cId="3968368318" sldId="10448"/>
            <ac:spMk id="51" creationId="{8F8A1894-627E-4A77-8FEF-2E5519D9FC48}"/>
          </ac:spMkLst>
        </pc:spChg>
        <pc:spChg chg="mod">
          <ac:chgData name="Ugo MANTEL" userId="2d5b7065-31bb-4181-a7f8-a73bf0c30211" providerId="ADAL" clId="{9344D105-636D-4857-BD0F-AFC44A54BCCF}" dt="2021-05-25T14:20:11.264" v="27964" actId="790"/>
          <ac:spMkLst>
            <pc:docMk/>
            <pc:sldMk cId="3968368318" sldId="10448"/>
            <ac:spMk id="52" creationId="{76A2D6C4-57ED-451A-A7F1-033FE34AB68E}"/>
          </ac:spMkLst>
        </pc:spChg>
        <pc:spChg chg="mod">
          <ac:chgData name="Ugo MANTEL" userId="2d5b7065-31bb-4181-a7f8-a73bf0c30211" providerId="ADAL" clId="{9344D105-636D-4857-BD0F-AFC44A54BCCF}" dt="2021-05-25T14:20:11.265" v="27965" actId="790"/>
          <ac:spMkLst>
            <pc:docMk/>
            <pc:sldMk cId="3968368318" sldId="10448"/>
            <ac:spMk id="53" creationId="{1D696651-4ADA-4682-8B2D-872B8258B7F2}"/>
          </ac:spMkLst>
        </pc:spChg>
        <pc:spChg chg="mod">
          <ac:chgData name="Ugo MANTEL" userId="2d5b7065-31bb-4181-a7f8-a73bf0c30211" providerId="ADAL" clId="{9344D105-636D-4857-BD0F-AFC44A54BCCF}" dt="2021-05-25T14:20:11.276" v="27978" actId="790"/>
          <ac:spMkLst>
            <pc:docMk/>
            <pc:sldMk cId="3968368318" sldId="10448"/>
            <ac:spMk id="57" creationId="{3CD06849-19BD-4D03-B457-9CAEE36515EE}"/>
          </ac:spMkLst>
        </pc:spChg>
        <pc:spChg chg="mod">
          <ac:chgData name="Ugo MANTEL" userId="2d5b7065-31bb-4181-a7f8-a73bf0c30211" providerId="ADAL" clId="{9344D105-636D-4857-BD0F-AFC44A54BCCF}" dt="2021-05-25T14:20:11.266" v="27966" actId="790"/>
          <ac:spMkLst>
            <pc:docMk/>
            <pc:sldMk cId="3968368318" sldId="10448"/>
            <ac:spMk id="59" creationId="{3DAFC222-EE91-423E-A279-AC68BF7E5200}"/>
          </ac:spMkLst>
        </pc:spChg>
        <pc:spChg chg="mod">
          <ac:chgData name="Ugo MANTEL" userId="2d5b7065-31bb-4181-a7f8-a73bf0c30211" providerId="ADAL" clId="{9344D105-636D-4857-BD0F-AFC44A54BCCF}" dt="2021-05-25T14:20:11.276" v="27979" actId="790"/>
          <ac:spMkLst>
            <pc:docMk/>
            <pc:sldMk cId="3968368318" sldId="10448"/>
            <ac:spMk id="60" creationId="{FED185D1-0646-4D42-BE32-1FFB44D7F8B2}"/>
          </ac:spMkLst>
        </pc:spChg>
        <pc:spChg chg="mod">
          <ac:chgData name="Ugo MANTEL" userId="2d5b7065-31bb-4181-a7f8-a73bf0c30211" providerId="ADAL" clId="{9344D105-636D-4857-BD0F-AFC44A54BCCF}" dt="2021-05-25T14:20:11.277" v="27980" actId="790"/>
          <ac:spMkLst>
            <pc:docMk/>
            <pc:sldMk cId="3968368318" sldId="10448"/>
            <ac:spMk id="61" creationId="{4E517523-BD87-4EA5-9774-D37BE602A52D}"/>
          </ac:spMkLst>
        </pc:spChg>
        <pc:spChg chg="mod">
          <ac:chgData name="Ugo MANTEL" userId="2d5b7065-31bb-4181-a7f8-a73bf0c30211" providerId="ADAL" clId="{9344D105-636D-4857-BD0F-AFC44A54BCCF}" dt="2021-05-25T14:20:11.277" v="27981" actId="790"/>
          <ac:spMkLst>
            <pc:docMk/>
            <pc:sldMk cId="3968368318" sldId="10448"/>
            <ac:spMk id="62" creationId="{7FDD9C11-CF24-4E30-9796-2BB708C41E55}"/>
          </ac:spMkLst>
        </pc:spChg>
        <pc:spChg chg="del">
          <ac:chgData name="Ugo MANTEL" userId="2d5b7065-31bb-4181-a7f8-a73bf0c30211" providerId="ADAL" clId="{9344D105-636D-4857-BD0F-AFC44A54BCCF}" dt="2021-05-24T13:38:45.464" v="7494" actId="478"/>
          <ac:spMkLst>
            <pc:docMk/>
            <pc:sldMk cId="3968368318" sldId="10448"/>
            <ac:spMk id="66" creationId="{B9F94985-511B-4593-BED8-531D9DDB34BC}"/>
          </ac:spMkLst>
        </pc:spChg>
        <pc:spChg chg="del">
          <ac:chgData name="Ugo MANTEL" userId="2d5b7065-31bb-4181-a7f8-a73bf0c30211" providerId="ADAL" clId="{9344D105-636D-4857-BD0F-AFC44A54BCCF}" dt="2021-05-24T13:38:45.464" v="7494" actId="478"/>
          <ac:spMkLst>
            <pc:docMk/>
            <pc:sldMk cId="3968368318" sldId="10448"/>
            <ac:spMk id="69" creationId="{DA89BA4E-15F3-45D7-AC53-C7B00BDF69BA}"/>
          </ac:spMkLst>
        </pc:spChg>
        <pc:spChg chg="del">
          <ac:chgData name="Ugo MANTEL" userId="2d5b7065-31bb-4181-a7f8-a73bf0c30211" providerId="ADAL" clId="{9344D105-636D-4857-BD0F-AFC44A54BCCF}" dt="2021-05-24T13:38:45.464" v="7494" actId="478"/>
          <ac:spMkLst>
            <pc:docMk/>
            <pc:sldMk cId="3968368318" sldId="10448"/>
            <ac:spMk id="70" creationId="{1C84C3EF-8C31-4EE7-872D-C166B49C2FF4}"/>
          </ac:spMkLst>
        </pc:spChg>
        <pc:spChg chg="del">
          <ac:chgData name="Ugo MANTEL" userId="2d5b7065-31bb-4181-a7f8-a73bf0c30211" providerId="ADAL" clId="{9344D105-636D-4857-BD0F-AFC44A54BCCF}" dt="2021-05-24T13:38:45.464" v="7494" actId="478"/>
          <ac:spMkLst>
            <pc:docMk/>
            <pc:sldMk cId="3968368318" sldId="10448"/>
            <ac:spMk id="72" creationId="{EBB284DA-4049-4637-8581-206F535B6594}"/>
          </ac:spMkLst>
        </pc:spChg>
        <pc:spChg chg="mod">
          <ac:chgData name="Ugo MANTEL" userId="2d5b7065-31bb-4181-a7f8-a73bf0c30211" providerId="ADAL" clId="{9344D105-636D-4857-BD0F-AFC44A54BCCF}" dt="2021-05-25T14:20:11.271" v="27970" actId="790"/>
          <ac:spMkLst>
            <pc:docMk/>
            <pc:sldMk cId="3968368318" sldId="10448"/>
            <ac:spMk id="75" creationId="{3B90C99E-5118-46A1-8F4B-BC0DCBD5F532}"/>
          </ac:spMkLst>
        </pc:spChg>
        <pc:spChg chg="add mod">
          <ac:chgData name="Ugo MANTEL" userId="2d5b7065-31bb-4181-a7f8-a73bf0c30211" providerId="ADAL" clId="{9344D105-636D-4857-BD0F-AFC44A54BCCF}" dt="2021-05-25T14:20:11.275" v="27977" actId="790"/>
          <ac:spMkLst>
            <pc:docMk/>
            <pc:sldMk cId="3968368318" sldId="10448"/>
            <ac:spMk id="77" creationId="{BC4455CD-3F6E-4577-AC5C-0ACD067A5D2E}"/>
          </ac:spMkLst>
        </pc:spChg>
        <pc:spChg chg="mod">
          <ac:chgData name="Ugo MANTEL" userId="2d5b7065-31bb-4181-a7f8-a73bf0c30211" providerId="ADAL" clId="{9344D105-636D-4857-BD0F-AFC44A54BCCF}" dt="2021-05-25T14:20:11.271" v="27971" actId="790"/>
          <ac:spMkLst>
            <pc:docMk/>
            <pc:sldMk cId="3968368318" sldId="10448"/>
            <ac:spMk id="78" creationId="{29A37347-61AA-4078-80BD-C960E43A81AF}"/>
          </ac:spMkLst>
        </pc:spChg>
        <pc:spChg chg="mod">
          <ac:chgData name="Ugo MANTEL" userId="2d5b7065-31bb-4181-a7f8-a73bf0c30211" providerId="ADAL" clId="{9344D105-636D-4857-BD0F-AFC44A54BCCF}" dt="2021-05-25T14:20:11.273" v="27974" actId="790"/>
          <ac:spMkLst>
            <pc:docMk/>
            <pc:sldMk cId="3968368318" sldId="10448"/>
            <ac:spMk id="81" creationId="{21CC608C-B99A-4A42-9697-626D17010014}"/>
          </ac:spMkLst>
        </pc:spChg>
        <pc:spChg chg="mod">
          <ac:chgData name="Ugo MANTEL" userId="2d5b7065-31bb-4181-a7f8-a73bf0c30211" providerId="ADAL" clId="{9344D105-636D-4857-BD0F-AFC44A54BCCF}" dt="2021-05-24T13:38:45.962" v="7495"/>
          <ac:spMkLst>
            <pc:docMk/>
            <pc:sldMk cId="3968368318" sldId="10448"/>
            <ac:spMk id="82" creationId="{BD62E9E8-E0BF-4E73-B1AF-3ADA82858B78}"/>
          </ac:spMkLst>
        </pc:spChg>
        <pc:spChg chg="mod">
          <ac:chgData name="Ugo MANTEL" userId="2d5b7065-31bb-4181-a7f8-a73bf0c30211" providerId="ADAL" clId="{9344D105-636D-4857-BD0F-AFC44A54BCCF}" dt="2021-05-24T13:38:45.962" v="7495"/>
          <ac:spMkLst>
            <pc:docMk/>
            <pc:sldMk cId="3968368318" sldId="10448"/>
            <ac:spMk id="83" creationId="{42E8BC0F-9E16-44E3-A5C1-56DDFB8C41D3}"/>
          </ac:spMkLst>
        </pc:spChg>
        <pc:spChg chg="mod">
          <ac:chgData name="Ugo MANTEL" userId="2d5b7065-31bb-4181-a7f8-a73bf0c30211" providerId="ADAL" clId="{9344D105-636D-4857-BD0F-AFC44A54BCCF}" dt="2021-05-24T13:38:45.962" v="7495"/>
          <ac:spMkLst>
            <pc:docMk/>
            <pc:sldMk cId="3968368318" sldId="10448"/>
            <ac:spMk id="84" creationId="{64B7059C-3B40-4861-9A53-5FCA0408ECF1}"/>
          </ac:spMkLst>
        </pc:spChg>
        <pc:spChg chg="mod">
          <ac:chgData name="Ugo MANTEL" userId="2d5b7065-31bb-4181-a7f8-a73bf0c30211" providerId="ADAL" clId="{9344D105-636D-4857-BD0F-AFC44A54BCCF}" dt="2021-05-24T13:38:45.962" v="7495"/>
          <ac:spMkLst>
            <pc:docMk/>
            <pc:sldMk cId="3968368318" sldId="10448"/>
            <ac:spMk id="85" creationId="{B3E08325-F9BB-4C29-B377-B00F7C54BC7E}"/>
          </ac:spMkLst>
        </pc:spChg>
        <pc:spChg chg="mod">
          <ac:chgData name="Ugo MANTEL" userId="2d5b7065-31bb-4181-a7f8-a73bf0c30211" providerId="ADAL" clId="{9344D105-636D-4857-BD0F-AFC44A54BCCF}" dt="2021-05-24T13:38:45.962" v="7495"/>
          <ac:spMkLst>
            <pc:docMk/>
            <pc:sldMk cId="3968368318" sldId="10448"/>
            <ac:spMk id="86" creationId="{B2F4B5C2-B876-4D81-9B74-C2FFF92AD648}"/>
          </ac:spMkLst>
        </pc:spChg>
        <pc:spChg chg="mod">
          <ac:chgData name="Ugo MANTEL" userId="2d5b7065-31bb-4181-a7f8-a73bf0c30211" providerId="ADAL" clId="{9344D105-636D-4857-BD0F-AFC44A54BCCF}" dt="2021-05-25T14:20:11.272" v="27972" actId="790"/>
          <ac:spMkLst>
            <pc:docMk/>
            <pc:sldMk cId="3968368318" sldId="10448"/>
            <ac:spMk id="87" creationId="{011A9D4A-70AD-43A5-9A8B-1BA37B50CD90}"/>
          </ac:spMkLst>
        </pc:spChg>
        <pc:spChg chg="mod">
          <ac:chgData name="Ugo MANTEL" userId="2d5b7065-31bb-4181-a7f8-a73bf0c30211" providerId="ADAL" clId="{9344D105-636D-4857-BD0F-AFC44A54BCCF}" dt="2021-05-24T13:38:45.962" v="7495"/>
          <ac:spMkLst>
            <pc:docMk/>
            <pc:sldMk cId="3968368318" sldId="10448"/>
            <ac:spMk id="89" creationId="{6C12B321-3DB8-4176-AF24-B9FBD9E1B678}"/>
          </ac:spMkLst>
        </pc:spChg>
        <pc:spChg chg="mod">
          <ac:chgData name="Ugo MANTEL" userId="2d5b7065-31bb-4181-a7f8-a73bf0c30211" providerId="ADAL" clId="{9344D105-636D-4857-BD0F-AFC44A54BCCF}" dt="2021-05-25T14:20:11.273" v="27973" actId="790"/>
          <ac:spMkLst>
            <pc:docMk/>
            <pc:sldMk cId="3968368318" sldId="10448"/>
            <ac:spMk id="92" creationId="{8AB39739-AED6-4791-9E02-58EE9F6AB505}"/>
          </ac:spMkLst>
        </pc:spChg>
        <pc:spChg chg="mod">
          <ac:chgData name="Ugo MANTEL" userId="2d5b7065-31bb-4181-a7f8-a73bf0c30211" providerId="ADAL" clId="{9344D105-636D-4857-BD0F-AFC44A54BCCF}" dt="2021-05-25T14:20:11.267" v="27967" actId="790"/>
          <ac:spMkLst>
            <pc:docMk/>
            <pc:sldMk cId="3968368318" sldId="10448"/>
            <ac:spMk id="94" creationId="{BF59A564-3768-4FD0-BB89-C2C9D89D7D6F}"/>
          </ac:spMkLst>
        </pc:spChg>
        <pc:spChg chg="mod">
          <ac:chgData name="Ugo MANTEL" userId="2d5b7065-31bb-4181-a7f8-a73bf0c30211" providerId="ADAL" clId="{9344D105-636D-4857-BD0F-AFC44A54BCCF}" dt="2021-05-25T14:20:11.274" v="27975" actId="790"/>
          <ac:spMkLst>
            <pc:docMk/>
            <pc:sldMk cId="3968368318" sldId="10448"/>
            <ac:spMk id="96" creationId="{CE4E2441-955C-4882-BD20-B9505DC3A971}"/>
          </ac:spMkLst>
        </pc:spChg>
        <pc:spChg chg="mod">
          <ac:chgData name="Ugo MANTEL" userId="2d5b7065-31bb-4181-a7f8-a73bf0c30211" providerId="ADAL" clId="{9344D105-636D-4857-BD0F-AFC44A54BCCF}" dt="2021-05-25T14:20:11.269" v="27968" actId="790"/>
          <ac:spMkLst>
            <pc:docMk/>
            <pc:sldMk cId="3968368318" sldId="10448"/>
            <ac:spMk id="97" creationId="{8FC70572-4538-4FAA-BEC9-F74E3EC477C1}"/>
          </ac:spMkLst>
        </pc:spChg>
        <pc:spChg chg="mod">
          <ac:chgData name="Ugo MANTEL" userId="2d5b7065-31bb-4181-a7f8-a73bf0c30211" providerId="ADAL" clId="{9344D105-636D-4857-BD0F-AFC44A54BCCF}" dt="2021-05-25T14:20:11.270" v="27969" actId="790"/>
          <ac:spMkLst>
            <pc:docMk/>
            <pc:sldMk cId="3968368318" sldId="10448"/>
            <ac:spMk id="98" creationId="{FC1F4A9D-DB6A-4376-88B8-66395C2A5202}"/>
          </ac:spMkLst>
        </pc:spChg>
        <pc:spChg chg="mod">
          <ac:chgData name="Ugo MANTEL" userId="2d5b7065-31bb-4181-a7f8-a73bf0c30211" providerId="ADAL" clId="{9344D105-636D-4857-BD0F-AFC44A54BCCF}" dt="2021-05-25T14:20:11.275" v="27976" actId="790"/>
          <ac:spMkLst>
            <pc:docMk/>
            <pc:sldMk cId="3968368318" sldId="10448"/>
            <ac:spMk id="99" creationId="{A3D680AA-841F-4FE7-9115-FEE6A855B5C5}"/>
          </ac:spMkLst>
        </pc:spChg>
        <pc:spChg chg="del">
          <ac:chgData name="Ugo MANTEL" userId="2d5b7065-31bb-4181-a7f8-a73bf0c30211" providerId="ADAL" clId="{9344D105-636D-4857-BD0F-AFC44A54BCCF}" dt="2021-05-24T13:38:45.464" v="7494" actId="478"/>
          <ac:spMkLst>
            <pc:docMk/>
            <pc:sldMk cId="3968368318" sldId="10448"/>
            <ac:spMk id="100" creationId="{C3A9358C-94EE-4710-B0E3-5B8CA00D88D5}"/>
          </ac:spMkLst>
        </pc:spChg>
        <pc:grpChg chg="add mod">
          <ac:chgData name="Ugo MANTEL" userId="2d5b7065-31bb-4181-a7f8-a73bf0c30211" providerId="ADAL" clId="{9344D105-636D-4857-BD0F-AFC44A54BCCF}" dt="2021-05-24T13:38:45.962" v="7495"/>
          <ac:grpSpMkLst>
            <pc:docMk/>
            <pc:sldMk cId="3968368318" sldId="10448"/>
            <ac:grpSpMk id="79" creationId="{C404B009-86CB-427A-B7F8-655CEC77C55B}"/>
          </ac:grpSpMkLst>
        </pc:grpChg>
      </pc:sldChg>
      <pc:sldChg chg="modSp mod">
        <pc:chgData name="Ugo MANTEL" userId="2d5b7065-31bb-4181-a7f8-a73bf0c30211" providerId="ADAL" clId="{9344D105-636D-4857-BD0F-AFC44A54BCCF}" dt="2021-05-25T14:20:12.111" v="28817" actId="790"/>
        <pc:sldMkLst>
          <pc:docMk/>
          <pc:sldMk cId="3405907677" sldId="10449"/>
        </pc:sldMkLst>
        <pc:spChg chg="mod">
          <ac:chgData name="Ugo MANTEL" userId="2d5b7065-31bb-4181-a7f8-a73bf0c30211" providerId="ADAL" clId="{9344D105-636D-4857-BD0F-AFC44A54BCCF}" dt="2021-05-25T14:20:12.036" v="28723" actId="790"/>
          <ac:spMkLst>
            <pc:docMk/>
            <pc:sldMk cId="3405907677" sldId="10449"/>
            <ac:spMk id="2" creationId="{531041C5-E8A2-412F-8DD7-D013B496B687}"/>
          </ac:spMkLst>
        </pc:spChg>
        <pc:spChg chg="mod">
          <ac:chgData name="Ugo MANTEL" userId="2d5b7065-31bb-4181-a7f8-a73bf0c30211" providerId="ADAL" clId="{9344D105-636D-4857-BD0F-AFC44A54BCCF}" dt="2021-05-25T14:20:12.054" v="28747" actId="790"/>
          <ac:spMkLst>
            <pc:docMk/>
            <pc:sldMk cId="3405907677" sldId="10449"/>
            <ac:spMk id="13" creationId="{3B30A3CA-590A-4A51-AA32-7AFB85C131DA}"/>
          </ac:spMkLst>
        </pc:spChg>
        <pc:spChg chg="mod">
          <ac:chgData name="Ugo MANTEL" userId="2d5b7065-31bb-4181-a7f8-a73bf0c30211" providerId="ADAL" clId="{9344D105-636D-4857-BD0F-AFC44A54BCCF}" dt="2021-05-25T14:20:12.054" v="28748" actId="790"/>
          <ac:spMkLst>
            <pc:docMk/>
            <pc:sldMk cId="3405907677" sldId="10449"/>
            <ac:spMk id="14" creationId="{3B30A3CA-590A-4A51-AA32-7AFB85C131DA}"/>
          </ac:spMkLst>
        </pc:spChg>
        <pc:spChg chg="mod">
          <ac:chgData name="Ugo MANTEL" userId="2d5b7065-31bb-4181-a7f8-a73bf0c30211" providerId="ADAL" clId="{9344D105-636D-4857-BD0F-AFC44A54BCCF}" dt="2021-05-25T14:20:12.055" v="28749" actId="790"/>
          <ac:spMkLst>
            <pc:docMk/>
            <pc:sldMk cId="3405907677" sldId="10449"/>
            <ac:spMk id="16" creationId="{A3DDF398-9E20-4E28-92A0-F1C2DBE27BF0}"/>
          </ac:spMkLst>
        </pc:spChg>
        <pc:spChg chg="mod">
          <ac:chgData name="Ugo MANTEL" userId="2d5b7065-31bb-4181-a7f8-a73bf0c30211" providerId="ADAL" clId="{9344D105-636D-4857-BD0F-AFC44A54BCCF}" dt="2021-05-25T14:20:12.055" v="28750" actId="790"/>
          <ac:spMkLst>
            <pc:docMk/>
            <pc:sldMk cId="3405907677" sldId="10449"/>
            <ac:spMk id="17" creationId="{31CD3EEA-CBD9-4B6E-8261-B1EE77EE3676}"/>
          </ac:spMkLst>
        </pc:spChg>
        <pc:spChg chg="mod">
          <ac:chgData name="Ugo MANTEL" userId="2d5b7065-31bb-4181-a7f8-a73bf0c30211" providerId="ADAL" clId="{9344D105-636D-4857-BD0F-AFC44A54BCCF}" dt="2021-05-25T14:20:12.111" v="28817" actId="790"/>
          <ac:spMkLst>
            <pc:docMk/>
            <pc:sldMk cId="3405907677" sldId="10449"/>
            <ac:spMk id="135" creationId="{2894B66D-44B3-47ED-9D52-1BA71DDE00DB}"/>
          </ac:spMkLst>
        </pc:spChg>
        <pc:spChg chg="mod">
          <ac:chgData name="Ugo MANTEL" userId="2d5b7065-31bb-4181-a7f8-a73bf0c30211" providerId="ADAL" clId="{9344D105-636D-4857-BD0F-AFC44A54BCCF}" dt="2021-05-25T14:20:12.083" v="28783" actId="790"/>
          <ac:spMkLst>
            <pc:docMk/>
            <pc:sldMk cId="3405907677" sldId="10449"/>
            <ac:spMk id="159" creationId="{FB3F06D8-EE42-4C35-8957-C056125A063F}"/>
          </ac:spMkLst>
        </pc:spChg>
        <pc:spChg chg="mod">
          <ac:chgData name="Ugo MANTEL" userId="2d5b7065-31bb-4181-a7f8-a73bf0c30211" providerId="ADAL" clId="{9344D105-636D-4857-BD0F-AFC44A54BCCF}" dt="2021-05-25T14:20:12.074" v="28770" actId="790"/>
          <ac:spMkLst>
            <pc:docMk/>
            <pc:sldMk cId="3405907677" sldId="10449"/>
            <ac:spMk id="225" creationId="{7679DE8E-39F8-485C-A0DC-BE05C3B4972F}"/>
          </ac:spMkLst>
        </pc:spChg>
        <pc:spChg chg="mod">
          <ac:chgData name="Ugo MANTEL" userId="2d5b7065-31bb-4181-a7f8-a73bf0c30211" providerId="ADAL" clId="{9344D105-636D-4857-BD0F-AFC44A54BCCF}" dt="2021-05-25T14:20:12.037" v="28724" actId="790"/>
          <ac:spMkLst>
            <pc:docMk/>
            <pc:sldMk cId="3405907677" sldId="10449"/>
            <ac:spMk id="230" creationId="{9EA79B0A-01B5-4610-951C-41B3946C28C3}"/>
          </ac:spMkLst>
        </pc:spChg>
        <pc:spChg chg="mod">
          <ac:chgData name="Ugo MANTEL" userId="2d5b7065-31bb-4181-a7f8-a73bf0c30211" providerId="ADAL" clId="{9344D105-636D-4857-BD0F-AFC44A54BCCF}" dt="2021-05-25T14:20:12.084" v="28784" actId="790"/>
          <ac:spMkLst>
            <pc:docMk/>
            <pc:sldMk cId="3405907677" sldId="10449"/>
            <ac:spMk id="239" creationId="{4F02B17A-8312-4B62-988C-BEB3EB7580B4}"/>
          </ac:spMkLst>
        </pc:spChg>
        <pc:spChg chg="mod">
          <ac:chgData name="Ugo MANTEL" userId="2d5b7065-31bb-4181-a7f8-a73bf0c30211" providerId="ADAL" clId="{9344D105-636D-4857-BD0F-AFC44A54BCCF}" dt="2021-05-25T14:20:12.085" v="28785" actId="790"/>
          <ac:spMkLst>
            <pc:docMk/>
            <pc:sldMk cId="3405907677" sldId="10449"/>
            <ac:spMk id="240" creationId="{140A5ECC-59E7-4A8F-8AAA-188375FB7A58}"/>
          </ac:spMkLst>
        </pc:spChg>
        <pc:spChg chg="mod">
          <ac:chgData name="Ugo MANTEL" userId="2d5b7065-31bb-4181-a7f8-a73bf0c30211" providerId="ADAL" clId="{9344D105-636D-4857-BD0F-AFC44A54BCCF}" dt="2021-05-25T14:20:12.086" v="28786" actId="790"/>
          <ac:spMkLst>
            <pc:docMk/>
            <pc:sldMk cId="3405907677" sldId="10449"/>
            <ac:spMk id="241" creationId="{8A0D1443-E572-4F8C-992F-B94B18BD1E4F}"/>
          </ac:spMkLst>
        </pc:spChg>
        <pc:spChg chg="mod">
          <ac:chgData name="Ugo MANTEL" userId="2d5b7065-31bb-4181-a7f8-a73bf0c30211" providerId="ADAL" clId="{9344D105-636D-4857-BD0F-AFC44A54BCCF}" dt="2021-05-25T14:20:12.086" v="28787" actId="790"/>
          <ac:spMkLst>
            <pc:docMk/>
            <pc:sldMk cId="3405907677" sldId="10449"/>
            <ac:spMk id="242" creationId="{78D5196F-1640-4EF1-B9AF-8BDEDC5A0403}"/>
          </ac:spMkLst>
        </pc:spChg>
        <pc:spChg chg="mod">
          <ac:chgData name="Ugo MANTEL" userId="2d5b7065-31bb-4181-a7f8-a73bf0c30211" providerId="ADAL" clId="{9344D105-636D-4857-BD0F-AFC44A54BCCF}" dt="2021-05-25T14:20:12.087" v="28788" actId="790"/>
          <ac:spMkLst>
            <pc:docMk/>
            <pc:sldMk cId="3405907677" sldId="10449"/>
            <ac:spMk id="243" creationId="{10A460B4-BD08-47E3-9A8C-D65D510D36D0}"/>
          </ac:spMkLst>
        </pc:spChg>
        <pc:spChg chg="mod">
          <ac:chgData name="Ugo MANTEL" userId="2d5b7065-31bb-4181-a7f8-a73bf0c30211" providerId="ADAL" clId="{9344D105-636D-4857-BD0F-AFC44A54BCCF}" dt="2021-05-25T14:20:12.088" v="28789" actId="790"/>
          <ac:spMkLst>
            <pc:docMk/>
            <pc:sldMk cId="3405907677" sldId="10449"/>
            <ac:spMk id="244" creationId="{813205A3-2F26-4707-BDD6-F05C30CC0265}"/>
          </ac:spMkLst>
        </pc:spChg>
        <pc:spChg chg="mod">
          <ac:chgData name="Ugo MANTEL" userId="2d5b7065-31bb-4181-a7f8-a73bf0c30211" providerId="ADAL" clId="{9344D105-636D-4857-BD0F-AFC44A54BCCF}" dt="2021-05-25T14:20:12.089" v="28790" actId="790"/>
          <ac:spMkLst>
            <pc:docMk/>
            <pc:sldMk cId="3405907677" sldId="10449"/>
            <ac:spMk id="245" creationId="{B7F07B0D-CDB2-4A1E-8ECB-48CB7A464556}"/>
          </ac:spMkLst>
        </pc:spChg>
        <pc:spChg chg="mod">
          <ac:chgData name="Ugo MANTEL" userId="2d5b7065-31bb-4181-a7f8-a73bf0c30211" providerId="ADAL" clId="{9344D105-636D-4857-BD0F-AFC44A54BCCF}" dt="2021-05-25T14:20:12.053" v="28746" actId="790"/>
          <ac:spMkLst>
            <pc:docMk/>
            <pc:sldMk cId="3405907677" sldId="10449"/>
            <ac:spMk id="246" creationId="{7F1F97ED-F6F2-481A-8BE1-2903CCD48A4D}"/>
          </ac:spMkLst>
        </pc:spChg>
        <pc:spChg chg="mod">
          <ac:chgData name="Ugo MANTEL" userId="2d5b7065-31bb-4181-a7f8-a73bf0c30211" providerId="ADAL" clId="{9344D105-636D-4857-BD0F-AFC44A54BCCF}" dt="2021-05-25T14:20:12.090" v="28791" actId="790"/>
          <ac:spMkLst>
            <pc:docMk/>
            <pc:sldMk cId="3405907677" sldId="10449"/>
            <ac:spMk id="248" creationId="{877630E0-6749-4105-9DEF-3F53A7D7C123}"/>
          </ac:spMkLst>
        </pc:spChg>
        <pc:spChg chg="mod">
          <ac:chgData name="Ugo MANTEL" userId="2d5b7065-31bb-4181-a7f8-a73bf0c30211" providerId="ADAL" clId="{9344D105-636D-4857-BD0F-AFC44A54BCCF}" dt="2021-05-25T14:20:12.091" v="28792" actId="790"/>
          <ac:spMkLst>
            <pc:docMk/>
            <pc:sldMk cId="3405907677" sldId="10449"/>
            <ac:spMk id="249" creationId="{46F4DB19-4F2B-4B61-BD17-FC2DFAA2FA1C}"/>
          </ac:spMkLst>
        </pc:spChg>
        <pc:spChg chg="mod">
          <ac:chgData name="Ugo MANTEL" userId="2d5b7065-31bb-4181-a7f8-a73bf0c30211" providerId="ADAL" clId="{9344D105-636D-4857-BD0F-AFC44A54BCCF}" dt="2021-05-25T14:20:12.091" v="28793" actId="790"/>
          <ac:spMkLst>
            <pc:docMk/>
            <pc:sldMk cId="3405907677" sldId="10449"/>
            <ac:spMk id="250" creationId="{5A9A6392-FC3C-4337-9B83-45362AEC62DA}"/>
          </ac:spMkLst>
        </pc:spChg>
        <pc:spChg chg="mod">
          <ac:chgData name="Ugo MANTEL" userId="2d5b7065-31bb-4181-a7f8-a73bf0c30211" providerId="ADAL" clId="{9344D105-636D-4857-BD0F-AFC44A54BCCF}" dt="2021-05-25T14:20:12.092" v="28794" actId="790"/>
          <ac:spMkLst>
            <pc:docMk/>
            <pc:sldMk cId="3405907677" sldId="10449"/>
            <ac:spMk id="251" creationId="{384D57D2-2E4A-4619-9DCA-32276997CBE7}"/>
          </ac:spMkLst>
        </pc:spChg>
        <pc:spChg chg="mod">
          <ac:chgData name="Ugo MANTEL" userId="2d5b7065-31bb-4181-a7f8-a73bf0c30211" providerId="ADAL" clId="{9344D105-636D-4857-BD0F-AFC44A54BCCF}" dt="2021-05-25T14:20:12.056" v="28751" actId="790"/>
          <ac:spMkLst>
            <pc:docMk/>
            <pc:sldMk cId="3405907677" sldId="10449"/>
            <ac:spMk id="252" creationId="{77C078FA-ECDF-445F-AB6F-0A015B53334F}"/>
          </ac:spMkLst>
        </pc:spChg>
        <pc:spChg chg="mod">
          <ac:chgData name="Ugo MANTEL" userId="2d5b7065-31bb-4181-a7f8-a73bf0c30211" providerId="ADAL" clId="{9344D105-636D-4857-BD0F-AFC44A54BCCF}" dt="2021-05-25T14:20:12.057" v="28752" actId="790"/>
          <ac:spMkLst>
            <pc:docMk/>
            <pc:sldMk cId="3405907677" sldId="10449"/>
            <ac:spMk id="253" creationId="{C5F8EE71-A1ED-49D0-8285-A1A08F8BD77E}"/>
          </ac:spMkLst>
        </pc:spChg>
        <pc:spChg chg="mod">
          <ac:chgData name="Ugo MANTEL" userId="2d5b7065-31bb-4181-a7f8-a73bf0c30211" providerId="ADAL" clId="{9344D105-636D-4857-BD0F-AFC44A54BCCF}" dt="2021-05-25T14:20:12.058" v="28753" actId="790"/>
          <ac:spMkLst>
            <pc:docMk/>
            <pc:sldMk cId="3405907677" sldId="10449"/>
            <ac:spMk id="254" creationId="{4E933E1C-26AB-49C1-AEE7-14922BFE7D2E}"/>
          </ac:spMkLst>
        </pc:spChg>
        <pc:spChg chg="mod">
          <ac:chgData name="Ugo MANTEL" userId="2d5b7065-31bb-4181-a7f8-a73bf0c30211" providerId="ADAL" clId="{9344D105-636D-4857-BD0F-AFC44A54BCCF}" dt="2021-05-25T14:20:12.074" v="28771" actId="790"/>
          <ac:spMkLst>
            <pc:docMk/>
            <pc:sldMk cId="3405907677" sldId="10449"/>
            <ac:spMk id="258" creationId="{1B6A9CD0-BD14-4B49-B9C9-1ABF2E3962FC}"/>
          </ac:spMkLst>
        </pc:spChg>
        <pc:spChg chg="mod">
          <ac:chgData name="Ugo MANTEL" userId="2d5b7065-31bb-4181-a7f8-a73bf0c30211" providerId="ADAL" clId="{9344D105-636D-4857-BD0F-AFC44A54BCCF}" dt="2021-05-25T14:20:12.075" v="28772" actId="790"/>
          <ac:spMkLst>
            <pc:docMk/>
            <pc:sldMk cId="3405907677" sldId="10449"/>
            <ac:spMk id="259" creationId="{7A14C56E-AF07-47D5-8815-E79B103F6FD5}"/>
          </ac:spMkLst>
        </pc:spChg>
        <pc:spChg chg="mod">
          <ac:chgData name="Ugo MANTEL" userId="2d5b7065-31bb-4181-a7f8-a73bf0c30211" providerId="ADAL" clId="{9344D105-636D-4857-BD0F-AFC44A54BCCF}" dt="2021-05-25T14:20:12.076" v="28773" actId="790"/>
          <ac:spMkLst>
            <pc:docMk/>
            <pc:sldMk cId="3405907677" sldId="10449"/>
            <ac:spMk id="260" creationId="{64AB9227-8BE1-4C2E-9A38-EF0B676ACF54}"/>
          </ac:spMkLst>
        </pc:spChg>
        <pc:spChg chg="mod">
          <ac:chgData name="Ugo MANTEL" userId="2d5b7065-31bb-4181-a7f8-a73bf0c30211" providerId="ADAL" clId="{9344D105-636D-4857-BD0F-AFC44A54BCCF}" dt="2021-05-25T14:20:12.076" v="28774" actId="790"/>
          <ac:spMkLst>
            <pc:docMk/>
            <pc:sldMk cId="3405907677" sldId="10449"/>
            <ac:spMk id="261" creationId="{94FBBCA6-AF5C-44AA-BF8A-57315C46BA18}"/>
          </ac:spMkLst>
        </pc:spChg>
        <pc:spChg chg="mod">
          <ac:chgData name="Ugo MANTEL" userId="2d5b7065-31bb-4181-a7f8-a73bf0c30211" providerId="ADAL" clId="{9344D105-636D-4857-BD0F-AFC44A54BCCF}" dt="2021-05-25T14:20:12.058" v="28754" actId="790"/>
          <ac:spMkLst>
            <pc:docMk/>
            <pc:sldMk cId="3405907677" sldId="10449"/>
            <ac:spMk id="263" creationId="{3A6AD19D-020C-4F8C-8E3B-886049E25C88}"/>
          </ac:spMkLst>
        </pc:spChg>
        <pc:spChg chg="mod">
          <ac:chgData name="Ugo MANTEL" userId="2d5b7065-31bb-4181-a7f8-a73bf0c30211" providerId="ADAL" clId="{9344D105-636D-4857-BD0F-AFC44A54BCCF}" dt="2021-05-25T14:20:12.059" v="28755" actId="790"/>
          <ac:spMkLst>
            <pc:docMk/>
            <pc:sldMk cId="3405907677" sldId="10449"/>
            <ac:spMk id="264" creationId="{8F73D28A-8F96-44B4-A55A-2FF4A5EAACBE}"/>
          </ac:spMkLst>
        </pc:spChg>
        <pc:spChg chg="mod">
          <ac:chgData name="Ugo MANTEL" userId="2d5b7065-31bb-4181-a7f8-a73bf0c30211" providerId="ADAL" clId="{9344D105-636D-4857-BD0F-AFC44A54BCCF}" dt="2021-05-25T14:20:12.093" v="28795" actId="790"/>
          <ac:spMkLst>
            <pc:docMk/>
            <pc:sldMk cId="3405907677" sldId="10449"/>
            <ac:spMk id="265" creationId="{B01E651D-29D8-458D-9846-BBB17EBDBB5A}"/>
          </ac:spMkLst>
        </pc:spChg>
        <pc:spChg chg="mod">
          <ac:chgData name="Ugo MANTEL" userId="2d5b7065-31bb-4181-a7f8-a73bf0c30211" providerId="ADAL" clId="{9344D105-636D-4857-BD0F-AFC44A54BCCF}" dt="2021-05-25T14:20:12.094" v="28796" actId="790"/>
          <ac:spMkLst>
            <pc:docMk/>
            <pc:sldMk cId="3405907677" sldId="10449"/>
            <ac:spMk id="267" creationId="{A530B267-B046-4BBA-8EF5-FD0E0828C497}"/>
          </ac:spMkLst>
        </pc:spChg>
        <pc:spChg chg="mod">
          <ac:chgData name="Ugo MANTEL" userId="2d5b7065-31bb-4181-a7f8-a73bf0c30211" providerId="ADAL" clId="{9344D105-636D-4857-BD0F-AFC44A54BCCF}" dt="2021-05-25T14:20:12.095" v="28797" actId="790"/>
          <ac:spMkLst>
            <pc:docMk/>
            <pc:sldMk cId="3405907677" sldId="10449"/>
            <ac:spMk id="268" creationId="{8685786A-CA22-4DB0-8D7F-6481F4425A62}"/>
          </ac:spMkLst>
        </pc:spChg>
        <pc:spChg chg="mod">
          <ac:chgData name="Ugo MANTEL" userId="2d5b7065-31bb-4181-a7f8-a73bf0c30211" providerId="ADAL" clId="{9344D105-636D-4857-BD0F-AFC44A54BCCF}" dt="2021-05-25T14:20:12.096" v="28798" actId="790"/>
          <ac:spMkLst>
            <pc:docMk/>
            <pc:sldMk cId="3405907677" sldId="10449"/>
            <ac:spMk id="269" creationId="{31A9CA3A-DDFC-46C6-A7FC-D9BBE435E2EB}"/>
          </ac:spMkLst>
        </pc:spChg>
        <pc:spChg chg="mod">
          <ac:chgData name="Ugo MANTEL" userId="2d5b7065-31bb-4181-a7f8-a73bf0c30211" providerId="ADAL" clId="{9344D105-636D-4857-BD0F-AFC44A54BCCF}" dt="2021-05-25T14:20:12.097" v="28799" actId="790"/>
          <ac:spMkLst>
            <pc:docMk/>
            <pc:sldMk cId="3405907677" sldId="10449"/>
            <ac:spMk id="270" creationId="{DC8B482B-4D88-4447-B4DE-DDB4D4F1A338}"/>
          </ac:spMkLst>
        </pc:spChg>
        <pc:spChg chg="mod">
          <ac:chgData name="Ugo MANTEL" userId="2d5b7065-31bb-4181-a7f8-a73bf0c30211" providerId="ADAL" clId="{9344D105-636D-4857-BD0F-AFC44A54BCCF}" dt="2021-05-25T14:20:12.098" v="28800" actId="790"/>
          <ac:spMkLst>
            <pc:docMk/>
            <pc:sldMk cId="3405907677" sldId="10449"/>
            <ac:spMk id="271" creationId="{62831129-55F7-40C5-AC04-164F509DA8A7}"/>
          </ac:spMkLst>
        </pc:spChg>
        <pc:spChg chg="mod">
          <ac:chgData name="Ugo MANTEL" userId="2d5b7065-31bb-4181-a7f8-a73bf0c30211" providerId="ADAL" clId="{9344D105-636D-4857-BD0F-AFC44A54BCCF}" dt="2021-05-25T14:20:12.099" v="28801" actId="790"/>
          <ac:spMkLst>
            <pc:docMk/>
            <pc:sldMk cId="3405907677" sldId="10449"/>
            <ac:spMk id="273" creationId="{041A4FA2-3636-434E-86F3-C87D3FB17B7D}"/>
          </ac:spMkLst>
        </pc:spChg>
        <pc:spChg chg="mod">
          <ac:chgData name="Ugo MANTEL" userId="2d5b7065-31bb-4181-a7f8-a73bf0c30211" providerId="ADAL" clId="{9344D105-636D-4857-BD0F-AFC44A54BCCF}" dt="2021-05-25T14:20:12.100" v="28802" actId="790"/>
          <ac:spMkLst>
            <pc:docMk/>
            <pc:sldMk cId="3405907677" sldId="10449"/>
            <ac:spMk id="274" creationId="{B785EA7D-9D34-460C-BD94-A86CCAB15E11}"/>
          </ac:spMkLst>
        </pc:spChg>
        <pc:spChg chg="mod">
          <ac:chgData name="Ugo MANTEL" userId="2d5b7065-31bb-4181-a7f8-a73bf0c30211" providerId="ADAL" clId="{9344D105-636D-4857-BD0F-AFC44A54BCCF}" dt="2021-05-25T14:20:12.101" v="28803" actId="790"/>
          <ac:spMkLst>
            <pc:docMk/>
            <pc:sldMk cId="3405907677" sldId="10449"/>
            <ac:spMk id="275" creationId="{B85657CA-238C-4622-9010-E096EEB09D05}"/>
          </ac:spMkLst>
        </pc:spChg>
        <pc:spChg chg="mod">
          <ac:chgData name="Ugo MANTEL" userId="2d5b7065-31bb-4181-a7f8-a73bf0c30211" providerId="ADAL" clId="{9344D105-636D-4857-BD0F-AFC44A54BCCF}" dt="2021-05-25T14:20:12.101" v="28804" actId="790"/>
          <ac:spMkLst>
            <pc:docMk/>
            <pc:sldMk cId="3405907677" sldId="10449"/>
            <ac:spMk id="276" creationId="{945690DA-9C53-4F37-A9CC-38C533297AE9}"/>
          </ac:spMkLst>
        </pc:spChg>
        <pc:spChg chg="mod">
          <ac:chgData name="Ugo MANTEL" userId="2d5b7065-31bb-4181-a7f8-a73bf0c30211" providerId="ADAL" clId="{9344D105-636D-4857-BD0F-AFC44A54BCCF}" dt="2021-05-25T14:20:12.102" v="28805" actId="790"/>
          <ac:spMkLst>
            <pc:docMk/>
            <pc:sldMk cId="3405907677" sldId="10449"/>
            <ac:spMk id="277" creationId="{29A82E92-D2F5-428D-9182-460A2B8E27C3}"/>
          </ac:spMkLst>
        </pc:spChg>
        <pc:spChg chg="mod">
          <ac:chgData name="Ugo MANTEL" userId="2d5b7065-31bb-4181-a7f8-a73bf0c30211" providerId="ADAL" clId="{9344D105-636D-4857-BD0F-AFC44A54BCCF}" dt="2021-05-25T14:20:12.103" v="28806" actId="790"/>
          <ac:spMkLst>
            <pc:docMk/>
            <pc:sldMk cId="3405907677" sldId="10449"/>
            <ac:spMk id="279" creationId="{E729ADE8-6313-435A-9351-E6D78D52080F}"/>
          </ac:spMkLst>
        </pc:spChg>
        <pc:spChg chg="mod">
          <ac:chgData name="Ugo MANTEL" userId="2d5b7065-31bb-4181-a7f8-a73bf0c30211" providerId="ADAL" clId="{9344D105-636D-4857-BD0F-AFC44A54BCCF}" dt="2021-05-25T14:20:12.103" v="28807" actId="790"/>
          <ac:spMkLst>
            <pc:docMk/>
            <pc:sldMk cId="3405907677" sldId="10449"/>
            <ac:spMk id="280" creationId="{20D67F30-7BDF-43CB-B234-B922EFE2BC4C}"/>
          </ac:spMkLst>
        </pc:spChg>
        <pc:spChg chg="mod">
          <ac:chgData name="Ugo MANTEL" userId="2d5b7065-31bb-4181-a7f8-a73bf0c30211" providerId="ADAL" clId="{9344D105-636D-4857-BD0F-AFC44A54BCCF}" dt="2021-05-25T14:20:12.038" v="28725" actId="790"/>
          <ac:spMkLst>
            <pc:docMk/>
            <pc:sldMk cId="3405907677" sldId="10449"/>
            <ac:spMk id="282" creationId="{9A3BB686-B99E-4F71-B428-DE8D1AE104AB}"/>
          </ac:spMkLst>
        </pc:spChg>
        <pc:spChg chg="mod">
          <ac:chgData name="Ugo MANTEL" userId="2d5b7065-31bb-4181-a7f8-a73bf0c30211" providerId="ADAL" clId="{9344D105-636D-4857-BD0F-AFC44A54BCCF}" dt="2021-05-25T14:20:12.104" v="28808" actId="790"/>
          <ac:spMkLst>
            <pc:docMk/>
            <pc:sldMk cId="3405907677" sldId="10449"/>
            <ac:spMk id="288" creationId="{C876106F-6AA9-41BF-B417-328016532DFA}"/>
          </ac:spMkLst>
        </pc:spChg>
        <pc:spChg chg="mod">
          <ac:chgData name="Ugo MANTEL" userId="2d5b7065-31bb-4181-a7f8-a73bf0c30211" providerId="ADAL" clId="{9344D105-636D-4857-BD0F-AFC44A54BCCF}" dt="2021-05-25T14:20:12.105" v="28809" actId="790"/>
          <ac:spMkLst>
            <pc:docMk/>
            <pc:sldMk cId="3405907677" sldId="10449"/>
            <ac:spMk id="303" creationId="{39F148EA-4A80-4229-A365-10C0B966451A}"/>
          </ac:spMkLst>
        </pc:spChg>
        <pc:spChg chg="mod">
          <ac:chgData name="Ugo MANTEL" userId="2d5b7065-31bb-4181-a7f8-a73bf0c30211" providerId="ADAL" clId="{9344D105-636D-4857-BD0F-AFC44A54BCCF}" dt="2021-05-25T14:20:12.105" v="28810" actId="790"/>
          <ac:spMkLst>
            <pc:docMk/>
            <pc:sldMk cId="3405907677" sldId="10449"/>
            <ac:spMk id="305" creationId="{20DE95CC-BDA4-494A-ADFD-6C41CA6D835C}"/>
          </ac:spMkLst>
        </pc:spChg>
        <pc:spChg chg="mod">
          <ac:chgData name="Ugo MANTEL" userId="2d5b7065-31bb-4181-a7f8-a73bf0c30211" providerId="ADAL" clId="{9344D105-636D-4857-BD0F-AFC44A54BCCF}" dt="2021-05-25T14:20:12.106" v="28811" actId="790"/>
          <ac:spMkLst>
            <pc:docMk/>
            <pc:sldMk cId="3405907677" sldId="10449"/>
            <ac:spMk id="306" creationId="{829EC29E-FDD9-4623-BAD2-53716B007704}"/>
          </ac:spMkLst>
        </pc:spChg>
        <pc:spChg chg="mod">
          <ac:chgData name="Ugo MANTEL" userId="2d5b7065-31bb-4181-a7f8-a73bf0c30211" providerId="ADAL" clId="{9344D105-636D-4857-BD0F-AFC44A54BCCF}" dt="2021-05-25T14:20:12.107" v="28812" actId="790"/>
          <ac:spMkLst>
            <pc:docMk/>
            <pc:sldMk cId="3405907677" sldId="10449"/>
            <ac:spMk id="308" creationId="{82FFD2AB-FAA1-4FF3-AE15-5D83432F3F47}"/>
          </ac:spMkLst>
        </pc:spChg>
        <pc:spChg chg="mod">
          <ac:chgData name="Ugo MANTEL" userId="2d5b7065-31bb-4181-a7f8-a73bf0c30211" providerId="ADAL" clId="{9344D105-636D-4857-BD0F-AFC44A54BCCF}" dt="2021-05-25T14:20:12.049" v="28741" actId="790"/>
          <ac:spMkLst>
            <pc:docMk/>
            <pc:sldMk cId="3405907677" sldId="10449"/>
            <ac:spMk id="309" creationId="{6326AC09-FB2D-49D6-9A41-1BD99472263C}"/>
          </ac:spMkLst>
        </pc:spChg>
        <pc:spChg chg="mod">
          <ac:chgData name="Ugo MANTEL" userId="2d5b7065-31bb-4181-a7f8-a73bf0c30211" providerId="ADAL" clId="{9344D105-636D-4857-BD0F-AFC44A54BCCF}" dt="2021-05-25T14:20:12.050" v="28742" actId="790"/>
          <ac:spMkLst>
            <pc:docMk/>
            <pc:sldMk cId="3405907677" sldId="10449"/>
            <ac:spMk id="310" creationId="{3FC58E51-6775-4127-B48F-5ABF3ED0F0B6}"/>
          </ac:spMkLst>
        </pc:spChg>
        <pc:spChg chg="mod">
          <ac:chgData name="Ugo MANTEL" userId="2d5b7065-31bb-4181-a7f8-a73bf0c30211" providerId="ADAL" clId="{9344D105-636D-4857-BD0F-AFC44A54BCCF}" dt="2021-05-25T14:20:12.050" v="28743" actId="790"/>
          <ac:spMkLst>
            <pc:docMk/>
            <pc:sldMk cId="3405907677" sldId="10449"/>
            <ac:spMk id="311" creationId="{1BB45DCF-F95E-4B08-AB01-307F72D17446}"/>
          </ac:spMkLst>
        </pc:spChg>
        <pc:spChg chg="mod">
          <ac:chgData name="Ugo MANTEL" userId="2d5b7065-31bb-4181-a7f8-a73bf0c30211" providerId="ADAL" clId="{9344D105-636D-4857-BD0F-AFC44A54BCCF}" dt="2021-05-25T14:20:12.051" v="28744" actId="790"/>
          <ac:spMkLst>
            <pc:docMk/>
            <pc:sldMk cId="3405907677" sldId="10449"/>
            <ac:spMk id="312" creationId="{DBCFB3BC-7F78-47EC-93C4-C909CB2A6241}"/>
          </ac:spMkLst>
        </pc:spChg>
        <pc:spChg chg="mod">
          <ac:chgData name="Ugo MANTEL" userId="2d5b7065-31bb-4181-a7f8-a73bf0c30211" providerId="ADAL" clId="{9344D105-636D-4857-BD0F-AFC44A54BCCF}" dt="2021-05-25T14:20:12.107" v="28813" actId="790"/>
          <ac:spMkLst>
            <pc:docMk/>
            <pc:sldMk cId="3405907677" sldId="10449"/>
            <ac:spMk id="313" creationId="{5AFED507-3962-4E30-9626-587754FD972D}"/>
          </ac:spMkLst>
        </pc:spChg>
        <pc:spChg chg="mod">
          <ac:chgData name="Ugo MANTEL" userId="2d5b7065-31bb-4181-a7f8-a73bf0c30211" providerId="ADAL" clId="{9344D105-636D-4857-BD0F-AFC44A54BCCF}" dt="2021-05-25T14:20:12.108" v="28814" actId="790"/>
          <ac:spMkLst>
            <pc:docMk/>
            <pc:sldMk cId="3405907677" sldId="10449"/>
            <ac:spMk id="314" creationId="{95056B63-DFF5-4F9C-9A19-4524DB0B663F}"/>
          </ac:spMkLst>
        </pc:spChg>
        <pc:spChg chg="mod">
          <ac:chgData name="Ugo MANTEL" userId="2d5b7065-31bb-4181-a7f8-a73bf0c30211" providerId="ADAL" clId="{9344D105-636D-4857-BD0F-AFC44A54BCCF}" dt="2021-05-25T14:20:12.060" v="28756" actId="790"/>
          <ac:spMkLst>
            <pc:docMk/>
            <pc:sldMk cId="3405907677" sldId="10449"/>
            <ac:spMk id="315" creationId="{B86ACEAE-279E-4464-B0F1-1E4FB796DFDE}"/>
          </ac:spMkLst>
        </pc:spChg>
        <pc:spChg chg="mod">
          <ac:chgData name="Ugo MANTEL" userId="2d5b7065-31bb-4181-a7f8-a73bf0c30211" providerId="ADAL" clId="{9344D105-636D-4857-BD0F-AFC44A54BCCF}" dt="2021-05-25T14:20:12.061" v="28757" actId="790"/>
          <ac:spMkLst>
            <pc:docMk/>
            <pc:sldMk cId="3405907677" sldId="10449"/>
            <ac:spMk id="316" creationId="{5094EB3A-CC95-48C9-973F-C760B1D22377}"/>
          </ac:spMkLst>
        </pc:spChg>
        <pc:spChg chg="mod">
          <ac:chgData name="Ugo MANTEL" userId="2d5b7065-31bb-4181-a7f8-a73bf0c30211" providerId="ADAL" clId="{9344D105-636D-4857-BD0F-AFC44A54BCCF}" dt="2021-05-25T14:20:12.061" v="28758" actId="790"/>
          <ac:spMkLst>
            <pc:docMk/>
            <pc:sldMk cId="3405907677" sldId="10449"/>
            <ac:spMk id="317" creationId="{28F06F48-8434-46C1-8D21-2FC449B9E820}"/>
          </ac:spMkLst>
        </pc:spChg>
        <pc:spChg chg="mod">
          <ac:chgData name="Ugo MANTEL" userId="2d5b7065-31bb-4181-a7f8-a73bf0c30211" providerId="ADAL" clId="{9344D105-636D-4857-BD0F-AFC44A54BCCF}" dt="2021-05-25T14:20:12.062" v="28759" actId="790"/>
          <ac:spMkLst>
            <pc:docMk/>
            <pc:sldMk cId="3405907677" sldId="10449"/>
            <ac:spMk id="318" creationId="{787C0A04-9899-45CE-9A1A-3EFD61E0AC8A}"/>
          </ac:spMkLst>
        </pc:spChg>
        <pc:spChg chg="mod">
          <ac:chgData name="Ugo MANTEL" userId="2d5b7065-31bb-4181-a7f8-a73bf0c30211" providerId="ADAL" clId="{9344D105-636D-4857-BD0F-AFC44A54BCCF}" dt="2021-05-25T14:20:12.063" v="28760" actId="790"/>
          <ac:spMkLst>
            <pc:docMk/>
            <pc:sldMk cId="3405907677" sldId="10449"/>
            <ac:spMk id="319" creationId="{DF1B2BCA-D17E-4D59-BDC5-0C42B763FA55}"/>
          </ac:spMkLst>
        </pc:spChg>
        <pc:spChg chg="mod">
          <ac:chgData name="Ugo MANTEL" userId="2d5b7065-31bb-4181-a7f8-a73bf0c30211" providerId="ADAL" clId="{9344D105-636D-4857-BD0F-AFC44A54BCCF}" dt="2021-05-25T14:20:12.063" v="28761" actId="790"/>
          <ac:spMkLst>
            <pc:docMk/>
            <pc:sldMk cId="3405907677" sldId="10449"/>
            <ac:spMk id="320" creationId="{71E3C298-CA74-4D82-A078-25A5451AEC25}"/>
          </ac:spMkLst>
        </pc:spChg>
        <pc:spChg chg="mod">
          <ac:chgData name="Ugo MANTEL" userId="2d5b7065-31bb-4181-a7f8-a73bf0c30211" providerId="ADAL" clId="{9344D105-636D-4857-BD0F-AFC44A54BCCF}" dt="2021-05-25T14:20:12.077" v="28775" actId="790"/>
          <ac:spMkLst>
            <pc:docMk/>
            <pc:sldMk cId="3405907677" sldId="10449"/>
            <ac:spMk id="321" creationId="{61F25FAD-8ADD-40CA-906E-E3BBF7CB8A72}"/>
          </ac:spMkLst>
        </pc:spChg>
        <pc:spChg chg="mod">
          <ac:chgData name="Ugo MANTEL" userId="2d5b7065-31bb-4181-a7f8-a73bf0c30211" providerId="ADAL" clId="{9344D105-636D-4857-BD0F-AFC44A54BCCF}" dt="2021-05-25T14:20:12.078" v="28776" actId="790"/>
          <ac:spMkLst>
            <pc:docMk/>
            <pc:sldMk cId="3405907677" sldId="10449"/>
            <ac:spMk id="322" creationId="{AC26A4A3-DEBA-4717-A686-5C1FA8FBDA57}"/>
          </ac:spMkLst>
        </pc:spChg>
        <pc:spChg chg="mod">
          <ac:chgData name="Ugo MANTEL" userId="2d5b7065-31bb-4181-a7f8-a73bf0c30211" providerId="ADAL" clId="{9344D105-636D-4857-BD0F-AFC44A54BCCF}" dt="2021-05-25T14:20:12.079" v="28777" actId="790"/>
          <ac:spMkLst>
            <pc:docMk/>
            <pc:sldMk cId="3405907677" sldId="10449"/>
            <ac:spMk id="323" creationId="{9B6F7FFE-7063-4A6A-A04E-C4AE43A36CB9}"/>
          </ac:spMkLst>
        </pc:spChg>
        <pc:spChg chg="mod">
          <ac:chgData name="Ugo MANTEL" userId="2d5b7065-31bb-4181-a7f8-a73bf0c30211" providerId="ADAL" clId="{9344D105-636D-4857-BD0F-AFC44A54BCCF}" dt="2021-05-25T14:20:12.080" v="28778" actId="790"/>
          <ac:spMkLst>
            <pc:docMk/>
            <pc:sldMk cId="3405907677" sldId="10449"/>
            <ac:spMk id="324" creationId="{94F0003E-7749-460A-A9F7-A3FF0DAB91E5}"/>
          </ac:spMkLst>
        </pc:spChg>
        <pc:spChg chg="mod">
          <ac:chgData name="Ugo MANTEL" userId="2d5b7065-31bb-4181-a7f8-a73bf0c30211" providerId="ADAL" clId="{9344D105-636D-4857-BD0F-AFC44A54BCCF}" dt="2021-05-25T14:20:12.109" v="28815" actId="790"/>
          <ac:spMkLst>
            <pc:docMk/>
            <pc:sldMk cId="3405907677" sldId="10449"/>
            <ac:spMk id="325" creationId="{BF126D74-5C8D-42DD-86B4-10C27C741F1E}"/>
          </ac:spMkLst>
        </pc:spChg>
        <pc:spChg chg="mod">
          <ac:chgData name="Ugo MANTEL" userId="2d5b7065-31bb-4181-a7f8-a73bf0c30211" providerId="ADAL" clId="{9344D105-636D-4857-BD0F-AFC44A54BCCF}" dt="2021-05-25T14:20:12.110" v="28816" actId="790"/>
          <ac:spMkLst>
            <pc:docMk/>
            <pc:sldMk cId="3405907677" sldId="10449"/>
            <ac:spMk id="326" creationId="{919EEE06-0C44-4F8F-8E35-AA4842899679}"/>
          </ac:spMkLst>
        </pc:spChg>
        <pc:spChg chg="mod">
          <ac:chgData name="Ugo MANTEL" userId="2d5b7065-31bb-4181-a7f8-a73bf0c30211" providerId="ADAL" clId="{9344D105-636D-4857-BD0F-AFC44A54BCCF}" dt="2021-05-25T14:20:12.066" v="28762" actId="790"/>
          <ac:spMkLst>
            <pc:docMk/>
            <pc:sldMk cId="3405907677" sldId="10449"/>
            <ac:spMk id="365" creationId="{022F56B6-6CA0-428C-A1FD-15AD176ACAB3}"/>
          </ac:spMkLst>
        </pc:spChg>
        <pc:spChg chg="mod">
          <ac:chgData name="Ugo MANTEL" userId="2d5b7065-31bb-4181-a7f8-a73bf0c30211" providerId="ADAL" clId="{9344D105-636D-4857-BD0F-AFC44A54BCCF}" dt="2021-05-25T14:20:12.068" v="28763" actId="790"/>
          <ac:spMkLst>
            <pc:docMk/>
            <pc:sldMk cId="3405907677" sldId="10449"/>
            <ac:spMk id="368" creationId="{9C6C47F8-E4C9-45FE-82BC-DEC6B210DFA0}"/>
          </ac:spMkLst>
        </pc:spChg>
        <pc:spChg chg="mod">
          <ac:chgData name="Ugo MANTEL" userId="2d5b7065-31bb-4181-a7f8-a73bf0c30211" providerId="ADAL" clId="{9344D105-636D-4857-BD0F-AFC44A54BCCF}" dt="2021-05-25T14:20:12.070" v="28764" actId="790"/>
          <ac:spMkLst>
            <pc:docMk/>
            <pc:sldMk cId="3405907677" sldId="10449"/>
            <ac:spMk id="391" creationId="{1999737A-7803-4DC2-98FF-CAFCE5F2598A}"/>
          </ac:spMkLst>
        </pc:spChg>
        <pc:spChg chg="mod">
          <ac:chgData name="Ugo MANTEL" userId="2d5b7065-31bb-4181-a7f8-a73bf0c30211" providerId="ADAL" clId="{9344D105-636D-4857-BD0F-AFC44A54BCCF}" dt="2021-05-25T14:20:12.070" v="28765" actId="790"/>
          <ac:spMkLst>
            <pc:docMk/>
            <pc:sldMk cId="3405907677" sldId="10449"/>
            <ac:spMk id="392" creationId="{598A130F-C4B7-434F-8605-446749819923}"/>
          </ac:spMkLst>
        </pc:spChg>
        <pc:spChg chg="mod">
          <ac:chgData name="Ugo MANTEL" userId="2d5b7065-31bb-4181-a7f8-a73bf0c30211" providerId="ADAL" clId="{9344D105-636D-4857-BD0F-AFC44A54BCCF}" dt="2021-05-25T14:20:12.071" v="28766" actId="790"/>
          <ac:spMkLst>
            <pc:docMk/>
            <pc:sldMk cId="3405907677" sldId="10449"/>
            <ac:spMk id="398" creationId="{DB737A02-47A9-4110-AD8F-5EBC15C8C563}"/>
          </ac:spMkLst>
        </pc:spChg>
        <pc:spChg chg="mod">
          <ac:chgData name="Ugo MANTEL" userId="2d5b7065-31bb-4181-a7f8-a73bf0c30211" providerId="ADAL" clId="{9344D105-636D-4857-BD0F-AFC44A54BCCF}" dt="2021-05-25T14:20:12.072" v="28767" actId="790"/>
          <ac:spMkLst>
            <pc:docMk/>
            <pc:sldMk cId="3405907677" sldId="10449"/>
            <ac:spMk id="420" creationId="{E758489A-B83E-492E-B5E7-1CC796CC11FC}"/>
          </ac:spMkLst>
        </pc:spChg>
        <pc:spChg chg="mod">
          <ac:chgData name="Ugo MANTEL" userId="2d5b7065-31bb-4181-a7f8-a73bf0c30211" providerId="ADAL" clId="{9344D105-636D-4857-BD0F-AFC44A54BCCF}" dt="2021-05-25T14:20:12.072" v="28768" actId="790"/>
          <ac:spMkLst>
            <pc:docMk/>
            <pc:sldMk cId="3405907677" sldId="10449"/>
            <ac:spMk id="421" creationId="{B5C1707A-482D-47FA-B168-1782C921FE2A}"/>
          </ac:spMkLst>
        </pc:spChg>
        <pc:spChg chg="mod">
          <ac:chgData name="Ugo MANTEL" userId="2d5b7065-31bb-4181-a7f8-a73bf0c30211" providerId="ADAL" clId="{9344D105-636D-4857-BD0F-AFC44A54BCCF}" dt="2021-05-25T14:20:12.080" v="28779" actId="790"/>
          <ac:spMkLst>
            <pc:docMk/>
            <pc:sldMk cId="3405907677" sldId="10449"/>
            <ac:spMk id="429" creationId="{A6A4A3DA-94B6-42FD-9F6F-035B520E187C}"/>
          </ac:spMkLst>
        </pc:spChg>
        <pc:spChg chg="mod">
          <ac:chgData name="Ugo MANTEL" userId="2d5b7065-31bb-4181-a7f8-a73bf0c30211" providerId="ADAL" clId="{9344D105-636D-4857-BD0F-AFC44A54BCCF}" dt="2021-05-25T14:20:12.052" v="28745" actId="790"/>
          <ac:spMkLst>
            <pc:docMk/>
            <pc:sldMk cId="3405907677" sldId="10449"/>
            <ac:spMk id="430" creationId="{191E158E-C1A2-48A8-BC15-B7A4CBB9C67F}"/>
          </ac:spMkLst>
        </pc:spChg>
        <pc:spChg chg="mod">
          <ac:chgData name="Ugo MANTEL" userId="2d5b7065-31bb-4181-a7f8-a73bf0c30211" providerId="ADAL" clId="{9344D105-636D-4857-BD0F-AFC44A54BCCF}" dt="2021-05-25T14:20:12.081" v="28780" actId="790"/>
          <ac:spMkLst>
            <pc:docMk/>
            <pc:sldMk cId="3405907677" sldId="10449"/>
            <ac:spMk id="431" creationId="{9F2EE954-13E2-43A5-BEF9-E8AFAC5ACDFE}"/>
          </ac:spMkLst>
        </pc:spChg>
        <pc:spChg chg="mod">
          <ac:chgData name="Ugo MANTEL" userId="2d5b7065-31bb-4181-a7f8-a73bf0c30211" providerId="ADAL" clId="{9344D105-636D-4857-BD0F-AFC44A54BCCF}" dt="2021-05-25T14:20:12.082" v="28781" actId="790"/>
          <ac:spMkLst>
            <pc:docMk/>
            <pc:sldMk cId="3405907677" sldId="10449"/>
            <ac:spMk id="433" creationId="{D3C91C66-3ADF-4EB9-8900-EF3E74E554CF}"/>
          </ac:spMkLst>
        </pc:spChg>
        <pc:spChg chg="mod">
          <ac:chgData name="Ugo MANTEL" userId="2d5b7065-31bb-4181-a7f8-a73bf0c30211" providerId="ADAL" clId="{9344D105-636D-4857-BD0F-AFC44A54BCCF}" dt="2021-05-25T14:20:12.082" v="28782" actId="790"/>
          <ac:spMkLst>
            <pc:docMk/>
            <pc:sldMk cId="3405907677" sldId="10449"/>
            <ac:spMk id="434" creationId="{7F9A7766-BCA7-4A19-AC45-1019C0EB77E6}"/>
          </ac:spMkLst>
        </pc:spChg>
        <pc:spChg chg="mod">
          <ac:chgData name="Ugo MANTEL" userId="2d5b7065-31bb-4181-a7f8-a73bf0c30211" providerId="ADAL" clId="{9344D105-636D-4857-BD0F-AFC44A54BCCF}" dt="2021-05-25T14:20:12.073" v="28769" actId="790"/>
          <ac:spMkLst>
            <pc:docMk/>
            <pc:sldMk cId="3405907677" sldId="10449"/>
            <ac:spMk id="460" creationId="{31CDE07A-A1FC-4955-B7A7-BD78D1E3566B}"/>
          </ac:spMkLst>
        </pc:spChg>
        <pc:spChg chg="mod">
          <ac:chgData name="Ugo MANTEL" userId="2d5b7065-31bb-4181-a7f8-a73bf0c30211" providerId="ADAL" clId="{9344D105-636D-4857-BD0F-AFC44A54BCCF}" dt="2021-05-25T14:20:12.040" v="28728" actId="790"/>
          <ac:spMkLst>
            <pc:docMk/>
            <pc:sldMk cId="3405907677" sldId="10449"/>
            <ac:spMk id="468" creationId="{3DBC210C-F1CF-4B2A-9D46-4F8687949454}"/>
          </ac:spMkLst>
        </pc:spChg>
        <pc:spChg chg="mod">
          <ac:chgData name="Ugo MANTEL" userId="2d5b7065-31bb-4181-a7f8-a73bf0c30211" providerId="ADAL" clId="{9344D105-636D-4857-BD0F-AFC44A54BCCF}" dt="2021-05-25T14:20:12.041" v="28729" actId="790"/>
          <ac:spMkLst>
            <pc:docMk/>
            <pc:sldMk cId="3405907677" sldId="10449"/>
            <ac:spMk id="471" creationId="{4D823A75-B35B-4C54-B6BB-830191E50981}"/>
          </ac:spMkLst>
        </pc:spChg>
        <pc:spChg chg="mod">
          <ac:chgData name="Ugo MANTEL" userId="2d5b7065-31bb-4181-a7f8-a73bf0c30211" providerId="ADAL" clId="{9344D105-636D-4857-BD0F-AFC44A54BCCF}" dt="2021-05-25T14:20:12.042" v="28730" actId="790"/>
          <ac:spMkLst>
            <pc:docMk/>
            <pc:sldMk cId="3405907677" sldId="10449"/>
            <ac:spMk id="507" creationId="{895380CE-A7E7-45AB-8442-D668F5697CC3}"/>
          </ac:spMkLst>
        </pc:spChg>
        <pc:spChg chg="mod">
          <ac:chgData name="Ugo MANTEL" userId="2d5b7065-31bb-4181-a7f8-a73bf0c30211" providerId="ADAL" clId="{9344D105-636D-4857-BD0F-AFC44A54BCCF}" dt="2021-05-25T14:20:12.042" v="28731" actId="790"/>
          <ac:spMkLst>
            <pc:docMk/>
            <pc:sldMk cId="3405907677" sldId="10449"/>
            <ac:spMk id="520" creationId="{D1C985CF-D0AA-4ACF-A173-830EFD756774}"/>
          </ac:spMkLst>
        </pc:spChg>
        <pc:spChg chg="mod">
          <ac:chgData name="Ugo MANTEL" userId="2d5b7065-31bb-4181-a7f8-a73bf0c30211" providerId="ADAL" clId="{9344D105-636D-4857-BD0F-AFC44A54BCCF}" dt="2021-05-25T14:20:12.039" v="28726" actId="790"/>
          <ac:spMkLst>
            <pc:docMk/>
            <pc:sldMk cId="3405907677" sldId="10449"/>
            <ac:spMk id="524" creationId="{9DA0C13D-FDE2-432F-842A-8FDF5BC8E38A}"/>
          </ac:spMkLst>
        </pc:spChg>
        <pc:spChg chg="mod">
          <ac:chgData name="Ugo MANTEL" userId="2d5b7065-31bb-4181-a7f8-a73bf0c30211" providerId="ADAL" clId="{9344D105-636D-4857-BD0F-AFC44A54BCCF}" dt="2021-05-25T14:20:12.040" v="28727" actId="790"/>
          <ac:spMkLst>
            <pc:docMk/>
            <pc:sldMk cId="3405907677" sldId="10449"/>
            <ac:spMk id="526" creationId="{1E61C816-480E-4818-B936-DD577AC6BF1D}"/>
          </ac:spMkLst>
        </pc:spChg>
        <pc:spChg chg="mod">
          <ac:chgData name="Ugo MANTEL" userId="2d5b7065-31bb-4181-a7f8-a73bf0c30211" providerId="ADAL" clId="{9344D105-636D-4857-BD0F-AFC44A54BCCF}" dt="2021-05-25T14:20:12.043" v="28732" actId="790"/>
          <ac:spMkLst>
            <pc:docMk/>
            <pc:sldMk cId="3405907677" sldId="10449"/>
            <ac:spMk id="561" creationId="{01A2DBAA-4474-458E-BDEF-E340E8995855}"/>
          </ac:spMkLst>
        </pc:spChg>
        <pc:spChg chg="mod">
          <ac:chgData name="Ugo MANTEL" userId="2d5b7065-31bb-4181-a7f8-a73bf0c30211" providerId="ADAL" clId="{9344D105-636D-4857-BD0F-AFC44A54BCCF}" dt="2021-05-25T14:20:12.044" v="28733" actId="790"/>
          <ac:spMkLst>
            <pc:docMk/>
            <pc:sldMk cId="3405907677" sldId="10449"/>
            <ac:spMk id="562" creationId="{A2D6A696-51A5-4993-9FD5-8FFC3593925F}"/>
          </ac:spMkLst>
        </pc:spChg>
        <pc:spChg chg="mod">
          <ac:chgData name="Ugo MANTEL" userId="2d5b7065-31bb-4181-a7f8-a73bf0c30211" providerId="ADAL" clId="{9344D105-636D-4857-BD0F-AFC44A54BCCF}" dt="2021-05-25T14:20:12.044" v="28734" actId="790"/>
          <ac:spMkLst>
            <pc:docMk/>
            <pc:sldMk cId="3405907677" sldId="10449"/>
            <ac:spMk id="563" creationId="{194B8928-FB65-4150-B5CC-395DC7F4EF82}"/>
          </ac:spMkLst>
        </pc:spChg>
        <pc:spChg chg="mod">
          <ac:chgData name="Ugo MANTEL" userId="2d5b7065-31bb-4181-a7f8-a73bf0c30211" providerId="ADAL" clId="{9344D105-636D-4857-BD0F-AFC44A54BCCF}" dt="2021-05-25T14:20:12.045" v="28735" actId="790"/>
          <ac:spMkLst>
            <pc:docMk/>
            <pc:sldMk cId="3405907677" sldId="10449"/>
            <ac:spMk id="564" creationId="{A6547FC9-EA78-4953-999B-6D8A1C03D5D9}"/>
          </ac:spMkLst>
        </pc:spChg>
        <pc:spChg chg="mod">
          <ac:chgData name="Ugo MANTEL" userId="2d5b7065-31bb-4181-a7f8-a73bf0c30211" providerId="ADAL" clId="{9344D105-636D-4857-BD0F-AFC44A54BCCF}" dt="2021-05-25T14:20:12.046" v="28736" actId="790"/>
          <ac:spMkLst>
            <pc:docMk/>
            <pc:sldMk cId="3405907677" sldId="10449"/>
            <ac:spMk id="566" creationId="{5034B735-5470-44C8-9214-2F36EE84557A}"/>
          </ac:spMkLst>
        </pc:spChg>
        <pc:spChg chg="mod">
          <ac:chgData name="Ugo MANTEL" userId="2d5b7065-31bb-4181-a7f8-a73bf0c30211" providerId="ADAL" clId="{9344D105-636D-4857-BD0F-AFC44A54BCCF}" dt="2021-05-25T14:20:12.047" v="28737" actId="790"/>
          <ac:spMkLst>
            <pc:docMk/>
            <pc:sldMk cId="3405907677" sldId="10449"/>
            <ac:spMk id="567" creationId="{7A7AC5FD-4972-4698-9C29-EBE0BC229D2C}"/>
          </ac:spMkLst>
        </pc:spChg>
        <pc:spChg chg="mod">
          <ac:chgData name="Ugo MANTEL" userId="2d5b7065-31bb-4181-a7f8-a73bf0c30211" providerId="ADAL" clId="{9344D105-636D-4857-BD0F-AFC44A54BCCF}" dt="2021-05-25T14:20:12.047" v="28738" actId="790"/>
          <ac:spMkLst>
            <pc:docMk/>
            <pc:sldMk cId="3405907677" sldId="10449"/>
            <ac:spMk id="568" creationId="{1BB99FC1-A755-41C4-A5B0-42BF784157D7}"/>
          </ac:spMkLst>
        </pc:spChg>
        <pc:spChg chg="mod">
          <ac:chgData name="Ugo MANTEL" userId="2d5b7065-31bb-4181-a7f8-a73bf0c30211" providerId="ADAL" clId="{9344D105-636D-4857-BD0F-AFC44A54BCCF}" dt="2021-05-25T14:20:12.048" v="28739" actId="790"/>
          <ac:spMkLst>
            <pc:docMk/>
            <pc:sldMk cId="3405907677" sldId="10449"/>
            <ac:spMk id="569" creationId="{03B48CD2-8D5F-467F-95E5-9374434808F1}"/>
          </ac:spMkLst>
        </pc:spChg>
        <pc:spChg chg="mod">
          <ac:chgData name="Ugo MANTEL" userId="2d5b7065-31bb-4181-a7f8-a73bf0c30211" providerId="ADAL" clId="{9344D105-636D-4857-BD0F-AFC44A54BCCF}" dt="2021-05-25T14:20:12.048" v="28740" actId="790"/>
          <ac:spMkLst>
            <pc:docMk/>
            <pc:sldMk cId="3405907677" sldId="10449"/>
            <ac:spMk id="570" creationId="{A6FC9F8E-9407-4068-9614-2C9B33825B85}"/>
          </ac:spMkLst>
        </pc:spChg>
      </pc:sldChg>
      <pc:sldChg chg="addSp modSp mod">
        <pc:chgData name="Ugo MANTEL" userId="2d5b7065-31bb-4181-a7f8-a73bf0c30211" providerId="ADAL" clId="{9344D105-636D-4857-BD0F-AFC44A54BCCF}" dt="2021-05-25T14:20:12.138" v="28849" actId="790"/>
        <pc:sldMkLst>
          <pc:docMk/>
          <pc:sldMk cId="1257605897" sldId="10450"/>
        </pc:sldMkLst>
        <pc:spChg chg="mod">
          <ac:chgData name="Ugo MANTEL" userId="2d5b7065-31bb-4181-a7f8-a73bf0c30211" providerId="ADAL" clId="{9344D105-636D-4857-BD0F-AFC44A54BCCF}" dt="2021-05-25T14:20:12.112" v="28818" actId="790"/>
          <ac:spMkLst>
            <pc:docMk/>
            <pc:sldMk cId="1257605897" sldId="10450"/>
            <ac:spMk id="6" creationId="{FF59DF4D-1286-4935-9878-F5678D3BE873}"/>
          </ac:spMkLst>
        </pc:spChg>
        <pc:spChg chg="mod">
          <ac:chgData name="Ugo MANTEL" userId="2d5b7065-31bb-4181-a7f8-a73bf0c30211" providerId="ADAL" clId="{9344D105-636D-4857-BD0F-AFC44A54BCCF}" dt="2021-05-25T14:20:12.114" v="28819" actId="790"/>
          <ac:spMkLst>
            <pc:docMk/>
            <pc:sldMk cId="1257605897" sldId="10450"/>
            <ac:spMk id="8" creationId="{9AFE9B11-1BCA-43BA-B650-E93B58945BD5}"/>
          </ac:spMkLst>
        </pc:spChg>
        <pc:spChg chg="mod">
          <ac:chgData name="Ugo MANTEL" userId="2d5b7065-31bb-4181-a7f8-a73bf0c30211" providerId="ADAL" clId="{9344D105-636D-4857-BD0F-AFC44A54BCCF}" dt="2021-05-25T14:20:12.136" v="28847" actId="790"/>
          <ac:spMkLst>
            <pc:docMk/>
            <pc:sldMk cId="1257605897" sldId="10450"/>
            <ac:spMk id="32" creationId="{9EDD2B4C-E564-475C-AE3E-772167E3D075}"/>
          </ac:spMkLst>
        </pc:spChg>
        <pc:spChg chg="add mod">
          <ac:chgData name="Ugo MANTEL" userId="2d5b7065-31bb-4181-a7f8-a73bf0c30211" providerId="ADAL" clId="{9344D105-636D-4857-BD0F-AFC44A54BCCF}" dt="2021-05-24T11:59:31.568" v="5295"/>
          <ac:spMkLst>
            <pc:docMk/>
            <pc:sldMk cId="1257605897" sldId="10450"/>
            <ac:spMk id="38" creationId="{CDB7A5D3-3E60-4B04-BB46-5E6F186462DD}"/>
          </ac:spMkLst>
        </pc:spChg>
        <pc:spChg chg="mod">
          <ac:chgData name="Ugo MANTEL" userId="2d5b7065-31bb-4181-a7f8-a73bf0c30211" providerId="ADAL" clId="{9344D105-636D-4857-BD0F-AFC44A54BCCF}" dt="2021-05-25T14:20:12.138" v="28849" actId="790"/>
          <ac:spMkLst>
            <pc:docMk/>
            <pc:sldMk cId="1257605897" sldId="10450"/>
            <ac:spMk id="39" creationId="{E7C13522-D86F-4F04-8B6D-A13ED9B1598C}"/>
          </ac:spMkLst>
        </pc:spChg>
        <pc:spChg chg="mod">
          <ac:chgData name="Ugo MANTEL" userId="2d5b7065-31bb-4181-a7f8-a73bf0c30211" providerId="ADAL" clId="{9344D105-636D-4857-BD0F-AFC44A54BCCF}" dt="2021-05-25T14:20:12.115" v="28820" actId="790"/>
          <ac:spMkLst>
            <pc:docMk/>
            <pc:sldMk cId="1257605897" sldId="10450"/>
            <ac:spMk id="121" creationId="{47882E2C-6CB5-423E-8264-570847330D13}"/>
          </ac:spMkLst>
        </pc:spChg>
        <pc:spChg chg="mod">
          <ac:chgData name="Ugo MANTEL" userId="2d5b7065-31bb-4181-a7f8-a73bf0c30211" providerId="ADAL" clId="{9344D105-636D-4857-BD0F-AFC44A54BCCF}" dt="2021-05-25T14:20:12.116" v="28821" actId="790"/>
          <ac:spMkLst>
            <pc:docMk/>
            <pc:sldMk cId="1257605897" sldId="10450"/>
            <ac:spMk id="126" creationId="{B679CA33-4BE2-4814-A3F0-D6A3530FF50C}"/>
          </ac:spMkLst>
        </pc:spChg>
        <pc:spChg chg="mod">
          <ac:chgData name="Ugo MANTEL" userId="2d5b7065-31bb-4181-a7f8-a73bf0c30211" providerId="ADAL" clId="{9344D105-636D-4857-BD0F-AFC44A54BCCF}" dt="2021-05-25T14:20:12.117" v="28822" actId="790"/>
          <ac:spMkLst>
            <pc:docMk/>
            <pc:sldMk cId="1257605897" sldId="10450"/>
            <ac:spMk id="127" creationId="{267F6C37-45F8-4FDB-802A-F81C77D3FF76}"/>
          </ac:spMkLst>
        </pc:spChg>
        <pc:spChg chg="mod">
          <ac:chgData name="Ugo MANTEL" userId="2d5b7065-31bb-4181-a7f8-a73bf0c30211" providerId="ADAL" clId="{9344D105-636D-4857-BD0F-AFC44A54BCCF}" dt="2021-05-25T14:20:12.118" v="28823" actId="790"/>
          <ac:spMkLst>
            <pc:docMk/>
            <pc:sldMk cId="1257605897" sldId="10450"/>
            <ac:spMk id="128" creationId="{1E677BA0-44F7-4135-94B8-943CCB0E9DEA}"/>
          </ac:spMkLst>
        </pc:spChg>
        <pc:spChg chg="mod">
          <ac:chgData name="Ugo MANTEL" userId="2d5b7065-31bb-4181-a7f8-a73bf0c30211" providerId="ADAL" clId="{9344D105-636D-4857-BD0F-AFC44A54BCCF}" dt="2021-05-25T14:20:12.119" v="28824" actId="790"/>
          <ac:spMkLst>
            <pc:docMk/>
            <pc:sldMk cId="1257605897" sldId="10450"/>
            <ac:spMk id="161" creationId="{EF2C1507-96DB-4D06-96B8-849FD319EC76}"/>
          </ac:spMkLst>
        </pc:spChg>
        <pc:spChg chg="mod">
          <ac:chgData name="Ugo MANTEL" userId="2d5b7065-31bb-4181-a7f8-a73bf0c30211" providerId="ADAL" clId="{9344D105-636D-4857-BD0F-AFC44A54BCCF}" dt="2021-05-25T14:20:12.119" v="28825" actId="790"/>
          <ac:spMkLst>
            <pc:docMk/>
            <pc:sldMk cId="1257605897" sldId="10450"/>
            <ac:spMk id="162" creationId="{3B00978C-7DF2-4D38-81B6-88F852D421E4}"/>
          </ac:spMkLst>
        </pc:spChg>
        <pc:spChg chg="mod">
          <ac:chgData name="Ugo MANTEL" userId="2d5b7065-31bb-4181-a7f8-a73bf0c30211" providerId="ADAL" clId="{9344D105-636D-4857-BD0F-AFC44A54BCCF}" dt="2021-05-25T14:20:12.120" v="28826" actId="790"/>
          <ac:spMkLst>
            <pc:docMk/>
            <pc:sldMk cId="1257605897" sldId="10450"/>
            <ac:spMk id="163" creationId="{5AC39BD9-F409-4C11-BDE7-A3C52B7DC35E}"/>
          </ac:spMkLst>
        </pc:spChg>
        <pc:spChg chg="mod">
          <ac:chgData name="Ugo MANTEL" userId="2d5b7065-31bb-4181-a7f8-a73bf0c30211" providerId="ADAL" clId="{9344D105-636D-4857-BD0F-AFC44A54BCCF}" dt="2021-05-25T14:20:12.121" v="28827" actId="790"/>
          <ac:spMkLst>
            <pc:docMk/>
            <pc:sldMk cId="1257605897" sldId="10450"/>
            <ac:spMk id="165" creationId="{11B0E31B-DF11-4F77-90D9-B3930E3A282A}"/>
          </ac:spMkLst>
        </pc:spChg>
        <pc:spChg chg="mod">
          <ac:chgData name="Ugo MANTEL" userId="2d5b7065-31bb-4181-a7f8-a73bf0c30211" providerId="ADAL" clId="{9344D105-636D-4857-BD0F-AFC44A54BCCF}" dt="2021-05-25T14:20:12.122" v="28828" actId="790"/>
          <ac:spMkLst>
            <pc:docMk/>
            <pc:sldMk cId="1257605897" sldId="10450"/>
            <ac:spMk id="166" creationId="{93F25222-C28E-417E-AAA4-154D525DA718}"/>
          </ac:spMkLst>
        </pc:spChg>
        <pc:spChg chg="mod">
          <ac:chgData name="Ugo MANTEL" userId="2d5b7065-31bb-4181-a7f8-a73bf0c30211" providerId="ADAL" clId="{9344D105-636D-4857-BD0F-AFC44A54BCCF}" dt="2021-05-25T14:20:12.123" v="28829" actId="790"/>
          <ac:spMkLst>
            <pc:docMk/>
            <pc:sldMk cId="1257605897" sldId="10450"/>
            <ac:spMk id="167" creationId="{E079BB12-6805-4470-9A19-4CCB55580F83}"/>
          </ac:spMkLst>
        </pc:spChg>
        <pc:spChg chg="mod">
          <ac:chgData name="Ugo MANTEL" userId="2d5b7065-31bb-4181-a7f8-a73bf0c30211" providerId="ADAL" clId="{9344D105-636D-4857-BD0F-AFC44A54BCCF}" dt="2021-05-25T14:20:12.124" v="28830" actId="790"/>
          <ac:spMkLst>
            <pc:docMk/>
            <pc:sldMk cId="1257605897" sldId="10450"/>
            <ac:spMk id="168" creationId="{AA8C97FA-E852-46B0-88F3-315D68DCD70D}"/>
          </ac:spMkLst>
        </pc:spChg>
        <pc:spChg chg="mod">
          <ac:chgData name="Ugo MANTEL" userId="2d5b7065-31bb-4181-a7f8-a73bf0c30211" providerId="ADAL" clId="{9344D105-636D-4857-BD0F-AFC44A54BCCF}" dt="2021-05-25T14:20:12.125" v="28831" actId="790"/>
          <ac:spMkLst>
            <pc:docMk/>
            <pc:sldMk cId="1257605897" sldId="10450"/>
            <ac:spMk id="169" creationId="{F55EF163-CC0E-48F7-9FB3-E7A813E73035}"/>
          </ac:spMkLst>
        </pc:spChg>
        <pc:spChg chg="mod">
          <ac:chgData name="Ugo MANTEL" userId="2d5b7065-31bb-4181-a7f8-a73bf0c30211" providerId="ADAL" clId="{9344D105-636D-4857-BD0F-AFC44A54BCCF}" dt="2021-05-25T14:20:12.126" v="28832" actId="790"/>
          <ac:spMkLst>
            <pc:docMk/>
            <pc:sldMk cId="1257605897" sldId="10450"/>
            <ac:spMk id="170" creationId="{916415C4-147B-4047-8064-AB3522947855}"/>
          </ac:spMkLst>
        </pc:spChg>
        <pc:spChg chg="mod">
          <ac:chgData name="Ugo MANTEL" userId="2d5b7065-31bb-4181-a7f8-a73bf0c30211" providerId="ADAL" clId="{9344D105-636D-4857-BD0F-AFC44A54BCCF}" dt="2021-05-25T14:20:12.126" v="28833" actId="790"/>
          <ac:spMkLst>
            <pc:docMk/>
            <pc:sldMk cId="1257605897" sldId="10450"/>
            <ac:spMk id="172" creationId="{32FCFF7F-A543-4C44-BDEB-15421FDE2A43}"/>
          </ac:spMkLst>
        </pc:spChg>
        <pc:spChg chg="mod">
          <ac:chgData name="Ugo MANTEL" userId="2d5b7065-31bb-4181-a7f8-a73bf0c30211" providerId="ADAL" clId="{9344D105-636D-4857-BD0F-AFC44A54BCCF}" dt="2021-05-25T14:20:12.127" v="28834" actId="790"/>
          <ac:spMkLst>
            <pc:docMk/>
            <pc:sldMk cId="1257605897" sldId="10450"/>
            <ac:spMk id="173" creationId="{FE26A1FC-A2DB-4DF6-96D8-B46AE8026951}"/>
          </ac:spMkLst>
        </pc:spChg>
        <pc:spChg chg="mod">
          <ac:chgData name="Ugo MANTEL" userId="2d5b7065-31bb-4181-a7f8-a73bf0c30211" providerId="ADAL" clId="{9344D105-636D-4857-BD0F-AFC44A54BCCF}" dt="2021-05-25T14:20:12.128" v="28835" actId="790"/>
          <ac:spMkLst>
            <pc:docMk/>
            <pc:sldMk cId="1257605897" sldId="10450"/>
            <ac:spMk id="174" creationId="{E8B3D778-664A-49A8-B0A7-2E84434ED3A8}"/>
          </ac:spMkLst>
        </pc:spChg>
        <pc:spChg chg="mod">
          <ac:chgData name="Ugo MANTEL" userId="2d5b7065-31bb-4181-a7f8-a73bf0c30211" providerId="ADAL" clId="{9344D105-636D-4857-BD0F-AFC44A54BCCF}" dt="2021-05-25T14:20:12.128" v="28836" actId="790"/>
          <ac:spMkLst>
            <pc:docMk/>
            <pc:sldMk cId="1257605897" sldId="10450"/>
            <ac:spMk id="175" creationId="{80166264-0FBF-4476-844C-81EC2C24C292}"/>
          </ac:spMkLst>
        </pc:spChg>
        <pc:spChg chg="mod">
          <ac:chgData name="Ugo MANTEL" userId="2d5b7065-31bb-4181-a7f8-a73bf0c30211" providerId="ADAL" clId="{9344D105-636D-4857-BD0F-AFC44A54BCCF}" dt="2021-05-25T14:20:12.129" v="28837" actId="790"/>
          <ac:spMkLst>
            <pc:docMk/>
            <pc:sldMk cId="1257605897" sldId="10450"/>
            <ac:spMk id="176" creationId="{885596B5-68CC-4CA2-85A9-8B1C03B8C65D}"/>
          </ac:spMkLst>
        </pc:spChg>
        <pc:spChg chg="mod">
          <ac:chgData name="Ugo MANTEL" userId="2d5b7065-31bb-4181-a7f8-a73bf0c30211" providerId="ADAL" clId="{9344D105-636D-4857-BD0F-AFC44A54BCCF}" dt="2021-05-25T14:20:12.130" v="28838" actId="790"/>
          <ac:spMkLst>
            <pc:docMk/>
            <pc:sldMk cId="1257605897" sldId="10450"/>
            <ac:spMk id="177" creationId="{6826BB62-8A5C-46BF-8049-23D419052F89}"/>
          </ac:spMkLst>
        </pc:spChg>
        <pc:spChg chg="mod">
          <ac:chgData name="Ugo MANTEL" userId="2d5b7065-31bb-4181-a7f8-a73bf0c30211" providerId="ADAL" clId="{9344D105-636D-4857-BD0F-AFC44A54BCCF}" dt="2021-05-25T14:20:12.131" v="28839" actId="790"/>
          <ac:spMkLst>
            <pc:docMk/>
            <pc:sldMk cId="1257605897" sldId="10450"/>
            <ac:spMk id="178" creationId="{75719BA4-2F49-4E16-BD81-8A1955A4DAE4}"/>
          </ac:spMkLst>
        </pc:spChg>
        <pc:spChg chg="mod">
          <ac:chgData name="Ugo MANTEL" userId="2d5b7065-31bb-4181-a7f8-a73bf0c30211" providerId="ADAL" clId="{9344D105-636D-4857-BD0F-AFC44A54BCCF}" dt="2021-05-25T14:20:12.132" v="28840" actId="790"/>
          <ac:spMkLst>
            <pc:docMk/>
            <pc:sldMk cId="1257605897" sldId="10450"/>
            <ac:spMk id="179" creationId="{FBF028CB-7E03-4B99-AE38-380E7F2BC7E3}"/>
          </ac:spMkLst>
        </pc:spChg>
        <pc:spChg chg="mod">
          <ac:chgData name="Ugo MANTEL" userId="2d5b7065-31bb-4181-a7f8-a73bf0c30211" providerId="ADAL" clId="{9344D105-636D-4857-BD0F-AFC44A54BCCF}" dt="2021-05-25T14:20:12.132" v="28841" actId="790"/>
          <ac:spMkLst>
            <pc:docMk/>
            <pc:sldMk cId="1257605897" sldId="10450"/>
            <ac:spMk id="181" creationId="{18A8FF1A-5942-44D5-AD01-129C43FBD7C8}"/>
          </ac:spMkLst>
        </pc:spChg>
        <pc:spChg chg="mod">
          <ac:chgData name="Ugo MANTEL" userId="2d5b7065-31bb-4181-a7f8-a73bf0c30211" providerId="ADAL" clId="{9344D105-636D-4857-BD0F-AFC44A54BCCF}" dt="2021-05-25T14:20:12.133" v="28842" actId="790"/>
          <ac:spMkLst>
            <pc:docMk/>
            <pc:sldMk cId="1257605897" sldId="10450"/>
            <ac:spMk id="183" creationId="{1899D119-F7CF-4BEE-8372-873E8A2C0F76}"/>
          </ac:spMkLst>
        </pc:spChg>
        <pc:spChg chg="mod">
          <ac:chgData name="Ugo MANTEL" userId="2d5b7065-31bb-4181-a7f8-a73bf0c30211" providerId="ADAL" clId="{9344D105-636D-4857-BD0F-AFC44A54BCCF}" dt="2021-05-25T14:20:12.134" v="28843" actId="790"/>
          <ac:spMkLst>
            <pc:docMk/>
            <pc:sldMk cId="1257605897" sldId="10450"/>
            <ac:spMk id="186" creationId="{86AA7CBC-74DA-4388-9DE0-860FAF9E0B81}"/>
          </ac:spMkLst>
        </pc:spChg>
        <pc:spChg chg="mod">
          <ac:chgData name="Ugo MANTEL" userId="2d5b7065-31bb-4181-a7f8-a73bf0c30211" providerId="ADAL" clId="{9344D105-636D-4857-BD0F-AFC44A54BCCF}" dt="2021-05-25T14:20:12.134" v="28844" actId="790"/>
          <ac:spMkLst>
            <pc:docMk/>
            <pc:sldMk cId="1257605897" sldId="10450"/>
            <ac:spMk id="187" creationId="{2B1DFCF5-5CE2-41E4-882A-AA27CCD25FFF}"/>
          </ac:spMkLst>
        </pc:spChg>
        <pc:spChg chg="mod">
          <ac:chgData name="Ugo MANTEL" userId="2d5b7065-31bb-4181-a7f8-a73bf0c30211" providerId="ADAL" clId="{9344D105-636D-4857-BD0F-AFC44A54BCCF}" dt="2021-05-25T14:20:12.135" v="28845" actId="790"/>
          <ac:spMkLst>
            <pc:docMk/>
            <pc:sldMk cId="1257605897" sldId="10450"/>
            <ac:spMk id="189" creationId="{6B9DCBFF-5597-49E5-BFE3-33C520193F03}"/>
          </ac:spMkLst>
        </pc:spChg>
        <pc:spChg chg="mod">
          <ac:chgData name="Ugo MANTEL" userId="2d5b7065-31bb-4181-a7f8-a73bf0c30211" providerId="ADAL" clId="{9344D105-636D-4857-BD0F-AFC44A54BCCF}" dt="2021-05-25T14:20:12.136" v="28846" actId="790"/>
          <ac:spMkLst>
            <pc:docMk/>
            <pc:sldMk cId="1257605897" sldId="10450"/>
            <ac:spMk id="190" creationId="{40A8218D-453D-4A85-A645-943A1BA3319A}"/>
          </ac:spMkLst>
        </pc:spChg>
        <pc:spChg chg="mod">
          <ac:chgData name="Ugo MANTEL" userId="2d5b7065-31bb-4181-a7f8-a73bf0c30211" providerId="ADAL" clId="{9344D105-636D-4857-BD0F-AFC44A54BCCF}" dt="2021-05-25T14:20:12.137" v="28848" actId="790"/>
          <ac:spMkLst>
            <pc:docMk/>
            <pc:sldMk cId="1257605897" sldId="10450"/>
            <ac:spMk id="193" creationId="{71D1FCF9-82DB-43BD-8A7C-4A72C096FE36}"/>
          </ac:spMkLst>
        </pc:spChg>
      </pc:sldChg>
      <pc:sldChg chg="addSp delSp modSp mod ord">
        <pc:chgData name="Ugo MANTEL" userId="2d5b7065-31bb-4181-a7f8-a73bf0c30211" providerId="ADAL" clId="{9344D105-636D-4857-BD0F-AFC44A54BCCF}" dt="2021-05-25T14:50:21.301" v="36179" actId="207"/>
        <pc:sldMkLst>
          <pc:docMk/>
          <pc:sldMk cId="946667118" sldId="10451"/>
        </pc:sldMkLst>
        <pc:spChg chg="mod">
          <ac:chgData name="Ugo MANTEL" userId="2d5b7065-31bb-4181-a7f8-a73bf0c30211" providerId="ADAL" clId="{9344D105-636D-4857-BD0F-AFC44A54BCCF}" dt="2021-05-25T14:40:47.742" v="35884" actId="948"/>
          <ac:spMkLst>
            <pc:docMk/>
            <pc:sldMk cId="946667118" sldId="10451"/>
            <ac:spMk id="2" creationId="{769247EA-17E8-4C3A-8816-83F479289603}"/>
          </ac:spMkLst>
        </pc:spChg>
        <pc:spChg chg="del mod">
          <ac:chgData name="Ugo MANTEL" userId="2d5b7065-31bb-4181-a7f8-a73bf0c30211" providerId="ADAL" clId="{9344D105-636D-4857-BD0F-AFC44A54BCCF}" dt="2021-05-25T14:36:32.166" v="35216" actId="478"/>
          <ac:spMkLst>
            <pc:docMk/>
            <pc:sldMk cId="946667118" sldId="10451"/>
            <ac:spMk id="3" creationId="{E07D0B56-DB8E-4B78-AC05-7711C9472BF0}"/>
          </ac:spMkLst>
        </pc:spChg>
        <pc:spChg chg="del mod">
          <ac:chgData name="Ugo MANTEL" userId="2d5b7065-31bb-4181-a7f8-a73bf0c30211" providerId="ADAL" clId="{9344D105-636D-4857-BD0F-AFC44A54BCCF}" dt="2021-05-25T14:36:25.011" v="35213" actId="478"/>
          <ac:spMkLst>
            <pc:docMk/>
            <pc:sldMk cId="946667118" sldId="10451"/>
            <ac:spMk id="4" creationId="{9AE5609A-BCBB-4CCB-8260-AB6BF728C30D}"/>
          </ac:spMkLst>
        </pc:spChg>
        <pc:spChg chg="add del mod modVis">
          <ac:chgData name="Ugo MANTEL" userId="2d5b7065-31bb-4181-a7f8-a73bf0c30211" providerId="ADAL" clId="{9344D105-636D-4857-BD0F-AFC44A54BCCF}" dt="2021-05-24T14:53:40.985" v="8279"/>
          <ac:spMkLst>
            <pc:docMk/>
            <pc:sldMk cId="946667118" sldId="10451"/>
            <ac:spMk id="5" creationId="{D35EF4C8-285B-46ED-ADA2-FE501BCD42BA}"/>
          </ac:spMkLst>
        </pc:spChg>
        <pc:spChg chg="del mod">
          <ac:chgData name="Ugo MANTEL" userId="2d5b7065-31bb-4181-a7f8-a73bf0c30211" providerId="ADAL" clId="{9344D105-636D-4857-BD0F-AFC44A54BCCF}" dt="2021-05-25T14:40:06.578" v="35837" actId="478"/>
          <ac:spMkLst>
            <pc:docMk/>
            <pc:sldMk cId="946667118" sldId="10451"/>
            <ac:spMk id="6" creationId="{5D67F58E-367B-4FE8-B5F9-DCBD69FB1B6B}"/>
          </ac:spMkLst>
        </pc:spChg>
        <pc:spChg chg="add del mod modVis">
          <ac:chgData name="Ugo MANTEL" userId="2d5b7065-31bb-4181-a7f8-a73bf0c30211" providerId="ADAL" clId="{9344D105-636D-4857-BD0F-AFC44A54BCCF}" dt="2021-05-24T14:53:46.097" v="8324"/>
          <ac:spMkLst>
            <pc:docMk/>
            <pc:sldMk cId="946667118" sldId="10451"/>
            <ac:spMk id="6" creationId="{A39014AE-EEC6-4A5C-BDA1-2E55132B0CBE}"/>
          </ac:spMkLst>
        </pc:spChg>
        <pc:spChg chg="mod">
          <ac:chgData name="Ugo MANTEL" userId="2d5b7065-31bb-4181-a7f8-a73bf0c30211" providerId="ADAL" clId="{9344D105-636D-4857-BD0F-AFC44A54BCCF}" dt="2021-05-25T14:20:13.030" v="29751" actId="790"/>
          <ac:spMkLst>
            <pc:docMk/>
            <pc:sldMk cId="946667118" sldId="10451"/>
            <ac:spMk id="7" creationId="{044946C5-D2A9-4225-9A4A-E922125A0AE1}"/>
          </ac:spMkLst>
        </pc:spChg>
        <pc:spChg chg="mod">
          <ac:chgData name="Ugo MANTEL" userId="2d5b7065-31bb-4181-a7f8-a73bf0c30211" providerId="ADAL" clId="{9344D105-636D-4857-BD0F-AFC44A54BCCF}" dt="2021-05-25T14:20:13.073" v="29794" actId="790"/>
          <ac:spMkLst>
            <pc:docMk/>
            <pc:sldMk cId="946667118" sldId="10451"/>
            <ac:spMk id="9" creationId="{FAF41793-0AE2-48FB-B0F7-F9CE65719F59}"/>
          </ac:spMkLst>
        </pc:spChg>
        <pc:spChg chg="mod">
          <ac:chgData name="Ugo MANTEL" userId="2d5b7065-31bb-4181-a7f8-a73bf0c30211" providerId="ADAL" clId="{9344D105-636D-4857-BD0F-AFC44A54BCCF}" dt="2021-05-25T14:20:13.074" v="29795" actId="790"/>
          <ac:spMkLst>
            <pc:docMk/>
            <pc:sldMk cId="946667118" sldId="10451"/>
            <ac:spMk id="13" creationId="{E4610930-1FA0-46FB-8AFC-90F831D44116}"/>
          </ac:spMkLst>
        </pc:spChg>
        <pc:spChg chg="add del mod modVis">
          <ac:chgData name="Ugo MANTEL" userId="2d5b7065-31bb-4181-a7f8-a73bf0c30211" providerId="ADAL" clId="{9344D105-636D-4857-BD0F-AFC44A54BCCF}" dt="2021-05-25T14:37:31.800" v="35273"/>
          <ac:spMkLst>
            <pc:docMk/>
            <pc:sldMk cId="946667118" sldId="10451"/>
            <ac:spMk id="14" creationId="{ACAA063E-28B4-4EB4-99C5-B32E7D3169B6}"/>
          </ac:spMkLst>
        </pc:spChg>
        <pc:spChg chg="add del mod modVis">
          <ac:chgData name="Ugo MANTEL" userId="2d5b7065-31bb-4181-a7f8-a73bf0c30211" providerId="ADAL" clId="{9344D105-636D-4857-BD0F-AFC44A54BCCF}" dt="2021-05-25T14:37:33.403" v="35323"/>
          <ac:spMkLst>
            <pc:docMk/>
            <pc:sldMk cId="946667118" sldId="10451"/>
            <ac:spMk id="15" creationId="{134234C7-162E-4B09-AE05-467F93C78A2A}"/>
          </ac:spMkLst>
        </pc:spChg>
        <pc:spChg chg="add del mod modVis">
          <ac:chgData name="Ugo MANTEL" userId="2d5b7065-31bb-4181-a7f8-a73bf0c30211" providerId="ADAL" clId="{9344D105-636D-4857-BD0F-AFC44A54BCCF}" dt="2021-05-25T14:37:34.022" v="35368"/>
          <ac:spMkLst>
            <pc:docMk/>
            <pc:sldMk cId="946667118" sldId="10451"/>
            <ac:spMk id="16" creationId="{559ECA56-AA9C-4AFA-A438-D26B5C47DCE7}"/>
          </ac:spMkLst>
        </pc:spChg>
        <pc:spChg chg="mod">
          <ac:chgData name="Ugo MANTEL" userId="2d5b7065-31bb-4181-a7f8-a73bf0c30211" providerId="ADAL" clId="{9344D105-636D-4857-BD0F-AFC44A54BCCF}" dt="2021-05-25T14:20:13.031" v="29752" actId="790"/>
          <ac:spMkLst>
            <pc:docMk/>
            <pc:sldMk cId="946667118" sldId="10451"/>
            <ac:spMk id="17" creationId="{C9EAEAC2-A4FF-4DD8-9228-E949C4DB6A55}"/>
          </ac:spMkLst>
        </pc:spChg>
        <pc:spChg chg="add del mod modVis">
          <ac:chgData name="Ugo MANTEL" userId="2d5b7065-31bb-4181-a7f8-a73bf0c30211" providerId="ADAL" clId="{9344D105-636D-4857-BD0F-AFC44A54BCCF}" dt="2021-05-25T14:37:35.644" v="35413"/>
          <ac:spMkLst>
            <pc:docMk/>
            <pc:sldMk cId="946667118" sldId="10451"/>
            <ac:spMk id="18" creationId="{1CD2D7AA-D3DE-4FE4-9B5D-A9BC92AD4B43}"/>
          </ac:spMkLst>
        </pc:spChg>
        <pc:spChg chg="add del mod modVis">
          <ac:chgData name="Ugo MANTEL" userId="2d5b7065-31bb-4181-a7f8-a73bf0c30211" providerId="ADAL" clId="{9344D105-636D-4857-BD0F-AFC44A54BCCF}" dt="2021-05-25T14:38:27.151" v="35458"/>
          <ac:spMkLst>
            <pc:docMk/>
            <pc:sldMk cId="946667118" sldId="10451"/>
            <ac:spMk id="19" creationId="{4F422E02-8BA7-4EA3-88FB-6ED02D964179}"/>
          </ac:spMkLst>
        </pc:spChg>
        <pc:spChg chg="mod">
          <ac:chgData name="Ugo MANTEL" userId="2d5b7065-31bb-4181-a7f8-a73bf0c30211" providerId="ADAL" clId="{9344D105-636D-4857-BD0F-AFC44A54BCCF}" dt="2021-05-25T14:20:13.032" v="29753" actId="790"/>
          <ac:spMkLst>
            <pc:docMk/>
            <pc:sldMk cId="946667118" sldId="10451"/>
            <ac:spMk id="20" creationId="{5F5540D3-73DA-4CB5-8CE1-6C8BEAA293F6}"/>
          </ac:spMkLst>
        </pc:spChg>
        <pc:spChg chg="add del mod modVis">
          <ac:chgData name="Ugo MANTEL" userId="2d5b7065-31bb-4181-a7f8-a73bf0c30211" providerId="ADAL" clId="{9344D105-636D-4857-BD0F-AFC44A54BCCF}" dt="2021-05-25T14:38:35.463" v="35508"/>
          <ac:spMkLst>
            <pc:docMk/>
            <pc:sldMk cId="946667118" sldId="10451"/>
            <ac:spMk id="21" creationId="{662920E3-7477-49B7-BDC5-A16DD3269BA2}"/>
          </ac:spMkLst>
        </pc:spChg>
        <pc:spChg chg="add del mod modVis">
          <ac:chgData name="Ugo MANTEL" userId="2d5b7065-31bb-4181-a7f8-a73bf0c30211" providerId="ADAL" clId="{9344D105-636D-4857-BD0F-AFC44A54BCCF}" dt="2021-05-25T14:38:38.941" v="35552"/>
          <ac:spMkLst>
            <pc:docMk/>
            <pc:sldMk cId="946667118" sldId="10451"/>
            <ac:spMk id="22" creationId="{C6596F4C-E2E3-4AC0-AB6A-178DDE010830}"/>
          </ac:spMkLst>
        </pc:spChg>
        <pc:spChg chg="add del mod modVis">
          <ac:chgData name="Ugo MANTEL" userId="2d5b7065-31bb-4181-a7f8-a73bf0c30211" providerId="ADAL" clId="{9344D105-636D-4857-BD0F-AFC44A54BCCF}" dt="2021-05-25T14:38:43.428" v="35601"/>
          <ac:spMkLst>
            <pc:docMk/>
            <pc:sldMk cId="946667118" sldId="10451"/>
            <ac:spMk id="23" creationId="{9CE2952C-B8A7-41E4-B6D3-E5CD9301CAAE}"/>
          </ac:spMkLst>
        </pc:spChg>
        <pc:spChg chg="mod">
          <ac:chgData name="Ugo MANTEL" userId="2d5b7065-31bb-4181-a7f8-a73bf0c30211" providerId="ADAL" clId="{9344D105-636D-4857-BD0F-AFC44A54BCCF}" dt="2021-05-25T14:20:13.032" v="29754" actId="790"/>
          <ac:spMkLst>
            <pc:docMk/>
            <pc:sldMk cId="946667118" sldId="10451"/>
            <ac:spMk id="24" creationId="{9AC553B1-4F81-4C20-B305-7DC8EB1A6187}"/>
          </ac:spMkLst>
        </pc:spChg>
        <pc:spChg chg="mod">
          <ac:chgData name="Ugo MANTEL" userId="2d5b7065-31bb-4181-a7f8-a73bf0c30211" providerId="ADAL" clId="{9344D105-636D-4857-BD0F-AFC44A54BCCF}" dt="2021-05-25T14:50:21.301" v="36179" actId="207"/>
          <ac:spMkLst>
            <pc:docMk/>
            <pc:sldMk cId="946667118" sldId="10451"/>
            <ac:spMk id="25" creationId="{3E109305-F3C7-486E-897E-2E8221625EF8}"/>
          </ac:spMkLst>
        </pc:spChg>
        <pc:spChg chg="add del mod modVis">
          <ac:chgData name="Ugo MANTEL" userId="2d5b7065-31bb-4181-a7f8-a73bf0c30211" providerId="ADAL" clId="{9344D105-636D-4857-BD0F-AFC44A54BCCF}" dt="2021-05-25T14:38:46.516" v="35646"/>
          <ac:spMkLst>
            <pc:docMk/>
            <pc:sldMk cId="946667118" sldId="10451"/>
            <ac:spMk id="26" creationId="{81A1CA73-4821-4F2F-8E20-4024D0A3FB17}"/>
          </ac:spMkLst>
        </pc:spChg>
        <pc:spChg chg="add del mod modVis">
          <ac:chgData name="Ugo MANTEL" userId="2d5b7065-31bb-4181-a7f8-a73bf0c30211" providerId="ADAL" clId="{9344D105-636D-4857-BD0F-AFC44A54BCCF}" dt="2021-05-25T14:38:54.772" v="35692"/>
          <ac:spMkLst>
            <pc:docMk/>
            <pc:sldMk cId="946667118" sldId="10451"/>
            <ac:spMk id="27" creationId="{6BFAF8AC-43CE-4BD8-B8C8-B862C32A99FF}"/>
          </ac:spMkLst>
        </pc:spChg>
        <pc:spChg chg="mod">
          <ac:chgData name="Ugo MANTEL" userId="2d5b7065-31bb-4181-a7f8-a73bf0c30211" providerId="ADAL" clId="{9344D105-636D-4857-BD0F-AFC44A54BCCF}" dt="2021-05-25T14:20:13.037" v="29760" actId="790"/>
          <ac:spMkLst>
            <pc:docMk/>
            <pc:sldMk cId="946667118" sldId="10451"/>
            <ac:spMk id="28" creationId="{F0A42D70-8359-43E9-B3F0-C9955529B0D8}"/>
          </ac:spMkLst>
        </pc:spChg>
        <pc:spChg chg="mod">
          <ac:chgData name="Ugo MANTEL" userId="2d5b7065-31bb-4181-a7f8-a73bf0c30211" providerId="ADAL" clId="{9344D105-636D-4857-BD0F-AFC44A54BCCF}" dt="2021-05-25T14:20:13.034" v="29756" actId="790"/>
          <ac:spMkLst>
            <pc:docMk/>
            <pc:sldMk cId="946667118" sldId="10451"/>
            <ac:spMk id="29" creationId="{6883ADF0-392A-45C2-A4E3-ABAB2274EB03}"/>
          </ac:spMkLst>
        </pc:spChg>
        <pc:spChg chg="mod">
          <ac:chgData name="Ugo MANTEL" userId="2d5b7065-31bb-4181-a7f8-a73bf0c30211" providerId="ADAL" clId="{9344D105-636D-4857-BD0F-AFC44A54BCCF}" dt="2021-05-25T14:20:13.035" v="29757" actId="790"/>
          <ac:spMkLst>
            <pc:docMk/>
            <pc:sldMk cId="946667118" sldId="10451"/>
            <ac:spMk id="30" creationId="{DEF0A5A1-4D9F-4E2F-9E07-C79302AD07AD}"/>
          </ac:spMkLst>
        </pc:spChg>
        <pc:spChg chg="add del mod modVis">
          <ac:chgData name="Ugo MANTEL" userId="2d5b7065-31bb-4181-a7f8-a73bf0c30211" providerId="ADAL" clId="{9344D105-636D-4857-BD0F-AFC44A54BCCF}" dt="2021-05-25T14:38:56.204" v="35737"/>
          <ac:spMkLst>
            <pc:docMk/>
            <pc:sldMk cId="946667118" sldId="10451"/>
            <ac:spMk id="31" creationId="{F1F49E60-9E9B-4AFB-B3E6-61A2B118EB0E}"/>
          </ac:spMkLst>
        </pc:spChg>
        <pc:spChg chg="mod">
          <ac:chgData name="Ugo MANTEL" userId="2d5b7065-31bb-4181-a7f8-a73bf0c30211" providerId="ADAL" clId="{9344D105-636D-4857-BD0F-AFC44A54BCCF}" dt="2021-05-25T14:20:13.036" v="29758" actId="790"/>
          <ac:spMkLst>
            <pc:docMk/>
            <pc:sldMk cId="946667118" sldId="10451"/>
            <ac:spMk id="32" creationId="{3FF3FDF5-52D0-49E0-A0E7-824DFE96C177}"/>
          </ac:spMkLst>
        </pc:spChg>
        <pc:spChg chg="mod">
          <ac:chgData name="Ugo MANTEL" userId="2d5b7065-31bb-4181-a7f8-a73bf0c30211" providerId="ADAL" clId="{9344D105-636D-4857-BD0F-AFC44A54BCCF}" dt="2021-05-25T14:20:13.037" v="29759" actId="790"/>
          <ac:spMkLst>
            <pc:docMk/>
            <pc:sldMk cId="946667118" sldId="10451"/>
            <ac:spMk id="33" creationId="{199DDAA8-0D15-4205-9F4A-142676014187}"/>
          </ac:spMkLst>
        </pc:spChg>
        <pc:spChg chg="add del mod modVis">
          <ac:chgData name="Ugo MANTEL" userId="2d5b7065-31bb-4181-a7f8-a73bf0c30211" providerId="ADAL" clId="{9344D105-636D-4857-BD0F-AFC44A54BCCF}" dt="2021-05-25T14:39:09.065" v="35783"/>
          <ac:spMkLst>
            <pc:docMk/>
            <pc:sldMk cId="946667118" sldId="10451"/>
            <ac:spMk id="34" creationId="{95660CA4-E687-47BF-9BDF-DC75607FB743}"/>
          </ac:spMkLst>
        </pc:spChg>
        <pc:spChg chg="add del mod modVis">
          <ac:chgData name="Ugo MANTEL" userId="2d5b7065-31bb-4181-a7f8-a73bf0c30211" providerId="ADAL" clId="{9344D105-636D-4857-BD0F-AFC44A54BCCF}" dt="2021-05-25T14:39:11.149" v="35832"/>
          <ac:spMkLst>
            <pc:docMk/>
            <pc:sldMk cId="946667118" sldId="10451"/>
            <ac:spMk id="36" creationId="{4BE9A650-C69A-4F83-BDBE-EBA59A8B3726}"/>
          </ac:spMkLst>
        </pc:spChg>
        <pc:spChg chg="add del mod modVis">
          <ac:chgData name="Ugo MANTEL" userId="2d5b7065-31bb-4181-a7f8-a73bf0c30211" providerId="ADAL" clId="{9344D105-636D-4857-BD0F-AFC44A54BCCF}" dt="2021-05-25T14:40:38.540" v="35880"/>
          <ac:spMkLst>
            <pc:docMk/>
            <pc:sldMk cId="946667118" sldId="10451"/>
            <ac:spMk id="37" creationId="{9B756C6A-1634-46E1-AEF6-77DA9F1DEDDE}"/>
          </ac:spMkLst>
        </pc:spChg>
        <pc:spChg chg="add del mod modVis">
          <ac:chgData name="Ugo MANTEL" userId="2d5b7065-31bb-4181-a7f8-a73bf0c30211" providerId="ADAL" clId="{9344D105-636D-4857-BD0F-AFC44A54BCCF}" dt="2021-05-25T14:40:47.830" v="35924"/>
          <ac:spMkLst>
            <pc:docMk/>
            <pc:sldMk cId="946667118" sldId="10451"/>
            <ac:spMk id="38" creationId="{AF6E3658-CD45-42DD-A392-00C25A1D3442}"/>
          </ac:spMkLst>
        </pc:spChg>
        <pc:spChg chg="add mod">
          <ac:chgData name="Ugo MANTEL" userId="2d5b7065-31bb-4181-a7f8-a73bf0c30211" providerId="ADAL" clId="{9344D105-636D-4857-BD0F-AFC44A54BCCF}" dt="2021-05-25T14:20:13.059" v="29781" actId="790"/>
          <ac:spMkLst>
            <pc:docMk/>
            <pc:sldMk cId="946667118" sldId="10451"/>
            <ac:spMk id="44" creationId="{B0E36B4E-889F-4589-9A08-C01D267B1C72}"/>
          </ac:spMkLst>
        </pc:spChg>
        <pc:spChg chg="del mod">
          <ac:chgData name="Ugo MANTEL" userId="2d5b7065-31bb-4181-a7f8-a73bf0c30211" providerId="ADAL" clId="{9344D105-636D-4857-BD0F-AFC44A54BCCF}" dt="2021-05-25T14:36:29.908" v="35215" actId="478"/>
          <ac:spMkLst>
            <pc:docMk/>
            <pc:sldMk cId="946667118" sldId="10451"/>
            <ac:spMk id="50" creationId="{C4864A91-8070-46BD-BB89-03A09EB5B02C}"/>
          </ac:spMkLst>
        </pc:spChg>
        <pc:spChg chg="add mod">
          <ac:chgData name="Ugo MANTEL" userId="2d5b7065-31bb-4181-a7f8-a73bf0c30211" providerId="ADAL" clId="{9344D105-636D-4857-BD0F-AFC44A54BCCF}" dt="2021-05-25T14:20:13.062" v="29785" actId="790"/>
          <ac:spMkLst>
            <pc:docMk/>
            <pc:sldMk cId="946667118" sldId="10451"/>
            <ac:spMk id="58" creationId="{8B0B1F27-8215-4EAC-9E9C-BE1DEC1C7AAF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60" creationId="{62877162-2C75-4F8F-822B-412A90AABCCD}"/>
          </ac:spMkLst>
        </pc:spChg>
        <pc:spChg chg="add del mod">
          <ac:chgData name="Ugo MANTEL" userId="2d5b7065-31bb-4181-a7f8-a73bf0c30211" providerId="ADAL" clId="{9344D105-636D-4857-BD0F-AFC44A54BCCF}" dt="2021-05-24T15:00:20.073" v="8708" actId="478"/>
          <ac:spMkLst>
            <pc:docMk/>
            <pc:sldMk cId="946667118" sldId="10451"/>
            <ac:spMk id="61" creationId="{D119A318-B27E-4DF8-BE64-94500684E8C0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62" creationId="{4B6D59C2-B908-4123-8137-2EBF2B2E4304}"/>
          </ac:spMkLst>
        </pc:spChg>
        <pc:spChg chg="mod">
          <ac:chgData name="Ugo MANTEL" userId="2d5b7065-31bb-4181-a7f8-a73bf0c30211" providerId="ADAL" clId="{9344D105-636D-4857-BD0F-AFC44A54BCCF}" dt="2021-05-25T14:20:13.038" v="29761" actId="790"/>
          <ac:spMkLst>
            <pc:docMk/>
            <pc:sldMk cId="946667118" sldId="10451"/>
            <ac:spMk id="64" creationId="{D18473C9-8757-432D-9AB2-988A0819821F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66" creationId="{F647789C-736A-4764-9B35-170171F93D61}"/>
          </ac:spMkLst>
        </pc:spChg>
        <pc:spChg chg="add del mod">
          <ac:chgData name="Ugo MANTEL" userId="2d5b7065-31bb-4181-a7f8-a73bf0c30211" providerId="ADAL" clId="{9344D105-636D-4857-BD0F-AFC44A54BCCF}" dt="2021-05-24T15:00:20.073" v="8708" actId="478"/>
          <ac:spMkLst>
            <pc:docMk/>
            <pc:sldMk cId="946667118" sldId="10451"/>
            <ac:spMk id="67" creationId="{11CFB74A-DC00-48BF-9D4B-430CC5816373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68" creationId="{060FF416-4408-4846-A19B-5558C08A1763}"/>
          </ac:spMkLst>
        </pc:spChg>
        <pc:spChg chg="mod">
          <ac:chgData name="Ugo MANTEL" userId="2d5b7065-31bb-4181-a7f8-a73bf0c30211" providerId="ADAL" clId="{9344D105-636D-4857-BD0F-AFC44A54BCCF}" dt="2021-05-25T14:20:13.075" v="29796" actId="790"/>
          <ac:spMkLst>
            <pc:docMk/>
            <pc:sldMk cId="946667118" sldId="10451"/>
            <ac:spMk id="68" creationId="{09B355E0-39AF-4149-98DE-8CF7CD14B380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69" creationId="{99D7FFBC-5C41-4A97-9F41-32069433B4F7}"/>
          </ac:spMkLst>
        </pc:spChg>
        <pc:spChg chg="add mod">
          <ac:chgData name="Ugo MANTEL" userId="2d5b7065-31bb-4181-a7f8-a73bf0c30211" providerId="ADAL" clId="{9344D105-636D-4857-BD0F-AFC44A54BCCF}" dt="2021-05-25T14:36:50.196" v="35222" actId="20577"/>
          <ac:spMkLst>
            <pc:docMk/>
            <pc:sldMk cId="946667118" sldId="10451"/>
            <ac:spMk id="70" creationId="{2B64032B-5BED-4DF6-861D-B3317D187F9D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70" creationId="{68DFF4B4-4C25-4676-B9FD-2912E0DACADE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71" creationId="{51DC9ECC-C0DE-4161-B1C5-38748B83C968}"/>
          </ac:spMkLst>
        </pc:spChg>
        <pc:spChg chg="mod">
          <ac:chgData name="Ugo MANTEL" userId="2d5b7065-31bb-4181-a7f8-a73bf0c30211" providerId="ADAL" clId="{9344D105-636D-4857-BD0F-AFC44A54BCCF}" dt="2021-05-25T14:20:13.039" v="29762" actId="790"/>
          <ac:spMkLst>
            <pc:docMk/>
            <pc:sldMk cId="946667118" sldId="10451"/>
            <ac:spMk id="72" creationId="{53F76EF6-A16A-4416-954E-5734C91DB3EA}"/>
          </ac:spMkLst>
        </pc:spChg>
        <pc:spChg chg="add del mod">
          <ac:chgData name="Ugo MANTEL" userId="2d5b7065-31bb-4181-a7f8-a73bf0c30211" providerId="ADAL" clId="{9344D105-636D-4857-BD0F-AFC44A54BCCF}" dt="2021-05-24T15:09:08.725" v="8775" actId="478"/>
          <ac:spMkLst>
            <pc:docMk/>
            <pc:sldMk cId="946667118" sldId="10451"/>
            <ac:spMk id="73" creationId="{9479E80B-6579-4E0F-83F4-85527831D4C8}"/>
          </ac:spMkLst>
        </pc:spChg>
        <pc:spChg chg="mod">
          <ac:chgData name="Ugo MANTEL" userId="2d5b7065-31bb-4181-a7f8-a73bf0c30211" providerId="ADAL" clId="{9344D105-636D-4857-BD0F-AFC44A54BCCF}" dt="2021-05-25T14:20:13.040" v="29763" actId="790"/>
          <ac:spMkLst>
            <pc:docMk/>
            <pc:sldMk cId="946667118" sldId="10451"/>
            <ac:spMk id="74" creationId="{86FA14E8-7A65-4CBB-A34D-88A87FFA3ACF}"/>
          </ac:spMkLst>
        </pc:spChg>
        <pc:spChg chg="mod">
          <ac:chgData name="Ugo MANTEL" userId="2d5b7065-31bb-4181-a7f8-a73bf0c30211" providerId="ADAL" clId="{9344D105-636D-4857-BD0F-AFC44A54BCCF}" dt="2021-05-25T14:40:13.492" v="35838" actId="207"/>
          <ac:spMkLst>
            <pc:docMk/>
            <pc:sldMk cId="946667118" sldId="10451"/>
            <ac:spMk id="75" creationId="{C116CA5A-79BC-4753-A781-D939D02B2F40}"/>
          </ac:spMkLst>
        </pc:spChg>
        <pc:spChg chg="mod">
          <ac:chgData name="Ugo MANTEL" userId="2d5b7065-31bb-4181-a7f8-a73bf0c30211" providerId="ADAL" clId="{9344D105-636D-4857-BD0F-AFC44A54BCCF}" dt="2021-05-25T14:20:13.042" v="29765" actId="790"/>
          <ac:spMkLst>
            <pc:docMk/>
            <pc:sldMk cId="946667118" sldId="10451"/>
            <ac:spMk id="76" creationId="{610286D6-0078-41F1-9A71-66B2525DCCAB}"/>
          </ac:spMkLst>
        </pc:spChg>
        <pc:spChg chg="mod">
          <ac:chgData name="Ugo MANTEL" userId="2d5b7065-31bb-4181-a7f8-a73bf0c30211" providerId="ADAL" clId="{9344D105-636D-4857-BD0F-AFC44A54BCCF}" dt="2021-05-25T14:20:13.043" v="29766" actId="790"/>
          <ac:spMkLst>
            <pc:docMk/>
            <pc:sldMk cId="946667118" sldId="10451"/>
            <ac:spMk id="77" creationId="{655F16CF-879C-4ED9-9E0C-45719166FD41}"/>
          </ac:spMkLst>
        </pc:spChg>
        <pc:spChg chg="mod">
          <ac:chgData name="Ugo MANTEL" userId="2d5b7065-31bb-4181-a7f8-a73bf0c30211" providerId="ADAL" clId="{9344D105-636D-4857-BD0F-AFC44A54BCCF}" dt="2021-05-25T14:20:13.045" v="29767" actId="790"/>
          <ac:spMkLst>
            <pc:docMk/>
            <pc:sldMk cId="946667118" sldId="10451"/>
            <ac:spMk id="78" creationId="{C87B6AA9-98E8-446F-8FA4-C5C34CFB04AF}"/>
          </ac:spMkLst>
        </pc:spChg>
        <pc:spChg chg="mod">
          <ac:chgData name="Ugo MANTEL" userId="2d5b7065-31bb-4181-a7f8-a73bf0c30211" providerId="ADAL" clId="{9344D105-636D-4857-BD0F-AFC44A54BCCF}" dt="2021-05-25T14:20:13.046" v="29768" actId="790"/>
          <ac:spMkLst>
            <pc:docMk/>
            <pc:sldMk cId="946667118" sldId="10451"/>
            <ac:spMk id="79" creationId="{8EBF367E-E2DA-415E-B281-2B9404ED3A46}"/>
          </ac:spMkLst>
        </pc:spChg>
        <pc:spChg chg="mod">
          <ac:chgData name="Ugo MANTEL" userId="2d5b7065-31bb-4181-a7f8-a73bf0c30211" providerId="ADAL" clId="{9344D105-636D-4857-BD0F-AFC44A54BCCF}" dt="2021-05-25T14:20:13.047" v="29769" actId="790"/>
          <ac:spMkLst>
            <pc:docMk/>
            <pc:sldMk cId="946667118" sldId="10451"/>
            <ac:spMk id="80" creationId="{DF9DF7E7-5FF0-48B8-A1AC-164500254812}"/>
          </ac:spMkLst>
        </pc:spChg>
        <pc:spChg chg="mod">
          <ac:chgData name="Ugo MANTEL" userId="2d5b7065-31bb-4181-a7f8-a73bf0c30211" providerId="ADAL" clId="{9344D105-636D-4857-BD0F-AFC44A54BCCF}" dt="2021-05-25T14:20:13.048" v="29770" actId="790"/>
          <ac:spMkLst>
            <pc:docMk/>
            <pc:sldMk cId="946667118" sldId="10451"/>
            <ac:spMk id="81" creationId="{09E3A3BE-0DD8-4980-A1CF-2EFA556C927A}"/>
          </ac:spMkLst>
        </pc:spChg>
        <pc:spChg chg="mod">
          <ac:chgData name="Ugo MANTEL" userId="2d5b7065-31bb-4181-a7f8-a73bf0c30211" providerId="ADAL" clId="{9344D105-636D-4857-BD0F-AFC44A54BCCF}" dt="2021-05-25T14:20:13.049" v="29771" actId="790"/>
          <ac:spMkLst>
            <pc:docMk/>
            <pc:sldMk cId="946667118" sldId="10451"/>
            <ac:spMk id="82" creationId="{79B17794-B5C3-4B9C-8192-450BCE0A6895}"/>
          </ac:spMkLst>
        </pc:spChg>
        <pc:spChg chg="mod">
          <ac:chgData name="Ugo MANTEL" userId="2d5b7065-31bb-4181-a7f8-a73bf0c30211" providerId="ADAL" clId="{9344D105-636D-4857-BD0F-AFC44A54BCCF}" dt="2021-05-25T14:20:13.050" v="29772" actId="790"/>
          <ac:spMkLst>
            <pc:docMk/>
            <pc:sldMk cId="946667118" sldId="10451"/>
            <ac:spMk id="83" creationId="{A56ACA3E-1DF3-4D17-8A29-417336C3FEA0}"/>
          </ac:spMkLst>
        </pc:spChg>
        <pc:spChg chg="mod">
          <ac:chgData name="Ugo MANTEL" userId="2d5b7065-31bb-4181-a7f8-a73bf0c30211" providerId="ADAL" clId="{9344D105-636D-4857-BD0F-AFC44A54BCCF}" dt="2021-05-25T14:20:13.052" v="29773" actId="790"/>
          <ac:spMkLst>
            <pc:docMk/>
            <pc:sldMk cId="946667118" sldId="10451"/>
            <ac:spMk id="84" creationId="{6D983CC5-2164-4341-A344-C58A95E2C300}"/>
          </ac:spMkLst>
        </pc:spChg>
        <pc:spChg chg="mod">
          <ac:chgData name="Ugo MANTEL" userId="2d5b7065-31bb-4181-a7f8-a73bf0c30211" providerId="ADAL" clId="{9344D105-636D-4857-BD0F-AFC44A54BCCF}" dt="2021-05-25T14:20:13.053" v="29774" actId="790"/>
          <ac:spMkLst>
            <pc:docMk/>
            <pc:sldMk cId="946667118" sldId="10451"/>
            <ac:spMk id="85" creationId="{61074D75-11F2-4326-8B1A-211012AA7EFA}"/>
          </ac:spMkLst>
        </pc:spChg>
        <pc:spChg chg="add mod">
          <ac:chgData name="Ugo MANTEL" userId="2d5b7065-31bb-4181-a7f8-a73bf0c30211" providerId="ADAL" clId="{9344D105-636D-4857-BD0F-AFC44A54BCCF}" dt="2021-05-25T14:20:13.062" v="29786" actId="790"/>
          <ac:spMkLst>
            <pc:docMk/>
            <pc:sldMk cId="946667118" sldId="10451"/>
            <ac:spMk id="86" creationId="{8A14FC79-C56E-4484-8887-E9A78030B4D6}"/>
          </ac:spMkLst>
        </pc:spChg>
        <pc:spChg chg="mod">
          <ac:chgData name="Ugo MANTEL" userId="2d5b7065-31bb-4181-a7f8-a73bf0c30211" providerId="ADAL" clId="{9344D105-636D-4857-BD0F-AFC44A54BCCF}" dt="2021-05-25T14:20:13.054" v="29775" actId="790"/>
          <ac:spMkLst>
            <pc:docMk/>
            <pc:sldMk cId="946667118" sldId="10451"/>
            <ac:spMk id="87" creationId="{F033E597-A1B3-4016-A335-0C6A3111FED6}"/>
          </ac:spMkLst>
        </pc:spChg>
        <pc:spChg chg="mod">
          <ac:chgData name="Ugo MANTEL" userId="2d5b7065-31bb-4181-a7f8-a73bf0c30211" providerId="ADAL" clId="{9344D105-636D-4857-BD0F-AFC44A54BCCF}" dt="2021-05-25T14:20:13.055" v="29776" actId="790"/>
          <ac:spMkLst>
            <pc:docMk/>
            <pc:sldMk cId="946667118" sldId="10451"/>
            <ac:spMk id="88" creationId="{840038ED-3862-4130-85EF-095858B0A462}"/>
          </ac:spMkLst>
        </pc:spChg>
        <pc:spChg chg="mod">
          <ac:chgData name="Ugo MANTEL" userId="2d5b7065-31bb-4181-a7f8-a73bf0c30211" providerId="ADAL" clId="{9344D105-636D-4857-BD0F-AFC44A54BCCF}" dt="2021-05-25T14:20:13.056" v="29777" actId="790"/>
          <ac:spMkLst>
            <pc:docMk/>
            <pc:sldMk cId="946667118" sldId="10451"/>
            <ac:spMk id="89" creationId="{EC97F917-C6ED-49BD-B1C9-20BEE6567689}"/>
          </ac:spMkLst>
        </pc:spChg>
        <pc:spChg chg="mod">
          <ac:chgData name="Ugo MANTEL" userId="2d5b7065-31bb-4181-a7f8-a73bf0c30211" providerId="ADAL" clId="{9344D105-636D-4857-BD0F-AFC44A54BCCF}" dt="2021-05-25T14:20:13.058" v="29780" actId="790"/>
          <ac:spMkLst>
            <pc:docMk/>
            <pc:sldMk cId="946667118" sldId="10451"/>
            <ac:spMk id="90" creationId="{96560CEF-D75B-4D59-874C-6BA982B2C860}"/>
          </ac:spMkLst>
        </pc:spChg>
        <pc:spChg chg="add mod">
          <ac:chgData name="Ugo MANTEL" userId="2d5b7065-31bb-4181-a7f8-a73bf0c30211" providerId="ADAL" clId="{9344D105-636D-4857-BD0F-AFC44A54BCCF}" dt="2021-05-25T14:20:13.063" v="29787" actId="790"/>
          <ac:spMkLst>
            <pc:docMk/>
            <pc:sldMk cId="946667118" sldId="10451"/>
            <ac:spMk id="91" creationId="{8D2702E6-E17A-4FED-A239-52E2A9498B00}"/>
          </ac:spMkLst>
        </pc:spChg>
        <pc:spChg chg="mod">
          <ac:chgData name="Ugo MANTEL" userId="2d5b7065-31bb-4181-a7f8-a73bf0c30211" providerId="ADAL" clId="{9344D105-636D-4857-BD0F-AFC44A54BCCF}" dt="2021-05-25T14:20:13.056" v="29778" actId="790"/>
          <ac:spMkLst>
            <pc:docMk/>
            <pc:sldMk cId="946667118" sldId="10451"/>
            <ac:spMk id="92" creationId="{DF0A93D5-BC60-4E6D-8984-A337ACD37FF2}"/>
          </ac:spMkLst>
        </pc:spChg>
        <pc:spChg chg="mod">
          <ac:chgData name="Ugo MANTEL" userId="2d5b7065-31bb-4181-a7f8-a73bf0c30211" providerId="ADAL" clId="{9344D105-636D-4857-BD0F-AFC44A54BCCF}" dt="2021-05-25T14:20:13.057" v="29779" actId="790"/>
          <ac:spMkLst>
            <pc:docMk/>
            <pc:sldMk cId="946667118" sldId="10451"/>
            <ac:spMk id="93" creationId="{7F3E896D-AB39-44B1-A16F-7968DE41B9E3}"/>
          </ac:spMkLst>
        </pc:spChg>
        <pc:spChg chg="add mod">
          <ac:chgData name="Ugo MANTEL" userId="2d5b7065-31bb-4181-a7f8-a73bf0c30211" providerId="ADAL" clId="{9344D105-636D-4857-BD0F-AFC44A54BCCF}" dt="2021-05-25T14:20:13.064" v="29788" actId="790"/>
          <ac:spMkLst>
            <pc:docMk/>
            <pc:sldMk cId="946667118" sldId="10451"/>
            <ac:spMk id="94" creationId="{E3370B19-BD69-449F-9C71-B1EC916BCB38}"/>
          </ac:spMkLst>
        </pc:spChg>
        <pc:spChg chg="add mod">
          <ac:chgData name="Ugo MANTEL" userId="2d5b7065-31bb-4181-a7f8-a73bf0c30211" providerId="ADAL" clId="{9344D105-636D-4857-BD0F-AFC44A54BCCF}" dt="2021-05-25T14:20:13.065" v="29789" actId="790"/>
          <ac:spMkLst>
            <pc:docMk/>
            <pc:sldMk cId="946667118" sldId="10451"/>
            <ac:spMk id="95" creationId="{D6DD3635-D8C4-4356-8D38-A092F5B54338}"/>
          </ac:spMkLst>
        </pc:spChg>
        <pc:spChg chg="add mod">
          <ac:chgData name="Ugo MANTEL" userId="2d5b7065-31bb-4181-a7f8-a73bf0c30211" providerId="ADAL" clId="{9344D105-636D-4857-BD0F-AFC44A54BCCF}" dt="2021-05-25T14:20:13.065" v="29790" actId="790"/>
          <ac:spMkLst>
            <pc:docMk/>
            <pc:sldMk cId="946667118" sldId="10451"/>
            <ac:spMk id="96" creationId="{3AAADA7A-9ABC-4FE7-9FC3-252DBD9FBA26}"/>
          </ac:spMkLst>
        </pc:spChg>
        <pc:spChg chg="add mod">
          <ac:chgData name="Ugo MANTEL" userId="2d5b7065-31bb-4181-a7f8-a73bf0c30211" providerId="ADAL" clId="{9344D105-636D-4857-BD0F-AFC44A54BCCF}" dt="2021-05-25T14:20:13.066" v="29791" actId="790"/>
          <ac:spMkLst>
            <pc:docMk/>
            <pc:sldMk cId="946667118" sldId="10451"/>
            <ac:spMk id="97" creationId="{9DEA2FC9-E544-4C7E-A8E7-A6BBC41C266D}"/>
          </ac:spMkLst>
        </pc:spChg>
        <pc:spChg chg="add mod">
          <ac:chgData name="Ugo MANTEL" userId="2d5b7065-31bb-4181-a7f8-a73bf0c30211" providerId="ADAL" clId="{9344D105-636D-4857-BD0F-AFC44A54BCCF}" dt="2021-05-25T14:20:13.067" v="29792" actId="790"/>
          <ac:spMkLst>
            <pc:docMk/>
            <pc:sldMk cId="946667118" sldId="10451"/>
            <ac:spMk id="98" creationId="{A8335C43-B2C8-45C7-9493-1227FD0EFBD4}"/>
          </ac:spMkLst>
        </pc:spChg>
        <pc:spChg chg="add mod">
          <ac:chgData name="Ugo MANTEL" userId="2d5b7065-31bb-4181-a7f8-a73bf0c30211" providerId="ADAL" clId="{9344D105-636D-4857-BD0F-AFC44A54BCCF}" dt="2021-05-25T14:20:13.067" v="29793" actId="790"/>
          <ac:spMkLst>
            <pc:docMk/>
            <pc:sldMk cId="946667118" sldId="10451"/>
            <ac:spMk id="99" creationId="{BBF0B7C7-34C0-457C-AB36-80E0926AFC06}"/>
          </ac:spMkLst>
        </pc:spChg>
        <pc:graphicFrameChg chg="mod">
          <ac:chgData name="Ugo MANTEL" userId="2d5b7065-31bb-4181-a7f8-a73bf0c30211" providerId="ADAL" clId="{9344D105-636D-4857-BD0F-AFC44A54BCCF}" dt="2021-05-25T14:40:47.833" v="35926"/>
          <ac:graphicFrameMkLst>
            <pc:docMk/>
            <pc:sldMk cId="946667118" sldId="10451"/>
            <ac:graphicFrameMk id="12" creationId="{F79979F6-AFE0-4EE6-B52C-09A6D4303B52}"/>
          </ac:graphicFrameMkLst>
        </pc:graphicFrameChg>
        <pc:picChg chg="del">
          <ac:chgData name="Ugo MANTEL" userId="2d5b7065-31bb-4181-a7f8-a73bf0c30211" providerId="ADAL" clId="{9344D105-636D-4857-BD0F-AFC44A54BCCF}" dt="2021-05-25T14:36:27.055" v="35214" actId="478"/>
          <ac:picMkLst>
            <pc:docMk/>
            <pc:sldMk cId="946667118" sldId="10451"/>
            <ac:picMk id="45" creationId="{9D522030-54BE-415E-BC5E-505143A0D8DF}"/>
          </ac:picMkLst>
        </pc:picChg>
        <pc:picChg chg="del">
          <ac:chgData name="Ugo MANTEL" userId="2d5b7065-31bb-4181-a7f8-a73bf0c30211" providerId="ADAL" clId="{9344D105-636D-4857-BD0F-AFC44A54BCCF}" dt="2021-05-25T14:36:32.166" v="35216" actId="478"/>
          <ac:picMkLst>
            <pc:docMk/>
            <pc:sldMk cId="946667118" sldId="10451"/>
            <ac:picMk id="46" creationId="{99180F55-C66E-4381-BFBD-699263D96549}"/>
          </ac:picMkLst>
        </pc:picChg>
        <pc:picChg chg="del">
          <ac:chgData name="Ugo MANTEL" userId="2d5b7065-31bb-4181-a7f8-a73bf0c30211" providerId="ADAL" clId="{9344D105-636D-4857-BD0F-AFC44A54BCCF}" dt="2021-05-25T14:36:29.908" v="35215" actId="478"/>
          <ac:picMkLst>
            <pc:docMk/>
            <pc:sldMk cId="946667118" sldId="10451"/>
            <ac:picMk id="48" creationId="{F899D9C6-0E0E-4438-B8F2-EE00C9CCD0A2}"/>
          </ac:picMkLst>
        </pc:picChg>
        <pc:picChg chg="add mod">
          <ac:chgData name="Ugo MANTEL" userId="2d5b7065-31bb-4181-a7f8-a73bf0c30211" providerId="ADAL" clId="{9344D105-636D-4857-BD0F-AFC44A54BCCF}" dt="2021-05-25T14:36:02.398" v="35211"/>
          <ac:picMkLst>
            <pc:docMk/>
            <pc:sldMk cId="946667118" sldId="10451"/>
            <ac:picMk id="69" creationId="{AEE34B8D-9902-44AB-8046-8D9D998A6E96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4:20:13.303" v="30010" actId="790"/>
        <pc:sldMkLst>
          <pc:docMk/>
          <pc:sldMk cId="3108913814" sldId="10452"/>
        </pc:sldMkLst>
        <pc:spChg chg="mod">
          <ac:chgData name="Ugo MANTEL" userId="2d5b7065-31bb-4181-a7f8-a73bf0c30211" providerId="ADAL" clId="{9344D105-636D-4857-BD0F-AFC44A54BCCF}" dt="2021-05-25T14:20:13.268" v="29974" actId="790"/>
          <ac:spMkLst>
            <pc:docMk/>
            <pc:sldMk cId="3108913814" sldId="10452"/>
            <ac:spMk id="2" creationId="{18B86666-70E5-4DDB-BE3A-A1A5EE6EC10B}"/>
          </ac:spMkLst>
        </pc:spChg>
        <pc:spChg chg="add del mod modVis">
          <ac:chgData name="Ugo MANTEL" userId="2d5b7065-31bb-4181-a7f8-a73bf0c30211" providerId="ADAL" clId="{9344D105-636D-4857-BD0F-AFC44A54BCCF}" dt="2021-05-24T15:10:53.541" v="8833"/>
          <ac:spMkLst>
            <pc:docMk/>
            <pc:sldMk cId="3108913814" sldId="10452"/>
            <ac:spMk id="4" creationId="{200EEB5F-99BB-4572-8E7D-786379C0B624}"/>
          </ac:spMkLst>
        </pc:spChg>
        <pc:spChg chg="add del mod modVis">
          <ac:chgData name="Ugo MANTEL" userId="2d5b7065-31bb-4181-a7f8-a73bf0c30211" providerId="ADAL" clId="{9344D105-636D-4857-BD0F-AFC44A54BCCF}" dt="2021-05-24T15:11:15.116" v="8879"/>
          <ac:spMkLst>
            <pc:docMk/>
            <pc:sldMk cId="3108913814" sldId="10452"/>
            <ac:spMk id="5" creationId="{79A134C3-2A76-4A95-A7C8-CA1BA5B39577}"/>
          </ac:spMkLst>
        </pc:spChg>
        <pc:spChg chg="add del mod modVis">
          <ac:chgData name="Ugo MANTEL" userId="2d5b7065-31bb-4181-a7f8-a73bf0c30211" providerId="ADAL" clId="{9344D105-636D-4857-BD0F-AFC44A54BCCF}" dt="2021-05-24T15:11:19.767" v="8923"/>
          <ac:spMkLst>
            <pc:docMk/>
            <pc:sldMk cId="3108913814" sldId="10452"/>
            <ac:spMk id="6" creationId="{5F8FCDA9-AD10-44B7-9486-FA530AB8AAAA}"/>
          </ac:spMkLst>
        </pc:spChg>
        <pc:spChg chg="mod">
          <ac:chgData name="Ugo MANTEL" userId="2d5b7065-31bb-4181-a7f8-a73bf0c30211" providerId="ADAL" clId="{9344D105-636D-4857-BD0F-AFC44A54BCCF}" dt="2021-05-25T14:20:13.268" v="29975" actId="790"/>
          <ac:spMkLst>
            <pc:docMk/>
            <pc:sldMk cId="3108913814" sldId="10452"/>
            <ac:spMk id="21" creationId="{376D56F4-F25E-4D83-8351-4EB604D803E7}"/>
          </ac:spMkLst>
        </pc:spChg>
        <pc:spChg chg="mod">
          <ac:chgData name="Ugo MANTEL" userId="2d5b7065-31bb-4181-a7f8-a73bf0c30211" providerId="ADAL" clId="{9344D105-636D-4857-BD0F-AFC44A54BCCF}" dt="2021-05-25T14:20:13.269" v="29976" actId="790"/>
          <ac:spMkLst>
            <pc:docMk/>
            <pc:sldMk cId="3108913814" sldId="10452"/>
            <ac:spMk id="23" creationId="{96C8F86D-3456-4E1A-9A38-058BB931B01D}"/>
          </ac:spMkLst>
        </pc:spChg>
        <pc:spChg chg="mod">
          <ac:chgData name="Ugo MANTEL" userId="2d5b7065-31bb-4181-a7f8-a73bf0c30211" providerId="ADAL" clId="{9344D105-636D-4857-BD0F-AFC44A54BCCF}" dt="2021-05-24T15:31:53.104" v="8986" actId="1035"/>
          <ac:spMkLst>
            <pc:docMk/>
            <pc:sldMk cId="3108913814" sldId="10452"/>
            <ac:spMk id="24" creationId="{6A4E0327-FA70-486A-9B21-9141D44F6444}"/>
          </ac:spMkLst>
        </pc:spChg>
        <pc:spChg chg="mod">
          <ac:chgData name="Ugo MANTEL" userId="2d5b7065-31bb-4181-a7f8-a73bf0c30211" providerId="ADAL" clId="{9344D105-636D-4857-BD0F-AFC44A54BCCF}" dt="2021-05-25T14:20:13.271" v="29977" actId="790"/>
          <ac:spMkLst>
            <pc:docMk/>
            <pc:sldMk cId="3108913814" sldId="10452"/>
            <ac:spMk id="25" creationId="{A24A8565-A5A0-42E3-A297-290DCE3B3F2D}"/>
          </ac:spMkLst>
        </pc:spChg>
        <pc:spChg chg="mod">
          <ac:chgData name="Ugo MANTEL" userId="2d5b7065-31bb-4181-a7f8-a73bf0c30211" providerId="ADAL" clId="{9344D105-636D-4857-BD0F-AFC44A54BCCF}" dt="2021-05-25T14:20:13.272" v="29978" actId="790"/>
          <ac:spMkLst>
            <pc:docMk/>
            <pc:sldMk cId="3108913814" sldId="10452"/>
            <ac:spMk id="26" creationId="{28DA96F7-E2C7-4A2D-AA69-1753555D7016}"/>
          </ac:spMkLst>
        </pc:spChg>
        <pc:spChg chg="mod">
          <ac:chgData name="Ugo MANTEL" userId="2d5b7065-31bb-4181-a7f8-a73bf0c30211" providerId="ADAL" clId="{9344D105-636D-4857-BD0F-AFC44A54BCCF}" dt="2021-05-25T14:20:13.273" v="29979" actId="790"/>
          <ac:spMkLst>
            <pc:docMk/>
            <pc:sldMk cId="3108913814" sldId="10452"/>
            <ac:spMk id="27" creationId="{E9730100-5BE1-474F-801F-EA2F826D0D02}"/>
          </ac:spMkLst>
        </pc:spChg>
        <pc:spChg chg="mod">
          <ac:chgData name="Ugo MANTEL" userId="2d5b7065-31bb-4181-a7f8-a73bf0c30211" providerId="ADAL" clId="{9344D105-636D-4857-BD0F-AFC44A54BCCF}" dt="2021-05-25T14:20:13.274" v="29980" actId="790"/>
          <ac:spMkLst>
            <pc:docMk/>
            <pc:sldMk cId="3108913814" sldId="10452"/>
            <ac:spMk id="30" creationId="{8001DDD6-9CE5-4D0C-8EC0-91BDDE316A5D}"/>
          </ac:spMkLst>
        </pc:spChg>
        <pc:spChg chg="mod">
          <ac:chgData name="Ugo MANTEL" userId="2d5b7065-31bb-4181-a7f8-a73bf0c30211" providerId="ADAL" clId="{9344D105-636D-4857-BD0F-AFC44A54BCCF}" dt="2021-05-25T14:20:13.276" v="29981" actId="790"/>
          <ac:spMkLst>
            <pc:docMk/>
            <pc:sldMk cId="3108913814" sldId="10452"/>
            <ac:spMk id="31" creationId="{603FA0EC-0C51-418F-BA57-6852A8F6B5EC}"/>
          </ac:spMkLst>
        </pc:spChg>
        <pc:spChg chg="mod">
          <ac:chgData name="Ugo MANTEL" userId="2d5b7065-31bb-4181-a7f8-a73bf0c30211" providerId="ADAL" clId="{9344D105-636D-4857-BD0F-AFC44A54BCCF}" dt="2021-05-25T14:20:13.277" v="29982" actId="790"/>
          <ac:spMkLst>
            <pc:docMk/>
            <pc:sldMk cId="3108913814" sldId="10452"/>
            <ac:spMk id="32" creationId="{35FE32B4-8DEE-4D93-8A61-A88C1714C5E9}"/>
          </ac:spMkLst>
        </pc:spChg>
        <pc:spChg chg="mod">
          <ac:chgData name="Ugo MANTEL" userId="2d5b7065-31bb-4181-a7f8-a73bf0c30211" providerId="ADAL" clId="{9344D105-636D-4857-BD0F-AFC44A54BCCF}" dt="2021-05-25T14:20:13.278" v="29983" actId="790"/>
          <ac:spMkLst>
            <pc:docMk/>
            <pc:sldMk cId="3108913814" sldId="10452"/>
            <ac:spMk id="35" creationId="{31FEC7BE-AF8D-439B-B45F-7647E4E57CE3}"/>
          </ac:spMkLst>
        </pc:spChg>
        <pc:spChg chg="add mod">
          <ac:chgData name="Ugo MANTEL" userId="2d5b7065-31bb-4181-a7f8-a73bf0c30211" providerId="ADAL" clId="{9344D105-636D-4857-BD0F-AFC44A54BCCF}" dt="2021-05-25T14:20:13.292" v="29997" actId="790"/>
          <ac:spMkLst>
            <pc:docMk/>
            <pc:sldMk cId="3108913814" sldId="10452"/>
            <ac:spMk id="36" creationId="{8C83F8F4-BA09-480F-A569-7FF0322E6749}"/>
          </ac:spMkLst>
        </pc:spChg>
        <pc:spChg chg="mod">
          <ac:chgData name="Ugo MANTEL" userId="2d5b7065-31bb-4181-a7f8-a73bf0c30211" providerId="ADAL" clId="{9344D105-636D-4857-BD0F-AFC44A54BCCF}" dt="2021-05-25T14:20:13.280" v="29984" actId="790"/>
          <ac:spMkLst>
            <pc:docMk/>
            <pc:sldMk cId="3108913814" sldId="10452"/>
            <ac:spMk id="37" creationId="{4C0A9B24-29D4-44A2-B4EE-251402C6EAED}"/>
          </ac:spMkLst>
        </pc:spChg>
        <pc:spChg chg="mod">
          <ac:chgData name="Ugo MANTEL" userId="2d5b7065-31bb-4181-a7f8-a73bf0c30211" providerId="ADAL" clId="{9344D105-636D-4857-BD0F-AFC44A54BCCF}" dt="2021-05-25T14:20:13.281" v="29985" actId="790"/>
          <ac:spMkLst>
            <pc:docMk/>
            <pc:sldMk cId="3108913814" sldId="10452"/>
            <ac:spMk id="38" creationId="{7C36D82C-A126-4E16-8729-C5D8C53B2882}"/>
          </ac:spMkLst>
        </pc:spChg>
        <pc:spChg chg="mod">
          <ac:chgData name="Ugo MANTEL" userId="2d5b7065-31bb-4181-a7f8-a73bf0c30211" providerId="ADAL" clId="{9344D105-636D-4857-BD0F-AFC44A54BCCF}" dt="2021-05-25T14:20:13.283" v="29986" actId="790"/>
          <ac:spMkLst>
            <pc:docMk/>
            <pc:sldMk cId="3108913814" sldId="10452"/>
            <ac:spMk id="39" creationId="{7EF8488B-74C4-4436-B13F-C414A9E4A12B}"/>
          </ac:spMkLst>
        </pc:spChg>
        <pc:spChg chg="mod">
          <ac:chgData name="Ugo MANTEL" userId="2d5b7065-31bb-4181-a7f8-a73bf0c30211" providerId="ADAL" clId="{9344D105-636D-4857-BD0F-AFC44A54BCCF}" dt="2021-05-25T14:20:13.284" v="29987" actId="790"/>
          <ac:spMkLst>
            <pc:docMk/>
            <pc:sldMk cId="3108913814" sldId="10452"/>
            <ac:spMk id="40" creationId="{74209801-38CE-4C71-8B6B-5A90ABA78849}"/>
          </ac:spMkLst>
        </pc:spChg>
        <pc:spChg chg="add mod">
          <ac:chgData name="Ugo MANTEL" userId="2d5b7065-31bb-4181-a7f8-a73bf0c30211" providerId="ADAL" clId="{9344D105-636D-4857-BD0F-AFC44A54BCCF}" dt="2021-05-25T14:20:13.293" v="29998" actId="790"/>
          <ac:spMkLst>
            <pc:docMk/>
            <pc:sldMk cId="3108913814" sldId="10452"/>
            <ac:spMk id="41" creationId="{C3BE5946-4EA9-4EBA-98B3-2E7B4346CC7B}"/>
          </ac:spMkLst>
        </pc:spChg>
        <pc:spChg chg="mod">
          <ac:chgData name="Ugo MANTEL" userId="2d5b7065-31bb-4181-a7f8-a73bf0c30211" providerId="ADAL" clId="{9344D105-636D-4857-BD0F-AFC44A54BCCF}" dt="2021-05-25T14:20:13.285" v="29988" actId="790"/>
          <ac:spMkLst>
            <pc:docMk/>
            <pc:sldMk cId="3108913814" sldId="10452"/>
            <ac:spMk id="42" creationId="{9BEA6BB3-7823-46B7-8F99-978C58F27994}"/>
          </ac:spMkLst>
        </pc:spChg>
        <pc:spChg chg="mod">
          <ac:chgData name="Ugo MANTEL" userId="2d5b7065-31bb-4181-a7f8-a73bf0c30211" providerId="ADAL" clId="{9344D105-636D-4857-BD0F-AFC44A54BCCF}" dt="2021-05-25T14:20:13.287" v="29989" actId="790"/>
          <ac:spMkLst>
            <pc:docMk/>
            <pc:sldMk cId="3108913814" sldId="10452"/>
            <ac:spMk id="43" creationId="{3509C0CA-6733-47F1-9C68-36F5A76A186F}"/>
          </ac:spMkLst>
        </pc:spChg>
        <pc:spChg chg="mod">
          <ac:chgData name="Ugo MANTEL" userId="2d5b7065-31bb-4181-a7f8-a73bf0c30211" providerId="ADAL" clId="{9344D105-636D-4857-BD0F-AFC44A54BCCF}" dt="2021-05-25T14:20:13.287" v="29990" actId="790"/>
          <ac:spMkLst>
            <pc:docMk/>
            <pc:sldMk cId="3108913814" sldId="10452"/>
            <ac:spMk id="44" creationId="{028D5372-11E0-4B6A-AB4E-2F0E62DBE004}"/>
          </ac:spMkLst>
        </pc:spChg>
        <pc:spChg chg="add mod">
          <ac:chgData name="Ugo MANTEL" userId="2d5b7065-31bb-4181-a7f8-a73bf0c30211" providerId="ADAL" clId="{9344D105-636D-4857-BD0F-AFC44A54BCCF}" dt="2021-05-25T14:20:13.294" v="29999" actId="790"/>
          <ac:spMkLst>
            <pc:docMk/>
            <pc:sldMk cId="3108913814" sldId="10452"/>
            <ac:spMk id="45" creationId="{FC7F3CBE-50A4-4309-934B-40D538D276D4}"/>
          </ac:spMkLst>
        </pc:spChg>
        <pc:spChg chg="mod">
          <ac:chgData name="Ugo MANTEL" userId="2d5b7065-31bb-4181-a7f8-a73bf0c30211" providerId="ADAL" clId="{9344D105-636D-4857-BD0F-AFC44A54BCCF}" dt="2021-05-25T14:20:13.288" v="29991" actId="790"/>
          <ac:spMkLst>
            <pc:docMk/>
            <pc:sldMk cId="3108913814" sldId="10452"/>
            <ac:spMk id="47" creationId="{2F353796-1633-4991-91E9-0DDC0C5F8959}"/>
          </ac:spMkLst>
        </pc:spChg>
        <pc:spChg chg="add mod">
          <ac:chgData name="Ugo MANTEL" userId="2d5b7065-31bb-4181-a7f8-a73bf0c30211" providerId="ADAL" clId="{9344D105-636D-4857-BD0F-AFC44A54BCCF}" dt="2021-05-25T14:20:13.295" v="30000" actId="790"/>
          <ac:spMkLst>
            <pc:docMk/>
            <pc:sldMk cId="3108913814" sldId="10452"/>
            <ac:spMk id="48" creationId="{C9DB6ADF-62CD-463C-9E75-FDF7C77CFBF9}"/>
          </ac:spMkLst>
        </pc:spChg>
        <pc:spChg chg="add mod">
          <ac:chgData name="Ugo MANTEL" userId="2d5b7065-31bb-4181-a7f8-a73bf0c30211" providerId="ADAL" clId="{9344D105-636D-4857-BD0F-AFC44A54BCCF}" dt="2021-05-25T14:20:13.296" v="30001" actId="790"/>
          <ac:spMkLst>
            <pc:docMk/>
            <pc:sldMk cId="3108913814" sldId="10452"/>
            <ac:spMk id="49" creationId="{1AE7A9CB-1EFB-49E9-9FE7-187AFF31426B}"/>
          </ac:spMkLst>
        </pc:spChg>
        <pc:spChg chg="add mod">
          <ac:chgData name="Ugo MANTEL" userId="2d5b7065-31bb-4181-a7f8-a73bf0c30211" providerId="ADAL" clId="{9344D105-636D-4857-BD0F-AFC44A54BCCF}" dt="2021-05-25T14:20:13.297" v="30002" actId="790"/>
          <ac:spMkLst>
            <pc:docMk/>
            <pc:sldMk cId="3108913814" sldId="10452"/>
            <ac:spMk id="50" creationId="{5E014CA6-C9F2-4731-A89D-FBE8ED541A6F}"/>
          </ac:spMkLst>
        </pc:spChg>
        <pc:spChg chg="add mod">
          <ac:chgData name="Ugo MANTEL" userId="2d5b7065-31bb-4181-a7f8-a73bf0c30211" providerId="ADAL" clId="{9344D105-636D-4857-BD0F-AFC44A54BCCF}" dt="2021-05-25T14:20:13.297" v="30003" actId="790"/>
          <ac:spMkLst>
            <pc:docMk/>
            <pc:sldMk cId="3108913814" sldId="10452"/>
            <ac:spMk id="51" creationId="{1B69EFAE-FB0C-427E-924E-3C156D413FCD}"/>
          </ac:spMkLst>
        </pc:spChg>
        <pc:spChg chg="add mod">
          <ac:chgData name="Ugo MANTEL" userId="2d5b7065-31bb-4181-a7f8-a73bf0c30211" providerId="ADAL" clId="{9344D105-636D-4857-BD0F-AFC44A54BCCF}" dt="2021-05-25T14:20:13.298" v="30004" actId="790"/>
          <ac:spMkLst>
            <pc:docMk/>
            <pc:sldMk cId="3108913814" sldId="10452"/>
            <ac:spMk id="52" creationId="{61B86BC1-C806-4252-B5F0-E2F5CBA35260}"/>
          </ac:spMkLst>
        </pc:spChg>
        <pc:spChg chg="add mod">
          <ac:chgData name="Ugo MANTEL" userId="2d5b7065-31bb-4181-a7f8-a73bf0c30211" providerId="ADAL" clId="{9344D105-636D-4857-BD0F-AFC44A54BCCF}" dt="2021-05-25T14:20:13.299" v="30005" actId="790"/>
          <ac:spMkLst>
            <pc:docMk/>
            <pc:sldMk cId="3108913814" sldId="10452"/>
            <ac:spMk id="53" creationId="{DC17EEC7-F210-49D9-8893-E87D82ACBC32}"/>
          </ac:spMkLst>
        </pc:spChg>
        <pc:spChg chg="del">
          <ac:chgData name="Ugo MANTEL" userId="2d5b7065-31bb-4181-a7f8-a73bf0c30211" providerId="ADAL" clId="{9344D105-636D-4857-BD0F-AFC44A54BCCF}" dt="2021-05-24T15:33:38.571" v="8999" actId="478"/>
          <ac:spMkLst>
            <pc:docMk/>
            <pc:sldMk cId="3108913814" sldId="10452"/>
            <ac:spMk id="54" creationId="{212D8129-6E99-4A9E-B8C6-4ACF3E28D979}"/>
          </ac:spMkLst>
        </pc:spChg>
        <pc:spChg chg="mod">
          <ac:chgData name="Ugo MANTEL" userId="2d5b7065-31bb-4181-a7f8-a73bf0c30211" providerId="ADAL" clId="{9344D105-636D-4857-BD0F-AFC44A54BCCF}" dt="2021-05-25T14:20:13.300" v="30006" actId="790"/>
          <ac:spMkLst>
            <pc:docMk/>
            <pc:sldMk cId="3108913814" sldId="10452"/>
            <ac:spMk id="55" creationId="{EC3F5A66-E68B-43A0-93DB-3B430BCA31D5}"/>
          </ac:spMkLst>
        </pc:spChg>
        <pc:spChg chg="mod">
          <ac:chgData name="Ugo MANTEL" userId="2d5b7065-31bb-4181-a7f8-a73bf0c30211" providerId="ADAL" clId="{9344D105-636D-4857-BD0F-AFC44A54BCCF}" dt="2021-05-25T14:20:13.300" v="30007" actId="790"/>
          <ac:spMkLst>
            <pc:docMk/>
            <pc:sldMk cId="3108913814" sldId="10452"/>
            <ac:spMk id="56" creationId="{A0A342E7-603A-4DC0-8BAA-F02E91E5BAFF}"/>
          </ac:spMkLst>
        </pc:spChg>
        <pc:spChg chg="mod">
          <ac:chgData name="Ugo MANTEL" userId="2d5b7065-31bb-4181-a7f8-a73bf0c30211" providerId="ADAL" clId="{9344D105-636D-4857-BD0F-AFC44A54BCCF}" dt="2021-05-25T14:20:13.301" v="30008" actId="790"/>
          <ac:spMkLst>
            <pc:docMk/>
            <pc:sldMk cId="3108913814" sldId="10452"/>
            <ac:spMk id="57" creationId="{FCC17861-B572-44BC-8BFD-408331CF20AB}"/>
          </ac:spMkLst>
        </pc:spChg>
        <pc:spChg chg="mod">
          <ac:chgData name="Ugo MANTEL" userId="2d5b7065-31bb-4181-a7f8-a73bf0c30211" providerId="ADAL" clId="{9344D105-636D-4857-BD0F-AFC44A54BCCF}" dt="2021-05-25T14:20:13.303" v="30009" actId="790"/>
          <ac:spMkLst>
            <pc:docMk/>
            <pc:sldMk cId="3108913814" sldId="10452"/>
            <ac:spMk id="58" creationId="{B7E2878B-58C4-44AD-B210-B9058F3C47A8}"/>
          </ac:spMkLst>
        </pc:spChg>
        <pc:spChg chg="mod">
          <ac:chgData name="Ugo MANTEL" userId="2d5b7065-31bb-4181-a7f8-a73bf0c30211" providerId="ADAL" clId="{9344D105-636D-4857-BD0F-AFC44A54BCCF}" dt="2021-05-25T14:20:13.303" v="30010" actId="790"/>
          <ac:spMkLst>
            <pc:docMk/>
            <pc:sldMk cId="3108913814" sldId="10452"/>
            <ac:spMk id="60" creationId="{8C322FD7-EE8D-43A1-8A57-CB95167019D5}"/>
          </ac:spMkLst>
        </pc:spChg>
        <pc:spChg chg="mod">
          <ac:chgData name="Ugo MANTEL" userId="2d5b7065-31bb-4181-a7f8-a73bf0c30211" providerId="ADAL" clId="{9344D105-636D-4857-BD0F-AFC44A54BCCF}" dt="2021-05-25T14:20:13.289" v="29992" actId="790"/>
          <ac:spMkLst>
            <pc:docMk/>
            <pc:sldMk cId="3108913814" sldId="10452"/>
            <ac:spMk id="67" creationId="{50469B1F-7CD7-49B6-AC12-1AF7D67AA284}"/>
          </ac:spMkLst>
        </pc:spChg>
        <pc:spChg chg="mod">
          <ac:chgData name="Ugo MANTEL" userId="2d5b7065-31bb-4181-a7f8-a73bf0c30211" providerId="ADAL" clId="{9344D105-636D-4857-BD0F-AFC44A54BCCF}" dt="2021-05-25T14:20:13.289" v="29993" actId="790"/>
          <ac:spMkLst>
            <pc:docMk/>
            <pc:sldMk cId="3108913814" sldId="10452"/>
            <ac:spMk id="69" creationId="{8CACD0F1-78C5-47DF-9B55-97782025F6F1}"/>
          </ac:spMkLst>
        </pc:spChg>
        <pc:spChg chg="mod">
          <ac:chgData name="Ugo MANTEL" userId="2d5b7065-31bb-4181-a7f8-a73bf0c30211" providerId="ADAL" clId="{9344D105-636D-4857-BD0F-AFC44A54BCCF}" dt="2021-05-25T14:20:13.290" v="29994" actId="790"/>
          <ac:spMkLst>
            <pc:docMk/>
            <pc:sldMk cId="3108913814" sldId="10452"/>
            <ac:spMk id="74" creationId="{878D71E6-9162-44C2-B9C4-B3270F9F1662}"/>
          </ac:spMkLst>
        </pc:spChg>
        <pc:spChg chg="mod">
          <ac:chgData name="Ugo MANTEL" userId="2d5b7065-31bb-4181-a7f8-a73bf0c30211" providerId="ADAL" clId="{9344D105-636D-4857-BD0F-AFC44A54BCCF}" dt="2021-05-25T14:20:13.291" v="29995" actId="790"/>
          <ac:spMkLst>
            <pc:docMk/>
            <pc:sldMk cId="3108913814" sldId="10452"/>
            <ac:spMk id="75" creationId="{4F7820F8-458C-4E27-9B06-2683EAFC9132}"/>
          </ac:spMkLst>
        </pc:spChg>
        <pc:spChg chg="mod">
          <ac:chgData name="Ugo MANTEL" userId="2d5b7065-31bb-4181-a7f8-a73bf0c30211" providerId="ADAL" clId="{9344D105-636D-4857-BD0F-AFC44A54BCCF}" dt="2021-05-25T14:20:13.292" v="29996" actId="790"/>
          <ac:spMkLst>
            <pc:docMk/>
            <pc:sldMk cId="3108913814" sldId="10452"/>
            <ac:spMk id="76" creationId="{7E569FB1-5338-4D77-B044-98449E372EA0}"/>
          </ac:spMkLst>
        </pc:spChg>
        <pc:graphicFrameChg chg="mod">
          <ac:chgData name="Ugo MANTEL" userId="2d5b7065-31bb-4181-a7f8-a73bf0c30211" providerId="ADAL" clId="{9344D105-636D-4857-BD0F-AFC44A54BCCF}" dt="2021-05-24T15:11:19.768" v="8925"/>
          <ac:graphicFrameMkLst>
            <pc:docMk/>
            <pc:sldMk cId="3108913814" sldId="10452"/>
            <ac:graphicFrameMk id="3" creationId="{87EF2AE4-3F26-4C03-A1FB-373C7EF60D19}"/>
          </ac:graphicFrameMkLst>
        </pc:graphicFrameChg>
        <pc:picChg chg="mod">
          <ac:chgData name="Ugo MANTEL" userId="2d5b7065-31bb-4181-a7f8-a73bf0c30211" providerId="ADAL" clId="{9344D105-636D-4857-BD0F-AFC44A54BCCF}" dt="2021-05-24T15:31:53.104" v="8986" actId="1035"/>
          <ac:picMkLst>
            <pc:docMk/>
            <pc:sldMk cId="3108913814" sldId="10452"/>
            <ac:picMk id="22" creationId="{61CAEED4-4130-47C9-87C5-EDFC1C25FD6F}"/>
          </ac:picMkLst>
        </pc:picChg>
        <pc:picChg chg="mod">
          <ac:chgData name="Ugo MANTEL" userId="2d5b7065-31bb-4181-a7f8-a73bf0c30211" providerId="ADAL" clId="{9344D105-636D-4857-BD0F-AFC44A54BCCF}" dt="2021-05-24T15:31:53.104" v="8986" actId="1035"/>
          <ac:picMkLst>
            <pc:docMk/>
            <pc:sldMk cId="3108913814" sldId="10452"/>
            <ac:picMk id="59" creationId="{4A5A5546-35BC-4A68-8F8E-BC535C0E518B}"/>
          </ac:picMkLst>
        </pc:picChg>
        <pc:picChg chg="add del mod">
          <ac:chgData name="Ugo MANTEL" userId="2d5b7065-31bb-4181-a7f8-a73bf0c30211" providerId="ADAL" clId="{9344D105-636D-4857-BD0F-AFC44A54BCCF}" dt="2021-05-24T15:31:32.436" v="8966" actId="478"/>
          <ac:picMkLst>
            <pc:docMk/>
            <pc:sldMk cId="3108913814" sldId="10452"/>
            <ac:picMk id="61" creationId="{7A23DB6C-F8BF-400D-A06D-B88DFD500268}"/>
          </ac:picMkLst>
        </pc:picChg>
        <pc:cxnChg chg="mod">
          <ac:chgData name="Ugo MANTEL" userId="2d5b7065-31bb-4181-a7f8-a73bf0c30211" providerId="ADAL" clId="{9344D105-636D-4857-BD0F-AFC44A54BCCF}" dt="2021-05-24T15:31:53.104" v="8986" actId="1035"/>
          <ac:cxnSpMkLst>
            <pc:docMk/>
            <pc:sldMk cId="3108913814" sldId="10452"/>
            <ac:cxnSpMk id="34" creationId="{D9617570-8113-4A23-B1CA-140D3760DF39}"/>
          </ac:cxnSpMkLst>
        </pc:cxnChg>
        <pc:cxnChg chg="mod">
          <ac:chgData name="Ugo MANTEL" userId="2d5b7065-31bb-4181-a7f8-a73bf0c30211" providerId="ADAL" clId="{9344D105-636D-4857-BD0F-AFC44A54BCCF}" dt="2021-05-24T15:31:53.104" v="8986" actId="1035"/>
          <ac:cxnSpMkLst>
            <pc:docMk/>
            <pc:sldMk cId="3108913814" sldId="10452"/>
            <ac:cxnSpMk id="46" creationId="{675AC438-3493-439A-84CE-6F73AD9CE489}"/>
          </ac:cxnSpMkLst>
        </pc:cxnChg>
        <pc:cxnChg chg="mod">
          <ac:chgData name="Ugo MANTEL" userId="2d5b7065-31bb-4181-a7f8-a73bf0c30211" providerId="ADAL" clId="{9344D105-636D-4857-BD0F-AFC44A54BCCF}" dt="2021-05-24T15:31:53.104" v="8986" actId="1035"/>
          <ac:cxnSpMkLst>
            <pc:docMk/>
            <pc:sldMk cId="3108913814" sldId="10452"/>
            <ac:cxnSpMk id="62" creationId="{AD4EF0DB-8192-4E09-B4A7-78454921EC41}"/>
          </ac:cxnSpMkLst>
        </pc:cxnChg>
        <pc:cxnChg chg="mod">
          <ac:chgData name="Ugo MANTEL" userId="2d5b7065-31bb-4181-a7f8-a73bf0c30211" providerId="ADAL" clId="{9344D105-636D-4857-BD0F-AFC44A54BCCF}" dt="2021-05-24T15:31:53.104" v="8986" actId="1035"/>
          <ac:cxnSpMkLst>
            <pc:docMk/>
            <pc:sldMk cId="3108913814" sldId="10452"/>
            <ac:cxnSpMk id="64" creationId="{E5584EA8-2108-41D9-A5DA-6EEBC37C14AD}"/>
          </ac:cxnSpMkLst>
        </pc:cxnChg>
      </pc:sldChg>
      <pc:sldChg chg="ord">
        <pc:chgData name="Ugo MANTEL" userId="2d5b7065-31bb-4181-a7f8-a73bf0c30211" providerId="ADAL" clId="{9344D105-636D-4857-BD0F-AFC44A54BCCF}" dt="2021-05-24T11:51:15.387" v="5289"/>
        <pc:sldMkLst>
          <pc:docMk/>
          <pc:sldMk cId="3299669485" sldId="10453"/>
        </pc:sldMkLst>
      </pc:sldChg>
      <pc:sldChg chg="addSp delSp modSp mod ord">
        <pc:chgData name="Ugo MANTEL" userId="2d5b7065-31bb-4181-a7f8-a73bf0c30211" providerId="ADAL" clId="{9344D105-636D-4857-BD0F-AFC44A54BCCF}" dt="2021-05-25T14:36:17.193" v="35212" actId="478"/>
        <pc:sldMkLst>
          <pc:docMk/>
          <pc:sldMk cId="3177853375" sldId="10454"/>
        </pc:sldMkLst>
        <pc:spChg chg="add del mod modVis">
          <ac:chgData name="Ugo MANTEL" userId="2d5b7065-31bb-4181-a7f8-a73bf0c30211" providerId="ADAL" clId="{9344D105-636D-4857-BD0F-AFC44A54BCCF}" dt="2021-05-24T14:53:49.698" v="8383"/>
          <ac:spMkLst>
            <pc:docMk/>
            <pc:sldMk cId="3177853375" sldId="10454"/>
            <ac:spMk id="2" creationId="{24BF68C6-56E0-47DD-B515-E9077A9B8C92}"/>
          </ac:spMkLst>
        </pc:spChg>
        <pc:spChg chg="mod">
          <ac:chgData name="Ugo MANTEL" userId="2d5b7065-31bb-4181-a7f8-a73bf0c30211" providerId="ADAL" clId="{9344D105-636D-4857-BD0F-AFC44A54BCCF}" dt="2021-05-25T14:20:13.080" v="29798" actId="790"/>
          <ac:spMkLst>
            <pc:docMk/>
            <pc:sldMk cId="3177853375" sldId="10454"/>
            <ac:spMk id="9" creationId="{D4C396AB-A618-464F-94D0-FDF3162C882F}"/>
          </ac:spMkLst>
        </pc:spChg>
        <pc:spChg chg="mod">
          <ac:chgData name="Ugo MANTEL" userId="2d5b7065-31bb-4181-a7f8-a73bf0c30211" providerId="ADAL" clId="{9344D105-636D-4857-BD0F-AFC44A54BCCF}" dt="2021-05-25T14:20:13.081" v="29799" actId="790"/>
          <ac:spMkLst>
            <pc:docMk/>
            <pc:sldMk cId="3177853375" sldId="10454"/>
            <ac:spMk id="10" creationId="{26804255-20E5-4E94-A4F5-920E329EFCF5}"/>
          </ac:spMkLst>
        </pc:spChg>
        <pc:spChg chg="mod">
          <ac:chgData name="Ugo MANTEL" userId="2d5b7065-31bb-4181-a7f8-a73bf0c30211" providerId="ADAL" clId="{9344D105-636D-4857-BD0F-AFC44A54BCCF}" dt="2021-05-25T14:20:13.082" v="29800" actId="790"/>
          <ac:spMkLst>
            <pc:docMk/>
            <pc:sldMk cId="3177853375" sldId="10454"/>
            <ac:spMk id="11" creationId="{366B7BDF-4463-42BD-A85C-F01387D4E694}"/>
          </ac:spMkLst>
        </pc:spChg>
        <pc:spChg chg="mod">
          <ac:chgData name="Ugo MANTEL" userId="2d5b7065-31bb-4181-a7f8-a73bf0c30211" providerId="ADAL" clId="{9344D105-636D-4857-BD0F-AFC44A54BCCF}" dt="2021-05-25T14:20:13.083" v="29801" actId="790"/>
          <ac:spMkLst>
            <pc:docMk/>
            <pc:sldMk cId="3177853375" sldId="10454"/>
            <ac:spMk id="12" creationId="{9FC46527-9943-4603-A87B-832AB4E5463F}"/>
          </ac:spMkLst>
        </pc:spChg>
        <pc:spChg chg="mod">
          <ac:chgData name="Ugo MANTEL" userId="2d5b7065-31bb-4181-a7f8-a73bf0c30211" providerId="ADAL" clId="{9344D105-636D-4857-BD0F-AFC44A54BCCF}" dt="2021-05-25T14:20:13.084" v="29802" actId="790"/>
          <ac:spMkLst>
            <pc:docMk/>
            <pc:sldMk cId="3177853375" sldId="10454"/>
            <ac:spMk id="13" creationId="{1B4BF4F1-8F5E-4892-AC86-2A3F1E191766}"/>
          </ac:spMkLst>
        </pc:spChg>
        <pc:spChg chg="mod">
          <ac:chgData name="Ugo MANTEL" userId="2d5b7065-31bb-4181-a7f8-a73bf0c30211" providerId="ADAL" clId="{9344D105-636D-4857-BD0F-AFC44A54BCCF}" dt="2021-05-25T14:20:13.084" v="29803" actId="790"/>
          <ac:spMkLst>
            <pc:docMk/>
            <pc:sldMk cId="3177853375" sldId="10454"/>
            <ac:spMk id="14" creationId="{54A347A6-C1C0-427E-9F0F-E67A7A34B869}"/>
          </ac:spMkLst>
        </pc:spChg>
        <pc:spChg chg="mod">
          <ac:chgData name="Ugo MANTEL" userId="2d5b7065-31bb-4181-a7f8-a73bf0c30211" providerId="ADAL" clId="{9344D105-636D-4857-BD0F-AFC44A54BCCF}" dt="2021-05-25T14:20:13.086" v="29804" actId="790"/>
          <ac:spMkLst>
            <pc:docMk/>
            <pc:sldMk cId="3177853375" sldId="10454"/>
            <ac:spMk id="18" creationId="{5A81D160-8721-446A-9C5E-3BA38AA2B941}"/>
          </ac:spMkLst>
        </pc:spChg>
        <pc:spChg chg="add mod">
          <ac:chgData name="Ugo MANTEL" userId="2d5b7065-31bb-4181-a7f8-a73bf0c30211" providerId="ADAL" clId="{9344D105-636D-4857-BD0F-AFC44A54BCCF}" dt="2021-05-25T14:20:13.097" v="29815" actId="790"/>
          <ac:spMkLst>
            <pc:docMk/>
            <pc:sldMk cId="3177853375" sldId="10454"/>
            <ac:spMk id="29" creationId="{453B5121-2F30-4856-BBAB-A6B2A2C01B1A}"/>
          </ac:spMkLst>
        </pc:spChg>
        <pc:spChg chg="del mod">
          <ac:chgData name="Ugo MANTEL" userId="2d5b7065-31bb-4181-a7f8-a73bf0c30211" providerId="ADAL" clId="{9344D105-636D-4857-BD0F-AFC44A54BCCF}" dt="2021-05-25T14:36:17.193" v="35212" actId="478"/>
          <ac:spMkLst>
            <pc:docMk/>
            <pc:sldMk cId="3177853375" sldId="10454"/>
            <ac:spMk id="30" creationId="{4D7E7903-219D-47CD-B212-5CA1BC312954}"/>
          </ac:spMkLst>
        </pc:spChg>
        <pc:spChg chg="add mod">
          <ac:chgData name="Ugo MANTEL" userId="2d5b7065-31bb-4181-a7f8-a73bf0c30211" providerId="ADAL" clId="{9344D105-636D-4857-BD0F-AFC44A54BCCF}" dt="2021-05-25T14:20:13.098" v="29817" actId="790"/>
          <ac:spMkLst>
            <pc:docMk/>
            <pc:sldMk cId="3177853375" sldId="10454"/>
            <ac:spMk id="32" creationId="{3513B82D-EADB-4B0E-8C19-EAA01998F7D8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33" creationId="{2A5BA999-E19E-4FD0-8822-75724D9E68FF}"/>
          </ac:spMkLst>
        </pc:spChg>
        <pc:spChg chg="add del mod">
          <ac:chgData name="Ugo MANTEL" userId="2d5b7065-31bb-4181-a7f8-a73bf0c30211" providerId="ADAL" clId="{9344D105-636D-4857-BD0F-AFC44A54BCCF}" dt="2021-05-24T15:00:12.314" v="8706" actId="478"/>
          <ac:spMkLst>
            <pc:docMk/>
            <pc:sldMk cId="3177853375" sldId="10454"/>
            <ac:spMk id="34" creationId="{18CD385D-DE44-4819-97AF-D991EE317361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35" creationId="{CB8DA306-BFB8-41C0-8B77-C873FAC81A40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36" creationId="{679A89BD-A830-4910-8B4A-6617D1DA5388}"/>
          </ac:spMkLst>
        </pc:spChg>
        <pc:spChg chg="add del mod">
          <ac:chgData name="Ugo MANTEL" userId="2d5b7065-31bb-4181-a7f8-a73bf0c30211" providerId="ADAL" clId="{9344D105-636D-4857-BD0F-AFC44A54BCCF}" dt="2021-05-24T15:00:12.314" v="8706" actId="478"/>
          <ac:spMkLst>
            <pc:docMk/>
            <pc:sldMk cId="3177853375" sldId="10454"/>
            <ac:spMk id="37" creationId="{2EF49F78-F0A5-4EC9-8EB9-C363133F2B11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38" creationId="{7EB92A58-59FE-43CE-A6C1-E685D29DA82C}"/>
          </ac:spMkLst>
        </pc:spChg>
        <pc:spChg chg="mod">
          <ac:chgData name="Ugo MANTEL" userId="2d5b7065-31bb-4181-a7f8-a73bf0c30211" providerId="ADAL" clId="{9344D105-636D-4857-BD0F-AFC44A54BCCF}" dt="2021-05-25T14:20:13.087" v="29805" actId="790"/>
          <ac:spMkLst>
            <pc:docMk/>
            <pc:sldMk cId="3177853375" sldId="10454"/>
            <ac:spMk id="40" creationId="{4B65849B-86CA-4D71-9950-D0231A4AC02F}"/>
          </ac:spMkLst>
        </pc:spChg>
        <pc:spChg chg="mod">
          <ac:chgData name="Ugo MANTEL" userId="2d5b7065-31bb-4181-a7f8-a73bf0c30211" providerId="ADAL" clId="{9344D105-636D-4857-BD0F-AFC44A54BCCF}" dt="2021-05-25T14:20:13.088" v="29806" actId="790"/>
          <ac:spMkLst>
            <pc:docMk/>
            <pc:sldMk cId="3177853375" sldId="10454"/>
            <ac:spMk id="41" creationId="{41D3736C-17D5-407B-A454-92BA4EEBEE51}"/>
          </ac:spMkLst>
        </pc:spChg>
        <pc:spChg chg="mod">
          <ac:chgData name="Ugo MANTEL" userId="2d5b7065-31bb-4181-a7f8-a73bf0c30211" providerId="ADAL" clId="{9344D105-636D-4857-BD0F-AFC44A54BCCF}" dt="2021-05-25T14:20:13.089" v="29807" actId="790"/>
          <ac:spMkLst>
            <pc:docMk/>
            <pc:sldMk cId="3177853375" sldId="10454"/>
            <ac:spMk id="42" creationId="{5985DB3D-7C62-4A85-926C-852C05193A03}"/>
          </ac:spMkLst>
        </pc:spChg>
        <pc:spChg chg="mod">
          <ac:chgData name="Ugo MANTEL" userId="2d5b7065-31bb-4181-a7f8-a73bf0c30211" providerId="ADAL" clId="{9344D105-636D-4857-BD0F-AFC44A54BCCF}" dt="2021-05-25T14:20:13.090" v="29808" actId="790"/>
          <ac:spMkLst>
            <pc:docMk/>
            <pc:sldMk cId="3177853375" sldId="10454"/>
            <ac:spMk id="43" creationId="{C7726A82-A9BE-4C03-AB6C-1A867B76F0A5}"/>
          </ac:spMkLst>
        </pc:spChg>
        <pc:spChg chg="mod">
          <ac:chgData name="Ugo MANTEL" userId="2d5b7065-31bb-4181-a7f8-a73bf0c30211" providerId="ADAL" clId="{9344D105-636D-4857-BD0F-AFC44A54BCCF}" dt="2021-05-25T14:20:13.091" v="29809" actId="790"/>
          <ac:spMkLst>
            <pc:docMk/>
            <pc:sldMk cId="3177853375" sldId="10454"/>
            <ac:spMk id="44" creationId="{64EA8B46-EDBA-492C-8605-0C57BB873C71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46" creationId="{76DC3908-C881-4950-986E-5D592C6B1EB6}"/>
          </ac:spMkLst>
        </pc:spChg>
        <pc:spChg chg="mod">
          <ac:chgData name="Ugo MANTEL" userId="2d5b7065-31bb-4181-a7f8-a73bf0c30211" providerId="ADAL" clId="{9344D105-636D-4857-BD0F-AFC44A54BCCF}" dt="2021-05-25T14:20:13.092" v="29810" actId="790"/>
          <ac:spMkLst>
            <pc:docMk/>
            <pc:sldMk cId="3177853375" sldId="10454"/>
            <ac:spMk id="48" creationId="{C242D873-E73A-46FF-88E4-4F7FF592F386}"/>
          </ac:spMkLst>
        </pc:spChg>
        <pc:spChg chg="mod">
          <ac:chgData name="Ugo MANTEL" userId="2d5b7065-31bb-4181-a7f8-a73bf0c30211" providerId="ADAL" clId="{9344D105-636D-4857-BD0F-AFC44A54BCCF}" dt="2021-05-25T14:20:13.094" v="29811" actId="790"/>
          <ac:spMkLst>
            <pc:docMk/>
            <pc:sldMk cId="3177853375" sldId="10454"/>
            <ac:spMk id="49" creationId="{5B79BA09-24AF-4DD4-A40D-1BA5E697B06D}"/>
          </ac:spMkLst>
        </pc:spChg>
        <pc:spChg chg="mod">
          <ac:chgData name="Ugo MANTEL" userId="2d5b7065-31bb-4181-a7f8-a73bf0c30211" providerId="ADAL" clId="{9344D105-636D-4857-BD0F-AFC44A54BCCF}" dt="2021-05-25T14:20:13.094" v="29812" actId="790"/>
          <ac:spMkLst>
            <pc:docMk/>
            <pc:sldMk cId="3177853375" sldId="10454"/>
            <ac:spMk id="50" creationId="{2D78B40F-EBB8-4307-9278-EC1CE8575E76}"/>
          </ac:spMkLst>
        </pc:spChg>
        <pc:spChg chg="mod">
          <ac:chgData name="Ugo MANTEL" userId="2d5b7065-31bb-4181-a7f8-a73bf0c30211" providerId="ADAL" clId="{9344D105-636D-4857-BD0F-AFC44A54BCCF}" dt="2021-05-25T14:20:13.095" v="29813" actId="790"/>
          <ac:spMkLst>
            <pc:docMk/>
            <pc:sldMk cId="3177853375" sldId="10454"/>
            <ac:spMk id="51" creationId="{38A00563-F0E4-4DD2-BCC0-2CE8730B5ECB}"/>
          </ac:spMkLst>
        </pc:spChg>
        <pc:spChg chg="mod">
          <ac:chgData name="Ugo MANTEL" userId="2d5b7065-31bb-4181-a7f8-a73bf0c30211" providerId="ADAL" clId="{9344D105-636D-4857-BD0F-AFC44A54BCCF}" dt="2021-05-25T14:20:13.096" v="29814" actId="790"/>
          <ac:spMkLst>
            <pc:docMk/>
            <pc:sldMk cId="3177853375" sldId="10454"/>
            <ac:spMk id="52" creationId="{FF17630E-6039-47E0-A099-F9AF44449B48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53" creationId="{F3C6EA77-D28E-4E5F-A667-6435B79CD9B5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54" creationId="{1F60ECD4-1946-45F2-8BEC-4EA42B85EC4B}"/>
          </ac:spMkLst>
        </pc:spChg>
        <pc:spChg chg="add del mod">
          <ac:chgData name="Ugo MANTEL" userId="2d5b7065-31bb-4181-a7f8-a73bf0c30211" providerId="ADAL" clId="{9344D105-636D-4857-BD0F-AFC44A54BCCF}" dt="2021-05-24T15:09:15.796" v="8779" actId="478"/>
          <ac:spMkLst>
            <pc:docMk/>
            <pc:sldMk cId="3177853375" sldId="10454"/>
            <ac:spMk id="55" creationId="{35E50283-C072-4CB9-9C40-98ED57C92D25}"/>
          </ac:spMkLst>
        </pc:spChg>
        <pc:spChg chg="add mod">
          <ac:chgData name="Ugo MANTEL" userId="2d5b7065-31bb-4181-a7f8-a73bf0c30211" providerId="ADAL" clId="{9344D105-636D-4857-BD0F-AFC44A54BCCF}" dt="2021-05-25T14:20:13.099" v="29818" actId="790"/>
          <ac:spMkLst>
            <pc:docMk/>
            <pc:sldMk cId="3177853375" sldId="10454"/>
            <ac:spMk id="56" creationId="{AB37E254-CB07-4E2F-8C11-BC55A2502367}"/>
          </ac:spMkLst>
        </pc:spChg>
        <pc:spChg chg="add mod">
          <ac:chgData name="Ugo MANTEL" userId="2d5b7065-31bb-4181-a7f8-a73bf0c30211" providerId="ADAL" clId="{9344D105-636D-4857-BD0F-AFC44A54BCCF}" dt="2021-05-25T14:20:13.100" v="29819" actId="790"/>
          <ac:spMkLst>
            <pc:docMk/>
            <pc:sldMk cId="3177853375" sldId="10454"/>
            <ac:spMk id="57" creationId="{DA45594E-7518-40CF-BAF6-8C01EF7D5755}"/>
          </ac:spMkLst>
        </pc:spChg>
        <pc:spChg chg="add mod">
          <ac:chgData name="Ugo MANTEL" userId="2d5b7065-31bb-4181-a7f8-a73bf0c30211" providerId="ADAL" clId="{9344D105-636D-4857-BD0F-AFC44A54BCCF}" dt="2021-05-25T14:20:13.100" v="29820" actId="790"/>
          <ac:spMkLst>
            <pc:docMk/>
            <pc:sldMk cId="3177853375" sldId="10454"/>
            <ac:spMk id="58" creationId="{C29803E8-FBC2-483B-A68E-EABEA041F3DA}"/>
          </ac:spMkLst>
        </pc:spChg>
        <pc:spChg chg="add mod">
          <ac:chgData name="Ugo MANTEL" userId="2d5b7065-31bb-4181-a7f8-a73bf0c30211" providerId="ADAL" clId="{9344D105-636D-4857-BD0F-AFC44A54BCCF}" dt="2021-05-25T14:20:13.101" v="29821" actId="790"/>
          <ac:spMkLst>
            <pc:docMk/>
            <pc:sldMk cId="3177853375" sldId="10454"/>
            <ac:spMk id="59" creationId="{CFE36E34-7946-43BC-85F5-FE04E45C3AC6}"/>
          </ac:spMkLst>
        </pc:spChg>
        <pc:spChg chg="add mod">
          <ac:chgData name="Ugo MANTEL" userId="2d5b7065-31bb-4181-a7f8-a73bf0c30211" providerId="ADAL" clId="{9344D105-636D-4857-BD0F-AFC44A54BCCF}" dt="2021-05-25T14:20:13.102" v="29822" actId="790"/>
          <ac:spMkLst>
            <pc:docMk/>
            <pc:sldMk cId="3177853375" sldId="10454"/>
            <ac:spMk id="60" creationId="{1D91D4A3-076B-46A0-94A1-79814D2920AE}"/>
          </ac:spMkLst>
        </pc:spChg>
        <pc:spChg chg="add mod">
          <ac:chgData name="Ugo MANTEL" userId="2d5b7065-31bb-4181-a7f8-a73bf0c30211" providerId="ADAL" clId="{9344D105-636D-4857-BD0F-AFC44A54BCCF}" dt="2021-05-25T14:20:13.103" v="29823" actId="790"/>
          <ac:spMkLst>
            <pc:docMk/>
            <pc:sldMk cId="3177853375" sldId="10454"/>
            <ac:spMk id="61" creationId="{4FBB2CFE-59BF-413A-9854-073D18C4744D}"/>
          </ac:spMkLst>
        </pc:spChg>
        <pc:spChg chg="add mod">
          <ac:chgData name="Ugo MANTEL" userId="2d5b7065-31bb-4181-a7f8-a73bf0c30211" providerId="ADAL" clId="{9344D105-636D-4857-BD0F-AFC44A54BCCF}" dt="2021-05-25T14:20:13.104" v="29824" actId="790"/>
          <ac:spMkLst>
            <pc:docMk/>
            <pc:sldMk cId="3177853375" sldId="10454"/>
            <ac:spMk id="62" creationId="{5E8D6078-1C50-49DC-8AC6-5BE1132E09D1}"/>
          </ac:spMkLst>
        </pc:spChg>
        <pc:spChg chg="add mod">
          <ac:chgData name="Ugo MANTEL" userId="2d5b7065-31bb-4181-a7f8-a73bf0c30211" providerId="ADAL" clId="{9344D105-636D-4857-BD0F-AFC44A54BCCF}" dt="2021-05-25T14:20:13.104" v="29825" actId="790"/>
          <ac:spMkLst>
            <pc:docMk/>
            <pc:sldMk cId="3177853375" sldId="10454"/>
            <ac:spMk id="63" creationId="{81F420AF-FDD5-4D82-AB93-DB2EA1AF7D88}"/>
          </ac:spMkLst>
        </pc:spChg>
        <pc:graphicFrameChg chg="mod">
          <ac:chgData name="Ugo MANTEL" userId="2d5b7065-31bb-4181-a7f8-a73bf0c30211" providerId="ADAL" clId="{9344D105-636D-4857-BD0F-AFC44A54BCCF}" dt="2021-05-24T14:53:49.700" v="8385"/>
          <ac:graphicFrameMkLst>
            <pc:docMk/>
            <pc:sldMk cId="3177853375" sldId="10454"/>
            <ac:graphicFrameMk id="21" creationId="{585B5621-A324-4ED4-AA6B-39D8ECEBCC1E}"/>
          </ac:graphicFrameMkLst>
        </pc:graphicFrameChg>
        <pc:picChg chg="del">
          <ac:chgData name="Ugo MANTEL" userId="2d5b7065-31bb-4181-a7f8-a73bf0c30211" providerId="ADAL" clId="{9344D105-636D-4857-BD0F-AFC44A54BCCF}" dt="2021-05-25T14:36:17.193" v="35212" actId="478"/>
          <ac:picMkLst>
            <pc:docMk/>
            <pc:sldMk cId="3177853375" sldId="10454"/>
            <ac:picMk id="19" creationId="{765DE60A-C145-46B1-AE33-73267805B672}"/>
          </ac:picMkLst>
        </pc:picChg>
      </pc:sldChg>
      <pc:sldChg chg="ord">
        <pc:chgData name="Ugo MANTEL" userId="2d5b7065-31bb-4181-a7f8-a73bf0c30211" providerId="ADAL" clId="{9344D105-636D-4857-BD0F-AFC44A54BCCF}" dt="2021-05-24T12:32:49.080" v="5311"/>
        <pc:sldMkLst>
          <pc:docMk/>
          <pc:sldMk cId="510332781" sldId="10456"/>
        </pc:sldMkLst>
      </pc:sldChg>
      <pc:sldChg chg="modSp mod">
        <pc:chgData name="Ugo MANTEL" userId="2d5b7065-31bb-4181-a7f8-a73bf0c30211" providerId="ADAL" clId="{9344D105-636D-4857-BD0F-AFC44A54BCCF}" dt="2021-05-25T14:20:11.020" v="27645" actId="790"/>
        <pc:sldMkLst>
          <pc:docMk/>
          <pc:sldMk cId="3875425083" sldId="10457"/>
        </pc:sldMkLst>
        <pc:spChg chg="mod">
          <ac:chgData name="Ugo MANTEL" userId="2d5b7065-31bb-4181-a7f8-a73bf0c30211" providerId="ADAL" clId="{9344D105-636D-4857-BD0F-AFC44A54BCCF}" dt="2021-05-25T14:20:11.013" v="27638" actId="790"/>
          <ac:spMkLst>
            <pc:docMk/>
            <pc:sldMk cId="3875425083" sldId="10457"/>
            <ac:spMk id="3" creationId="{744C9668-D38F-4DBF-9AE2-129AFE4443E6}"/>
          </ac:spMkLst>
        </pc:spChg>
        <pc:spChg chg="mod">
          <ac:chgData name="Ugo MANTEL" userId="2d5b7065-31bb-4181-a7f8-a73bf0c30211" providerId="ADAL" clId="{9344D105-636D-4857-BD0F-AFC44A54BCCF}" dt="2021-05-25T14:20:11.014" v="27639" actId="790"/>
          <ac:spMkLst>
            <pc:docMk/>
            <pc:sldMk cId="3875425083" sldId="10457"/>
            <ac:spMk id="4" creationId="{B1DD5068-1806-4730-9DB9-278C1A572145}"/>
          </ac:spMkLst>
        </pc:spChg>
        <pc:spChg chg="mod">
          <ac:chgData name="Ugo MANTEL" userId="2d5b7065-31bb-4181-a7f8-a73bf0c30211" providerId="ADAL" clId="{9344D105-636D-4857-BD0F-AFC44A54BCCF}" dt="2021-05-25T14:20:11.015" v="27640" actId="790"/>
          <ac:spMkLst>
            <pc:docMk/>
            <pc:sldMk cId="3875425083" sldId="10457"/>
            <ac:spMk id="5" creationId="{3043F534-C5C5-4371-A080-3E7D382D4691}"/>
          </ac:spMkLst>
        </pc:spChg>
        <pc:spChg chg="mod">
          <ac:chgData name="Ugo MANTEL" userId="2d5b7065-31bb-4181-a7f8-a73bf0c30211" providerId="ADAL" clId="{9344D105-636D-4857-BD0F-AFC44A54BCCF}" dt="2021-05-25T14:20:11.020" v="27645" actId="790"/>
          <ac:spMkLst>
            <pc:docMk/>
            <pc:sldMk cId="3875425083" sldId="10457"/>
            <ac:spMk id="7" creationId="{9DCBC619-97D3-4FF1-B9FE-CBEF775B63E5}"/>
          </ac:spMkLst>
        </pc:spChg>
        <pc:spChg chg="mod">
          <ac:chgData name="Ugo MANTEL" userId="2d5b7065-31bb-4181-a7f8-a73bf0c30211" providerId="ADAL" clId="{9344D105-636D-4857-BD0F-AFC44A54BCCF}" dt="2021-05-25T14:20:11.015" v="27641" actId="790"/>
          <ac:spMkLst>
            <pc:docMk/>
            <pc:sldMk cId="3875425083" sldId="10457"/>
            <ac:spMk id="18" creationId="{76F36889-FDFC-4A3B-99A2-030305287A37}"/>
          </ac:spMkLst>
        </pc:spChg>
        <pc:spChg chg="mod">
          <ac:chgData name="Ugo MANTEL" userId="2d5b7065-31bb-4181-a7f8-a73bf0c30211" providerId="ADAL" clId="{9344D105-636D-4857-BD0F-AFC44A54BCCF}" dt="2021-05-25T14:20:11.017" v="27642" actId="790"/>
          <ac:spMkLst>
            <pc:docMk/>
            <pc:sldMk cId="3875425083" sldId="10457"/>
            <ac:spMk id="20" creationId="{9DECDA42-DA1B-4765-9DB2-026DA5BE2D89}"/>
          </ac:spMkLst>
        </pc:spChg>
        <pc:spChg chg="mod">
          <ac:chgData name="Ugo MANTEL" userId="2d5b7065-31bb-4181-a7f8-a73bf0c30211" providerId="ADAL" clId="{9344D105-636D-4857-BD0F-AFC44A54BCCF}" dt="2021-05-25T14:20:11.018" v="27643" actId="790"/>
          <ac:spMkLst>
            <pc:docMk/>
            <pc:sldMk cId="3875425083" sldId="10457"/>
            <ac:spMk id="22" creationId="{C002634F-3FA9-4AC3-90E2-0D253FC97BF7}"/>
          </ac:spMkLst>
        </pc:spChg>
        <pc:spChg chg="mod">
          <ac:chgData name="Ugo MANTEL" userId="2d5b7065-31bb-4181-a7f8-a73bf0c30211" providerId="ADAL" clId="{9344D105-636D-4857-BD0F-AFC44A54BCCF}" dt="2021-05-25T14:20:11.019" v="27644" actId="790"/>
          <ac:spMkLst>
            <pc:docMk/>
            <pc:sldMk cId="3875425083" sldId="10457"/>
            <ac:spMk id="24" creationId="{9523976D-7994-4445-A7A3-F04F6C533708}"/>
          </ac:spMkLst>
        </pc:spChg>
      </pc:sldChg>
      <pc:sldChg chg="addSp delSp modSp del mod">
        <pc:chgData name="Ugo MANTEL" userId="2d5b7065-31bb-4181-a7f8-a73bf0c30211" providerId="ADAL" clId="{9344D105-636D-4857-BD0F-AFC44A54BCCF}" dt="2021-05-25T14:20:11.076" v="27718" actId="790"/>
        <pc:sldMkLst>
          <pc:docMk/>
          <pc:sldMk cId="2117336307" sldId="10458"/>
        </pc:sldMkLst>
        <pc:spChg chg="mod">
          <ac:chgData name="Ugo MANTEL" userId="2d5b7065-31bb-4181-a7f8-a73bf0c30211" providerId="ADAL" clId="{9344D105-636D-4857-BD0F-AFC44A54BCCF}" dt="2021-05-25T14:20:11.045" v="27680" actId="790"/>
          <ac:spMkLst>
            <pc:docMk/>
            <pc:sldMk cId="2117336307" sldId="10458"/>
            <ac:spMk id="2" creationId="{97E194A7-6D37-418C-9122-DDE304798BEF}"/>
          </ac:spMkLst>
        </pc:spChg>
        <pc:spChg chg="mod">
          <ac:chgData name="Ugo MANTEL" userId="2d5b7065-31bb-4181-a7f8-a73bf0c30211" providerId="ADAL" clId="{9344D105-636D-4857-BD0F-AFC44A54BCCF}" dt="2021-05-25T14:20:11.046" v="27681" actId="790"/>
          <ac:spMkLst>
            <pc:docMk/>
            <pc:sldMk cId="2117336307" sldId="10458"/>
            <ac:spMk id="3" creationId="{8CF4F83C-DF06-481B-B47A-FD3FB9938753}"/>
          </ac:spMkLst>
        </pc:spChg>
        <pc:spChg chg="mod">
          <ac:chgData name="Ugo MANTEL" userId="2d5b7065-31bb-4181-a7f8-a73bf0c30211" providerId="ADAL" clId="{9344D105-636D-4857-BD0F-AFC44A54BCCF}" dt="2021-05-25T14:20:11.047" v="27682" actId="790"/>
          <ac:spMkLst>
            <pc:docMk/>
            <pc:sldMk cId="2117336307" sldId="10458"/>
            <ac:spMk id="4" creationId="{9A211B58-FC94-42D9-B8A5-6D5DF998B3F7}"/>
          </ac:spMkLst>
        </pc:spChg>
        <pc:spChg chg="mod">
          <ac:chgData name="Ugo MANTEL" userId="2d5b7065-31bb-4181-a7f8-a73bf0c30211" providerId="ADAL" clId="{9344D105-636D-4857-BD0F-AFC44A54BCCF}" dt="2021-05-25T14:20:11.048" v="27683" actId="790"/>
          <ac:spMkLst>
            <pc:docMk/>
            <pc:sldMk cId="2117336307" sldId="10458"/>
            <ac:spMk id="5" creationId="{C25708FA-3E9E-4816-9525-DFB86044AD07}"/>
          </ac:spMkLst>
        </pc:spChg>
        <pc:spChg chg="mod">
          <ac:chgData name="Ugo MANTEL" userId="2d5b7065-31bb-4181-a7f8-a73bf0c30211" providerId="ADAL" clId="{9344D105-636D-4857-BD0F-AFC44A54BCCF}" dt="2021-05-24T15:56:46.015" v="9161" actId="12789"/>
          <ac:spMkLst>
            <pc:docMk/>
            <pc:sldMk cId="2117336307" sldId="10458"/>
            <ac:spMk id="6" creationId="{A4BC731C-26C0-4283-BB4E-50D5B1717FE8}"/>
          </ac:spMkLst>
        </pc:spChg>
        <pc:spChg chg="mod">
          <ac:chgData name="Ugo MANTEL" userId="2d5b7065-31bb-4181-a7f8-a73bf0c30211" providerId="ADAL" clId="{9344D105-636D-4857-BD0F-AFC44A54BCCF}" dt="2021-05-25T14:20:11.048" v="27684" actId="790"/>
          <ac:spMkLst>
            <pc:docMk/>
            <pc:sldMk cId="2117336307" sldId="10458"/>
            <ac:spMk id="7" creationId="{5FF043EB-3601-4C22-9167-48A1A3AE1F94}"/>
          </ac:spMkLst>
        </pc:spChg>
        <pc:spChg chg="mod">
          <ac:chgData name="Ugo MANTEL" userId="2d5b7065-31bb-4181-a7f8-a73bf0c30211" providerId="ADAL" clId="{9344D105-636D-4857-BD0F-AFC44A54BCCF}" dt="2021-05-25T14:20:11.049" v="27685" actId="790"/>
          <ac:spMkLst>
            <pc:docMk/>
            <pc:sldMk cId="2117336307" sldId="10458"/>
            <ac:spMk id="8" creationId="{FFBB7020-4421-4CFB-9AD5-1893BFC8D2F0}"/>
          </ac:spMkLst>
        </pc:spChg>
        <pc:spChg chg="mod">
          <ac:chgData name="Ugo MANTEL" userId="2d5b7065-31bb-4181-a7f8-a73bf0c30211" providerId="ADAL" clId="{9344D105-636D-4857-BD0F-AFC44A54BCCF}" dt="2021-05-25T14:20:11.050" v="27686" actId="790"/>
          <ac:spMkLst>
            <pc:docMk/>
            <pc:sldMk cId="2117336307" sldId="10458"/>
            <ac:spMk id="9" creationId="{F751E742-ACE5-4311-BEC7-8D8A10732879}"/>
          </ac:spMkLst>
        </pc:spChg>
        <pc:spChg chg="mod">
          <ac:chgData name="Ugo MANTEL" userId="2d5b7065-31bb-4181-a7f8-a73bf0c30211" providerId="ADAL" clId="{9344D105-636D-4857-BD0F-AFC44A54BCCF}" dt="2021-05-25T14:20:11.050" v="27687" actId="790"/>
          <ac:spMkLst>
            <pc:docMk/>
            <pc:sldMk cId="2117336307" sldId="10458"/>
            <ac:spMk id="10" creationId="{4DF43315-8157-40B9-831B-B3F41D276556}"/>
          </ac:spMkLst>
        </pc:spChg>
        <pc:spChg chg="mod">
          <ac:chgData name="Ugo MANTEL" userId="2d5b7065-31bb-4181-a7f8-a73bf0c30211" providerId="ADAL" clId="{9344D105-636D-4857-BD0F-AFC44A54BCCF}" dt="2021-05-25T14:20:11.051" v="27688" actId="790"/>
          <ac:spMkLst>
            <pc:docMk/>
            <pc:sldMk cId="2117336307" sldId="10458"/>
            <ac:spMk id="11" creationId="{C6B0A0A6-7DC1-446E-A970-1C78FE7B05E7}"/>
          </ac:spMkLst>
        </pc:spChg>
        <pc:spChg chg="mod">
          <ac:chgData name="Ugo MANTEL" userId="2d5b7065-31bb-4181-a7f8-a73bf0c30211" providerId="ADAL" clId="{9344D105-636D-4857-BD0F-AFC44A54BCCF}" dt="2021-05-25T14:20:11.051" v="27689" actId="790"/>
          <ac:spMkLst>
            <pc:docMk/>
            <pc:sldMk cId="2117336307" sldId="10458"/>
            <ac:spMk id="12" creationId="{67693F63-D872-4044-ADB2-C400E44ED05F}"/>
          </ac:spMkLst>
        </pc:spChg>
        <pc:spChg chg="mod">
          <ac:chgData name="Ugo MANTEL" userId="2d5b7065-31bb-4181-a7f8-a73bf0c30211" providerId="ADAL" clId="{9344D105-636D-4857-BD0F-AFC44A54BCCF}" dt="2021-05-25T14:20:11.052" v="27690" actId="790"/>
          <ac:spMkLst>
            <pc:docMk/>
            <pc:sldMk cId="2117336307" sldId="10458"/>
            <ac:spMk id="13" creationId="{FFD2313E-5B14-4DD1-BDBA-9C5889D66C73}"/>
          </ac:spMkLst>
        </pc:spChg>
        <pc:spChg chg="mod">
          <ac:chgData name="Ugo MANTEL" userId="2d5b7065-31bb-4181-a7f8-a73bf0c30211" providerId="ADAL" clId="{9344D105-636D-4857-BD0F-AFC44A54BCCF}" dt="2021-05-25T14:20:11.053" v="27691" actId="790"/>
          <ac:spMkLst>
            <pc:docMk/>
            <pc:sldMk cId="2117336307" sldId="10458"/>
            <ac:spMk id="14" creationId="{329454EA-414E-4AC5-80E0-57789AEC3CB6}"/>
          </ac:spMkLst>
        </pc:spChg>
        <pc:spChg chg="mod">
          <ac:chgData name="Ugo MANTEL" userId="2d5b7065-31bb-4181-a7f8-a73bf0c30211" providerId="ADAL" clId="{9344D105-636D-4857-BD0F-AFC44A54BCCF}" dt="2021-05-25T14:20:11.053" v="27692" actId="790"/>
          <ac:spMkLst>
            <pc:docMk/>
            <pc:sldMk cId="2117336307" sldId="10458"/>
            <ac:spMk id="15" creationId="{74475D91-FAA9-4481-BB90-C143AB2CF6AD}"/>
          </ac:spMkLst>
        </pc:spChg>
        <pc:spChg chg="mod">
          <ac:chgData name="Ugo MANTEL" userId="2d5b7065-31bb-4181-a7f8-a73bf0c30211" providerId="ADAL" clId="{9344D105-636D-4857-BD0F-AFC44A54BCCF}" dt="2021-05-25T14:20:11.054" v="27693" actId="790"/>
          <ac:spMkLst>
            <pc:docMk/>
            <pc:sldMk cId="2117336307" sldId="10458"/>
            <ac:spMk id="16" creationId="{C3B5A392-C953-443D-83BE-3BA88F87E568}"/>
          </ac:spMkLst>
        </pc:spChg>
        <pc:spChg chg="mod">
          <ac:chgData name="Ugo MANTEL" userId="2d5b7065-31bb-4181-a7f8-a73bf0c30211" providerId="ADAL" clId="{9344D105-636D-4857-BD0F-AFC44A54BCCF}" dt="2021-05-25T14:20:11.054" v="27694" actId="790"/>
          <ac:spMkLst>
            <pc:docMk/>
            <pc:sldMk cId="2117336307" sldId="10458"/>
            <ac:spMk id="17" creationId="{08602E73-CEE9-4D0A-8C3F-5D734DA21856}"/>
          </ac:spMkLst>
        </pc:spChg>
        <pc:spChg chg="mod">
          <ac:chgData name="Ugo MANTEL" userId="2d5b7065-31bb-4181-a7f8-a73bf0c30211" providerId="ADAL" clId="{9344D105-636D-4857-BD0F-AFC44A54BCCF}" dt="2021-05-25T14:20:11.055" v="27695" actId="790"/>
          <ac:spMkLst>
            <pc:docMk/>
            <pc:sldMk cId="2117336307" sldId="10458"/>
            <ac:spMk id="23" creationId="{B17B5902-BDE5-4C91-98D6-624AA4BD047A}"/>
          </ac:spMkLst>
        </pc:spChg>
        <pc:spChg chg="mod">
          <ac:chgData name="Ugo MANTEL" userId="2d5b7065-31bb-4181-a7f8-a73bf0c30211" providerId="ADAL" clId="{9344D105-636D-4857-BD0F-AFC44A54BCCF}" dt="2021-05-25T14:20:11.056" v="27696" actId="790"/>
          <ac:spMkLst>
            <pc:docMk/>
            <pc:sldMk cId="2117336307" sldId="10458"/>
            <ac:spMk id="30" creationId="{8781E301-2829-4212-BC5D-10A3652130A7}"/>
          </ac:spMkLst>
        </pc:spChg>
        <pc:spChg chg="mod">
          <ac:chgData name="Ugo MANTEL" userId="2d5b7065-31bb-4181-a7f8-a73bf0c30211" providerId="ADAL" clId="{9344D105-636D-4857-BD0F-AFC44A54BCCF}" dt="2021-05-25T14:20:11.057" v="27697" actId="790"/>
          <ac:spMkLst>
            <pc:docMk/>
            <pc:sldMk cId="2117336307" sldId="10458"/>
            <ac:spMk id="31" creationId="{FC5D5549-3024-4706-A1D3-2EC5B6005011}"/>
          </ac:spMkLst>
        </pc:spChg>
        <pc:spChg chg="mod">
          <ac:chgData name="Ugo MANTEL" userId="2d5b7065-31bb-4181-a7f8-a73bf0c30211" providerId="ADAL" clId="{9344D105-636D-4857-BD0F-AFC44A54BCCF}" dt="2021-05-25T14:20:11.058" v="27698" actId="790"/>
          <ac:spMkLst>
            <pc:docMk/>
            <pc:sldMk cId="2117336307" sldId="10458"/>
            <ac:spMk id="32" creationId="{95C2A0B0-3C59-417F-A7AF-CB055F5691A9}"/>
          </ac:spMkLst>
        </pc:spChg>
        <pc:spChg chg="mod">
          <ac:chgData name="Ugo MANTEL" userId="2d5b7065-31bb-4181-a7f8-a73bf0c30211" providerId="ADAL" clId="{9344D105-636D-4857-BD0F-AFC44A54BCCF}" dt="2021-05-25T14:20:11.060" v="27699" actId="790"/>
          <ac:spMkLst>
            <pc:docMk/>
            <pc:sldMk cId="2117336307" sldId="10458"/>
            <ac:spMk id="33" creationId="{9A17175B-3D0E-49D1-9772-511BEABBDF40}"/>
          </ac:spMkLst>
        </pc:spChg>
        <pc:spChg chg="mod">
          <ac:chgData name="Ugo MANTEL" userId="2d5b7065-31bb-4181-a7f8-a73bf0c30211" providerId="ADAL" clId="{9344D105-636D-4857-BD0F-AFC44A54BCCF}" dt="2021-05-25T14:20:11.061" v="27700" actId="790"/>
          <ac:spMkLst>
            <pc:docMk/>
            <pc:sldMk cId="2117336307" sldId="10458"/>
            <ac:spMk id="34" creationId="{0D26BFCF-8441-4D95-B0FE-AB36CB9BE014}"/>
          </ac:spMkLst>
        </pc:spChg>
        <pc:spChg chg="del">
          <ac:chgData name="Ugo MANTEL" userId="2d5b7065-31bb-4181-a7f8-a73bf0c30211" providerId="ADAL" clId="{9344D105-636D-4857-BD0F-AFC44A54BCCF}" dt="2021-05-24T13:37:26.503" v="7476" actId="478"/>
          <ac:spMkLst>
            <pc:docMk/>
            <pc:sldMk cId="2117336307" sldId="10458"/>
            <ac:spMk id="35" creationId="{06E1E63F-9386-4AA6-9EC4-2C6CC5EDD308}"/>
          </ac:spMkLst>
        </pc:spChg>
        <pc:spChg chg="mod">
          <ac:chgData name="Ugo MANTEL" userId="2d5b7065-31bb-4181-a7f8-a73bf0c30211" providerId="ADAL" clId="{9344D105-636D-4857-BD0F-AFC44A54BCCF}" dt="2021-05-25T14:20:11.062" v="27701" actId="790"/>
          <ac:spMkLst>
            <pc:docMk/>
            <pc:sldMk cId="2117336307" sldId="10458"/>
            <ac:spMk id="36" creationId="{BBA214AC-0EE9-424B-BD2E-A4BE8AEC5800}"/>
          </ac:spMkLst>
        </pc:spChg>
        <pc:spChg chg="mod">
          <ac:chgData name="Ugo MANTEL" userId="2d5b7065-31bb-4181-a7f8-a73bf0c30211" providerId="ADAL" clId="{9344D105-636D-4857-BD0F-AFC44A54BCCF}" dt="2021-05-25T14:20:11.064" v="27702" actId="790"/>
          <ac:spMkLst>
            <pc:docMk/>
            <pc:sldMk cId="2117336307" sldId="10458"/>
            <ac:spMk id="37" creationId="{357BF76E-F609-4ABB-AF14-CA5912FE2D08}"/>
          </ac:spMkLst>
        </pc:spChg>
        <pc:spChg chg="mod">
          <ac:chgData name="Ugo MANTEL" userId="2d5b7065-31bb-4181-a7f8-a73bf0c30211" providerId="ADAL" clId="{9344D105-636D-4857-BD0F-AFC44A54BCCF}" dt="2021-05-25T14:20:11.066" v="27703" actId="790"/>
          <ac:spMkLst>
            <pc:docMk/>
            <pc:sldMk cId="2117336307" sldId="10458"/>
            <ac:spMk id="38" creationId="{3D91B623-E5CB-4481-8380-8F078F4ED175}"/>
          </ac:spMkLst>
        </pc:spChg>
        <pc:spChg chg="del">
          <ac:chgData name="Ugo MANTEL" userId="2d5b7065-31bb-4181-a7f8-a73bf0c30211" providerId="ADAL" clId="{9344D105-636D-4857-BD0F-AFC44A54BCCF}" dt="2021-05-24T13:37:26.503" v="7476" actId="478"/>
          <ac:spMkLst>
            <pc:docMk/>
            <pc:sldMk cId="2117336307" sldId="10458"/>
            <ac:spMk id="39" creationId="{70CD7CD0-20DF-417E-BD72-E9F04109C333}"/>
          </ac:spMkLst>
        </pc:spChg>
        <pc:spChg chg="del">
          <ac:chgData name="Ugo MANTEL" userId="2d5b7065-31bb-4181-a7f8-a73bf0c30211" providerId="ADAL" clId="{9344D105-636D-4857-BD0F-AFC44A54BCCF}" dt="2021-05-24T13:37:26.503" v="7476" actId="478"/>
          <ac:spMkLst>
            <pc:docMk/>
            <pc:sldMk cId="2117336307" sldId="10458"/>
            <ac:spMk id="40" creationId="{AFC244AE-7080-42F4-A083-866CADB8BE01}"/>
          </ac:spMkLst>
        </pc:spChg>
        <pc:spChg chg="del">
          <ac:chgData name="Ugo MANTEL" userId="2d5b7065-31bb-4181-a7f8-a73bf0c30211" providerId="ADAL" clId="{9344D105-636D-4857-BD0F-AFC44A54BCCF}" dt="2021-05-24T13:37:26.503" v="7476" actId="478"/>
          <ac:spMkLst>
            <pc:docMk/>
            <pc:sldMk cId="2117336307" sldId="10458"/>
            <ac:spMk id="41" creationId="{D644EFEF-74F2-4942-8F6E-491C4A28BC12}"/>
          </ac:spMkLst>
        </pc:spChg>
        <pc:spChg chg="del">
          <ac:chgData name="Ugo MANTEL" userId="2d5b7065-31bb-4181-a7f8-a73bf0c30211" providerId="ADAL" clId="{9344D105-636D-4857-BD0F-AFC44A54BCCF}" dt="2021-05-24T13:37:29.562" v="7477" actId="478"/>
          <ac:spMkLst>
            <pc:docMk/>
            <pc:sldMk cId="2117336307" sldId="10458"/>
            <ac:spMk id="44" creationId="{168892AE-92E7-4F1F-B412-7FE5E76BF46F}"/>
          </ac:spMkLst>
        </pc:spChg>
        <pc:spChg chg="mod">
          <ac:chgData name="Ugo MANTEL" userId="2d5b7065-31bb-4181-a7f8-a73bf0c30211" providerId="ADAL" clId="{9344D105-636D-4857-BD0F-AFC44A54BCCF}" dt="2021-05-25T14:20:11.067" v="27704" actId="790"/>
          <ac:spMkLst>
            <pc:docMk/>
            <pc:sldMk cId="2117336307" sldId="10458"/>
            <ac:spMk id="46" creationId="{6AA55E8D-57AF-4945-9E94-DE7A7BE61822}"/>
          </ac:spMkLst>
        </pc:spChg>
        <pc:spChg chg="mod">
          <ac:chgData name="Ugo MANTEL" userId="2d5b7065-31bb-4181-a7f8-a73bf0c30211" providerId="ADAL" clId="{9344D105-636D-4857-BD0F-AFC44A54BCCF}" dt="2021-05-25T14:20:11.067" v="27705" actId="790"/>
          <ac:spMkLst>
            <pc:docMk/>
            <pc:sldMk cId="2117336307" sldId="10458"/>
            <ac:spMk id="49" creationId="{7F1A8DDF-BB9E-4E12-90EF-9A954D4E9527}"/>
          </ac:spMkLst>
        </pc:spChg>
        <pc:spChg chg="mod">
          <ac:chgData name="Ugo MANTEL" userId="2d5b7065-31bb-4181-a7f8-a73bf0c30211" providerId="ADAL" clId="{9344D105-636D-4857-BD0F-AFC44A54BCCF}" dt="2021-05-25T14:20:11.068" v="27706" actId="790"/>
          <ac:spMkLst>
            <pc:docMk/>
            <pc:sldMk cId="2117336307" sldId="10458"/>
            <ac:spMk id="50" creationId="{D983CBF4-656D-415F-A0E6-4EF1ECFA98D8}"/>
          </ac:spMkLst>
        </pc:spChg>
        <pc:spChg chg="mod">
          <ac:chgData name="Ugo MANTEL" userId="2d5b7065-31bb-4181-a7f8-a73bf0c30211" providerId="ADAL" clId="{9344D105-636D-4857-BD0F-AFC44A54BCCF}" dt="2021-05-25T14:20:11.068" v="27707" actId="790"/>
          <ac:spMkLst>
            <pc:docMk/>
            <pc:sldMk cId="2117336307" sldId="10458"/>
            <ac:spMk id="51" creationId="{C518067F-36AA-4233-91AF-1B75DE764C1D}"/>
          </ac:spMkLst>
        </pc:spChg>
        <pc:spChg chg="mod">
          <ac:chgData name="Ugo MANTEL" userId="2d5b7065-31bb-4181-a7f8-a73bf0c30211" providerId="ADAL" clId="{9344D105-636D-4857-BD0F-AFC44A54BCCF}" dt="2021-05-25T14:20:11.069" v="27708" actId="790"/>
          <ac:spMkLst>
            <pc:docMk/>
            <pc:sldMk cId="2117336307" sldId="10458"/>
            <ac:spMk id="52" creationId="{CB183989-F33A-443E-A9EC-A3EA75137A1D}"/>
          </ac:spMkLst>
        </pc:spChg>
        <pc:spChg chg="mod">
          <ac:chgData name="Ugo MANTEL" userId="2d5b7065-31bb-4181-a7f8-a73bf0c30211" providerId="ADAL" clId="{9344D105-636D-4857-BD0F-AFC44A54BCCF}" dt="2021-05-25T14:20:11.069" v="27709" actId="790"/>
          <ac:spMkLst>
            <pc:docMk/>
            <pc:sldMk cId="2117336307" sldId="10458"/>
            <ac:spMk id="60" creationId="{14D6537D-0B58-4DB6-B315-DB8469395B6C}"/>
          </ac:spMkLst>
        </pc:spChg>
        <pc:spChg chg="mod">
          <ac:chgData name="Ugo MANTEL" userId="2d5b7065-31bb-4181-a7f8-a73bf0c30211" providerId="ADAL" clId="{9344D105-636D-4857-BD0F-AFC44A54BCCF}" dt="2021-05-25T14:20:11.070" v="27710" actId="790"/>
          <ac:spMkLst>
            <pc:docMk/>
            <pc:sldMk cId="2117336307" sldId="10458"/>
            <ac:spMk id="61" creationId="{97E650CB-FAC0-446C-B880-E44B6031DF36}"/>
          </ac:spMkLst>
        </pc:spChg>
        <pc:spChg chg="mod">
          <ac:chgData name="Ugo MANTEL" userId="2d5b7065-31bb-4181-a7f8-a73bf0c30211" providerId="ADAL" clId="{9344D105-636D-4857-BD0F-AFC44A54BCCF}" dt="2021-05-25T14:20:11.071" v="27711" actId="790"/>
          <ac:spMkLst>
            <pc:docMk/>
            <pc:sldMk cId="2117336307" sldId="10458"/>
            <ac:spMk id="62" creationId="{D82C7EEA-6857-42BF-9A36-8E700C58E26A}"/>
          </ac:spMkLst>
        </pc:spChg>
        <pc:spChg chg="mod">
          <ac:chgData name="Ugo MANTEL" userId="2d5b7065-31bb-4181-a7f8-a73bf0c30211" providerId="ADAL" clId="{9344D105-636D-4857-BD0F-AFC44A54BCCF}" dt="2021-05-25T14:20:11.072" v="27712" actId="790"/>
          <ac:spMkLst>
            <pc:docMk/>
            <pc:sldMk cId="2117336307" sldId="10458"/>
            <ac:spMk id="63" creationId="{B30BB911-AB18-464D-9C82-EC0D38A7511C}"/>
          </ac:spMkLst>
        </pc:spChg>
        <pc:spChg chg="add del mod">
          <ac:chgData name="Ugo MANTEL" userId="2d5b7065-31bb-4181-a7f8-a73bf0c30211" providerId="ADAL" clId="{9344D105-636D-4857-BD0F-AFC44A54BCCF}" dt="2021-05-24T13:38:18.570" v="7486" actId="478"/>
          <ac:spMkLst>
            <pc:docMk/>
            <pc:sldMk cId="2117336307" sldId="10458"/>
            <ac:spMk id="77" creationId="{393B203A-63A4-43E7-90FC-5F37E366E50C}"/>
          </ac:spMkLst>
        </pc:spChg>
        <pc:spChg chg="mod">
          <ac:chgData name="Ugo MANTEL" userId="2d5b7065-31bb-4181-a7f8-a73bf0c30211" providerId="ADAL" clId="{9344D105-636D-4857-BD0F-AFC44A54BCCF}" dt="2021-05-24T13:37:29.926" v="7478"/>
          <ac:spMkLst>
            <pc:docMk/>
            <pc:sldMk cId="2117336307" sldId="10458"/>
            <ac:spMk id="79" creationId="{5C62744E-90C3-4DDE-94DD-7BBAA8975230}"/>
          </ac:spMkLst>
        </pc:spChg>
        <pc:spChg chg="mod">
          <ac:chgData name="Ugo MANTEL" userId="2d5b7065-31bb-4181-a7f8-a73bf0c30211" providerId="ADAL" clId="{9344D105-636D-4857-BD0F-AFC44A54BCCF}" dt="2021-05-24T13:37:29.926" v="7478"/>
          <ac:spMkLst>
            <pc:docMk/>
            <pc:sldMk cId="2117336307" sldId="10458"/>
            <ac:spMk id="80" creationId="{6FACED05-E8D4-48F8-AE6C-1230FDED8923}"/>
          </ac:spMkLst>
        </pc:spChg>
        <pc:spChg chg="mod">
          <ac:chgData name="Ugo MANTEL" userId="2d5b7065-31bb-4181-a7f8-a73bf0c30211" providerId="ADAL" clId="{9344D105-636D-4857-BD0F-AFC44A54BCCF}" dt="2021-05-24T13:37:29.926" v="7478"/>
          <ac:spMkLst>
            <pc:docMk/>
            <pc:sldMk cId="2117336307" sldId="10458"/>
            <ac:spMk id="81" creationId="{36ACD100-DEBC-4847-A078-049FE57C4A26}"/>
          </ac:spMkLst>
        </pc:spChg>
        <pc:spChg chg="mod">
          <ac:chgData name="Ugo MANTEL" userId="2d5b7065-31bb-4181-a7f8-a73bf0c30211" providerId="ADAL" clId="{9344D105-636D-4857-BD0F-AFC44A54BCCF}" dt="2021-05-24T13:37:29.926" v="7478"/>
          <ac:spMkLst>
            <pc:docMk/>
            <pc:sldMk cId="2117336307" sldId="10458"/>
            <ac:spMk id="82" creationId="{2E62B596-A7AF-45DE-9074-A02AEACC0E83}"/>
          </ac:spMkLst>
        </pc:spChg>
        <pc:spChg chg="mod">
          <ac:chgData name="Ugo MANTEL" userId="2d5b7065-31bb-4181-a7f8-a73bf0c30211" providerId="ADAL" clId="{9344D105-636D-4857-BD0F-AFC44A54BCCF}" dt="2021-05-24T13:37:29.926" v="7478"/>
          <ac:spMkLst>
            <pc:docMk/>
            <pc:sldMk cId="2117336307" sldId="10458"/>
            <ac:spMk id="83" creationId="{F75B12AF-F25C-4C69-9453-B7005DFC41D5}"/>
          </ac:spMkLst>
        </pc:spChg>
        <pc:spChg chg="mod">
          <ac:chgData name="Ugo MANTEL" userId="2d5b7065-31bb-4181-a7f8-a73bf0c30211" providerId="ADAL" clId="{9344D105-636D-4857-BD0F-AFC44A54BCCF}" dt="2021-05-24T13:37:29.926" v="7478"/>
          <ac:spMkLst>
            <pc:docMk/>
            <pc:sldMk cId="2117336307" sldId="10458"/>
            <ac:spMk id="84" creationId="{F8378B0F-8430-4F94-B74A-310A4B4F33B1}"/>
          </ac:spMkLst>
        </pc:spChg>
        <pc:spChg chg="add mod">
          <ac:chgData name="Ugo MANTEL" userId="2d5b7065-31bb-4181-a7f8-a73bf0c30211" providerId="ADAL" clId="{9344D105-636D-4857-BD0F-AFC44A54BCCF}" dt="2021-05-25T14:20:11.072" v="27713" actId="790"/>
          <ac:spMkLst>
            <pc:docMk/>
            <pc:sldMk cId="2117336307" sldId="10458"/>
            <ac:spMk id="85" creationId="{76BFCA86-39A2-4CAD-9C8C-1732C90C6871}"/>
          </ac:spMkLst>
        </pc:spChg>
        <pc:spChg chg="mod">
          <ac:chgData name="Ugo MANTEL" userId="2d5b7065-31bb-4181-a7f8-a73bf0c30211" providerId="ADAL" clId="{9344D105-636D-4857-BD0F-AFC44A54BCCF}" dt="2021-05-24T13:38:18.862" v="7487"/>
          <ac:spMkLst>
            <pc:docMk/>
            <pc:sldMk cId="2117336307" sldId="10458"/>
            <ac:spMk id="87" creationId="{CBC7D0E4-9931-49F5-B377-23BCB0A575C7}"/>
          </ac:spMkLst>
        </pc:spChg>
        <pc:spChg chg="mod">
          <ac:chgData name="Ugo MANTEL" userId="2d5b7065-31bb-4181-a7f8-a73bf0c30211" providerId="ADAL" clId="{9344D105-636D-4857-BD0F-AFC44A54BCCF}" dt="2021-05-24T13:38:18.862" v="7487"/>
          <ac:spMkLst>
            <pc:docMk/>
            <pc:sldMk cId="2117336307" sldId="10458"/>
            <ac:spMk id="88" creationId="{ABCB8B83-93E3-4A1E-8093-CE6E34DA708F}"/>
          </ac:spMkLst>
        </pc:spChg>
        <pc:spChg chg="mod">
          <ac:chgData name="Ugo MANTEL" userId="2d5b7065-31bb-4181-a7f8-a73bf0c30211" providerId="ADAL" clId="{9344D105-636D-4857-BD0F-AFC44A54BCCF}" dt="2021-05-24T13:38:18.862" v="7487"/>
          <ac:spMkLst>
            <pc:docMk/>
            <pc:sldMk cId="2117336307" sldId="10458"/>
            <ac:spMk id="89" creationId="{65B67ADD-22A0-4907-978D-68228C272BBC}"/>
          </ac:spMkLst>
        </pc:spChg>
        <pc:spChg chg="mod">
          <ac:chgData name="Ugo MANTEL" userId="2d5b7065-31bb-4181-a7f8-a73bf0c30211" providerId="ADAL" clId="{9344D105-636D-4857-BD0F-AFC44A54BCCF}" dt="2021-05-24T13:38:18.862" v="7487"/>
          <ac:spMkLst>
            <pc:docMk/>
            <pc:sldMk cId="2117336307" sldId="10458"/>
            <ac:spMk id="90" creationId="{99590A32-E17E-49DE-810F-B3D74DC2233F}"/>
          </ac:spMkLst>
        </pc:spChg>
        <pc:spChg chg="mod">
          <ac:chgData name="Ugo MANTEL" userId="2d5b7065-31bb-4181-a7f8-a73bf0c30211" providerId="ADAL" clId="{9344D105-636D-4857-BD0F-AFC44A54BCCF}" dt="2021-05-24T13:38:18.862" v="7487"/>
          <ac:spMkLst>
            <pc:docMk/>
            <pc:sldMk cId="2117336307" sldId="10458"/>
            <ac:spMk id="91" creationId="{8D467664-F3A1-4C7B-B048-2937C81D78C2}"/>
          </ac:spMkLst>
        </pc:spChg>
        <pc:spChg chg="mod">
          <ac:chgData name="Ugo MANTEL" userId="2d5b7065-31bb-4181-a7f8-a73bf0c30211" providerId="ADAL" clId="{9344D105-636D-4857-BD0F-AFC44A54BCCF}" dt="2021-05-24T13:38:18.862" v="7487"/>
          <ac:spMkLst>
            <pc:docMk/>
            <pc:sldMk cId="2117336307" sldId="10458"/>
            <ac:spMk id="92" creationId="{625CB989-A833-4E51-82FA-EB48496536ED}"/>
          </ac:spMkLst>
        </pc:spChg>
        <pc:spChg chg="mod">
          <ac:chgData name="Ugo MANTEL" userId="2d5b7065-31bb-4181-a7f8-a73bf0c30211" providerId="ADAL" clId="{9344D105-636D-4857-BD0F-AFC44A54BCCF}" dt="2021-05-25T14:20:11.073" v="27714" actId="790"/>
          <ac:spMkLst>
            <pc:docMk/>
            <pc:sldMk cId="2117336307" sldId="10458"/>
            <ac:spMk id="93" creationId="{1ABC16EC-E4C7-4FDB-91C6-850186F5860B}"/>
          </ac:spMkLst>
        </pc:spChg>
        <pc:spChg chg="mod">
          <ac:chgData name="Ugo MANTEL" userId="2d5b7065-31bb-4181-a7f8-a73bf0c30211" providerId="ADAL" clId="{9344D105-636D-4857-BD0F-AFC44A54BCCF}" dt="2021-05-25T14:20:11.074" v="27715" actId="790"/>
          <ac:spMkLst>
            <pc:docMk/>
            <pc:sldMk cId="2117336307" sldId="10458"/>
            <ac:spMk id="94" creationId="{D17075F8-2FAF-4F7E-BC65-F4025CF0B0A7}"/>
          </ac:spMkLst>
        </pc:spChg>
        <pc:spChg chg="mod">
          <ac:chgData name="Ugo MANTEL" userId="2d5b7065-31bb-4181-a7f8-a73bf0c30211" providerId="ADAL" clId="{9344D105-636D-4857-BD0F-AFC44A54BCCF}" dt="2021-05-25T14:20:11.075" v="27716" actId="790"/>
          <ac:spMkLst>
            <pc:docMk/>
            <pc:sldMk cId="2117336307" sldId="10458"/>
            <ac:spMk id="97" creationId="{4EC5556A-DABE-4193-9B57-E797898C0620}"/>
          </ac:spMkLst>
        </pc:spChg>
        <pc:spChg chg="mod">
          <ac:chgData name="Ugo MANTEL" userId="2d5b7065-31bb-4181-a7f8-a73bf0c30211" providerId="ADAL" clId="{9344D105-636D-4857-BD0F-AFC44A54BCCF}" dt="2021-05-25T14:20:11.075" v="27717" actId="790"/>
          <ac:spMkLst>
            <pc:docMk/>
            <pc:sldMk cId="2117336307" sldId="10458"/>
            <ac:spMk id="98" creationId="{506C1797-7D6B-44BE-BC07-93C21922C4B5}"/>
          </ac:spMkLst>
        </pc:spChg>
        <pc:spChg chg="mod">
          <ac:chgData name="Ugo MANTEL" userId="2d5b7065-31bb-4181-a7f8-a73bf0c30211" providerId="ADAL" clId="{9344D105-636D-4857-BD0F-AFC44A54BCCF}" dt="2021-05-25T14:20:11.076" v="27718" actId="790"/>
          <ac:spMkLst>
            <pc:docMk/>
            <pc:sldMk cId="2117336307" sldId="10458"/>
            <ac:spMk id="99" creationId="{ADD59E09-F1BF-44A4-8A14-51EC3B527E84}"/>
          </ac:spMkLst>
        </pc:spChg>
        <pc:grpChg chg="add del mod">
          <ac:chgData name="Ugo MANTEL" userId="2d5b7065-31bb-4181-a7f8-a73bf0c30211" providerId="ADAL" clId="{9344D105-636D-4857-BD0F-AFC44A54BCCF}" dt="2021-05-24T15:58:15.625" v="9184" actId="165"/>
          <ac:grpSpMkLst>
            <pc:docMk/>
            <pc:sldMk cId="2117336307" sldId="10458"/>
            <ac:grpSpMk id="24" creationId="{6AF3E02E-4A28-4EE8-A128-46444F70F1F9}"/>
          </ac:grpSpMkLst>
        </pc:grpChg>
        <pc:grpChg chg="add del mod">
          <ac:chgData name="Ugo MANTEL" userId="2d5b7065-31bb-4181-a7f8-a73bf0c30211" providerId="ADAL" clId="{9344D105-636D-4857-BD0F-AFC44A54BCCF}" dt="2021-05-24T15:58:15.625" v="9184" actId="165"/>
          <ac:grpSpMkLst>
            <pc:docMk/>
            <pc:sldMk cId="2117336307" sldId="10458"/>
            <ac:grpSpMk id="27" creationId="{5DEF6CCE-0D3F-4A0D-B5B1-D598AD2958CD}"/>
          </ac:grpSpMkLst>
        </pc:grpChg>
        <pc:grpChg chg="add del mod">
          <ac:chgData name="Ugo MANTEL" userId="2d5b7065-31bb-4181-a7f8-a73bf0c30211" providerId="ADAL" clId="{9344D105-636D-4857-BD0F-AFC44A54BCCF}" dt="2021-05-24T15:58:15.625" v="9184" actId="165"/>
          <ac:grpSpMkLst>
            <pc:docMk/>
            <pc:sldMk cId="2117336307" sldId="10458"/>
            <ac:grpSpMk id="29" creationId="{53AE6861-538A-4CFB-B9C9-ECE20D054460}"/>
          </ac:grpSpMkLst>
        </pc:grpChg>
        <pc:grpChg chg="add del mod">
          <ac:chgData name="Ugo MANTEL" userId="2d5b7065-31bb-4181-a7f8-a73bf0c30211" providerId="ADAL" clId="{9344D105-636D-4857-BD0F-AFC44A54BCCF}" dt="2021-05-24T13:38:18.570" v="7486" actId="478"/>
          <ac:grpSpMkLst>
            <pc:docMk/>
            <pc:sldMk cId="2117336307" sldId="10458"/>
            <ac:grpSpMk id="78" creationId="{8E295E67-EC3C-4D3F-A103-F6027B5A7770}"/>
          </ac:grpSpMkLst>
        </pc:grpChg>
        <pc:grpChg chg="add mod">
          <ac:chgData name="Ugo MANTEL" userId="2d5b7065-31bb-4181-a7f8-a73bf0c30211" providerId="ADAL" clId="{9344D105-636D-4857-BD0F-AFC44A54BCCF}" dt="2021-05-24T13:38:18.862" v="7487"/>
          <ac:grpSpMkLst>
            <pc:docMk/>
            <pc:sldMk cId="2117336307" sldId="10458"/>
            <ac:grpSpMk id="86" creationId="{929B89A0-DE25-46D1-8E0D-139E9CFFA7C8}"/>
          </ac:grpSpMkLst>
        </pc:grp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22" creationId="{EF3B59DF-7E34-4F93-8BA1-3E055CC8AF77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26" creationId="{3A4E0416-FA98-4768-BCE5-C89DFE935E85}"/>
          </ac:picMkLst>
        </pc:picChg>
        <pc:picChg chg="del mod">
          <ac:chgData name="Ugo MANTEL" userId="2d5b7065-31bb-4181-a7f8-a73bf0c30211" providerId="ADAL" clId="{9344D105-636D-4857-BD0F-AFC44A54BCCF}" dt="2021-05-24T15:53:24.546" v="9125" actId="478"/>
          <ac:picMkLst>
            <pc:docMk/>
            <pc:sldMk cId="2117336307" sldId="10458"/>
            <ac:picMk id="47" creationId="{E55B1282-30F9-41A4-972C-A153DADDD094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48" creationId="{4DC343D9-BB71-4420-AD62-C5846D091B04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53" creationId="{068ACBE1-66FB-4EAF-8AE9-572D6E66289B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54" creationId="{079044B3-855B-40B7-93CA-F97DCE5F15B5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55" creationId="{9ECAF7B9-A9BC-47AB-ABE4-D0BF891393C0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56" creationId="{C1A52AE9-F1F7-4EF5-9F3F-07D0E04ED44A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68" creationId="{269CB190-95B7-43B6-8D9E-D12916BDDBAB}"/>
          </ac:picMkLst>
        </pc:picChg>
        <pc:picChg chg="del mod">
          <ac:chgData name="Ugo MANTEL" userId="2d5b7065-31bb-4181-a7f8-a73bf0c30211" providerId="ADAL" clId="{9344D105-636D-4857-BD0F-AFC44A54BCCF}" dt="2021-05-24T15:53:24.546" v="9125" actId="478"/>
          <ac:picMkLst>
            <pc:docMk/>
            <pc:sldMk cId="2117336307" sldId="10458"/>
            <ac:picMk id="69" creationId="{B399C283-25FC-4629-B137-6E6F2BDEEEC0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0" creationId="{650AB172-88E6-4A5A-A01C-D8FC658784E7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1" creationId="{39782FAF-A37F-4F8B-BC30-43FB128AE65D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2" creationId="{8D44E403-9938-4E3B-A5B8-15D400BDDA52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3" creationId="{5E636AC5-10DC-4BFA-B3E0-28F86C6B3AD2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4" creationId="{3856B892-33CE-4C3B-849D-CAB589121402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5" creationId="{13BBFCE2-23FC-42FC-9675-4EB722233278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6" creationId="{ECA7F18C-56CA-4DA2-B224-D3EB95AA1B7D}"/>
          </ac:picMkLst>
        </pc:picChg>
        <pc:picChg chg="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77" creationId="{319ACB54-1D2B-4124-A8CC-C465F39DD3E1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94" creationId="{E92F9228-F75F-4D54-B579-689DB795E095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95" creationId="{F0267523-C015-4E93-A54D-AC47A61D8938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96" creationId="{B5432683-DC62-4037-96D6-A32A6E81D431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97" creationId="{19D72487-4CDB-45B9-B024-03026C2B01DB}"/>
          </ac:picMkLst>
        </pc:picChg>
        <pc:picChg chg="add del mod">
          <ac:chgData name="Ugo MANTEL" userId="2d5b7065-31bb-4181-a7f8-a73bf0c30211" providerId="ADAL" clId="{9344D105-636D-4857-BD0F-AFC44A54BCCF}" dt="2021-05-24T15:56:18.009" v="9154" actId="478"/>
          <ac:picMkLst>
            <pc:docMk/>
            <pc:sldMk cId="2117336307" sldId="10458"/>
            <ac:picMk id="98" creationId="{A2774D28-8F5D-4B6B-B356-6DCC96B700CC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99" creationId="{B6BFA9A8-31B5-444E-B2EF-35A96DF7F30D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0" creationId="{8F461109-F4E8-427C-95E5-9E759F0E2A03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1" creationId="{112BBE1C-92FA-4D95-B99A-73801A9E4382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2" creationId="{9F850FBC-16F8-4F55-9573-50EE7E9FBAD4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3" creationId="{5282AED7-9B0D-4126-9438-CB4C0115EF0C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4" creationId="{E39DBBDC-A5DC-406D-A7ED-320FB482341C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5" creationId="{C71F2C83-7B36-4655-8B7D-9433B6EE9532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6" creationId="{BE952322-DE10-439C-BC05-F7369D5B5048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7" creationId="{448B48A9-5E05-4398-8514-637F4F8163D3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8" creationId="{2D6E3104-AC44-4099-943F-C777C63C3A4B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09" creationId="{4A127638-7EC0-4B36-87B9-946E2E94F43F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10" creationId="{1B29B4A7-F1C7-4871-90CB-8643ADF6C365}"/>
          </ac:picMkLst>
        </pc:picChg>
        <pc:picChg chg="add del mod">
          <ac:chgData name="Ugo MANTEL" userId="2d5b7065-31bb-4181-a7f8-a73bf0c30211" providerId="ADAL" clId="{9344D105-636D-4857-BD0F-AFC44A54BCCF}" dt="2021-05-24T15:56:05.679" v="9150" actId="478"/>
          <ac:picMkLst>
            <pc:docMk/>
            <pc:sldMk cId="2117336307" sldId="10458"/>
            <ac:picMk id="111" creationId="{7730438D-C743-496B-B1C5-373650AC69A8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12" creationId="{7088935C-5F5A-43C6-8B4A-1EBA7A29F1CA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13" creationId="{47123FE5-665C-4477-BCC2-7C4D99D78DAA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14" creationId="{E87D9990-835F-42C3-862D-A0D40FE8E083}"/>
          </ac:picMkLst>
        </pc:picChg>
        <pc:picChg chg="add del mod topLvl">
          <ac:chgData name="Ugo MANTEL" userId="2d5b7065-31bb-4181-a7f8-a73bf0c30211" providerId="ADAL" clId="{9344D105-636D-4857-BD0F-AFC44A54BCCF}" dt="2021-05-24T16:01:00.109" v="9214" actId="478"/>
          <ac:picMkLst>
            <pc:docMk/>
            <pc:sldMk cId="2117336307" sldId="10458"/>
            <ac:picMk id="115" creationId="{008A7680-C7D8-437E-A68F-C3BDEE614F4A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16" creationId="{D7080959-0EA4-495D-A7B6-BC0B4043C681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17" creationId="{A5812BB8-3D44-448E-9FA9-60DB61144C55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18" creationId="{CFD43BE1-E8DB-4D5B-8E0F-CB9CE899CF6A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19" creationId="{518522DE-AABF-4719-8AA6-5416F84E1918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0" creationId="{E7E2575B-1ED7-4ED6-BC6C-D70A2840BDF4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1" creationId="{E219FB4C-2269-4578-BD5F-8AF3BCF11E4A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2" creationId="{EE81C77C-792B-49E2-B852-3EA8D3A5DF86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3" creationId="{23E70D93-5A15-47B9-8C9A-9E831BC86ED9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4" creationId="{CED4367E-C5E2-49A6-B921-3C5401449414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5" creationId="{FFAD2366-F8E4-482B-A533-6C7AF4D5C652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6" creationId="{6245F5DB-CEFC-42AE-B474-EA7E1003DD32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7" creationId="{41706AD6-EE48-40EB-9C37-952137CD2C60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8" creationId="{19DD3D2C-5979-4CC7-BAA4-3706C8BF7669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29" creationId="{07EF49A3-1D4A-4C1D-851F-3533BA90FBF2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0" creationId="{4DA6B956-F751-4F80-96A3-F4D328993B31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1" creationId="{024F7311-B963-474D-98B9-FF4505E08A04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2" creationId="{830C2059-D659-4B85-89E8-DB278EF1A7F7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3" creationId="{69921898-B544-446E-AC1F-022C3D293400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4" creationId="{BA60813B-1F3C-499D-BBE1-27D461849227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5" creationId="{45AB76FF-7459-464D-866A-6C64640299D1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6" creationId="{C1E2BC90-3C26-4F18-B5D1-EEC5C9FA8749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7" creationId="{E9DA7EB6-04A7-40BB-8E8D-2FCD0AABA6C5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8" creationId="{E0A8EC5E-1180-41F4-916C-A970DD289DE5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39" creationId="{865222C7-C1EF-41D2-A63E-6275C2AF4FA6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0" creationId="{E95B3BAD-558E-49AF-AD76-4A9B97CA30B5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1" creationId="{F33E639A-3388-40F6-A894-19FD05D8DBD0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2" creationId="{CD73ADCC-432A-498C-A33E-14622409210B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3" creationId="{52E33D4E-E700-4D1B-B959-5528A616E029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4" creationId="{BD4953EC-75B7-453E-A677-BF85D068329F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5" creationId="{BA8F969C-3A1E-4DA2-8F04-9E38F849A076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6" creationId="{9BE677D6-38AD-4109-8DA2-E9A1136E0E15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7" creationId="{5EA0D7FB-ED90-4AC2-823E-671828F651B6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8" creationId="{69EF78D9-D693-43E7-8E8B-98DDF6C008A3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49" creationId="{D7488B11-21BB-4BBD-9D89-8B40C5A64605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50" creationId="{37D683F6-013F-4244-A4A8-BD5447F1BB64}"/>
          </ac:picMkLst>
        </pc:picChg>
        <pc:picChg chg="add mod">
          <ac:chgData name="Ugo MANTEL" userId="2d5b7065-31bb-4181-a7f8-a73bf0c30211" providerId="ADAL" clId="{9344D105-636D-4857-BD0F-AFC44A54BCCF}" dt="2021-05-24T16:01:01.004" v="9215"/>
          <ac:picMkLst>
            <pc:docMk/>
            <pc:sldMk cId="2117336307" sldId="10458"/>
            <ac:picMk id="151" creationId="{0061FC71-EDE4-447B-B3B9-A59F23D4A69F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4:20:11.479" v="28186" actId="790"/>
        <pc:sldMkLst>
          <pc:docMk/>
          <pc:sldMk cId="2622219198" sldId="10459"/>
        </pc:sldMkLst>
        <pc:spChg chg="mod">
          <ac:chgData name="Ugo MANTEL" userId="2d5b7065-31bb-4181-a7f8-a73bf0c30211" providerId="ADAL" clId="{9344D105-636D-4857-BD0F-AFC44A54BCCF}" dt="2021-05-25T14:20:11.405" v="28117" actId="790"/>
          <ac:spMkLst>
            <pc:docMk/>
            <pc:sldMk cId="2622219198" sldId="10459"/>
            <ac:spMk id="2" creationId="{E19F901F-5492-47C0-A6F7-DF38EE87C63C}"/>
          </ac:spMkLst>
        </pc:spChg>
        <pc:spChg chg="mod">
          <ac:chgData name="Ugo MANTEL" userId="2d5b7065-31bb-4181-a7f8-a73bf0c30211" providerId="ADAL" clId="{9344D105-636D-4857-BD0F-AFC44A54BCCF}" dt="2021-05-25T14:20:11.406" v="28118" actId="790"/>
          <ac:spMkLst>
            <pc:docMk/>
            <pc:sldMk cId="2622219198" sldId="10459"/>
            <ac:spMk id="3" creationId="{EA36DEC0-367F-4462-9ECA-BD4E3ABDD7AD}"/>
          </ac:spMkLst>
        </pc:spChg>
        <pc:spChg chg="mod">
          <ac:chgData name="Ugo MANTEL" userId="2d5b7065-31bb-4181-a7f8-a73bf0c30211" providerId="ADAL" clId="{9344D105-636D-4857-BD0F-AFC44A54BCCF}" dt="2021-05-25T14:20:11.407" v="28119" actId="790"/>
          <ac:spMkLst>
            <pc:docMk/>
            <pc:sldMk cId="2622219198" sldId="10459"/>
            <ac:spMk id="4" creationId="{36E8441A-7CAA-4835-B0E0-73093E7211AF}"/>
          </ac:spMkLst>
        </pc:spChg>
        <pc:spChg chg="mod">
          <ac:chgData name="Ugo MANTEL" userId="2d5b7065-31bb-4181-a7f8-a73bf0c30211" providerId="ADAL" clId="{9344D105-636D-4857-BD0F-AFC44A54BCCF}" dt="2021-05-25T14:20:11.407" v="28120" actId="790"/>
          <ac:spMkLst>
            <pc:docMk/>
            <pc:sldMk cId="2622219198" sldId="10459"/>
            <ac:spMk id="5" creationId="{B595370E-355C-4B5F-A978-CDD15547DBD1}"/>
          </ac:spMkLst>
        </pc:spChg>
        <pc:spChg chg="mod">
          <ac:chgData name="Ugo MANTEL" userId="2d5b7065-31bb-4181-a7f8-a73bf0c30211" providerId="ADAL" clId="{9344D105-636D-4857-BD0F-AFC44A54BCCF}" dt="2021-05-25T14:20:11.408" v="28121" actId="790"/>
          <ac:spMkLst>
            <pc:docMk/>
            <pc:sldMk cId="2622219198" sldId="10459"/>
            <ac:spMk id="6" creationId="{609D4ECD-A435-4FC4-8FA3-4F4EB4E1037F}"/>
          </ac:spMkLst>
        </pc:spChg>
        <pc:spChg chg="mod">
          <ac:chgData name="Ugo MANTEL" userId="2d5b7065-31bb-4181-a7f8-a73bf0c30211" providerId="ADAL" clId="{9344D105-636D-4857-BD0F-AFC44A54BCCF}" dt="2021-05-25T14:20:11.408" v="28122" actId="790"/>
          <ac:spMkLst>
            <pc:docMk/>
            <pc:sldMk cId="2622219198" sldId="10459"/>
            <ac:spMk id="7" creationId="{3519796A-9FDF-4BE6-8C17-7B847140DB1E}"/>
          </ac:spMkLst>
        </pc:spChg>
        <pc:spChg chg="mod">
          <ac:chgData name="Ugo MANTEL" userId="2d5b7065-31bb-4181-a7f8-a73bf0c30211" providerId="ADAL" clId="{9344D105-636D-4857-BD0F-AFC44A54BCCF}" dt="2021-05-25T14:20:11.409" v="28123" actId="790"/>
          <ac:spMkLst>
            <pc:docMk/>
            <pc:sldMk cId="2622219198" sldId="10459"/>
            <ac:spMk id="8" creationId="{C0F9EC2E-5B9C-44C3-8BBC-04E6A56A04D9}"/>
          </ac:spMkLst>
        </pc:spChg>
        <pc:spChg chg="mod">
          <ac:chgData name="Ugo MANTEL" userId="2d5b7065-31bb-4181-a7f8-a73bf0c30211" providerId="ADAL" clId="{9344D105-636D-4857-BD0F-AFC44A54BCCF}" dt="2021-05-25T14:20:11.409" v="28124" actId="790"/>
          <ac:spMkLst>
            <pc:docMk/>
            <pc:sldMk cId="2622219198" sldId="10459"/>
            <ac:spMk id="9" creationId="{317041DE-AACE-4076-B336-98D4DFCF2F8D}"/>
          </ac:spMkLst>
        </pc:spChg>
        <pc:spChg chg="mod">
          <ac:chgData name="Ugo MANTEL" userId="2d5b7065-31bb-4181-a7f8-a73bf0c30211" providerId="ADAL" clId="{9344D105-636D-4857-BD0F-AFC44A54BCCF}" dt="2021-05-25T14:20:11.410" v="28125" actId="790"/>
          <ac:spMkLst>
            <pc:docMk/>
            <pc:sldMk cId="2622219198" sldId="10459"/>
            <ac:spMk id="10" creationId="{96B7A014-AD04-4B6B-93EF-F8AE892DB682}"/>
          </ac:spMkLst>
        </pc:spChg>
        <pc:spChg chg="mod">
          <ac:chgData name="Ugo MANTEL" userId="2d5b7065-31bb-4181-a7f8-a73bf0c30211" providerId="ADAL" clId="{9344D105-636D-4857-BD0F-AFC44A54BCCF}" dt="2021-05-25T14:20:11.411" v="28126" actId="790"/>
          <ac:spMkLst>
            <pc:docMk/>
            <pc:sldMk cId="2622219198" sldId="10459"/>
            <ac:spMk id="11" creationId="{BF229D2B-E1C5-4C07-819B-6B198291B445}"/>
          </ac:spMkLst>
        </pc:spChg>
        <pc:spChg chg="mod">
          <ac:chgData name="Ugo MANTEL" userId="2d5b7065-31bb-4181-a7f8-a73bf0c30211" providerId="ADAL" clId="{9344D105-636D-4857-BD0F-AFC44A54BCCF}" dt="2021-05-25T14:20:11.411" v="28127" actId="790"/>
          <ac:spMkLst>
            <pc:docMk/>
            <pc:sldMk cId="2622219198" sldId="10459"/>
            <ac:spMk id="12" creationId="{3EFA3E8A-E38B-412F-A7AC-89C4DD936271}"/>
          </ac:spMkLst>
        </pc:spChg>
        <pc:spChg chg="mod">
          <ac:chgData name="Ugo MANTEL" userId="2d5b7065-31bb-4181-a7f8-a73bf0c30211" providerId="ADAL" clId="{9344D105-636D-4857-BD0F-AFC44A54BCCF}" dt="2021-05-25T14:20:11.412" v="28128" actId="790"/>
          <ac:spMkLst>
            <pc:docMk/>
            <pc:sldMk cId="2622219198" sldId="10459"/>
            <ac:spMk id="13" creationId="{17705788-120B-4AC9-B719-CCF70341BA1F}"/>
          </ac:spMkLst>
        </pc:spChg>
        <pc:spChg chg="mod">
          <ac:chgData name="Ugo MANTEL" userId="2d5b7065-31bb-4181-a7f8-a73bf0c30211" providerId="ADAL" clId="{9344D105-636D-4857-BD0F-AFC44A54BCCF}" dt="2021-05-25T14:20:11.412" v="28129" actId="790"/>
          <ac:spMkLst>
            <pc:docMk/>
            <pc:sldMk cId="2622219198" sldId="10459"/>
            <ac:spMk id="14" creationId="{724AF84E-9B10-405B-8DB6-FA7988A7668D}"/>
          </ac:spMkLst>
        </pc:spChg>
        <pc:spChg chg="mod">
          <ac:chgData name="Ugo MANTEL" userId="2d5b7065-31bb-4181-a7f8-a73bf0c30211" providerId="ADAL" clId="{9344D105-636D-4857-BD0F-AFC44A54BCCF}" dt="2021-05-25T14:20:11.413" v="28130" actId="790"/>
          <ac:spMkLst>
            <pc:docMk/>
            <pc:sldMk cId="2622219198" sldId="10459"/>
            <ac:spMk id="15" creationId="{34C45BC7-2142-44BC-8D88-77D9EBC4EA6E}"/>
          </ac:spMkLst>
        </pc:spChg>
        <pc:spChg chg="mod">
          <ac:chgData name="Ugo MANTEL" userId="2d5b7065-31bb-4181-a7f8-a73bf0c30211" providerId="ADAL" clId="{9344D105-636D-4857-BD0F-AFC44A54BCCF}" dt="2021-05-25T14:20:11.413" v="28131" actId="790"/>
          <ac:spMkLst>
            <pc:docMk/>
            <pc:sldMk cId="2622219198" sldId="10459"/>
            <ac:spMk id="16" creationId="{41A679EC-8321-4F10-B731-7F5C67FA2AC4}"/>
          </ac:spMkLst>
        </pc:spChg>
        <pc:spChg chg="mod">
          <ac:chgData name="Ugo MANTEL" userId="2d5b7065-31bb-4181-a7f8-a73bf0c30211" providerId="ADAL" clId="{9344D105-636D-4857-BD0F-AFC44A54BCCF}" dt="2021-05-25T14:20:11.415" v="28132" actId="790"/>
          <ac:spMkLst>
            <pc:docMk/>
            <pc:sldMk cId="2622219198" sldId="10459"/>
            <ac:spMk id="17" creationId="{2935E5F8-84AB-433D-881B-5B0E1C57BA6F}"/>
          </ac:spMkLst>
        </pc:spChg>
        <pc:spChg chg="mod">
          <ac:chgData name="Ugo MANTEL" userId="2d5b7065-31bb-4181-a7f8-a73bf0c30211" providerId="ADAL" clId="{9344D105-636D-4857-BD0F-AFC44A54BCCF}" dt="2021-05-25T14:20:11.415" v="28133" actId="790"/>
          <ac:spMkLst>
            <pc:docMk/>
            <pc:sldMk cId="2622219198" sldId="10459"/>
            <ac:spMk id="18" creationId="{B0A62E94-BF7E-40AC-B764-BB2A54C0C494}"/>
          </ac:spMkLst>
        </pc:spChg>
        <pc:spChg chg="mod">
          <ac:chgData name="Ugo MANTEL" userId="2d5b7065-31bb-4181-a7f8-a73bf0c30211" providerId="ADAL" clId="{9344D105-636D-4857-BD0F-AFC44A54BCCF}" dt="2021-05-25T14:20:11.415" v="28134" actId="790"/>
          <ac:spMkLst>
            <pc:docMk/>
            <pc:sldMk cId="2622219198" sldId="10459"/>
            <ac:spMk id="19" creationId="{027A9967-715F-48E8-B963-0D3A8F664B42}"/>
          </ac:spMkLst>
        </pc:spChg>
        <pc:spChg chg="mod">
          <ac:chgData name="Ugo MANTEL" userId="2d5b7065-31bb-4181-a7f8-a73bf0c30211" providerId="ADAL" clId="{9344D105-636D-4857-BD0F-AFC44A54BCCF}" dt="2021-05-25T14:20:11.423" v="28135" actId="790"/>
          <ac:spMkLst>
            <pc:docMk/>
            <pc:sldMk cId="2622219198" sldId="10459"/>
            <ac:spMk id="45" creationId="{EB8DCDA0-B944-46B1-94A1-3BC57FE2558C}"/>
          </ac:spMkLst>
        </pc:spChg>
        <pc:spChg chg="mod">
          <ac:chgData name="Ugo MANTEL" userId="2d5b7065-31bb-4181-a7f8-a73bf0c30211" providerId="ADAL" clId="{9344D105-636D-4857-BD0F-AFC44A54BCCF}" dt="2021-05-25T14:20:11.423" v="28136" actId="790"/>
          <ac:spMkLst>
            <pc:docMk/>
            <pc:sldMk cId="2622219198" sldId="10459"/>
            <ac:spMk id="46" creationId="{7B138FEF-21CD-48C0-BC88-FE04EB25D3AA}"/>
          </ac:spMkLst>
        </pc:spChg>
        <pc:spChg chg="mod">
          <ac:chgData name="Ugo MANTEL" userId="2d5b7065-31bb-4181-a7f8-a73bf0c30211" providerId="ADAL" clId="{9344D105-636D-4857-BD0F-AFC44A54BCCF}" dt="2021-05-25T14:20:11.424" v="28137" actId="790"/>
          <ac:spMkLst>
            <pc:docMk/>
            <pc:sldMk cId="2622219198" sldId="10459"/>
            <ac:spMk id="47" creationId="{C8752D5D-1277-4ECD-BD07-8C2295A5CD51}"/>
          </ac:spMkLst>
        </pc:spChg>
        <pc:spChg chg="mod">
          <ac:chgData name="Ugo MANTEL" userId="2d5b7065-31bb-4181-a7f8-a73bf0c30211" providerId="ADAL" clId="{9344D105-636D-4857-BD0F-AFC44A54BCCF}" dt="2021-05-25T14:20:11.425" v="28138" actId="790"/>
          <ac:spMkLst>
            <pc:docMk/>
            <pc:sldMk cId="2622219198" sldId="10459"/>
            <ac:spMk id="49" creationId="{73FF325B-AA43-4315-A9B8-69EBF61E787C}"/>
          </ac:spMkLst>
        </pc:spChg>
        <pc:spChg chg="mod">
          <ac:chgData name="Ugo MANTEL" userId="2d5b7065-31bb-4181-a7f8-a73bf0c30211" providerId="ADAL" clId="{9344D105-636D-4857-BD0F-AFC44A54BCCF}" dt="2021-05-25T14:20:11.425" v="28139" actId="790"/>
          <ac:spMkLst>
            <pc:docMk/>
            <pc:sldMk cId="2622219198" sldId="10459"/>
            <ac:spMk id="52" creationId="{B01F8A17-D5BB-48D0-9812-19B9E7EC3664}"/>
          </ac:spMkLst>
        </pc:spChg>
        <pc:spChg chg="mod">
          <ac:chgData name="Ugo MANTEL" userId="2d5b7065-31bb-4181-a7f8-a73bf0c30211" providerId="ADAL" clId="{9344D105-636D-4857-BD0F-AFC44A54BCCF}" dt="2021-05-25T14:20:11.426" v="28140" actId="790"/>
          <ac:spMkLst>
            <pc:docMk/>
            <pc:sldMk cId="2622219198" sldId="10459"/>
            <ac:spMk id="54" creationId="{CBD01CF7-FE13-4ECB-AB15-2BFF82F48911}"/>
          </ac:spMkLst>
        </pc:spChg>
        <pc:spChg chg="mod">
          <ac:chgData name="Ugo MANTEL" userId="2d5b7065-31bb-4181-a7f8-a73bf0c30211" providerId="ADAL" clId="{9344D105-636D-4857-BD0F-AFC44A54BCCF}" dt="2021-05-25T14:20:11.426" v="28141" actId="790"/>
          <ac:spMkLst>
            <pc:docMk/>
            <pc:sldMk cId="2622219198" sldId="10459"/>
            <ac:spMk id="55" creationId="{B63F3251-C420-4EC6-A652-BED9B1662C49}"/>
          </ac:spMkLst>
        </pc:spChg>
        <pc:spChg chg="mod">
          <ac:chgData name="Ugo MANTEL" userId="2d5b7065-31bb-4181-a7f8-a73bf0c30211" providerId="ADAL" clId="{9344D105-636D-4857-BD0F-AFC44A54BCCF}" dt="2021-05-25T14:20:11.427" v="28142" actId="790"/>
          <ac:spMkLst>
            <pc:docMk/>
            <pc:sldMk cId="2622219198" sldId="10459"/>
            <ac:spMk id="57" creationId="{69054210-C4B6-4FB4-80AD-FD0685FDB8A7}"/>
          </ac:spMkLst>
        </pc:spChg>
        <pc:spChg chg="mod">
          <ac:chgData name="Ugo MANTEL" userId="2d5b7065-31bb-4181-a7f8-a73bf0c30211" providerId="ADAL" clId="{9344D105-636D-4857-BD0F-AFC44A54BCCF}" dt="2021-05-25T14:20:11.428" v="28143" actId="790"/>
          <ac:spMkLst>
            <pc:docMk/>
            <pc:sldMk cId="2622219198" sldId="10459"/>
            <ac:spMk id="58" creationId="{232AEBA7-7474-41B4-B82F-C3A42529BB0E}"/>
          </ac:spMkLst>
        </pc:spChg>
        <pc:spChg chg="mod">
          <ac:chgData name="Ugo MANTEL" userId="2d5b7065-31bb-4181-a7f8-a73bf0c30211" providerId="ADAL" clId="{9344D105-636D-4857-BD0F-AFC44A54BCCF}" dt="2021-05-25T14:20:11.428" v="28144" actId="790"/>
          <ac:spMkLst>
            <pc:docMk/>
            <pc:sldMk cId="2622219198" sldId="10459"/>
            <ac:spMk id="63" creationId="{61A1973B-5E55-44A7-880E-BA9B0E602E07}"/>
          </ac:spMkLst>
        </pc:spChg>
        <pc:spChg chg="mod">
          <ac:chgData name="Ugo MANTEL" userId="2d5b7065-31bb-4181-a7f8-a73bf0c30211" providerId="ADAL" clId="{9344D105-636D-4857-BD0F-AFC44A54BCCF}" dt="2021-05-25T14:20:11.429" v="28145" actId="790"/>
          <ac:spMkLst>
            <pc:docMk/>
            <pc:sldMk cId="2622219198" sldId="10459"/>
            <ac:spMk id="64" creationId="{454B325B-9049-498F-95B6-2D362EE8E082}"/>
          </ac:spMkLst>
        </pc:spChg>
        <pc:spChg chg="mod">
          <ac:chgData name="Ugo MANTEL" userId="2d5b7065-31bb-4181-a7f8-a73bf0c30211" providerId="ADAL" clId="{9344D105-636D-4857-BD0F-AFC44A54BCCF}" dt="2021-05-25T14:20:11.430" v="28146" actId="790"/>
          <ac:spMkLst>
            <pc:docMk/>
            <pc:sldMk cId="2622219198" sldId="10459"/>
            <ac:spMk id="65" creationId="{1E938B2A-4E75-4F22-B677-0E92942C3BF0}"/>
          </ac:spMkLst>
        </pc:spChg>
        <pc:spChg chg="mod">
          <ac:chgData name="Ugo MANTEL" userId="2d5b7065-31bb-4181-a7f8-a73bf0c30211" providerId="ADAL" clId="{9344D105-636D-4857-BD0F-AFC44A54BCCF}" dt="2021-05-25T14:20:11.431" v="28147" actId="790"/>
          <ac:spMkLst>
            <pc:docMk/>
            <pc:sldMk cId="2622219198" sldId="10459"/>
            <ac:spMk id="69" creationId="{DBCAE63A-1BB7-4D88-AF4F-3EA225B48E8E}"/>
          </ac:spMkLst>
        </pc:spChg>
        <pc:spChg chg="mod">
          <ac:chgData name="Ugo MANTEL" userId="2d5b7065-31bb-4181-a7f8-a73bf0c30211" providerId="ADAL" clId="{9344D105-636D-4857-BD0F-AFC44A54BCCF}" dt="2021-05-25T14:20:11.431" v="28148" actId="790"/>
          <ac:spMkLst>
            <pc:docMk/>
            <pc:sldMk cId="2622219198" sldId="10459"/>
            <ac:spMk id="70" creationId="{F1C05B6A-4C6A-49A8-B882-43C0D93B017C}"/>
          </ac:spMkLst>
        </pc:spChg>
        <pc:spChg chg="mod">
          <ac:chgData name="Ugo MANTEL" userId="2d5b7065-31bb-4181-a7f8-a73bf0c30211" providerId="ADAL" clId="{9344D105-636D-4857-BD0F-AFC44A54BCCF}" dt="2021-05-25T14:20:11.432" v="28149" actId="790"/>
          <ac:spMkLst>
            <pc:docMk/>
            <pc:sldMk cId="2622219198" sldId="10459"/>
            <ac:spMk id="72" creationId="{D30E9580-C8AB-4324-8ACD-5E2FFF909617}"/>
          </ac:spMkLst>
        </pc:spChg>
        <pc:spChg chg="mod">
          <ac:chgData name="Ugo MANTEL" userId="2d5b7065-31bb-4181-a7f8-a73bf0c30211" providerId="ADAL" clId="{9344D105-636D-4857-BD0F-AFC44A54BCCF}" dt="2021-05-25T14:20:11.433" v="28150" actId="790"/>
          <ac:spMkLst>
            <pc:docMk/>
            <pc:sldMk cId="2622219198" sldId="10459"/>
            <ac:spMk id="73" creationId="{10BC5ECF-96B8-4588-B214-C8B1A33C3323}"/>
          </ac:spMkLst>
        </pc:spChg>
        <pc:spChg chg="mod">
          <ac:chgData name="Ugo MANTEL" userId="2d5b7065-31bb-4181-a7f8-a73bf0c30211" providerId="ADAL" clId="{9344D105-636D-4857-BD0F-AFC44A54BCCF}" dt="2021-05-25T14:20:11.433" v="28151" actId="790"/>
          <ac:spMkLst>
            <pc:docMk/>
            <pc:sldMk cId="2622219198" sldId="10459"/>
            <ac:spMk id="74" creationId="{B1E3592B-DCB2-4C49-AA17-FD77A5513DF7}"/>
          </ac:spMkLst>
        </pc:spChg>
        <pc:spChg chg="mod">
          <ac:chgData name="Ugo MANTEL" userId="2d5b7065-31bb-4181-a7f8-a73bf0c30211" providerId="ADAL" clId="{9344D105-636D-4857-BD0F-AFC44A54BCCF}" dt="2021-05-25T14:20:11.434" v="28152" actId="790"/>
          <ac:spMkLst>
            <pc:docMk/>
            <pc:sldMk cId="2622219198" sldId="10459"/>
            <ac:spMk id="75" creationId="{40464EC8-3ED2-479F-AA13-547A901D2AFC}"/>
          </ac:spMkLst>
        </pc:spChg>
        <pc:spChg chg="mod">
          <ac:chgData name="Ugo MANTEL" userId="2d5b7065-31bb-4181-a7f8-a73bf0c30211" providerId="ADAL" clId="{9344D105-636D-4857-BD0F-AFC44A54BCCF}" dt="2021-05-25T14:20:11.434" v="28153" actId="790"/>
          <ac:spMkLst>
            <pc:docMk/>
            <pc:sldMk cId="2622219198" sldId="10459"/>
            <ac:spMk id="76" creationId="{10D9986C-9CA4-417C-9CD4-BC05991D62D9}"/>
          </ac:spMkLst>
        </pc:spChg>
        <pc:spChg chg="mod">
          <ac:chgData name="Ugo MANTEL" userId="2d5b7065-31bb-4181-a7f8-a73bf0c30211" providerId="ADAL" clId="{9344D105-636D-4857-BD0F-AFC44A54BCCF}" dt="2021-05-25T14:20:11.435" v="28154" actId="790"/>
          <ac:spMkLst>
            <pc:docMk/>
            <pc:sldMk cId="2622219198" sldId="10459"/>
            <ac:spMk id="82" creationId="{E9135B47-2D9D-4245-B195-852DFE06A01F}"/>
          </ac:spMkLst>
        </pc:spChg>
        <pc:spChg chg="mod">
          <ac:chgData name="Ugo MANTEL" userId="2d5b7065-31bb-4181-a7f8-a73bf0c30211" providerId="ADAL" clId="{9344D105-636D-4857-BD0F-AFC44A54BCCF}" dt="2021-05-25T14:20:11.435" v="28155" actId="790"/>
          <ac:spMkLst>
            <pc:docMk/>
            <pc:sldMk cId="2622219198" sldId="10459"/>
            <ac:spMk id="83" creationId="{F605E2FE-2D03-47CF-A9E0-A06DF1E80BA3}"/>
          </ac:spMkLst>
        </pc:spChg>
        <pc:spChg chg="mod">
          <ac:chgData name="Ugo MANTEL" userId="2d5b7065-31bb-4181-a7f8-a73bf0c30211" providerId="ADAL" clId="{9344D105-636D-4857-BD0F-AFC44A54BCCF}" dt="2021-05-25T14:20:11.436" v="28156" actId="790"/>
          <ac:spMkLst>
            <pc:docMk/>
            <pc:sldMk cId="2622219198" sldId="10459"/>
            <ac:spMk id="84" creationId="{8F0B4BBB-A591-4171-B679-F336E5C5CEC8}"/>
          </ac:spMkLst>
        </pc:spChg>
        <pc:spChg chg="mod">
          <ac:chgData name="Ugo MANTEL" userId="2d5b7065-31bb-4181-a7f8-a73bf0c30211" providerId="ADAL" clId="{9344D105-636D-4857-BD0F-AFC44A54BCCF}" dt="2021-05-25T14:20:11.437" v="28157" actId="790"/>
          <ac:spMkLst>
            <pc:docMk/>
            <pc:sldMk cId="2622219198" sldId="10459"/>
            <ac:spMk id="95" creationId="{2B208BB2-6D57-419B-BE99-9FB2EB9BB080}"/>
          </ac:spMkLst>
        </pc:spChg>
        <pc:spChg chg="mod">
          <ac:chgData name="Ugo MANTEL" userId="2d5b7065-31bb-4181-a7f8-a73bf0c30211" providerId="ADAL" clId="{9344D105-636D-4857-BD0F-AFC44A54BCCF}" dt="2021-05-25T14:20:11.437" v="28158" actId="790"/>
          <ac:spMkLst>
            <pc:docMk/>
            <pc:sldMk cId="2622219198" sldId="10459"/>
            <ac:spMk id="96" creationId="{F15561ED-FA6A-4BBA-9A97-BB0743C9E791}"/>
          </ac:spMkLst>
        </pc:spChg>
        <pc:spChg chg="mod">
          <ac:chgData name="Ugo MANTEL" userId="2d5b7065-31bb-4181-a7f8-a73bf0c30211" providerId="ADAL" clId="{9344D105-636D-4857-BD0F-AFC44A54BCCF}" dt="2021-05-25T14:20:11.438" v="28159" actId="790"/>
          <ac:spMkLst>
            <pc:docMk/>
            <pc:sldMk cId="2622219198" sldId="10459"/>
            <ac:spMk id="97" creationId="{1E59D88E-0852-47C8-A0C2-EC18D5E724D9}"/>
          </ac:spMkLst>
        </pc:spChg>
        <pc:spChg chg="mod">
          <ac:chgData name="Ugo MANTEL" userId="2d5b7065-31bb-4181-a7f8-a73bf0c30211" providerId="ADAL" clId="{9344D105-636D-4857-BD0F-AFC44A54BCCF}" dt="2021-05-25T14:20:11.438" v="28160" actId="790"/>
          <ac:spMkLst>
            <pc:docMk/>
            <pc:sldMk cId="2622219198" sldId="10459"/>
            <ac:spMk id="98" creationId="{80D609C3-770A-4A62-A60B-1A41FF145B8B}"/>
          </ac:spMkLst>
        </pc:spChg>
        <pc:spChg chg="mod">
          <ac:chgData name="Ugo MANTEL" userId="2d5b7065-31bb-4181-a7f8-a73bf0c30211" providerId="ADAL" clId="{9344D105-636D-4857-BD0F-AFC44A54BCCF}" dt="2021-05-25T14:20:11.439" v="28161" actId="790"/>
          <ac:spMkLst>
            <pc:docMk/>
            <pc:sldMk cId="2622219198" sldId="10459"/>
            <ac:spMk id="131" creationId="{A0CF7030-74D6-41D0-9786-9F4BB7CAC9A7}"/>
          </ac:spMkLst>
        </pc:spChg>
        <pc:spChg chg="mod">
          <ac:chgData name="Ugo MANTEL" userId="2d5b7065-31bb-4181-a7f8-a73bf0c30211" providerId="ADAL" clId="{9344D105-636D-4857-BD0F-AFC44A54BCCF}" dt="2021-05-25T14:20:11.440" v="28162" actId="790"/>
          <ac:spMkLst>
            <pc:docMk/>
            <pc:sldMk cId="2622219198" sldId="10459"/>
            <ac:spMk id="132" creationId="{2E738EF8-B3B7-4757-806E-88E0B1DF2612}"/>
          </ac:spMkLst>
        </pc:spChg>
        <pc:spChg chg="mod">
          <ac:chgData name="Ugo MANTEL" userId="2d5b7065-31bb-4181-a7f8-a73bf0c30211" providerId="ADAL" clId="{9344D105-636D-4857-BD0F-AFC44A54BCCF}" dt="2021-05-25T14:20:11.443" v="28163" actId="790"/>
          <ac:spMkLst>
            <pc:docMk/>
            <pc:sldMk cId="2622219198" sldId="10459"/>
            <ac:spMk id="147" creationId="{81BCCAD9-ACBB-4315-8102-539D64974B9D}"/>
          </ac:spMkLst>
        </pc:spChg>
        <pc:spChg chg="mod">
          <ac:chgData name="Ugo MANTEL" userId="2d5b7065-31bb-4181-a7f8-a73bf0c30211" providerId="ADAL" clId="{9344D105-636D-4857-BD0F-AFC44A54BCCF}" dt="2021-05-25T14:20:11.444" v="28164" actId="790"/>
          <ac:spMkLst>
            <pc:docMk/>
            <pc:sldMk cId="2622219198" sldId="10459"/>
            <ac:spMk id="148" creationId="{448DFD26-A3F4-495C-8CC0-96A9E41F69F3}"/>
          </ac:spMkLst>
        </pc:spChg>
        <pc:spChg chg="mod">
          <ac:chgData name="Ugo MANTEL" userId="2d5b7065-31bb-4181-a7f8-a73bf0c30211" providerId="ADAL" clId="{9344D105-636D-4857-BD0F-AFC44A54BCCF}" dt="2021-05-25T14:20:11.445" v="28165" actId="790"/>
          <ac:spMkLst>
            <pc:docMk/>
            <pc:sldMk cId="2622219198" sldId="10459"/>
            <ac:spMk id="149" creationId="{0090C71F-8FB4-4DE7-9BA3-7589EFDFECAD}"/>
          </ac:spMkLst>
        </pc:spChg>
        <pc:spChg chg="mod">
          <ac:chgData name="Ugo MANTEL" userId="2d5b7065-31bb-4181-a7f8-a73bf0c30211" providerId="ADAL" clId="{9344D105-636D-4857-BD0F-AFC44A54BCCF}" dt="2021-05-25T14:20:11.445" v="28166" actId="790"/>
          <ac:spMkLst>
            <pc:docMk/>
            <pc:sldMk cId="2622219198" sldId="10459"/>
            <ac:spMk id="151" creationId="{5E64C097-F81E-4F7D-9E0A-18252B921E98}"/>
          </ac:spMkLst>
        </pc:spChg>
        <pc:spChg chg="mod">
          <ac:chgData name="Ugo MANTEL" userId="2d5b7065-31bb-4181-a7f8-a73bf0c30211" providerId="ADAL" clId="{9344D105-636D-4857-BD0F-AFC44A54BCCF}" dt="2021-05-25T14:20:11.469" v="28181" actId="790"/>
          <ac:spMkLst>
            <pc:docMk/>
            <pc:sldMk cId="2622219198" sldId="10459"/>
            <ac:spMk id="154" creationId="{0CB394EB-880C-43F9-B28B-8399DB112037}"/>
          </ac:spMkLst>
        </pc:spChg>
        <pc:spChg chg="add mod">
          <ac:chgData name="Ugo MANTEL" userId="2d5b7065-31bb-4181-a7f8-a73bf0c30211" providerId="ADAL" clId="{9344D105-636D-4857-BD0F-AFC44A54BCCF}" dt="2021-05-25T14:20:11.471" v="28182" actId="790"/>
          <ac:spMkLst>
            <pc:docMk/>
            <pc:sldMk cId="2622219198" sldId="10459"/>
            <ac:spMk id="158" creationId="{D2314A85-35E9-461E-890A-0B6688101EA8}"/>
          </ac:spMkLst>
        </pc:spChg>
        <pc:spChg chg="mod">
          <ac:chgData name="Ugo MANTEL" userId="2d5b7065-31bb-4181-a7f8-a73bf0c30211" providerId="ADAL" clId="{9344D105-636D-4857-BD0F-AFC44A54BCCF}" dt="2021-05-25T14:20:11.472" v="28183" actId="790"/>
          <ac:spMkLst>
            <pc:docMk/>
            <pc:sldMk cId="2622219198" sldId="10459"/>
            <ac:spMk id="159" creationId="{C738BC13-203C-4BF4-82FF-4D2C10035A5C}"/>
          </ac:spMkLst>
        </pc:spChg>
        <pc:spChg chg="mod">
          <ac:chgData name="Ugo MANTEL" userId="2d5b7065-31bb-4181-a7f8-a73bf0c30211" providerId="ADAL" clId="{9344D105-636D-4857-BD0F-AFC44A54BCCF}" dt="2021-05-25T14:20:11.472" v="28184" actId="790"/>
          <ac:spMkLst>
            <pc:docMk/>
            <pc:sldMk cId="2622219198" sldId="10459"/>
            <ac:spMk id="160" creationId="{A09D7047-775D-4F3D-B3B7-C5E20C171DEF}"/>
          </ac:spMkLst>
        </pc:spChg>
        <pc:spChg chg="mod">
          <ac:chgData name="Ugo MANTEL" userId="2d5b7065-31bb-4181-a7f8-a73bf0c30211" providerId="ADAL" clId="{9344D105-636D-4857-BD0F-AFC44A54BCCF}" dt="2021-05-25T14:20:11.473" v="28185" actId="790"/>
          <ac:spMkLst>
            <pc:docMk/>
            <pc:sldMk cId="2622219198" sldId="10459"/>
            <ac:spMk id="161" creationId="{A424EA34-517A-45B0-87EF-2A8537BA5936}"/>
          </ac:spMkLst>
        </pc:spChg>
        <pc:spChg chg="mod">
          <ac:chgData name="Ugo MANTEL" userId="2d5b7065-31bb-4181-a7f8-a73bf0c30211" providerId="ADAL" clId="{9344D105-636D-4857-BD0F-AFC44A54BCCF}" dt="2021-05-25T14:20:11.456" v="28167" actId="790"/>
          <ac:spMkLst>
            <pc:docMk/>
            <pc:sldMk cId="2622219198" sldId="10459"/>
            <ac:spMk id="162" creationId="{A5B49362-B700-474F-869D-13632EDB5039}"/>
          </ac:spMkLst>
        </pc:spChg>
        <pc:spChg chg="del">
          <ac:chgData name="Ugo MANTEL" userId="2d5b7065-31bb-4181-a7f8-a73bf0c30211" providerId="ADAL" clId="{9344D105-636D-4857-BD0F-AFC44A54BCCF}" dt="2021-05-24T13:40:08.569" v="7522" actId="478"/>
          <ac:spMkLst>
            <pc:docMk/>
            <pc:sldMk cId="2622219198" sldId="10459"/>
            <ac:spMk id="163" creationId="{54A525F7-C4EF-45B9-AF85-477C224439A8}"/>
          </ac:spMkLst>
        </pc:spChg>
        <pc:spChg chg="del">
          <ac:chgData name="Ugo MANTEL" userId="2d5b7065-31bb-4181-a7f8-a73bf0c30211" providerId="ADAL" clId="{9344D105-636D-4857-BD0F-AFC44A54BCCF}" dt="2021-05-24T13:40:08.569" v="7522" actId="478"/>
          <ac:spMkLst>
            <pc:docMk/>
            <pc:sldMk cId="2622219198" sldId="10459"/>
            <ac:spMk id="164" creationId="{6EE15319-CE88-40B3-82B7-981F52FF7D97}"/>
          </ac:spMkLst>
        </pc:spChg>
        <pc:spChg chg="del">
          <ac:chgData name="Ugo MANTEL" userId="2d5b7065-31bb-4181-a7f8-a73bf0c30211" providerId="ADAL" clId="{9344D105-636D-4857-BD0F-AFC44A54BCCF}" dt="2021-05-24T13:40:08.569" v="7522" actId="478"/>
          <ac:spMkLst>
            <pc:docMk/>
            <pc:sldMk cId="2622219198" sldId="10459"/>
            <ac:spMk id="165" creationId="{4FB4E446-0CDF-4CAF-A3F8-D6DE98B3EAEB}"/>
          </ac:spMkLst>
        </pc:spChg>
        <pc:spChg chg="del">
          <ac:chgData name="Ugo MANTEL" userId="2d5b7065-31bb-4181-a7f8-a73bf0c30211" providerId="ADAL" clId="{9344D105-636D-4857-BD0F-AFC44A54BCCF}" dt="2021-05-24T13:40:08.569" v="7522" actId="478"/>
          <ac:spMkLst>
            <pc:docMk/>
            <pc:sldMk cId="2622219198" sldId="10459"/>
            <ac:spMk id="166" creationId="{5668BEA4-6F7C-4EEC-A5DA-1296C9AD902C}"/>
          </ac:spMkLst>
        </pc:spChg>
        <pc:spChg chg="del">
          <ac:chgData name="Ugo MANTEL" userId="2d5b7065-31bb-4181-a7f8-a73bf0c30211" providerId="ADAL" clId="{9344D105-636D-4857-BD0F-AFC44A54BCCF}" dt="2021-05-24T13:40:10.450" v="7523" actId="478"/>
          <ac:spMkLst>
            <pc:docMk/>
            <pc:sldMk cId="2622219198" sldId="10459"/>
            <ac:spMk id="167" creationId="{70A31A41-D39A-4901-B524-DEB6EC5B4504}"/>
          </ac:spMkLst>
        </pc:spChg>
        <pc:spChg chg="mod">
          <ac:chgData name="Ugo MANTEL" userId="2d5b7065-31bb-4181-a7f8-a73bf0c30211" providerId="ADAL" clId="{9344D105-636D-4857-BD0F-AFC44A54BCCF}" dt="2021-05-25T14:20:11.479" v="28186" actId="790"/>
          <ac:spMkLst>
            <pc:docMk/>
            <pc:sldMk cId="2622219198" sldId="10459"/>
            <ac:spMk id="170" creationId="{3D1428EC-6C05-490C-A21F-A87D61A5258C}"/>
          </ac:spMkLst>
        </pc:spChg>
        <pc:spChg chg="mod">
          <ac:chgData name="Ugo MANTEL" userId="2d5b7065-31bb-4181-a7f8-a73bf0c30211" providerId="ADAL" clId="{9344D105-636D-4857-BD0F-AFC44A54BCCF}" dt="2021-05-25T14:20:11.457" v="28168" actId="790"/>
          <ac:spMkLst>
            <pc:docMk/>
            <pc:sldMk cId="2622219198" sldId="10459"/>
            <ac:spMk id="172" creationId="{573B193E-922F-4F2A-B0EF-A233D5981190}"/>
          </ac:spMkLst>
        </pc:spChg>
        <pc:spChg chg="mod">
          <ac:chgData name="Ugo MANTEL" userId="2d5b7065-31bb-4181-a7f8-a73bf0c30211" providerId="ADAL" clId="{9344D105-636D-4857-BD0F-AFC44A54BCCF}" dt="2021-05-25T14:20:11.458" v="28169" actId="790"/>
          <ac:spMkLst>
            <pc:docMk/>
            <pc:sldMk cId="2622219198" sldId="10459"/>
            <ac:spMk id="173" creationId="{0E1F7BD5-C7A9-40EB-BE70-0ED5A5A3E443}"/>
          </ac:spMkLst>
        </pc:spChg>
        <pc:spChg chg="mod">
          <ac:chgData name="Ugo MANTEL" userId="2d5b7065-31bb-4181-a7f8-a73bf0c30211" providerId="ADAL" clId="{9344D105-636D-4857-BD0F-AFC44A54BCCF}" dt="2021-05-25T14:20:11.459" v="28170" actId="790"/>
          <ac:spMkLst>
            <pc:docMk/>
            <pc:sldMk cId="2622219198" sldId="10459"/>
            <ac:spMk id="174" creationId="{1BD2C0B7-0F4D-4E93-9CBF-5D166B72FB73}"/>
          </ac:spMkLst>
        </pc:spChg>
        <pc:spChg chg="mod">
          <ac:chgData name="Ugo MANTEL" userId="2d5b7065-31bb-4181-a7f8-a73bf0c30211" providerId="ADAL" clId="{9344D105-636D-4857-BD0F-AFC44A54BCCF}" dt="2021-05-25T14:20:11.460" v="28171" actId="790"/>
          <ac:spMkLst>
            <pc:docMk/>
            <pc:sldMk cId="2622219198" sldId="10459"/>
            <ac:spMk id="175" creationId="{0C39A08F-20B5-4DA9-8952-9C4E259C3CD0}"/>
          </ac:spMkLst>
        </pc:spChg>
        <pc:spChg chg="mod">
          <ac:chgData name="Ugo MANTEL" userId="2d5b7065-31bb-4181-a7f8-a73bf0c30211" providerId="ADAL" clId="{9344D105-636D-4857-BD0F-AFC44A54BCCF}" dt="2021-05-25T14:20:11.461" v="28172" actId="790"/>
          <ac:spMkLst>
            <pc:docMk/>
            <pc:sldMk cId="2622219198" sldId="10459"/>
            <ac:spMk id="176" creationId="{E452111D-2242-4028-AA71-C83ED46CFF56}"/>
          </ac:spMkLst>
        </pc:spChg>
        <pc:spChg chg="mod">
          <ac:chgData name="Ugo MANTEL" userId="2d5b7065-31bb-4181-a7f8-a73bf0c30211" providerId="ADAL" clId="{9344D105-636D-4857-BD0F-AFC44A54BCCF}" dt="2021-05-25T14:20:11.462" v="28173" actId="790"/>
          <ac:spMkLst>
            <pc:docMk/>
            <pc:sldMk cId="2622219198" sldId="10459"/>
            <ac:spMk id="177" creationId="{02D6AC18-1DCD-4CCE-937B-AF9ED43AEFF2}"/>
          </ac:spMkLst>
        </pc:spChg>
        <pc:spChg chg="mod">
          <ac:chgData name="Ugo MANTEL" userId="2d5b7065-31bb-4181-a7f8-a73bf0c30211" providerId="ADAL" clId="{9344D105-636D-4857-BD0F-AFC44A54BCCF}" dt="2021-05-25T14:20:11.464" v="28174" actId="790"/>
          <ac:spMkLst>
            <pc:docMk/>
            <pc:sldMk cId="2622219198" sldId="10459"/>
            <ac:spMk id="178" creationId="{84F748E7-32C8-4D45-B09F-063FE37693E3}"/>
          </ac:spMkLst>
        </pc:spChg>
        <pc:spChg chg="mod">
          <ac:chgData name="Ugo MANTEL" userId="2d5b7065-31bb-4181-a7f8-a73bf0c30211" providerId="ADAL" clId="{9344D105-636D-4857-BD0F-AFC44A54BCCF}" dt="2021-05-25T14:20:11.465" v="28175" actId="790"/>
          <ac:spMkLst>
            <pc:docMk/>
            <pc:sldMk cId="2622219198" sldId="10459"/>
            <ac:spMk id="179" creationId="{B66B3442-859B-42FD-8236-77D440E52012}"/>
          </ac:spMkLst>
        </pc:spChg>
        <pc:spChg chg="mod">
          <ac:chgData name="Ugo MANTEL" userId="2d5b7065-31bb-4181-a7f8-a73bf0c30211" providerId="ADAL" clId="{9344D105-636D-4857-BD0F-AFC44A54BCCF}" dt="2021-05-25T14:20:11.466" v="28176" actId="790"/>
          <ac:spMkLst>
            <pc:docMk/>
            <pc:sldMk cId="2622219198" sldId="10459"/>
            <ac:spMk id="180" creationId="{0E9A7E47-BD38-44E5-819C-B5F759AC6D7D}"/>
          </ac:spMkLst>
        </pc:spChg>
        <pc:spChg chg="mod">
          <ac:chgData name="Ugo MANTEL" userId="2d5b7065-31bb-4181-a7f8-a73bf0c30211" providerId="ADAL" clId="{9344D105-636D-4857-BD0F-AFC44A54BCCF}" dt="2021-05-25T14:20:11.466" v="28177" actId="790"/>
          <ac:spMkLst>
            <pc:docMk/>
            <pc:sldMk cId="2622219198" sldId="10459"/>
            <ac:spMk id="181" creationId="{1BB216E4-6201-48B3-8401-10870BB9DCD5}"/>
          </ac:spMkLst>
        </pc:spChg>
        <pc:spChg chg="mod">
          <ac:chgData name="Ugo MANTEL" userId="2d5b7065-31bb-4181-a7f8-a73bf0c30211" providerId="ADAL" clId="{9344D105-636D-4857-BD0F-AFC44A54BCCF}" dt="2021-05-25T14:20:11.467" v="28178" actId="790"/>
          <ac:spMkLst>
            <pc:docMk/>
            <pc:sldMk cId="2622219198" sldId="10459"/>
            <ac:spMk id="182" creationId="{C3F31445-4914-4F96-8D31-7A526B1FDCE5}"/>
          </ac:spMkLst>
        </pc:spChg>
        <pc:spChg chg="mod">
          <ac:chgData name="Ugo MANTEL" userId="2d5b7065-31bb-4181-a7f8-a73bf0c30211" providerId="ADAL" clId="{9344D105-636D-4857-BD0F-AFC44A54BCCF}" dt="2021-05-25T14:20:11.468" v="28179" actId="790"/>
          <ac:spMkLst>
            <pc:docMk/>
            <pc:sldMk cId="2622219198" sldId="10459"/>
            <ac:spMk id="183" creationId="{BEC7A597-F4A8-4974-8375-6E29E8C47B42}"/>
          </ac:spMkLst>
        </pc:spChg>
        <pc:spChg chg="add mod">
          <ac:chgData name="Ugo MANTEL" userId="2d5b7065-31bb-4181-a7f8-a73bf0c30211" providerId="ADAL" clId="{9344D105-636D-4857-BD0F-AFC44A54BCCF}" dt="2021-05-24T11:59:03.874" v="5291"/>
          <ac:spMkLst>
            <pc:docMk/>
            <pc:sldMk cId="2622219198" sldId="10459"/>
            <ac:spMk id="190" creationId="{585D1C7F-69A8-4001-89E5-EA9E32584A1B}"/>
          </ac:spMkLst>
        </pc:spChg>
        <pc:spChg chg="add mod">
          <ac:chgData name="Ugo MANTEL" userId="2d5b7065-31bb-4181-a7f8-a73bf0c30211" providerId="ADAL" clId="{9344D105-636D-4857-BD0F-AFC44A54BCCF}" dt="2021-05-25T14:20:11.469" v="28180" actId="790"/>
          <ac:spMkLst>
            <pc:docMk/>
            <pc:sldMk cId="2622219198" sldId="10459"/>
            <ac:spMk id="191" creationId="{8ADF53D2-8D13-4D07-BFEF-B74E24AA0F74}"/>
          </ac:spMkLst>
        </pc:spChg>
        <pc:spChg chg="add mod">
          <ac:chgData name="Ugo MANTEL" userId="2d5b7065-31bb-4181-a7f8-a73bf0c30211" providerId="ADAL" clId="{9344D105-636D-4857-BD0F-AFC44A54BCCF}" dt="2021-05-24T13:40:10.724" v="7524"/>
          <ac:spMkLst>
            <pc:docMk/>
            <pc:sldMk cId="2622219198" sldId="10459"/>
            <ac:spMk id="192" creationId="{80934016-69B3-4C95-B81A-6EBE37BE361F}"/>
          </ac:spMkLst>
        </pc:spChg>
        <pc:spChg chg="add mod">
          <ac:chgData name="Ugo MANTEL" userId="2d5b7065-31bb-4181-a7f8-a73bf0c30211" providerId="ADAL" clId="{9344D105-636D-4857-BD0F-AFC44A54BCCF}" dt="2021-05-24T13:40:10.724" v="7524"/>
          <ac:spMkLst>
            <pc:docMk/>
            <pc:sldMk cId="2622219198" sldId="10459"/>
            <ac:spMk id="193" creationId="{7AFB5043-8B3B-4546-8B4A-F7431AA952A9}"/>
          </ac:spMkLst>
        </pc:spChg>
        <pc:spChg chg="add mod">
          <ac:chgData name="Ugo MANTEL" userId="2d5b7065-31bb-4181-a7f8-a73bf0c30211" providerId="ADAL" clId="{9344D105-636D-4857-BD0F-AFC44A54BCCF}" dt="2021-05-24T13:40:10.724" v="7524"/>
          <ac:spMkLst>
            <pc:docMk/>
            <pc:sldMk cId="2622219198" sldId="10459"/>
            <ac:spMk id="194" creationId="{DAC83DCD-85BC-49D1-A938-A4B5ED5E09AE}"/>
          </ac:spMkLst>
        </pc:spChg>
        <pc:spChg chg="add mod">
          <ac:chgData name="Ugo MANTEL" userId="2d5b7065-31bb-4181-a7f8-a73bf0c30211" providerId="ADAL" clId="{9344D105-636D-4857-BD0F-AFC44A54BCCF}" dt="2021-05-24T13:40:10.724" v="7524"/>
          <ac:spMkLst>
            <pc:docMk/>
            <pc:sldMk cId="2622219198" sldId="10459"/>
            <ac:spMk id="195" creationId="{534F1907-F2A1-47BF-823C-D463F4E365D2}"/>
          </ac:spMkLst>
        </pc:spChg>
        <pc:spChg chg="add mod">
          <ac:chgData name="Ugo MANTEL" userId="2d5b7065-31bb-4181-a7f8-a73bf0c30211" providerId="ADAL" clId="{9344D105-636D-4857-BD0F-AFC44A54BCCF}" dt="2021-05-24T13:40:10.724" v="7524"/>
          <ac:spMkLst>
            <pc:docMk/>
            <pc:sldMk cId="2622219198" sldId="10459"/>
            <ac:spMk id="196" creationId="{6C145554-67D3-47CA-B623-9457BDCCFA5C}"/>
          </ac:spMkLst>
        </pc:spChg>
        <pc:spChg chg="add mod">
          <ac:chgData name="Ugo MANTEL" userId="2d5b7065-31bb-4181-a7f8-a73bf0c30211" providerId="ADAL" clId="{9344D105-636D-4857-BD0F-AFC44A54BCCF}" dt="2021-05-24T13:40:10.724" v="7524"/>
          <ac:spMkLst>
            <pc:docMk/>
            <pc:sldMk cId="2622219198" sldId="10459"/>
            <ac:spMk id="197" creationId="{8D69E602-432B-4FF2-A5E5-1E475B8F08FC}"/>
          </ac:spMkLst>
        </pc:spChg>
        <pc:picChg chg="add mod">
          <ac:chgData name="Ugo MANTEL" userId="2d5b7065-31bb-4181-a7f8-a73bf0c30211" providerId="ADAL" clId="{9344D105-636D-4857-BD0F-AFC44A54BCCF}" dt="2021-05-25T11:07:26.354" v="16358"/>
          <ac:picMkLst>
            <pc:docMk/>
            <pc:sldMk cId="2622219198" sldId="10459"/>
            <ac:picMk id="156" creationId="{DF29D0C8-287E-410A-8FCA-E6A915E35DBF}"/>
          </ac:picMkLst>
        </pc:picChg>
      </pc:sldChg>
      <pc:sldChg chg="addSp delSp modSp add del mod ord modTransition modShow">
        <pc:chgData name="Ugo MANTEL" userId="2d5b7065-31bb-4181-a7f8-a73bf0c30211" providerId="ADAL" clId="{9344D105-636D-4857-BD0F-AFC44A54BCCF}" dt="2021-05-25T09:32:28.326" v="13116" actId="47"/>
        <pc:sldMkLst>
          <pc:docMk/>
          <pc:sldMk cId="2233000822" sldId="10460"/>
        </pc:sldMkLst>
        <pc:spChg chg="mod">
          <ac:chgData name="Ugo MANTEL" userId="2d5b7065-31bb-4181-a7f8-a73bf0c30211" providerId="ADAL" clId="{9344D105-636D-4857-BD0F-AFC44A54BCCF}" dt="2021-05-24T11:31:48.362" v="4224" actId="948"/>
          <ac:spMkLst>
            <pc:docMk/>
            <pc:sldMk cId="2233000822" sldId="10460"/>
            <ac:spMk id="2" creationId="{BA3E4240-1B8B-4AAA-9DCA-9FE236464846}"/>
          </ac:spMkLst>
        </pc:spChg>
        <pc:spChg chg="del">
          <ac:chgData name="Ugo MANTEL" userId="2d5b7065-31bb-4181-a7f8-a73bf0c30211" providerId="ADAL" clId="{9344D105-636D-4857-BD0F-AFC44A54BCCF}" dt="2021-05-25T07:47:35.179" v="11566" actId="478"/>
          <ac:spMkLst>
            <pc:docMk/>
            <pc:sldMk cId="2233000822" sldId="10460"/>
            <ac:spMk id="3" creationId="{1773FC09-D385-45A1-AC2E-146DDDE8BD0A}"/>
          </ac:spMkLst>
        </pc:spChg>
        <pc:spChg chg="mod topLvl">
          <ac:chgData name="Ugo MANTEL" userId="2d5b7065-31bb-4181-a7f8-a73bf0c30211" providerId="ADAL" clId="{9344D105-636D-4857-BD0F-AFC44A54BCCF}" dt="2021-05-24T09:38:08.948" v="1265" actId="20577"/>
          <ac:spMkLst>
            <pc:docMk/>
            <pc:sldMk cId="2233000822" sldId="10460"/>
            <ac:spMk id="10" creationId="{8B80541E-0CB8-4F46-AA31-1D2CE8ECE50F}"/>
          </ac:spMkLst>
        </pc:spChg>
        <pc:spChg chg="mod topLvl">
          <ac:chgData name="Ugo MANTEL" userId="2d5b7065-31bb-4181-a7f8-a73bf0c30211" providerId="ADAL" clId="{9344D105-636D-4857-BD0F-AFC44A54BCCF}" dt="2021-05-24T09:33:52.531" v="770" actId="113"/>
          <ac:spMkLst>
            <pc:docMk/>
            <pc:sldMk cId="2233000822" sldId="10460"/>
            <ac:spMk id="12" creationId="{5632CA9B-96AD-46F9-9A8A-B6E6800443DD}"/>
          </ac:spMkLst>
        </pc:spChg>
        <pc:spChg chg="mod topLvl">
          <ac:chgData name="Ugo MANTEL" userId="2d5b7065-31bb-4181-a7f8-a73bf0c30211" providerId="ADAL" clId="{9344D105-636D-4857-BD0F-AFC44A54BCCF}" dt="2021-05-24T09:35:32.810" v="804" actId="165"/>
          <ac:spMkLst>
            <pc:docMk/>
            <pc:sldMk cId="2233000822" sldId="10460"/>
            <ac:spMk id="13" creationId="{8A47A578-76B7-48A6-B910-8A54E9BC3C53}"/>
          </ac:spMkLst>
        </pc:spChg>
        <pc:spChg chg="mod topLvl">
          <ac:chgData name="Ugo MANTEL" userId="2d5b7065-31bb-4181-a7f8-a73bf0c30211" providerId="ADAL" clId="{9344D105-636D-4857-BD0F-AFC44A54BCCF}" dt="2021-05-24T09:35:37.767" v="806" actId="1036"/>
          <ac:spMkLst>
            <pc:docMk/>
            <pc:sldMk cId="2233000822" sldId="10460"/>
            <ac:spMk id="16" creationId="{4FCCDEAF-F1D6-472C-8877-BCF7D817DF4C}"/>
          </ac:spMkLst>
        </pc:spChg>
        <pc:spChg chg="del">
          <ac:chgData name="Ugo MANTEL" userId="2d5b7065-31bb-4181-a7f8-a73bf0c30211" providerId="ADAL" clId="{9344D105-636D-4857-BD0F-AFC44A54BCCF}" dt="2021-05-24T08:54:15.210" v="12" actId="478"/>
          <ac:spMkLst>
            <pc:docMk/>
            <pc:sldMk cId="2233000822" sldId="10460"/>
            <ac:spMk id="19" creationId="{3580A880-B883-4BD3-AF11-01D7B33C5FB8}"/>
          </ac:spMkLst>
        </pc:spChg>
        <pc:spChg chg="mod">
          <ac:chgData name="Ugo MANTEL" userId="2d5b7065-31bb-4181-a7f8-a73bf0c30211" providerId="ADAL" clId="{9344D105-636D-4857-BD0F-AFC44A54BCCF}" dt="2021-05-24T09:24:28.460" v="618" actId="1035"/>
          <ac:spMkLst>
            <pc:docMk/>
            <pc:sldMk cId="2233000822" sldId="10460"/>
            <ac:spMk id="21" creationId="{58337BA2-B7F0-4432-B9BF-C085B3E8B7D0}"/>
          </ac:spMkLst>
        </pc:spChg>
        <pc:spChg chg="mod">
          <ac:chgData name="Ugo MANTEL" userId="2d5b7065-31bb-4181-a7f8-a73bf0c30211" providerId="ADAL" clId="{9344D105-636D-4857-BD0F-AFC44A54BCCF}" dt="2021-05-24T09:35:08.387" v="796" actId="1076"/>
          <ac:spMkLst>
            <pc:docMk/>
            <pc:sldMk cId="2233000822" sldId="10460"/>
            <ac:spMk id="23" creationId="{CAB7DE97-987C-4E1B-AC28-72D620F2E2AC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24" creationId="{B613E2EA-B96E-46E4-BF88-51F7E87FD434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25" creationId="{0634D66A-E6F6-4578-8A06-11D9F3F9E648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31" creationId="{0C5924EB-4FAB-4EEB-8C48-044C8B950722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32" creationId="{F2EECF5B-E5DE-4D06-85AD-830FFDAFCB24}"/>
          </ac:spMkLst>
        </pc:spChg>
        <pc:spChg chg="mod">
          <ac:chgData name="Ugo MANTEL" userId="2d5b7065-31bb-4181-a7f8-a73bf0c30211" providerId="ADAL" clId="{9344D105-636D-4857-BD0F-AFC44A54BCCF}" dt="2021-05-24T09:33:15.660" v="767" actId="14100"/>
          <ac:spMkLst>
            <pc:docMk/>
            <pc:sldMk cId="2233000822" sldId="10460"/>
            <ac:spMk id="50" creationId="{3D11D9AD-56B2-4FD0-998A-C3C17321490E}"/>
          </ac:spMkLst>
        </pc:spChg>
        <pc:spChg chg="mod">
          <ac:chgData name="Ugo MANTEL" userId="2d5b7065-31bb-4181-a7f8-a73bf0c30211" providerId="ADAL" clId="{9344D105-636D-4857-BD0F-AFC44A54BCCF}" dt="2021-05-24T09:25:02.403" v="626" actId="14100"/>
          <ac:spMkLst>
            <pc:docMk/>
            <pc:sldMk cId="2233000822" sldId="10460"/>
            <ac:spMk id="51" creationId="{ABA09096-B3E8-4754-A77D-65D350688B5B}"/>
          </ac:spMkLst>
        </pc:spChg>
        <pc:spChg chg="mod">
          <ac:chgData name="Ugo MANTEL" userId="2d5b7065-31bb-4181-a7f8-a73bf0c30211" providerId="ADAL" clId="{9344D105-636D-4857-BD0F-AFC44A54BCCF}" dt="2021-05-24T09:33:13.794" v="766" actId="14100"/>
          <ac:spMkLst>
            <pc:docMk/>
            <pc:sldMk cId="2233000822" sldId="10460"/>
            <ac:spMk id="52" creationId="{269DE5CB-BABB-4CE5-BFC8-CA5EE268E23C}"/>
          </ac:spMkLst>
        </pc:spChg>
        <pc:spChg chg="mod">
          <ac:chgData name="Ugo MANTEL" userId="2d5b7065-31bb-4181-a7f8-a73bf0c30211" providerId="ADAL" clId="{9344D105-636D-4857-BD0F-AFC44A54BCCF}" dt="2021-05-25T07:52:03.949" v="11621" actId="114"/>
          <ac:spMkLst>
            <pc:docMk/>
            <pc:sldMk cId="2233000822" sldId="10460"/>
            <ac:spMk id="53" creationId="{E78B608F-6BB5-42D9-B674-E79A1AA2E5CC}"/>
          </ac:spMkLst>
        </pc:spChg>
        <pc:spChg chg="mod topLvl">
          <ac:chgData name="Ugo MANTEL" userId="2d5b7065-31bb-4181-a7f8-a73bf0c30211" providerId="ADAL" clId="{9344D105-636D-4857-BD0F-AFC44A54BCCF}" dt="2021-05-24T09:35:32.810" v="804" actId="165"/>
          <ac:spMkLst>
            <pc:docMk/>
            <pc:sldMk cId="2233000822" sldId="10460"/>
            <ac:spMk id="54" creationId="{A1ED7959-6972-4CA1-87DE-4A9E265D1EE1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56" creationId="{3A12E95F-B4D4-49BB-A45C-C8ADC1C55166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57" creationId="{27488F90-C9D8-4F94-A2F7-E48E727ED7AE}"/>
          </ac:spMkLst>
        </pc:spChg>
        <pc:spChg chg="del">
          <ac:chgData name="Ugo MANTEL" userId="2d5b7065-31bb-4181-a7f8-a73bf0c30211" providerId="ADAL" clId="{9344D105-636D-4857-BD0F-AFC44A54BCCF}" dt="2021-05-24T13:41:02.743" v="7544" actId="478"/>
          <ac:spMkLst>
            <pc:docMk/>
            <pc:sldMk cId="2233000822" sldId="10460"/>
            <ac:spMk id="59" creationId="{EA6890C8-3B25-4BC1-B255-6FDC8ACC9FFA}"/>
          </ac:spMkLst>
        </pc:spChg>
        <pc:spChg chg="del">
          <ac:chgData name="Ugo MANTEL" userId="2d5b7065-31bb-4181-a7f8-a73bf0c30211" providerId="ADAL" clId="{9344D105-636D-4857-BD0F-AFC44A54BCCF}" dt="2021-05-24T13:41:02.743" v="7544" actId="478"/>
          <ac:spMkLst>
            <pc:docMk/>
            <pc:sldMk cId="2233000822" sldId="10460"/>
            <ac:spMk id="60" creationId="{2E0AF7B1-E1FA-4244-A8B3-5647CA25A2D8}"/>
          </ac:spMkLst>
        </pc:spChg>
        <pc:spChg chg="mod topLvl">
          <ac:chgData name="Ugo MANTEL" userId="2d5b7065-31bb-4181-a7f8-a73bf0c30211" providerId="ADAL" clId="{9344D105-636D-4857-BD0F-AFC44A54BCCF}" dt="2021-05-24T09:26:04.421" v="636" actId="554"/>
          <ac:spMkLst>
            <pc:docMk/>
            <pc:sldMk cId="2233000822" sldId="10460"/>
            <ac:spMk id="61" creationId="{0CCFF1A2-CE09-4311-BD82-2FC01C7F8607}"/>
          </ac:spMkLst>
        </pc:spChg>
        <pc:spChg chg="del">
          <ac:chgData name="Ugo MANTEL" userId="2d5b7065-31bb-4181-a7f8-a73bf0c30211" providerId="ADAL" clId="{9344D105-636D-4857-BD0F-AFC44A54BCCF}" dt="2021-05-24T13:41:02.743" v="7544" actId="478"/>
          <ac:spMkLst>
            <pc:docMk/>
            <pc:sldMk cId="2233000822" sldId="10460"/>
            <ac:spMk id="62" creationId="{FD9C8703-8870-4B66-BD32-4BBDFC990586}"/>
          </ac:spMkLst>
        </pc:spChg>
        <pc:spChg chg="del">
          <ac:chgData name="Ugo MANTEL" userId="2d5b7065-31bb-4181-a7f8-a73bf0c30211" providerId="ADAL" clId="{9344D105-636D-4857-BD0F-AFC44A54BCCF}" dt="2021-05-24T13:41:02.743" v="7544" actId="478"/>
          <ac:spMkLst>
            <pc:docMk/>
            <pc:sldMk cId="2233000822" sldId="10460"/>
            <ac:spMk id="63" creationId="{49572747-F2B7-4B82-BACA-746AF07C39A7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64" creationId="{299851C0-C2A7-4A62-B771-597C17E49506}"/>
          </ac:spMkLst>
        </pc:spChg>
        <pc:spChg chg="del">
          <ac:chgData name="Ugo MANTEL" userId="2d5b7065-31bb-4181-a7f8-a73bf0c30211" providerId="ADAL" clId="{9344D105-636D-4857-BD0F-AFC44A54BCCF}" dt="2021-05-24T13:41:02.743" v="7544" actId="478"/>
          <ac:spMkLst>
            <pc:docMk/>
            <pc:sldMk cId="2233000822" sldId="10460"/>
            <ac:spMk id="64" creationId="{62AD9C8B-EE8D-4437-9A4F-DB3CF9653138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65" creationId="{6D9EC204-93E3-4858-83FB-0CD055026E53}"/>
          </ac:spMkLst>
        </pc:spChg>
        <pc:spChg chg="mod topLvl">
          <ac:chgData name="Ugo MANTEL" userId="2d5b7065-31bb-4181-a7f8-a73bf0c30211" providerId="ADAL" clId="{9344D105-636D-4857-BD0F-AFC44A54BCCF}" dt="2021-05-24T09:26:04.421" v="636" actId="554"/>
          <ac:spMkLst>
            <pc:docMk/>
            <pc:sldMk cId="2233000822" sldId="10460"/>
            <ac:spMk id="68" creationId="{A5346155-53F6-4492-8069-514F081C33B9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70" creationId="{B105386C-572B-499F-B019-ACF378F90819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71" creationId="{017C168E-8023-46E6-BE70-24ABC51552E0}"/>
          </ac:spMkLst>
        </pc:spChg>
        <pc:spChg chg="mod topLvl">
          <ac:chgData name="Ugo MANTEL" userId="2d5b7065-31bb-4181-a7f8-a73bf0c30211" providerId="ADAL" clId="{9344D105-636D-4857-BD0F-AFC44A54BCCF}" dt="2021-05-24T09:26:04.421" v="636" actId="554"/>
          <ac:spMkLst>
            <pc:docMk/>
            <pc:sldMk cId="2233000822" sldId="10460"/>
            <ac:spMk id="73" creationId="{98DD9878-7EFD-4EE3-8563-0AB6CA847BCD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75" creationId="{54B41AFF-9108-4E69-8753-1A7FEB1DFD2D}"/>
          </ac:spMkLst>
        </pc:spChg>
        <pc:spChg chg="mod">
          <ac:chgData name="Ugo MANTEL" userId="2d5b7065-31bb-4181-a7f8-a73bf0c30211" providerId="ADAL" clId="{9344D105-636D-4857-BD0F-AFC44A54BCCF}" dt="2021-05-24T08:54:49.157" v="16" actId="165"/>
          <ac:spMkLst>
            <pc:docMk/>
            <pc:sldMk cId="2233000822" sldId="10460"/>
            <ac:spMk id="76" creationId="{DB8A0557-FADE-4C06-91B0-2D244CA05AAC}"/>
          </ac:spMkLst>
        </pc:spChg>
        <pc:spChg chg="add del mod topLvl">
          <ac:chgData name="Ugo MANTEL" userId="2d5b7065-31bb-4181-a7f8-a73bf0c30211" providerId="ADAL" clId="{9344D105-636D-4857-BD0F-AFC44A54BCCF}" dt="2021-05-24T09:19:11.142" v="332" actId="478"/>
          <ac:spMkLst>
            <pc:docMk/>
            <pc:sldMk cId="2233000822" sldId="10460"/>
            <ac:spMk id="77" creationId="{D27ECD82-0676-4144-BB5A-5D730CC8DCC1}"/>
          </ac:spMkLst>
        </pc:spChg>
        <pc:spChg chg="add mod topLvl">
          <ac:chgData name="Ugo MANTEL" userId="2d5b7065-31bb-4181-a7f8-a73bf0c30211" providerId="ADAL" clId="{9344D105-636D-4857-BD0F-AFC44A54BCCF}" dt="2021-05-24T09:35:24.921" v="801" actId="12789"/>
          <ac:spMkLst>
            <pc:docMk/>
            <pc:sldMk cId="2233000822" sldId="10460"/>
            <ac:spMk id="78" creationId="{5112757C-9BF4-4BA1-9498-541BF2906FB2}"/>
          </ac:spMkLst>
        </pc:spChg>
        <pc:spChg chg="add mod topLvl">
          <ac:chgData name="Ugo MANTEL" userId="2d5b7065-31bb-4181-a7f8-a73bf0c30211" providerId="ADAL" clId="{9344D105-636D-4857-BD0F-AFC44A54BCCF}" dt="2021-05-24T09:25:54.903" v="634" actId="554"/>
          <ac:spMkLst>
            <pc:docMk/>
            <pc:sldMk cId="2233000822" sldId="10460"/>
            <ac:spMk id="79" creationId="{03A27743-6F0C-44CB-A476-520C8741EAE9}"/>
          </ac:spMkLst>
        </pc:spChg>
        <pc:spChg chg="add mod topLvl">
          <ac:chgData name="Ugo MANTEL" userId="2d5b7065-31bb-4181-a7f8-a73bf0c30211" providerId="ADAL" clId="{9344D105-636D-4857-BD0F-AFC44A54BCCF}" dt="2021-05-24T09:25:54.903" v="634" actId="554"/>
          <ac:spMkLst>
            <pc:docMk/>
            <pc:sldMk cId="2233000822" sldId="10460"/>
            <ac:spMk id="80" creationId="{E399A358-1215-4FA3-8339-9689B70175BF}"/>
          </ac:spMkLst>
        </pc:spChg>
        <pc:spChg chg="mod topLvl">
          <ac:chgData name="Ugo MANTEL" userId="2d5b7065-31bb-4181-a7f8-a73bf0c30211" providerId="ADAL" clId="{9344D105-636D-4857-BD0F-AFC44A54BCCF}" dt="2021-05-24T09:34:42.043" v="787" actId="164"/>
          <ac:spMkLst>
            <pc:docMk/>
            <pc:sldMk cId="2233000822" sldId="10460"/>
            <ac:spMk id="81" creationId="{60F8FC4C-7305-426C-8523-F98FB2B728B2}"/>
          </ac:spMkLst>
        </pc:spChg>
        <pc:spChg chg="add mod topLvl">
          <ac:chgData name="Ugo MANTEL" userId="2d5b7065-31bb-4181-a7f8-a73bf0c30211" providerId="ADAL" clId="{9344D105-636D-4857-BD0F-AFC44A54BCCF}" dt="2021-05-24T09:25:54.903" v="634" actId="554"/>
          <ac:spMkLst>
            <pc:docMk/>
            <pc:sldMk cId="2233000822" sldId="10460"/>
            <ac:spMk id="82" creationId="{378DC2D4-4EBE-4118-8C40-86863555C037}"/>
          </ac:spMkLst>
        </pc:spChg>
        <pc:spChg chg="mod topLvl">
          <ac:chgData name="Ugo MANTEL" userId="2d5b7065-31bb-4181-a7f8-a73bf0c30211" providerId="ADAL" clId="{9344D105-636D-4857-BD0F-AFC44A54BCCF}" dt="2021-05-24T09:24:28.460" v="618" actId="1035"/>
          <ac:spMkLst>
            <pc:docMk/>
            <pc:sldMk cId="2233000822" sldId="10460"/>
            <ac:spMk id="84" creationId="{3C53EFB8-8D77-4743-B5E2-D02A8132C2B0}"/>
          </ac:spMkLst>
        </pc:spChg>
        <pc:spChg chg="mod topLvl">
          <ac:chgData name="Ugo MANTEL" userId="2d5b7065-31bb-4181-a7f8-a73bf0c30211" providerId="ADAL" clId="{9344D105-636D-4857-BD0F-AFC44A54BCCF}" dt="2021-05-24T09:35:12.223" v="797" actId="404"/>
          <ac:spMkLst>
            <pc:docMk/>
            <pc:sldMk cId="2233000822" sldId="10460"/>
            <ac:spMk id="86" creationId="{5426AF42-AB87-4AFB-94AB-DD1D8EF561A6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88" creationId="{34AD6019-DF31-49B1-9576-11ED4DEEE9F3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89" creationId="{0E3C8382-14B0-4DD7-8CF1-F74F30CA1AB5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90" creationId="{08ED6D2A-682C-461A-BA1C-AC84CBEC2E76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91" creationId="{602468B7-98F9-47C4-8231-08793B2DF3B3}"/>
          </ac:spMkLst>
        </pc:spChg>
        <pc:spChg chg="mod topLvl">
          <ac:chgData name="Ugo MANTEL" userId="2d5b7065-31bb-4181-a7f8-a73bf0c30211" providerId="ADAL" clId="{9344D105-636D-4857-BD0F-AFC44A54BCCF}" dt="2021-05-24T09:24:28.460" v="618" actId="1035"/>
          <ac:spMkLst>
            <pc:docMk/>
            <pc:sldMk cId="2233000822" sldId="10460"/>
            <ac:spMk id="92" creationId="{58B5811A-7C8F-45CF-9D3B-9676978FB9CF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94" creationId="{BF5B00B0-9183-440C-A99F-1C50EFA053F6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95" creationId="{A1CB9407-E980-4B78-9BC3-672647E87D1B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96" creationId="{9C0F66FB-561C-4DB9-BAD1-4012B3F815F5}"/>
          </ac:spMkLst>
        </pc:spChg>
        <pc:spChg chg="del mod">
          <ac:chgData name="Ugo MANTEL" userId="2d5b7065-31bb-4181-a7f8-a73bf0c30211" providerId="ADAL" clId="{9344D105-636D-4857-BD0F-AFC44A54BCCF}" dt="2021-05-24T13:45:14.833" v="7602" actId="478"/>
          <ac:spMkLst>
            <pc:docMk/>
            <pc:sldMk cId="2233000822" sldId="10460"/>
            <ac:spMk id="97" creationId="{C1B3BAF1-8B3C-4DCB-B21F-84C74A57C140}"/>
          </ac:spMkLst>
        </pc:spChg>
        <pc:spChg chg="mod topLvl">
          <ac:chgData name="Ugo MANTEL" userId="2d5b7065-31bb-4181-a7f8-a73bf0c30211" providerId="ADAL" clId="{9344D105-636D-4857-BD0F-AFC44A54BCCF}" dt="2021-05-24T09:24:28.460" v="618" actId="1035"/>
          <ac:spMkLst>
            <pc:docMk/>
            <pc:sldMk cId="2233000822" sldId="10460"/>
            <ac:spMk id="98" creationId="{E7E824A9-0075-4DB7-94CB-07C41244E4EF}"/>
          </ac:spMkLst>
        </pc:spChg>
        <pc:spChg chg="mod topLvl">
          <ac:chgData name="Ugo MANTEL" userId="2d5b7065-31bb-4181-a7f8-a73bf0c30211" providerId="ADAL" clId="{9344D105-636D-4857-BD0F-AFC44A54BCCF}" dt="2021-05-24T09:24:28.460" v="618" actId="1035"/>
          <ac:spMkLst>
            <pc:docMk/>
            <pc:sldMk cId="2233000822" sldId="10460"/>
            <ac:spMk id="99" creationId="{9F13D4F4-DACE-4D56-AD46-7369D3A8494C}"/>
          </ac:spMkLst>
        </pc:spChg>
        <pc:spChg chg="add del mod modVis">
          <ac:chgData name="Ugo MANTEL" userId="2d5b7065-31bb-4181-a7f8-a73bf0c30211" providerId="ADAL" clId="{9344D105-636D-4857-BD0F-AFC44A54BCCF}" dt="2021-05-24T09:37:46.072" v="860"/>
          <ac:spMkLst>
            <pc:docMk/>
            <pc:sldMk cId="2233000822" sldId="10460"/>
            <ac:spMk id="107" creationId="{0BF09C9A-FB97-4217-AC62-174160844157}"/>
          </ac:spMkLst>
        </pc:spChg>
        <pc:spChg chg="add del mod modVis">
          <ac:chgData name="Ugo MANTEL" userId="2d5b7065-31bb-4181-a7f8-a73bf0c30211" providerId="ADAL" clId="{9344D105-636D-4857-BD0F-AFC44A54BCCF}" dt="2021-05-24T09:37:46.974" v="905"/>
          <ac:spMkLst>
            <pc:docMk/>
            <pc:sldMk cId="2233000822" sldId="10460"/>
            <ac:spMk id="108" creationId="{E90ED205-59BA-4A64-AD41-BB2C19E3F90D}"/>
          </ac:spMkLst>
        </pc:spChg>
        <pc:spChg chg="add mod topLvl">
          <ac:chgData name="Ugo MANTEL" userId="2d5b7065-31bb-4181-a7f8-a73bf0c30211" providerId="ADAL" clId="{9344D105-636D-4857-BD0F-AFC44A54BCCF}" dt="2021-05-24T09:28:06.087" v="706" actId="207"/>
          <ac:spMkLst>
            <pc:docMk/>
            <pc:sldMk cId="2233000822" sldId="10460"/>
            <ac:spMk id="109" creationId="{E8BE3BCE-A832-4D22-9958-D819266EA290}"/>
          </ac:spMkLst>
        </pc:spChg>
        <pc:spChg chg="add del mod modVis">
          <ac:chgData name="Ugo MANTEL" userId="2d5b7065-31bb-4181-a7f8-a73bf0c30211" providerId="ADAL" clId="{9344D105-636D-4857-BD0F-AFC44A54BCCF}" dt="2021-05-24T09:37:47.992" v="953"/>
          <ac:spMkLst>
            <pc:docMk/>
            <pc:sldMk cId="2233000822" sldId="10460"/>
            <ac:spMk id="110" creationId="{3F01C496-91BA-4099-8F90-C15334704F27}"/>
          </ac:spMkLst>
        </pc:spChg>
        <pc:spChg chg="add del mod modVis">
          <ac:chgData name="Ugo MANTEL" userId="2d5b7065-31bb-4181-a7f8-a73bf0c30211" providerId="ADAL" clId="{9344D105-636D-4857-BD0F-AFC44A54BCCF}" dt="2021-05-24T09:37:49.395" v="1003"/>
          <ac:spMkLst>
            <pc:docMk/>
            <pc:sldMk cId="2233000822" sldId="10460"/>
            <ac:spMk id="111" creationId="{697CB24A-4EFD-4EFE-8571-FDFE1B8CECB3}"/>
          </ac:spMkLst>
        </pc:spChg>
        <pc:spChg chg="add mod topLvl">
          <ac:chgData name="Ugo MANTEL" userId="2d5b7065-31bb-4181-a7f8-a73bf0c30211" providerId="ADAL" clId="{9344D105-636D-4857-BD0F-AFC44A54BCCF}" dt="2021-05-24T09:32:57.457" v="764" actId="3064"/>
          <ac:spMkLst>
            <pc:docMk/>
            <pc:sldMk cId="2233000822" sldId="10460"/>
            <ac:spMk id="114" creationId="{EF7E7272-A5E8-48AE-AF6F-C99EB6336D02}"/>
          </ac:spMkLst>
        </pc:spChg>
        <pc:spChg chg="add mod topLvl">
          <ac:chgData name="Ugo MANTEL" userId="2d5b7065-31bb-4181-a7f8-a73bf0c30211" providerId="ADAL" clId="{9344D105-636D-4857-BD0F-AFC44A54BCCF}" dt="2021-05-24T09:30:26.341" v="737" actId="20577"/>
          <ac:spMkLst>
            <pc:docMk/>
            <pc:sldMk cId="2233000822" sldId="10460"/>
            <ac:spMk id="115" creationId="{E4406749-7A4A-41F0-A850-CE3465C20F17}"/>
          </ac:spMkLst>
        </pc:spChg>
        <pc:spChg chg="add mod topLvl">
          <ac:chgData name="Ugo MANTEL" userId="2d5b7065-31bb-4181-a7f8-a73bf0c30211" providerId="ADAL" clId="{9344D105-636D-4857-BD0F-AFC44A54BCCF}" dt="2021-05-24T09:35:22.559" v="800" actId="12789"/>
          <ac:spMkLst>
            <pc:docMk/>
            <pc:sldMk cId="2233000822" sldId="10460"/>
            <ac:spMk id="116" creationId="{2806627C-A398-4592-B3EB-4C56D0420050}"/>
          </ac:spMkLst>
        </pc:spChg>
        <pc:spChg chg="add del mod modVis">
          <ac:chgData name="Ugo MANTEL" userId="2d5b7065-31bb-4181-a7f8-a73bf0c30211" providerId="ADAL" clId="{9344D105-636D-4857-BD0F-AFC44A54BCCF}" dt="2021-05-24T09:37:52.283" v="1062"/>
          <ac:spMkLst>
            <pc:docMk/>
            <pc:sldMk cId="2233000822" sldId="10460"/>
            <ac:spMk id="117" creationId="{8FD2CB88-7C72-4D1E-9430-A30C0CFF1939}"/>
          </ac:spMkLst>
        </pc:spChg>
        <pc:spChg chg="add del mod modVis">
          <ac:chgData name="Ugo MANTEL" userId="2d5b7065-31bb-4181-a7f8-a73bf0c30211" providerId="ADAL" clId="{9344D105-636D-4857-BD0F-AFC44A54BCCF}" dt="2021-05-24T09:37:53.200" v="1108"/>
          <ac:spMkLst>
            <pc:docMk/>
            <pc:sldMk cId="2233000822" sldId="10460"/>
            <ac:spMk id="118" creationId="{61A39111-ED60-413C-94CB-34037294B36E}"/>
          </ac:spMkLst>
        </pc:spChg>
        <pc:spChg chg="add del mod modVis">
          <ac:chgData name="Ugo MANTEL" userId="2d5b7065-31bb-4181-a7f8-a73bf0c30211" providerId="ADAL" clId="{9344D105-636D-4857-BD0F-AFC44A54BCCF}" dt="2021-05-24T09:37:54.536" v="1154"/>
          <ac:spMkLst>
            <pc:docMk/>
            <pc:sldMk cId="2233000822" sldId="10460"/>
            <ac:spMk id="119" creationId="{0B514175-F054-4D97-AA15-4572AA739680}"/>
          </ac:spMkLst>
        </pc:spChg>
        <pc:spChg chg="add del mod modVis">
          <ac:chgData name="Ugo MANTEL" userId="2d5b7065-31bb-4181-a7f8-a73bf0c30211" providerId="ADAL" clId="{9344D105-636D-4857-BD0F-AFC44A54BCCF}" dt="2021-05-24T09:37:55.075" v="1198"/>
          <ac:spMkLst>
            <pc:docMk/>
            <pc:sldMk cId="2233000822" sldId="10460"/>
            <ac:spMk id="120" creationId="{AAF90DBE-CE99-48E7-B43A-6AA235BE17CD}"/>
          </ac:spMkLst>
        </pc:spChg>
        <pc:spChg chg="add del mod modVis">
          <ac:chgData name="Ugo MANTEL" userId="2d5b7065-31bb-4181-a7f8-a73bf0c30211" providerId="ADAL" clId="{9344D105-636D-4857-BD0F-AFC44A54BCCF}" dt="2021-05-24T09:37:57.967" v="1254"/>
          <ac:spMkLst>
            <pc:docMk/>
            <pc:sldMk cId="2233000822" sldId="10460"/>
            <ac:spMk id="121" creationId="{310C2E74-6CB0-40C1-AD9F-2D35791FF541}"/>
          </ac:spMkLst>
        </pc:spChg>
        <pc:spChg chg="del">
          <ac:chgData name="Ugo MANTEL" userId="2d5b7065-31bb-4181-a7f8-a73bf0c30211" providerId="ADAL" clId="{9344D105-636D-4857-BD0F-AFC44A54BCCF}" dt="2021-05-24T09:30:44.937" v="738" actId="478"/>
          <ac:spMkLst>
            <pc:docMk/>
            <pc:sldMk cId="2233000822" sldId="10460"/>
            <ac:spMk id="122" creationId="{936E4E20-1474-4024-9238-B930440AF551}"/>
          </ac:spMkLst>
        </pc:spChg>
        <pc:spChg chg="del">
          <ac:chgData name="Ugo MANTEL" userId="2d5b7065-31bb-4181-a7f8-a73bf0c30211" providerId="ADAL" clId="{9344D105-636D-4857-BD0F-AFC44A54BCCF}" dt="2021-05-24T09:30:44.937" v="738" actId="478"/>
          <ac:spMkLst>
            <pc:docMk/>
            <pc:sldMk cId="2233000822" sldId="10460"/>
            <ac:spMk id="123" creationId="{8AF57D28-A97A-490E-92DF-1C33398C1910}"/>
          </ac:spMkLst>
        </pc:spChg>
        <pc:spChg chg="del">
          <ac:chgData name="Ugo MANTEL" userId="2d5b7065-31bb-4181-a7f8-a73bf0c30211" providerId="ADAL" clId="{9344D105-636D-4857-BD0F-AFC44A54BCCF}" dt="2021-05-24T09:30:44.937" v="738" actId="478"/>
          <ac:spMkLst>
            <pc:docMk/>
            <pc:sldMk cId="2233000822" sldId="10460"/>
            <ac:spMk id="124" creationId="{C13988AF-A8ED-4936-9B43-06E1380D6037}"/>
          </ac:spMkLst>
        </pc:spChg>
        <pc:spChg chg="del">
          <ac:chgData name="Ugo MANTEL" userId="2d5b7065-31bb-4181-a7f8-a73bf0c30211" providerId="ADAL" clId="{9344D105-636D-4857-BD0F-AFC44A54BCCF}" dt="2021-05-24T09:30:44.937" v="738" actId="478"/>
          <ac:spMkLst>
            <pc:docMk/>
            <pc:sldMk cId="2233000822" sldId="10460"/>
            <ac:spMk id="125" creationId="{96B72152-7C55-4AB0-AA8F-6FD98389ADDF}"/>
          </ac:spMkLst>
        </pc:spChg>
        <pc:spChg chg="add del mod modVis">
          <ac:chgData name="Ugo MANTEL" userId="2d5b7065-31bb-4181-a7f8-a73bf0c30211" providerId="ADAL" clId="{9344D105-636D-4857-BD0F-AFC44A54BCCF}" dt="2021-05-24T09:38:20.873" v="1313"/>
          <ac:spMkLst>
            <pc:docMk/>
            <pc:sldMk cId="2233000822" sldId="10460"/>
            <ac:spMk id="126" creationId="{4E02F92C-DDEA-4D1A-AEE6-CA41CF771932}"/>
          </ac:spMkLst>
        </pc:spChg>
        <pc:spChg chg="add del mod modVis">
          <ac:chgData name="Ugo MANTEL" userId="2d5b7065-31bb-4181-a7f8-a73bf0c30211" providerId="ADAL" clId="{9344D105-636D-4857-BD0F-AFC44A54BCCF}" dt="2021-05-24T09:38:21.945" v="1358"/>
          <ac:spMkLst>
            <pc:docMk/>
            <pc:sldMk cId="2233000822" sldId="10460"/>
            <ac:spMk id="127" creationId="{8EFF5192-D7FB-41ED-81D8-128B283F72AC}"/>
          </ac:spMkLst>
        </pc:spChg>
        <pc:spChg chg="add del mod modVis">
          <ac:chgData name="Ugo MANTEL" userId="2d5b7065-31bb-4181-a7f8-a73bf0c30211" providerId="ADAL" clId="{9344D105-636D-4857-BD0F-AFC44A54BCCF}" dt="2021-05-24T09:38:23.116" v="1404"/>
          <ac:spMkLst>
            <pc:docMk/>
            <pc:sldMk cId="2233000822" sldId="10460"/>
            <ac:spMk id="128" creationId="{00EBE3D2-8009-4ED0-84AB-45803B44A197}"/>
          </ac:spMkLst>
        </pc:spChg>
        <pc:spChg chg="add del mod modVis">
          <ac:chgData name="Ugo MANTEL" userId="2d5b7065-31bb-4181-a7f8-a73bf0c30211" providerId="ADAL" clId="{9344D105-636D-4857-BD0F-AFC44A54BCCF}" dt="2021-05-24T09:38:24.658" v="1452"/>
          <ac:spMkLst>
            <pc:docMk/>
            <pc:sldMk cId="2233000822" sldId="10460"/>
            <ac:spMk id="129" creationId="{36BADC37-0145-48AA-A32B-785B1CDD9A4F}"/>
          </ac:spMkLst>
        </pc:spChg>
        <pc:spChg chg="add del mod modVis">
          <ac:chgData name="Ugo MANTEL" userId="2d5b7065-31bb-4181-a7f8-a73bf0c30211" providerId="ADAL" clId="{9344D105-636D-4857-BD0F-AFC44A54BCCF}" dt="2021-05-24T09:38:27.650" v="1506"/>
          <ac:spMkLst>
            <pc:docMk/>
            <pc:sldMk cId="2233000822" sldId="10460"/>
            <ac:spMk id="130" creationId="{A155C72A-7D6C-4070-A97D-7EA12CA9F1C8}"/>
          </ac:spMkLst>
        </pc:spChg>
        <pc:spChg chg="add del mod modVis">
          <ac:chgData name="Ugo MANTEL" userId="2d5b7065-31bb-4181-a7f8-a73bf0c30211" providerId="ADAL" clId="{9344D105-636D-4857-BD0F-AFC44A54BCCF}" dt="2021-05-24T09:38:29.097" v="1552"/>
          <ac:spMkLst>
            <pc:docMk/>
            <pc:sldMk cId="2233000822" sldId="10460"/>
            <ac:spMk id="131" creationId="{117421EE-F8E1-4F06-85A3-B1833F68860B}"/>
          </ac:spMkLst>
        </pc:spChg>
        <pc:spChg chg="add del mod modVis">
          <ac:chgData name="Ugo MANTEL" userId="2d5b7065-31bb-4181-a7f8-a73bf0c30211" providerId="ADAL" clId="{9344D105-636D-4857-BD0F-AFC44A54BCCF}" dt="2021-05-24T09:38:34.570" v="1597"/>
          <ac:spMkLst>
            <pc:docMk/>
            <pc:sldMk cId="2233000822" sldId="10460"/>
            <ac:spMk id="132" creationId="{A71B2DCE-ADEE-40A6-B101-5FB4D821B230}"/>
          </ac:spMkLst>
        </pc:spChg>
        <pc:spChg chg="add del mod modVis">
          <ac:chgData name="Ugo MANTEL" userId="2d5b7065-31bb-4181-a7f8-a73bf0c30211" providerId="ADAL" clId="{9344D105-636D-4857-BD0F-AFC44A54BCCF}" dt="2021-05-24T09:38:38.160" v="1643"/>
          <ac:spMkLst>
            <pc:docMk/>
            <pc:sldMk cId="2233000822" sldId="10460"/>
            <ac:spMk id="133" creationId="{80FD9059-6BFA-47D6-81F7-A42D5F3BF921}"/>
          </ac:spMkLst>
        </pc:spChg>
        <pc:spChg chg="add del mod modVis">
          <ac:chgData name="Ugo MANTEL" userId="2d5b7065-31bb-4181-a7f8-a73bf0c30211" providerId="ADAL" clId="{9344D105-636D-4857-BD0F-AFC44A54BCCF}" dt="2021-05-24T09:38:40.550" v="1699"/>
          <ac:spMkLst>
            <pc:docMk/>
            <pc:sldMk cId="2233000822" sldId="10460"/>
            <ac:spMk id="134" creationId="{90146E8F-3307-4AD9-BF06-48AE187D2830}"/>
          </ac:spMkLst>
        </pc:spChg>
        <pc:spChg chg="add del mod modVis">
          <ac:chgData name="Ugo MANTEL" userId="2d5b7065-31bb-4181-a7f8-a73bf0c30211" providerId="ADAL" clId="{9344D105-636D-4857-BD0F-AFC44A54BCCF}" dt="2021-05-24T09:38:47.559" v="1745"/>
          <ac:spMkLst>
            <pc:docMk/>
            <pc:sldMk cId="2233000822" sldId="10460"/>
            <ac:spMk id="135" creationId="{53A1CBAD-7867-4107-AC3D-39A938BD8DD5}"/>
          </ac:spMkLst>
        </pc:spChg>
        <pc:spChg chg="add del mod modVis">
          <ac:chgData name="Ugo MANTEL" userId="2d5b7065-31bb-4181-a7f8-a73bf0c30211" providerId="ADAL" clId="{9344D105-636D-4857-BD0F-AFC44A54BCCF}" dt="2021-05-24T09:38:50.498" v="1795"/>
          <ac:spMkLst>
            <pc:docMk/>
            <pc:sldMk cId="2233000822" sldId="10460"/>
            <ac:spMk id="136" creationId="{FA507031-C53F-4BBA-A885-21F081B437E9}"/>
          </ac:spMkLst>
        </pc:spChg>
        <pc:spChg chg="add del mod modVis">
          <ac:chgData name="Ugo MANTEL" userId="2d5b7065-31bb-4181-a7f8-a73bf0c30211" providerId="ADAL" clId="{9344D105-636D-4857-BD0F-AFC44A54BCCF}" dt="2021-05-24T09:38:59.083" v="1878"/>
          <ac:spMkLst>
            <pc:docMk/>
            <pc:sldMk cId="2233000822" sldId="10460"/>
            <ac:spMk id="137" creationId="{90E87F51-422B-4000-9B2B-188DDA5A9023}"/>
          </ac:spMkLst>
        </pc:spChg>
        <pc:spChg chg="add del mod modVis">
          <ac:chgData name="Ugo MANTEL" userId="2d5b7065-31bb-4181-a7f8-a73bf0c30211" providerId="ADAL" clId="{9344D105-636D-4857-BD0F-AFC44A54BCCF}" dt="2021-05-24T09:39:00.549" v="1924"/>
          <ac:spMkLst>
            <pc:docMk/>
            <pc:sldMk cId="2233000822" sldId="10460"/>
            <ac:spMk id="138" creationId="{39F206F3-C3B2-4BD2-9492-AAF0BD5CA2A3}"/>
          </ac:spMkLst>
        </pc:spChg>
        <pc:spChg chg="add del mod modVis">
          <ac:chgData name="Ugo MANTEL" userId="2d5b7065-31bb-4181-a7f8-a73bf0c30211" providerId="ADAL" clId="{9344D105-636D-4857-BD0F-AFC44A54BCCF}" dt="2021-05-24T09:39:01.034" v="1968"/>
          <ac:spMkLst>
            <pc:docMk/>
            <pc:sldMk cId="2233000822" sldId="10460"/>
            <ac:spMk id="139" creationId="{CCF4186A-B05C-431B-B673-CC5337B5E285}"/>
          </ac:spMkLst>
        </pc:spChg>
        <pc:spChg chg="add del mod modVis">
          <ac:chgData name="Ugo MANTEL" userId="2d5b7065-31bb-4181-a7f8-a73bf0c30211" providerId="ADAL" clId="{9344D105-636D-4857-BD0F-AFC44A54BCCF}" dt="2021-05-24T09:39:02.885" v="2020"/>
          <ac:spMkLst>
            <pc:docMk/>
            <pc:sldMk cId="2233000822" sldId="10460"/>
            <ac:spMk id="140" creationId="{30A76607-9A4C-48B4-98D8-049B392C2FBD}"/>
          </ac:spMkLst>
        </pc:spChg>
        <pc:spChg chg="add del mod modVis">
          <ac:chgData name="Ugo MANTEL" userId="2d5b7065-31bb-4181-a7f8-a73bf0c30211" providerId="ADAL" clId="{9344D105-636D-4857-BD0F-AFC44A54BCCF}" dt="2021-05-24T09:39:04.103" v="2066"/>
          <ac:spMkLst>
            <pc:docMk/>
            <pc:sldMk cId="2233000822" sldId="10460"/>
            <ac:spMk id="141" creationId="{F7A428B3-1278-4522-88E9-4A53F2F92272}"/>
          </ac:spMkLst>
        </pc:spChg>
        <pc:spChg chg="add del mod modVis">
          <ac:chgData name="Ugo MANTEL" userId="2d5b7065-31bb-4181-a7f8-a73bf0c30211" providerId="ADAL" clId="{9344D105-636D-4857-BD0F-AFC44A54BCCF}" dt="2021-05-24T09:39:10.737" v="2110"/>
          <ac:spMkLst>
            <pc:docMk/>
            <pc:sldMk cId="2233000822" sldId="10460"/>
            <ac:spMk id="142" creationId="{CA1E2240-8402-4788-A0B3-242702170E31}"/>
          </ac:spMkLst>
        </pc:spChg>
        <pc:spChg chg="add del mod modVis">
          <ac:chgData name="Ugo MANTEL" userId="2d5b7065-31bb-4181-a7f8-a73bf0c30211" providerId="ADAL" clId="{9344D105-636D-4857-BD0F-AFC44A54BCCF}" dt="2021-05-24T09:39:14.238" v="2154"/>
          <ac:spMkLst>
            <pc:docMk/>
            <pc:sldMk cId="2233000822" sldId="10460"/>
            <ac:spMk id="143" creationId="{B634E5D4-E56C-4A7C-B497-CCABB445CA97}"/>
          </ac:spMkLst>
        </pc:spChg>
        <pc:spChg chg="add del mod modVis">
          <ac:chgData name="Ugo MANTEL" userId="2d5b7065-31bb-4181-a7f8-a73bf0c30211" providerId="ADAL" clId="{9344D105-636D-4857-BD0F-AFC44A54BCCF}" dt="2021-05-24T09:39:17.231" v="2198"/>
          <ac:spMkLst>
            <pc:docMk/>
            <pc:sldMk cId="2233000822" sldId="10460"/>
            <ac:spMk id="144" creationId="{82A825EB-F777-4944-ABA7-61F1E2FBB787}"/>
          </ac:spMkLst>
        </pc:spChg>
        <pc:spChg chg="add del mod modVis">
          <ac:chgData name="Ugo MANTEL" userId="2d5b7065-31bb-4181-a7f8-a73bf0c30211" providerId="ADAL" clId="{9344D105-636D-4857-BD0F-AFC44A54BCCF}" dt="2021-05-24T11:19:27.755" v="2454"/>
          <ac:spMkLst>
            <pc:docMk/>
            <pc:sldMk cId="2233000822" sldId="10460"/>
            <ac:spMk id="145" creationId="{11A0DE06-8A09-4193-BA4E-F501E598821B}"/>
          </ac:spMkLst>
        </pc:spChg>
        <pc:spChg chg="add del mod modVis">
          <ac:chgData name="Ugo MANTEL" userId="2d5b7065-31bb-4181-a7f8-a73bf0c30211" providerId="ADAL" clId="{9344D105-636D-4857-BD0F-AFC44A54BCCF}" dt="2021-05-24T11:19:29.273" v="2499"/>
          <ac:spMkLst>
            <pc:docMk/>
            <pc:sldMk cId="2233000822" sldId="10460"/>
            <ac:spMk id="146" creationId="{E3510187-8DDD-4C9A-BE7C-40831D4669D1}"/>
          </ac:spMkLst>
        </pc:spChg>
        <pc:spChg chg="add del mod modVis">
          <ac:chgData name="Ugo MANTEL" userId="2d5b7065-31bb-4181-a7f8-a73bf0c30211" providerId="ADAL" clId="{9344D105-636D-4857-BD0F-AFC44A54BCCF}" dt="2021-05-24T11:19:29.829" v="2545"/>
          <ac:spMkLst>
            <pc:docMk/>
            <pc:sldMk cId="2233000822" sldId="10460"/>
            <ac:spMk id="147" creationId="{D18437E4-2BFC-43EE-B312-A737E8BD4696}"/>
          </ac:spMkLst>
        </pc:spChg>
        <pc:spChg chg="add del mod modVis">
          <ac:chgData name="Ugo MANTEL" userId="2d5b7065-31bb-4181-a7f8-a73bf0c30211" providerId="ADAL" clId="{9344D105-636D-4857-BD0F-AFC44A54BCCF}" dt="2021-05-24T11:31:44.383" v="4220"/>
          <ac:spMkLst>
            <pc:docMk/>
            <pc:sldMk cId="2233000822" sldId="10460"/>
            <ac:spMk id="148" creationId="{68EB89E2-D050-4A3B-9882-F90F17143586}"/>
          </ac:spMkLst>
        </pc:spChg>
        <pc:spChg chg="add del mod modVis">
          <ac:chgData name="Ugo MANTEL" userId="2d5b7065-31bb-4181-a7f8-a73bf0c30211" providerId="ADAL" clId="{9344D105-636D-4857-BD0F-AFC44A54BCCF}" dt="2021-05-24T11:31:48.398" v="4264"/>
          <ac:spMkLst>
            <pc:docMk/>
            <pc:sldMk cId="2233000822" sldId="10460"/>
            <ac:spMk id="149" creationId="{1EF4A489-D075-4040-850D-DA8E7902863C}"/>
          </ac:spMkLst>
        </pc:spChg>
        <pc:spChg chg="add mod">
          <ac:chgData name="Ugo MANTEL" userId="2d5b7065-31bb-4181-a7f8-a73bf0c30211" providerId="ADAL" clId="{9344D105-636D-4857-BD0F-AFC44A54BCCF}" dt="2021-05-24T13:41:52.303" v="7584" actId="3064"/>
          <ac:spMkLst>
            <pc:docMk/>
            <pc:sldMk cId="2233000822" sldId="10460"/>
            <ac:spMk id="154" creationId="{D35DD235-AAB8-4F6B-B3B1-D38983ADA0CA}"/>
          </ac:spMkLst>
        </pc:spChg>
        <pc:spChg chg="add mod">
          <ac:chgData name="Ugo MANTEL" userId="2d5b7065-31bb-4181-a7f8-a73bf0c30211" providerId="ADAL" clId="{9344D105-636D-4857-BD0F-AFC44A54BCCF}" dt="2021-05-24T13:41:03.115" v="7545"/>
          <ac:spMkLst>
            <pc:docMk/>
            <pc:sldMk cId="2233000822" sldId="10460"/>
            <ac:spMk id="155" creationId="{45677D6E-1074-44F0-A972-E8300AB3680D}"/>
          </ac:spMkLst>
        </pc:spChg>
        <pc:spChg chg="add mod">
          <ac:chgData name="Ugo MANTEL" userId="2d5b7065-31bb-4181-a7f8-a73bf0c30211" providerId="ADAL" clId="{9344D105-636D-4857-BD0F-AFC44A54BCCF}" dt="2021-05-24T13:41:03.115" v="7545"/>
          <ac:spMkLst>
            <pc:docMk/>
            <pc:sldMk cId="2233000822" sldId="10460"/>
            <ac:spMk id="156" creationId="{29678C34-BE61-4AD4-863B-FD79AC636B57}"/>
          </ac:spMkLst>
        </pc:spChg>
        <pc:spChg chg="add mod">
          <ac:chgData name="Ugo MANTEL" userId="2d5b7065-31bb-4181-a7f8-a73bf0c30211" providerId="ADAL" clId="{9344D105-636D-4857-BD0F-AFC44A54BCCF}" dt="2021-05-24T13:41:21.641" v="7554"/>
          <ac:spMkLst>
            <pc:docMk/>
            <pc:sldMk cId="2233000822" sldId="10460"/>
            <ac:spMk id="157" creationId="{FC79914C-612B-461D-BE51-7D1309D6DFE0}"/>
          </ac:spMkLst>
        </pc:spChg>
        <pc:spChg chg="add mod">
          <ac:chgData name="Ugo MANTEL" userId="2d5b7065-31bb-4181-a7f8-a73bf0c30211" providerId="ADAL" clId="{9344D105-636D-4857-BD0F-AFC44A54BCCF}" dt="2021-05-24T13:41:19.686" v="7552"/>
          <ac:spMkLst>
            <pc:docMk/>
            <pc:sldMk cId="2233000822" sldId="10460"/>
            <ac:spMk id="158" creationId="{2D81ABC9-682E-4CC0-995F-B4C6876BBBA5}"/>
          </ac:spMkLst>
        </pc:spChg>
        <pc:spChg chg="add mod">
          <ac:chgData name="Ugo MANTEL" userId="2d5b7065-31bb-4181-a7f8-a73bf0c30211" providerId="ADAL" clId="{9344D105-636D-4857-BD0F-AFC44A54BCCF}" dt="2021-05-24T13:41:17.621" v="7550"/>
          <ac:spMkLst>
            <pc:docMk/>
            <pc:sldMk cId="2233000822" sldId="10460"/>
            <ac:spMk id="159" creationId="{B9492A56-4112-40F4-9483-056AE30973C3}"/>
          </ac:spMkLst>
        </pc:spChg>
        <pc:spChg chg="add mod">
          <ac:chgData name="Ugo MANTEL" userId="2d5b7065-31bb-4181-a7f8-a73bf0c30211" providerId="ADAL" clId="{9344D105-636D-4857-BD0F-AFC44A54BCCF}" dt="2021-05-24T13:41:28.043" v="7555" actId="20577"/>
          <ac:spMkLst>
            <pc:docMk/>
            <pc:sldMk cId="2233000822" sldId="10460"/>
            <ac:spMk id="160" creationId="{DF39C3C0-CF28-40E8-9508-1DBF262C4F4D}"/>
          </ac:spMkLst>
        </pc:spChg>
        <pc:grpChg chg="add del mod">
          <ac:chgData name="Ugo MANTEL" userId="2d5b7065-31bb-4181-a7f8-a73bf0c30211" providerId="ADAL" clId="{9344D105-636D-4857-BD0F-AFC44A54BCCF}" dt="2021-05-24T09:01:43.094" v="57" actId="165"/>
          <ac:grpSpMkLst>
            <pc:docMk/>
            <pc:sldMk cId="2233000822" sldId="10460"/>
            <ac:grpSpMk id="4" creationId="{A04DDACA-07B3-4F67-90A2-3BD76B969BBB}"/>
          </ac:grpSpMkLst>
        </pc:grpChg>
        <pc:grpChg chg="add del mod">
          <ac:chgData name="Ugo MANTEL" userId="2d5b7065-31bb-4181-a7f8-a73bf0c30211" providerId="ADAL" clId="{9344D105-636D-4857-BD0F-AFC44A54BCCF}" dt="2021-05-24T09:25:24.024" v="628" actId="165"/>
          <ac:grpSpMkLst>
            <pc:docMk/>
            <pc:sldMk cId="2233000822" sldId="10460"/>
            <ac:grpSpMk id="5" creationId="{529E8B3D-4396-4F6B-9B6B-E90A0B1336DF}"/>
          </ac:grpSpMkLst>
        </pc:grpChg>
        <pc:grpChg chg="add del mod">
          <ac:chgData name="Ugo MANTEL" userId="2d5b7065-31bb-4181-a7f8-a73bf0c30211" providerId="ADAL" clId="{9344D105-636D-4857-BD0F-AFC44A54BCCF}" dt="2021-05-24T09:35:32.810" v="804" actId="165"/>
          <ac:grpSpMkLst>
            <pc:docMk/>
            <pc:sldMk cId="2233000822" sldId="10460"/>
            <ac:grpSpMk id="6" creationId="{2E59A9D2-6DA8-4A8D-8CC9-E1715A982996}"/>
          </ac:grpSpMkLst>
        </pc:grpChg>
        <pc:grpChg chg="del mod topLvl">
          <ac:chgData name="Ugo MANTEL" userId="2d5b7065-31bb-4181-a7f8-a73bf0c30211" providerId="ADAL" clId="{9344D105-636D-4857-BD0F-AFC44A54BCCF}" dt="2021-05-24T09:01:43.094" v="57" actId="165"/>
          <ac:grpSpMkLst>
            <pc:docMk/>
            <pc:sldMk cId="2233000822" sldId="10460"/>
            <ac:grpSpMk id="17" creationId="{DAD531F9-2644-4AE7-A6BF-E9EF2E677C1F}"/>
          </ac:grpSpMkLst>
        </pc:grpChg>
        <pc:grpChg chg="add del mod">
          <ac:chgData name="Ugo MANTEL" userId="2d5b7065-31bb-4181-a7f8-a73bf0c30211" providerId="ADAL" clId="{9344D105-636D-4857-BD0F-AFC44A54BCCF}" dt="2021-05-24T09:07:32.372" v="216" actId="165"/>
          <ac:grpSpMkLst>
            <pc:docMk/>
            <pc:sldMk cId="2233000822" sldId="10460"/>
            <ac:grpSpMk id="22" creationId="{E39C25BA-5304-42FB-AEFC-BB2C613CAE76}"/>
          </ac:grpSpMkLst>
        </pc:grpChg>
        <pc:grpChg chg="mod topLvl">
          <ac:chgData name="Ugo MANTEL" userId="2d5b7065-31bb-4181-a7f8-a73bf0c30211" providerId="ADAL" clId="{9344D105-636D-4857-BD0F-AFC44A54BCCF}" dt="2021-05-24T09:35:24.921" v="801" actId="12789"/>
          <ac:grpSpMkLst>
            <pc:docMk/>
            <pc:sldMk cId="2233000822" sldId="10460"/>
            <ac:grpSpMk id="30" creationId="{C120C817-0CFF-4209-AC4C-59C12AEC2736}"/>
          </ac:grpSpMkLst>
        </pc:grpChg>
        <pc:grpChg chg="add mod topLvl">
          <ac:chgData name="Ugo MANTEL" userId="2d5b7065-31bb-4181-a7f8-a73bf0c30211" providerId="ADAL" clId="{9344D105-636D-4857-BD0F-AFC44A54BCCF}" dt="2021-05-24T09:24:28.460" v="618" actId="1035"/>
          <ac:grpSpMkLst>
            <pc:docMk/>
            <pc:sldMk cId="2233000822" sldId="10460"/>
            <ac:grpSpMk id="45" creationId="{014FDE40-AF87-4398-AF77-3BDA3430198D}"/>
          </ac:grpSpMkLst>
        </pc:grpChg>
        <pc:grpChg chg="add del mod">
          <ac:chgData name="Ugo MANTEL" userId="2d5b7065-31bb-4181-a7f8-a73bf0c30211" providerId="ADAL" clId="{9344D105-636D-4857-BD0F-AFC44A54BCCF}" dt="2021-05-24T09:24:13.761" v="605" actId="165"/>
          <ac:grpSpMkLst>
            <pc:docMk/>
            <pc:sldMk cId="2233000822" sldId="10460"/>
            <ac:grpSpMk id="48" creationId="{622812DC-85A7-4712-A261-51059B3F42AA}"/>
          </ac:grpSpMkLst>
        </pc:grpChg>
        <pc:grpChg chg="add del mod">
          <ac:chgData name="Ugo MANTEL" userId="2d5b7065-31bb-4181-a7f8-a73bf0c30211" providerId="ADAL" clId="{9344D105-636D-4857-BD0F-AFC44A54BCCF}" dt="2021-05-24T09:25:27.786" v="629" actId="165"/>
          <ac:grpSpMkLst>
            <pc:docMk/>
            <pc:sldMk cId="2233000822" sldId="10460"/>
            <ac:grpSpMk id="49" creationId="{07B245E4-2D3D-43AB-B39B-0B6C2445193B}"/>
          </ac:grpSpMkLst>
        </pc:grpChg>
        <pc:grpChg chg="add del mod">
          <ac:chgData name="Ugo MANTEL" userId="2d5b7065-31bb-4181-a7f8-a73bf0c30211" providerId="ADAL" clId="{9344D105-636D-4857-BD0F-AFC44A54BCCF}" dt="2021-05-24T08:54:49.157" v="16" actId="165"/>
          <ac:grpSpMkLst>
            <pc:docMk/>
            <pc:sldMk cId="2233000822" sldId="10460"/>
            <ac:grpSpMk id="53" creationId="{EBDB8A3E-1279-4F38-95E6-0B715CB4B896}"/>
          </ac:grpSpMkLst>
        </pc:grpChg>
        <pc:grpChg chg="del mod topLvl">
          <ac:chgData name="Ugo MANTEL" userId="2d5b7065-31bb-4181-a7f8-a73bf0c30211" providerId="ADAL" clId="{9344D105-636D-4857-BD0F-AFC44A54BCCF}" dt="2021-05-24T08:54:59.198" v="17" actId="478"/>
          <ac:grpSpMkLst>
            <pc:docMk/>
            <pc:sldMk cId="2233000822" sldId="10460"/>
            <ac:grpSpMk id="55" creationId="{525CB403-854A-4DC8-BE7B-032E65A2FD31}"/>
          </ac:grpSpMkLst>
        </pc:grpChg>
        <pc:grpChg chg="add del mod">
          <ac:chgData name="Ugo MANTEL" userId="2d5b7065-31bb-4181-a7f8-a73bf0c30211" providerId="ADAL" clId="{9344D105-636D-4857-BD0F-AFC44A54BCCF}" dt="2021-05-24T08:54:49.157" v="16" actId="165"/>
          <ac:grpSpMkLst>
            <pc:docMk/>
            <pc:sldMk cId="2233000822" sldId="10460"/>
            <ac:grpSpMk id="60" creationId="{02C4A80C-C5B0-4BC5-A36A-A5A8F7914147}"/>
          </ac:grpSpMkLst>
        </pc:grpChg>
        <pc:grpChg chg="del mod topLvl">
          <ac:chgData name="Ugo MANTEL" userId="2d5b7065-31bb-4181-a7f8-a73bf0c30211" providerId="ADAL" clId="{9344D105-636D-4857-BD0F-AFC44A54BCCF}" dt="2021-05-24T08:54:59.198" v="17" actId="478"/>
          <ac:grpSpMkLst>
            <pc:docMk/>
            <pc:sldMk cId="2233000822" sldId="10460"/>
            <ac:grpSpMk id="63" creationId="{77707B6B-BDDB-48CC-AC06-732AE988FC8F}"/>
          </ac:grpSpMkLst>
        </pc:grpChg>
        <pc:grpChg chg="add del mod">
          <ac:chgData name="Ugo MANTEL" userId="2d5b7065-31bb-4181-a7f8-a73bf0c30211" providerId="ADAL" clId="{9344D105-636D-4857-BD0F-AFC44A54BCCF}" dt="2021-05-24T08:54:49.157" v="16" actId="165"/>
          <ac:grpSpMkLst>
            <pc:docMk/>
            <pc:sldMk cId="2233000822" sldId="10460"/>
            <ac:grpSpMk id="67" creationId="{C1843F56-5227-4F43-9247-A292893E760E}"/>
          </ac:grpSpMkLst>
        </pc:grpChg>
        <pc:grpChg chg="del mod topLvl">
          <ac:chgData name="Ugo MANTEL" userId="2d5b7065-31bb-4181-a7f8-a73bf0c30211" providerId="ADAL" clId="{9344D105-636D-4857-BD0F-AFC44A54BCCF}" dt="2021-05-24T08:54:59.198" v="17" actId="478"/>
          <ac:grpSpMkLst>
            <pc:docMk/>
            <pc:sldMk cId="2233000822" sldId="10460"/>
            <ac:grpSpMk id="69" creationId="{BCA1587A-9B32-49BD-875F-7DD2653F9408}"/>
          </ac:grpSpMkLst>
        </pc:grpChg>
        <pc:grpChg chg="add del mod">
          <ac:chgData name="Ugo MANTEL" userId="2d5b7065-31bb-4181-a7f8-a73bf0c30211" providerId="ADAL" clId="{9344D105-636D-4857-BD0F-AFC44A54BCCF}" dt="2021-05-24T08:54:49.157" v="16" actId="165"/>
          <ac:grpSpMkLst>
            <pc:docMk/>
            <pc:sldMk cId="2233000822" sldId="10460"/>
            <ac:grpSpMk id="72" creationId="{0D7187ED-4028-44B4-B0E7-659D2E91FD95}"/>
          </ac:grpSpMkLst>
        </pc:grpChg>
        <pc:grpChg chg="del mod topLvl">
          <ac:chgData name="Ugo MANTEL" userId="2d5b7065-31bb-4181-a7f8-a73bf0c30211" providerId="ADAL" clId="{9344D105-636D-4857-BD0F-AFC44A54BCCF}" dt="2021-05-24T08:54:59.198" v="17" actId="478"/>
          <ac:grpSpMkLst>
            <pc:docMk/>
            <pc:sldMk cId="2233000822" sldId="10460"/>
            <ac:grpSpMk id="74" creationId="{93EDE5DC-5F14-4D44-8898-4C6B89F07988}"/>
          </ac:grpSpMkLst>
        </pc:grpChg>
        <pc:grpChg chg="add del mod">
          <ac:chgData name="Ugo MANTEL" userId="2d5b7065-31bb-4181-a7f8-a73bf0c30211" providerId="ADAL" clId="{9344D105-636D-4857-BD0F-AFC44A54BCCF}" dt="2021-05-24T09:06:11.325" v="172" actId="165"/>
          <ac:grpSpMkLst>
            <pc:docMk/>
            <pc:sldMk cId="2233000822" sldId="10460"/>
            <ac:grpSpMk id="83" creationId="{59F3626C-4E59-40A2-87CA-D9F1A463FBD7}"/>
          </ac:grpSpMkLst>
        </pc:grpChg>
        <pc:grpChg chg="del mod">
          <ac:chgData name="Ugo MANTEL" userId="2d5b7065-31bb-4181-a7f8-a73bf0c30211" providerId="ADAL" clId="{9344D105-636D-4857-BD0F-AFC44A54BCCF}" dt="2021-05-24T09:18:32.889" v="317" actId="165"/>
          <ac:grpSpMkLst>
            <pc:docMk/>
            <pc:sldMk cId="2233000822" sldId="10460"/>
            <ac:grpSpMk id="87" creationId="{D8AD8686-0E6F-4A90-88EF-D979A9D4AC1F}"/>
          </ac:grpSpMkLst>
        </pc:grpChg>
        <pc:grpChg chg="del">
          <ac:chgData name="Ugo MANTEL" userId="2d5b7065-31bb-4181-a7f8-a73bf0c30211" providerId="ADAL" clId="{9344D105-636D-4857-BD0F-AFC44A54BCCF}" dt="2021-05-24T08:55:58.675" v="25" actId="165"/>
          <ac:grpSpMkLst>
            <pc:docMk/>
            <pc:sldMk cId="2233000822" sldId="10460"/>
            <ac:grpSpMk id="104" creationId="{E20FDF89-8587-43D0-AE08-F032AC2E2397}"/>
          </ac:grpSpMkLst>
        </pc:grpChg>
        <pc:grpChg chg="add mod">
          <ac:chgData name="Ugo MANTEL" userId="2d5b7065-31bb-4181-a7f8-a73bf0c30211" providerId="ADAL" clId="{9344D105-636D-4857-BD0F-AFC44A54BCCF}" dt="2021-05-24T09:35:22.559" v="800" actId="12789"/>
          <ac:grpSpMkLst>
            <pc:docMk/>
            <pc:sldMk cId="2233000822" sldId="10460"/>
            <ac:grpSpMk id="105" creationId="{42D74066-1DDA-4974-AADC-DBB400A8CCF4}"/>
          </ac:grpSpMkLst>
        </pc:grpChg>
        <pc:grpChg chg="add del mod">
          <ac:chgData name="Ugo MANTEL" userId="2d5b7065-31bb-4181-a7f8-a73bf0c30211" providerId="ADAL" clId="{9344D105-636D-4857-BD0F-AFC44A54BCCF}" dt="2021-05-24T09:35:32.810" v="804" actId="165"/>
          <ac:grpSpMkLst>
            <pc:docMk/>
            <pc:sldMk cId="2233000822" sldId="10460"/>
            <ac:grpSpMk id="106" creationId="{31179170-9676-48B9-979F-ADD3FCF62FCB}"/>
          </ac:grpSpMkLst>
        </pc:grpChg>
        <pc:graphicFrameChg chg="mod">
          <ac:chgData name="Ugo MANTEL" userId="2d5b7065-31bb-4181-a7f8-a73bf0c30211" providerId="ADAL" clId="{9344D105-636D-4857-BD0F-AFC44A54BCCF}" dt="2021-05-24T11:31:48.399" v="4266"/>
          <ac:graphicFrameMkLst>
            <pc:docMk/>
            <pc:sldMk cId="2233000822" sldId="10460"/>
            <ac:graphicFrameMk id="18" creationId="{597710FC-936F-4224-8A0A-F67D6B18BBF7}"/>
          </ac:graphicFrameMkLst>
        </pc:graphicFrameChg>
        <pc:picChg chg="del mod">
          <ac:chgData name="Ugo MANTEL" userId="2d5b7065-31bb-4181-a7f8-a73bf0c30211" providerId="ADAL" clId="{9344D105-636D-4857-BD0F-AFC44A54BCCF}" dt="2021-05-24T08:54:17.063" v="13" actId="478"/>
          <ac:picMkLst>
            <pc:docMk/>
            <pc:sldMk cId="2233000822" sldId="10460"/>
            <ac:picMk id="8" creationId="{D454E1F8-13CC-4C86-A458-7B07E8A7F90C}"/>
          </ac:picMkLst>
        </pc:picChg>
        <pc:picChg chg="mod topLvl">
          <ac:chgData name="Ugo MANTEL" userId="2d5b7065-31bb-4181-a7f8-a73bf0c30211" providerId="ADAL" clId="{9344D105-636D-4857-BD0F-AFC44A54BCCF}" dt="2021-05-24T09:35:32.810" v="804" actId="165"/>
          <ac:picMkLst>
            <pc:docMk/>
            <pc:sldMk cId="2233000822" sldId="10460"/>
            <ac:picMk id="15" creationId="{935E79BD-263C-469E-9BC7-F35F98D47CCF}"/>
          </ac:picMkLst>
        </pc:picChg>
        <pc:picChg chg="mod">
          <ac:chgData name="Ugo MANTEL" userId="2d5b7065-31bb-4181-a7f8-a73bf0c30211" providerId="ADAL" clId="{9344D105-636D-4857-BD0F-AFC44A54BCCF}" dt="2021-05-24T09:35:01.135" v="795" actId="14100"/>
          <ac:picMkLst>
            <pc:docMk/>
            <pc:sldMk cId="2233000822" sldId="10460"/>
            <ac:picMk id="29" creationId="{BED356B1-5299-4B02-9B34-333246151A62}"/>
          </ac:picMkLst>
        </pc:picChg>
        <pc:picChg chg="add mod topLvl">
          <ac:chgData name="Ugo MANTEL" userId="2d5b7065-31bb-4181-a7f8-a73bf0c30211" providerId="ADAL" clId="{9344D105-636D-4857-BD0F-AFC44A54BCCF}" dt="2021-05-24T09:35:43.815" v="808" actId="1036"/>
          <ac:picMkLst>
            <pc:docMk/>
            <pc:sldMk cId="2233000822" sldId="10460"/>
            <ac:picMk id="47" creationId="{A8AD543B-38C9-44F4-BE59-CEE06D9FC367}"/>
          </ac:picMkLst>
        </pc:picChg>
        <pc:picChg chg="mod topLvl">
          <ac:chgData name="Ugo MANTEL" userId="2d5b7065-31bb-4181-a7f8-a73bf0c30211" providerId="ADAL" clId="{9344D105-636D-4857-BD0F-AFC44A54BCCF}" dt="2021-05-24T09:24:28.460" v="618" actId="1035"/>
          <ac:picMkLst>
            <pc:docMk/>
            <pc:sldMk cId="2233000822" sldId="10460"/>
            <ac:picMk id="85" creationId="{35965997-C020-4AF1-B4C3-0235EDB19652}"/>
          </ac:picMkLst>
        </pc:picChg>
        <pc:picChg chg="del mod">
          <ac:chgData name="Ugo MANTEL" userId="2d5b7065-31bb-4181-a7f8-a73bf0c30211" providerId="ADAL" clId="{9344D105-636D-4857-BD0F-AFC44A54BCCF}" dt="2021-05-24T13:45:14.833" v="7602" actId="478"/>
          <ac:picMkLst>
            <pc:docMk/>
            <pc:sldMk cId="2233000822" sldId="10460"/>
            <ac:picMk id="93" creationId="{A90C6CFE-2360-43E9-A279-EBF3A9773ABF}"/>
          </ac:picMkLst>
        </pc:picChg>
        <pc:picChg chg="mod topLvl">
          <ac:chgData name="Ugo MANTEL" userId="2d5b7065-31bb-4181-a7f8-a73bf0c30211" providerId="ADAL" clId="{9344D105-636D-4857-BD0F-AFC44A54BCCF}" dt="2021-05-24T09:24:28.460" v="618" actId="1035"/>
          <ac:picMkLst>
            <pc:docMk/>
            <pc:sldMk cId="2233000822" sldId="10460"/>
            <ac:picMk id="100" creationId="{5D5E7F3F-7B4B-4CD7-9FC1-026A2940C5BD}"/>
          </ac:picMkLst>
        </pc:picChg>
        <pc:picChg chg="del mod">
          <ac:chgData name="Ugo MANTEL" userId="2d5b7065-31bb-4181-a7f8-a73bf0c30211" providerId="ADAL" clId="{9344D105-636D-4857-BD0F-AFC44A54BCCF}" dt="2021-05-24T13:45:14.833" v="7602" actId="478"/>
          <ac:picMkLst>
            <pc:docMk/>
            <pc:sldMk cId="2233000822" sldId="10460"/>
            <ac:picMk id="153" creationId="{F871BE55-66C5-4C86-BDB2-A8D57E347C05}"/>
          </ac:picMkLst>
        </pc:picChg>
        <pc:cxnChg chg="del mod">
          <ac:chgData name="Ugo MANTEL" userId="2d5b7065-31bb-4181-a7f8-a73bf0c30211" providerId="ADAL" clId="{9344D105-636D-4857-BD0F-AFC44A54BCCF}" dt="2021-05-24T08:54:21.081" v="14" actId="478"/>
          <ac:cxnSpMkLst>
            <pc:docMk/>
            <pc:sldMk cId="2233000822" sldId="10460"/>
            <ac:cxnSpMk id="58" creationId="{1B9E0C54-9AC9-4408-8DD4-913D52E48475}"/>
          </ac:cxnSpMkLst>
        </pc:cxnChg>
        <pc:cxnChg chg="del mod">
          <ac:chgData name="Ugo MANTEL" userId="2d5b7065-31bb-4181-a7f8-a73bf0c30211" providerId="ADAL" clId="{9344D105-636D-4857-BD0F-AFC44A54BCCF}" dt="2021-05-24T08:54:21.081" v="14" actId="478"/>
          <ac:cxnSpMkLst>
            <pc:docMk/>
            <pc:sldMk cId="2233000822" sldId="10460"/>
            <ac:cxnSpMk id="59" creationId="{527C33F0-BBF0-4FFA-8F1E-37D312652548}"/>
          </ac:cxnSpMkLst>
        </pc:cxnChg>
        <pc:cxnChg chg="del">
          <ac:chgData name="Ugo MANTEL" userId="2d5b7065-31bb-4181-a7f8-a73bf0c30211" providerId="ADAL" clId="{9344D105-636D-4857-BD0F-AFC44A54BCCF}" dt="2021-05-24T08:56:12.665" v="28" actId="478"/>
          <ac:cxnSpMkLst>
            <pc:docMk/>
            <pc:sldMk cId="2233000822" sldId="10460"/>
            <ac:cxnSpMk id="62" creationId="{BBDDD3C3-5EEE-425F-8FDC-679B26B39287}"/>
          </ac:cxnSpMkLst>
        </pc:cxnChg>
        <pc:cxnChg chg="del">
          <ac:chgData name="Ugo MANTEL" userId="2d5b7065-31bb-4181-a7f8-a73bf0c30211" providerId="ADAL" clId="{9344D105-636D-4857-BD0F-AFC44A54BCCF}" dt="2021-05-24T08:56:12.665" v="28" actId="478"/>
          <ac:cxnSpMkLst>
            <pc:docMk/>
            <pc:sldMk cId="2233000822" sldId="10460"/>
            <ac:cxnSpMk id="66" creationId="{D8172B54-D06A-45A8-9B6B-38555D6FA470}"/>
          </ac:cxnSpMkLst>
        </pc:cxnChg>
        <pc:cxnChg chg="mod topLvl">
          <ac:chgData name="Ugo MANTEL" userId="2d5b7065-31bb-4181-a7f8-a73bf0c30211" providerId="ADAL" clId="{9344D105-636D-4857-BD0F-AFC44A54BCCF}" dt="2021-05-24T09:24:28.460" v="618" actId="1035"/>
          <ac:cxnSpMkLst>
            <pc:docMk/>
            <pc:sldMk cId="2233000822" sldId="10460"/>
            <ac:cxnSpMk id="101" creationId="{AA90C460-6CF1-4DB5-8C11-E122F31BD388}"/>
          </ac:cxnSpMkLst>
        </pc:cxnChg>
        <pc:cxnChg chg="mod topLvl">
          <ac:chgData name="Ugo MANTEL" userId="2d5b7065-31bb-4181-a7f8-a73bf0c30211" providerId="ADAL" clId="{9344D105-636D-4857-BD0F-AFC44A54BCCF}" dt="2021-05-24T09:24:28.460" v="618" actId="1035"/>
          <ac:cxnSpMkLst>
            <pc:docMk/>
            <pc:sldMk cId="2233000822" sldId="10460"/>
            <ac:cxnSpMk id="102" creationId="{1199AD81-7087-4482-8DDE-CE8EA7086463}"/>
          </ac:cxnSpMkLst>
        </pc:cxnChg>
        <pc:cxnChg chg="mod topLvl">
          <ac:chgData name="Ugo MANTEL" userId="2d5b7065-31bb-4181-a7f8-a73bf0c30211" providerId="ADAL" clId="{9344D105-636D-4857-BD0F-AFC44A54BCCF}" dt="2021-05-24T09:24:28.460" v="618" actId="1035"/>
          <ac:cxnSpMkLst>
            <pc:docMk/>
            <pc:sldMk cId="2233000822" sldId="10460"/>
            <ac:cxnSpMk id="103" creationId="{97BB649C-848C-44F9-BF97-A33A71CB7403}"/>
          </ac:cxnSpMkLst>
        </pc:cxnChg>
        <pc:cxnChg chg="del">
          <ac:chgData name="Ugo MANTEL" userId="2d5b7065-31bb-4181-a7f8-a73bf0c30211" providerId="ADAL" clId="{9344D105-636D-4857-BD0F-AFC44A54BCCF}" dt="2021-05-24T08:56:12.665" v="28" actId="478"/>
          <ac:cxnSpMkLst>
            <pc:docMk/>
            <pc:sldMk cId="2233000822" sldId="10460"/>
            <ac:cxnSpMk id="112" creationId="{6DF15AC1-61DA-4E3A-8B21-988A072F7D9C}"/>
          </ac:cxnSpMkLst>
        </pc:cxnChg>
        <pc:cxnChg chg="del">
          <ac:chgData name="Ugo MANTEL" userId="2d5b7065-31bb-4181-a7f8-a73bf0c30211" providerId="ADAL" clId="{9344D105-636D-4857-BD0F-AFC44A54BCCF}" dt="2021-05-24T08:56:12.665" v="28" actId="478"/>
          <ac:cxnSpMkLst>
            <pc:docMk/>
            <pc:sldMk cId="2233000822" sldId="10460"/>
            <ac:cxnSpMk id="113" creationId="{4A024504-ECCB-4701-B21B-8712E69A34A9}"/>
          </ac:cxnSpMkLst>
        </pc:cxnChg>
      </pc:sldChg>
      <pc:sldChg chg="addSp delSp modSp add mod">
        <pc:chgData name="Ugo MANTEL" userId="2d5b7065-31bb-4181-a7f8-a73bf0c30211" providerId="ADAL" clId="{9344D105-636D-4857-BD0F-AFC44A54BCCF}" dt="2021-05-24T11:59:13.394" v="5293"/>
        <pc:sldMkLst>
          <pc:docMk/>
          <pc:sldMk cId="2003759014" sldId="10461"/>
        </pc:sldMkLst>
        <pc:spChg chg="mod">
          <ac:chgData name="Ugo MANTEL" userId="2d5b7065-31bb-4181-a7f8-a73bf0c30211" providerId="ADAL" clId="{9344D105-636D-4857-BD0F-AFC44A54BCCF}" dt="2021-05-24T11:37:55.764" v="5233" actId="948"/>
          <ac:spMkLst>
            <pc:docMk/>
            <pc:sldMk cId="2003759014" sldId="10461"/>
            <ac:spMk id="2" creationId="{076A8F7F-F895-46CF-AE68-CFD9FFD3C71A}"/>
          </ac:spMkLst>
        </pc:spChg>
        <pc:spChg chg="mod topLvl">
          <ac:chgData name="Ugo MANTEL" userId="2d5b7065-31bb-4181-a7f8-a73bf0c30211" providerId="ADAL" clId="{9344D105-636D-4857-BD0F-AFC44A54BCCF}" dt="2021-05-24T11:29:10.365" v="4174" actId="120"/>
          <ac:spMkLst>
            <pc:docMk/>
            <pc:sldMk cId="2003759014" sldId="10461"/>
            <ac:spMk id="3" creationId="{84B816E9-5737-4E3C-BC42-45239C0FF87F}"/>
          </ac:spMkLst>
        </pc:spChg>
        <pc:spChg chg="mod topLvl">
          <ac:chgData name="Ugo MANTEL" userId="2d5b7065-31bb-4181-a7f8-a73bf0c30211" providerId="ADAL" clId="{9344D105-636D-4857-BD0F-AFC44A54BCCF}" dt="2021-05-24T11:29:10.365" v="4174" actId="120"/>
          <ac:spMkLst>
            <pc:docMk/>
            <pc:sldMk cId="2003759014" sldId="10461"/>
            <ac:spMk id="6" creationId="{EE03F86E-BBFC-4F4A-8702-386CBBDCEE19}"/>
          </ac:spMkLst>
        </pc:spChg>
        <pc:spChg chg="mod topLvl">
          <ac:chgData name="Ugo MANTEL" userId="2d5b7065-31bb-4181-a7f8-a73bf0c30211" providerId="ADAL" clId="{9344D105-636D-4857-BD0F-AFC44A54BCCF}" dt="2021-05-24T11:29:10.365" v="4174" actId="120"/>
          <ac:spMkLst>
            <pc:docMk/>
            <pc:sldMk cId="2003759014" sldId="10461"/>
            <ac:spMk id="7" creationId="{E78AAE0E-6DCE-4797-A7F4-B1B37CB93314}"/>
          </ac:spMkLst>
        </pc:spChg>
        <pc:spChg chg="mod topLvl">
          <ac:chgData name="Ugo MANTEL" userId="2d5b7065-31bb-4181-a7f8-a73bf0c30211" providerId="ADAL" clId="{9344D105-636D-4857-BD0F-AFC44A54BCCF}" dt="2021-05-24T11:29:10.365" v="4174" actId="120"/>
          <ac:spMkLst>
            <pc:docMk/>
            <pc:sldMk cId="2003759014" sldId="10461"/>
            <ac:spMk id="8" creationId="{3B88483B-584C-43C8-90CB-A4ED8D3B8EF1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15" creationId="{83D779E1-41C0-4C25-BB30-8605747BA363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16" creationId="{346E91DE-29BA-48BB-BC73-B61FC4376F26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18" creationId="{692FD64F-651B-46EC-86BE-1FB2F280C9FA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19" creationId="{89463F89-BE42-4812-813D-7FD307ED1131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21" creationId="{F4D54B95-047A-4A71-A3A5-59FAC5696B4B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22" creationId="{96320E2B-645D-43B0-8600-67643795FD99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24" creationId="{F6C2E3FB-FC90-4B98-98B8-7364B2E648A7}"/>
          </ac:spMkLst>
        </pc:spChg>
        <pc:spChg chg="mod">
          <ac:chgData name="Ugo MANTEL" userId="2d5b7065-31bb-4181-a7f8-a73bf0c30211" providerId="ADAL" clId="{9344D105-636D-4857-BD0F-AFC44A54BCCF}" dt="2021-05-24T11:28:48.641" v="4164" actId="165"/>
          <ac:spMkLst>
            <pc:docMk/>
            <pc:sldMk cId="2003759014" sldId="10461"/>
            <ac:spMk id="25" creationId="{A81B5ED7-D46A-4449-B967-89744F5755A6}"/>
          </ac:spMkLst>
        </pc:spChg>
        <pc:spChg chg="mod">
          <ac:chgData name="Ugo MANTEL" userId="2d5b7065-31bb-4181-a7f8-a73bf0c30211" providerId="ADAL" clId="{9344D105-636D-4857-BD0F-AFC44A54BCCF}" dt="2021-05-24T11:14:57.048" v="2396" actId="12788"/>
          <ac:spMkLst>
            <pc:docMk/>
            <pc:sldMk cId="2003759014" sldId="10461"/>
            <ac:spMk id="30" creationId="{7AEFA4BF-95C1-4B9F-BAED-7F3D65E36953}"/>
          </ac:spMkLst>
        </pc:spChg>
        <pc:spChg chg="mod">
          <ac:chgData name="Ugo MANTEL" userId="2d5b7065-31bb-4181-a7f8-a73bf0c30211" providerId="ADAL" clId="{9344D105-636D-4857-BD0F-AFC44A54BCCF}" dt="2021-05-24T11:15:45.861" v="2408"/>
          <ac:spMkLst>
            <pc:docMk/>
            <pc:sldMk cId="2003759014" sldId="10461"/>
            <ac:spMk id="31" creationId="{C5AAF232-FA7E-4D12-8C14-C126CD5AD3F6}"/>
          </ac:spMkLst>
        </pc:spChg>
        <pc:spChg chg="del">
          <ac:chgData name="Ugo MANTEL" userId="2d5b7065-31bb-4181-a7f8-a73bf0c30211" providerId="ADAL" clId="{9344D105-636D-4857-BD0F-AFC44A54BCCF}" dt="2021-05-24T09:40:45.492" v="2205" actId="478"/>
          <ac:spMkLst>
            <pc:docMk/>
            <pc:sldMk cId="2003759014" sldId="10461"/>
            <ac:spMk id="32" creationId="{ADD17A7D-92D5-47C6-AAAD-44BA9FDFF1E0}"/>
          </ac:spMkLst>
        </pc:spChg>
        <pc:spChg chg="add del mod modVis">
          <ac:chgData name="Ugo MANTEL" userId="2d5b7065-31bb-4181-a7f8-a73bf0c30211" providerId="ADAL" clId="{9344D105-636D-4857-BD0F-AFC44A54BCCF}" dt="2021-05-24T11:19:39.659" v="2592"/>
          <ac:spMkLst>
            <pc:docMk/>
            <pc:sldMk cId="2003759014" sldId="10461"/>
            <ac:spMk id="33" creationId="{246D4B12-40CB-4503-B3B4-86AB47877AE1}"/>
          </ac:spMkLst>
        </pc:spChg>
        <pc:spChg chg="del">
          <ac:chgData name="Ugo MANTEL" userId="2d5b7065-31bb-4181-a7f8-a73bf0c30211" providerId="ADAL" clId="{9344D105-636D-4857-BD0F-AFC44A54BCCF}" dt="2021-05-24T09:40:45.492" v="2205" actId="478"/>
          <ac:spMkLst>
            <pc:docMk/>
            <pc:sldMk cId="2003759014" sldId="10461"/>
            <ac:spMk id="34" creationId="{8D786EEA-243D-478A-96AD-4EE36D24EEC5}"/>
          </ac:spMkLst>
        </pc:spChg>
        <pc:spChg chg="del">
          <ac:chgData name="Ugo MANTEL" userId="2d5b7065-31bb-4181-a7f8-a73bf0c30211" providerId="ADAL" clId="{9344D105-636D-4857-BD0F-AFC44A54BCCF}" dt="2021-05-24T09:40:45.492" v="2205" actId="478"/>
          <ac:spMkLst>
            <pc:docMk/>
            <pc:sldMk cId="2003759014" sldId="10461"/>
            <ac:spMk id="35" creationId="{4C04A7B0-6488-4CD7-B031-03A28FF53A58}"/>
          </ac:spMkLst>
        </pc:spChg>
        <pc:spChg chg="del">
          <ac:chgData name="Ugo MANTEL" userId="2d5b7065-31bb-4181-a7f8-a73bf0c30211" providerId="ADAL" clId="{9344D105-636D-4857-BD0F-AFC44A54BCCF}" dt="2021-05-24T09:40:45.492" v="2205" actId="478"/>
          <ac:spMkLst>
            <pc:docMk/>
            <pc:sldMk cId="2003759014" sldId="10461"/>
            <ac:spMk id="36" creationId="{9382A20A-0B3D-463A-AEC3-C532FDB33D91}"/>
          </ac:spMkLst>
        </pc:spChg>
        <pc:spChg chg="add del mod modVis">
          <ac:chgData name="Ugo MANTEL" userId="2d5b7065-31bb-4181-a7f8-a73bf0c30211" providerId="ADAL" clId="{9344D105-636D-4857-BD0F-AFC44A54BCCF}" dt="2021-05-24T11:19:44.474" v="2639"/>
          <ac:spMkLst>
            <pc:docMk/>
            <pc:sldMk cId="2003759014" sldId="10461"/>
            <ac:spMk id="41" creationId="{E320C1B4-D9DD-4849-BD65-5417BFBC1D5D}"/>
          </ac:spMkLst>
        </pc:spChg>
        <pc:spChg chg="add del mod modVis">
          <ac:chgData name="Ugo MANTEL" userId="2d5b7065-31bb-4181-a7f8-a73bf0c30211" providerId="ADAL" clId="{9344D105-636D-4857-BD0F-AFC44A54BCCF}" dt="2021-05-24T11:19:54.666" v="2727"/>
          <ac:spMkLst>
            <pc:docMk/>
            <pc:sldMk cId="2003759014" sldId="10461"/>
            <ac:spMk id="43" creationId="{CC9C993C-65E2-4D0C-A35E-FFA5F83079B3}"/>
          </ac:spMkLst>
        </pc:spChg>
        <pc:spChg chg="add del mod modVis">
          <ac:chgData name="Ugo MANTEL" userId="2d5b7065-31bb-4181-a7f8-a73bf0c30211" providerId="ADAL" clId="{9344D105-636D-4857-BD0F-AFC44A54BCCF}" dt="2021-05-24T11:19:56.142" v="2777"/>
          <ac:spMkLst>
            <pc:docMk/>
            <pc:sldMk cId="2003759014" sldId="10461"/>
            <ac:spMk id="44" creationId="{910B7857-8A1C-4D1A-9B8B-4385A2F52903}"/>
          </ac:spMkLst>
        </pc:spChg>
        <pc:spChg chg="add del mod modVis">
          <ac:chgData name="Ugo MANTEL" userId="2d5b7065-31bb-4181-a7f8-a73bf0c30211" providerId="ADAL" clId="{9344D105-636D-4857-BD0F-AFC44A54BCCF}" dt="2021-05-24T11:19:58.029" v="2827"/>
          <ac:spMkLst>
            <pc:docMk/>
            <pc:sldMk cId="2003759014" sldId="10461"/>
            <ac:spMk id="46" creationId="{E1F1426E-52A1-45D2-AE45-AD5D6C659488}"/>
          </ac:spMkLst>
        </pc:spChg>
        <pc:spChg chg="add del mod modVis">
          <ac:chgData name="Ugo MANTEL" userId="2d5b7065-31bb-4181-a7f8-a73bf0c30211" providerId="ADAL" clId="{9344D105-636D-4857-BD0F-AFC44A54BCCF}" dt="2021-05-24T11:20:00.165" v="2878"/>
          <ac:spMkLst>
            <pc:docMk/>
            <pc:sldMk cId="2003759014" sldId="10461"/>
            <ac:spMk id="48" creationId="{4978CF43-95EE-46B6-BB18-1B7356DBB108}"/>
          </ac:spMkLst>
        </pc:spChg>
        <pc:spChg chg="add del mod modVis">
          <ac:chgData name="Ugo MANTEL" userId="2d5b7065-31bb-4181-a7f8-a73bf0c30211" providerId="ADAL" clId="{9344D105-636D-4857-BD0F-AFC44A54BCCF}" dt="2021-05-24T11:20:02.484" v="2932"/>
          <ac:spMkLst>
            <pc:docMk/>
            <pc:sldMk cId="2003759014" sldId="10461"/>
            <ac:spMk id="53" creationId="{9C49F7C3-B655-4DDC-B2A4-548C26CD629D}"/>
          </ac:spMkLst>
        </pc:spChg>
        <pc:spChg chg="add del mod modVis">
          <ac:chgData name="Ugo MANTEL" userId="2d5b7065-31bb-4181-a7f8-a73bf0c30211" providerId="ADAL" clId="{9344D105-636D-4857-BD0F-AFC44A54BCCF}" dt="2021-05-24T11:20:05.576" v="2989"/>
          <ac:spMkLst>
            <pc:docMk/>
            <pc:sldMk cId="2003759014" sldId="10461"/>
            <ac:spMk id="56" creationId="{78E82D9E-4042-4913-918B-35D57574AAF1}"/>
          </ac:spMkLst>
        </pc:spChg>
        <pc:spChg chg="add del mod modVis">
          <ac:chgData name="Ugo MANTEL" userId="2d5b7065-31bb-4181-a7f8-a73bf0c30211" providerId="ADAL" clId="{9344D105-636D-4857-BD0F-AFC44A54BCCF}" dt="2021-05-24T11:20:06.575" v="3034"/>
          <ac:spMkLst>
            <pc:docMk/>
            <pc:sldMk cId="2003759014" sldId="10461"/>
            <ac:spMk id="57" creationId="{DE2D6281-4009-48E6-BFC0-B8AF05225887}"/>
          </ac:spMkLst>
        </pc:spChg>
        <pc:spChg chg="add del mod modVis">
          <ac:chgData name="Ugo MANTEL" userId="2d5b7065-31bb-4181-a7f8-a73bf0c30211" providerId="ADAL" clId="{9344D105-636D-4857-BD0F-AFC44A54BCCF}" dt="2021-05-24T11:20:11.989" v="3080"/>
          <ac:spMkLst>
            <pc:docMk/>
            <pc:sldMk cId="2003759014" sldId="10461"/>
            <ac:spMk id="59" creationId="{62A79D14-6DA1-4AE1-BFD9-2820F13175DC}"/>
          </ac:spMkLst>
        </pc:spChg>
        <pc:spChg chg="mod">
          <ac:chgData name="Ugo MANTEL" userId="2d5b7065-31bb-4181-a7f8-a73bf0c30211" providerId="ADAL" clId="{9344D105-636D-4857-BD0F-AFC44A54BCCF}" dt="2021-05-24T09:40:38.919" v="2204" actId="1076"/>
          <ac:spMkLst>
            <pc:docMk/>
            <pc:sldMk cId="2003759014" sldId="10461"/>
            <ac:spMk id="67" creationId="{0256CC2F-2C47-472B-BDEF-F624F9993066}"/>
          </ac:spMkLst>
        </pc:spChg>
        <pc:spChg chg="add mod">
          <ac:chgData name="Ugo MANTEL" userId="2d5b7065-31bb-4181-a7f8-a73bf0c30211" providerId="ADAL" clId="{9344D105-636D-4857-BD0F-AFC44A54BCCF}" dt="2021-05-24T09:41:30.965" v="2234" actId="113"/>
          <ac:spMkLst>
            <pc:docMk/>
            <pc:sldMk cId="2003759014" sldId="10461"/>
            <ac:spMk id="68" creationId="{5627338E-A842-4061-8375-33FF1D0AA89A}"/>
          </ac:spMkLst>
        </pc:spChg>
        <pc:spChg chg="add mod">
          <ac:chgData name="Ugo MANTEL" userId="2d5b7065-31bb-4181-a7f8-a73bf0c30211" providerId="ADAL" clId="{9344D105-636D-4857-BD0F-AFC44A54BCCF}" dt="2021-05-24T09:41:30.965" v="2234" actId="113"/>
          <ac:spMkLst>
            <pc:docMk/>
            <pc:sldMk cId="2003759014" sldId="10461"/>
            <ac:spMk id="69" creationId="{4583965D-2AA7-4F53-9C17-CC3ED3258CE7}"/>
          </ac:spMkLst>
        </pc:spChg>
        <pc:spChg chg="add mod">
          <ac:chgData name="Ugo MANTEL" userId="2d5b7065-31bb-4181-a7f8-a73bf0c30211" providerId="ADAL" clId="{9344D105-636D-4857-BD0F-AFC44A54BCCF}" dt="2021-05-24T09:49:37.882" v="2264" actId="5793"/>
          <ac:spMkLst>
            <pc:docMk/>
            <pc:sldMk cId="2003759014" sldId="10461"/>
            <ac:spMk id="70" creationId="{1073ABE5-E169-45A2-8075-2CCD09E960F7}"/>
          </ac:spMkLst>
        </pc:spChg>
        <pc:spChg chg="add mod">
          <ac:chgData name="Ugo MANTEL" userId="2d5b7065-31bb-4181-a7f8-a73bf0c30211" providerId="ADAL" clId="{9344D105-636D-4857-BD0F-AFC44A54BCCF}" dt="2021-05-24T10:04:50.260" v="2367" actId="114"/>
          <ac:spMkLst>
            <pc:docMk/>
            <pc:sldMk cId="2003759014" sldId="10461"/>
            <ac:spMk id="71" creationId="{698110D9-CF6D-4F76-AC56-7567CDC16298}"/>
          </ac:spMkLst>
        </pc:spChg>
        <pc:spChg chg="add mod">
          <ac:chgData name="Ugo MANTEL" userId="2d5b7065-31bb-4181-a7f8-a73bf0c30211" providerId="ADAL" clId="{9344D105-636D-4857-BD0F-AFC44A54BCCF}" dt="2021-05-24T09:49:53.040" v="2267" actId="571"/>
          <ac:spMkLst>
            <pc:docMk/>
            <pc:sldMk cId="2003759014" sldId="10461"/>
            <ac:spMk id="72" creationId="{E5621FBC-F8B6-4D47-8CF1-3CEBF5E34928}"/>
          </ac:spMkLst>
        </pc:spChg>
        <pc:spChg chg="add mod">
          <ac:chgData name="Ugo MANTEL" userId="2d5b7065-31bb-4181-a7f8-a73bf0c30211" providerId="ADAL" clId="{9344D105-636D-4857-BD0F-AFC44A54BCCF}" dt="2021-05-24T10:04:41.327" v="2366" actId="2711"/>
          <ac:spMkLst>
            <pc:docMk/>
            <pc:sldMk cId="2003759014" sldId="10461"/>
            <ac:spMk id="73" creationId="{4E54E019-532A-4A56-ADA2-0C80A354EA97}"/>
          </ac:spMkLst>
        </pc:spChg>
        <pc:spChg chg="add del mod modVis">
          <ac:chgData name="Ugo MANTEL" userId="2d5b7065-31bb-4181-a7f8-a73bf0c30211" providerId="ADAL" clId="{9344D105-636D-4857-BD0F-AFC44A54BCCF}" dt="2021-05-24T11:20:16.503" v="3137"/>
          <ac:spMkLst>
            <pc:docMk/>
            <pc:sldMk cId="2003759014" sldId="10461"/>
            <ac:spMk id="77" creationId="{511E846F-839C-4703-8C66-335267E45FB4}"/>
          </ac:spMkLst>
        </pc:spChg>
        <pc:spChg chg="add del mod modVis">
          <ac:chgData name="Ugo MANTEL" userId="2d5b7065-31bb-4181-a7f8-a73bf0c30211" providerId="ADAL" clId="{9344D105-636D-4857-BD0F-AFC44A54BCCF}" dt="2021-05-24T11:20:19.639" v="3187"/>
          <ac:spMkLst>
            <pc:docMk/>
            <pc:sldMk cId="2003759014" sldId="10461"/>
            <ac:spMk id="78" creationId="{D057708C-28D7-45EA-AE7A-03B83E6B64AD}"/>
          </ac:spMkLst>
        </pc:spChg>
        <pc:spChg chg="add del mod modVis">
          <ac:chgData name="Ugo MANTEL" userId="2d5b7065-31bb-4181-a7f8-a73bf0c30211" providerId="ADAL" clId="{9344D105-636D-4857-BD0F-AFC44A54BCCF}" dt="2021-05-24T11:20:20.956" v="3236"/>
          <ac:spMkLst>
            <pc:docMk/>
            <pc:sldMk cId="2003759014" sldId="10461"/>
            <ac:spMk id="79" creationId="{4688FEA6-8F08-4253-A9C4-2299A698DE27}"/>
          </ac:spMkLst>
        </pc:spChg>
        <pc:spChg chg="add del mod modVis">
          <ac:chgData name="Ugo MANTEL" userId="2d5b7065-31bb-4181-a7f8-a73bf0c30211" providerId="ADAL" clId="{9344D105-636D-4857-BD0F-AFC44A54BCCF}" dt="2021-05-24T11:20:22.467" v="3285"/>
          <ac:spMkLst>
            <pc:docMk/>
            <pc:sldMk cId="2003759014" sldId="10461"/>
            <ac:spMk id="80" creationId="{D2E65319-A0E1-484F-A93A-7FAC94480FE1}"/>
          </ac:spMkLst>
        </pc:spChg>
        <pc:spChg chg="add del mod modVis">
          <ac:chgData name="Ugo MANTEL" userId="2d5b7065-31bb-4181-a7f8-a73bf0c30211" providerId="ADAL" clId="{9344D105-636D-4857-BD0F-AFC44A54BCCF}" dt="2021-05-24T11:20:24.099" v="3334"/>
          <ac:spMkLst>
            <pc:docMk/>
            <pc:sldMk cId="2003759014" sldId="10461"/>
            <ac:spMk id="81" creationId="{3B7C7A17-A36C-48DD-947B-B7483F4592DB}"/>
          </ac:spMkLst>
        </pc:spChg>
        <pc:spChg chg="add del mod modVis">
          <ac:chgData name="Ugo MANTEL" userId="2d5b7065-31bb-4181-a7f8-a73bf0c30211" providerId="ADAL" clId="{9344D105-636D-4857-BD0F-AFC44A54BCCF}" dt="2021-05-24T11:20:26.265" v="3380"/>
          <ac:spMkLst>
            <pc:docMk/>
            <pc:sldMk cId="2003759014" sldId="10461"/>
            <ac:spMk id="82" creationId="{355C1C8D-0D05-4B04-87A9-974657FB6176}"/>
          </ac:spMkLst>
        </pc:spChg>
        <pc:spChg chg="add del mod modVis">
          <ac:chgData name="Ugo MANTEL" userId="2d5b7065-31bb-4181-a7f8-a73bf0c30211" providerId="ADAL" clId="{9344D105-636D-4857-BD0F-AFC44A54BCCF}" dt="2021-05-24T11:20:27.934" v="3429"/>
          <ac:spMkLst>
            <pc:docMk/>
            <pc:sldMk cId="2003759014" sldId="10461"/>
            <ac:spMk id="84" creationId="{54337EEE-1A9B-4067-BE97-FEAC609CF3D8}"/>
          </ac:spMkLst>
        </pc:spChg>
        <pc:spChg chg="add del mod modVis">
          <ac:chgData name="Ugo MANTEL" userId="2d5b7065-31bb-4181-a7f8-a73bf0c30211" providerId="ADAL" clId="{9344D105-636D-4857-BD0F-AFC44A54BCCF}" dt="2021-05-24T11:20:29.098" v="3474"/>
          <ac:spMkLst>
            <pc:docMk/>
            <pc:sldMk cId="2003759014" sldId="10461"/>
            <ac:spMk id="85" creationId="{2770E299-B6FE-4539-8909-B312B23159E2}"/>
          </ac:spMkLst>
        </pc:spChg>
        <pc:spChg chg="add del mod modVis">
          <ac:chgData name="Ugo MANTEL" userId="2d5b7065-31bb-4181-a7f8-a73bf0c30211" providerId="ADAL" clId="{9344D105-636D-4857-BD0F-AFC44A54BCCF}" dt="2021-05-24T11:20:30.530" v="3522"/>
          <ac:spMkLst>
            <pc:docMk/>
            <pc:sldMk cId="2003759014" sldId="10461"/>
            <ac:spMk id="86" creationId="{047FE3A9-ADEF-4DBA-AA86-5A86061F9B09}"/>
          </ac:spMkLst>
        </pc:spChg>
        <pc:spChg chg="add del mod modVis">
          <ac:chgData name="Ugo MANTEL" userId="2d5b7065-31bb-4181-a7f8-a73bf0c30211" providerId="ADAL" clId="{9344D105-636D-4857-BD0F-AFC44A54BCCF}" dt="2021-05-24T11:20:32.777" v="3573"/>
          <ac:spMkLst>
            <pc:docMk/>
            <pc:sldMk cId="2003759014" sldId="10461"/>
            <ac:spMk id="87" creationId="{AF1B26FE-EC68-4DF0-861F-35AB3CCC2EFC}"/>
          </ac:spMkLst>
        </pc:spChg>
        <pc:spChg chg="add del mod modVis">
          <ac:chgData name="Ugo MANTEL" userId="2d5b7065-31bb-4181-a7f8-a73bf0c30211" providerId="ADAL" clId="{9344D105-636D-4857-BD0F-AFC44A54BCCF}" dt="2021-05-24T11:20:34.427" v="3620"/>
          <ac:spMkLst>
            <pc:docMk/>
            <pc:sldMk cId="2003759014" sldId="10461"/>
            <ac:spMk id="88" creationId="{C51822F9-8AB5-4AC9-85E8-8D7568CCC7A1}"/>
          </ac:spMkLst>
        </pc:spChg>
        <pc:spChg chg="add del mod modVis">
          <ac:chgData name="Ugo MANTEL" userId="2d5b7065-31bb-4181-a7f8-a73bf0c30211" providerId="ADAL" clId="{9344D105-636D-4857-BD0F-AFC44A54BCCF}" dt="2021-05-24T11:20:35.811" v="3668"/>
          <ac:spMkLst>
            <pc:docMk/>
            <pc:sldMk cId="2003759014" sldId="10461"/>
            <ac:spMk id="89" creationId="{74FDDF27-910E-42A8-989D-996EB365127F}"/>
          </ac:spMkLst>
        </pc:spChg>
        <pc:spChg chg="add del mod modVis">
          <ac:chgData name="Ugo MANTEL" userId="2d5b7065-31bb-4181-a7f8-a73bf0c30211" providerId="ADAL" clId="{9344D105-636D-4857-BD0F-AFC44A54BCCF}" dt="2021-05-24T11:20:37.140" v="3716"/>
          <ac:spMkLst>
            <pc:docMk/>
            <pc:sldMk cId="2003759014" sldId="10461"/>
            <ac:spMk id="90" creationId="{875F8C60-54F8-4AAD-AF24-AAC3934D8B7A}"/>
          </ac:spMkLst>
        </pc:spChg>
        <pc:spChg chg="add del mod modVis">
          <ac:chgData name="Ugo MANTEL" userId="2d5b7065-31bb-4181-a7f8-a73bf0c30211" providerId="ADAL" clId="{9344D105-636D-4857-BD0F-AFC44A54BCCF}" dt="2021-05-24T11:20:38.509" v="3764"/>
          <ac:spMkLst>
            <pc:docMk/>
            <pc:sldMk cId="2003759014" sldId="10461"/>
            <ac:spMk id="91" creationId="{B5F35A2B-7C96-4EAC-A537-05C717068A5F}"/>
          </ac:spMkLst>
        </pc:spChg>
        <pc:spChg chg="mod">
          <ac:chgData name="Ugo MANTEL" userId="2d5b7065-31bb-4181-a7f8-a73bf0c30211" providerId="ADAL" clId="{9344D105-636D-4857-BD0F-AFC44A54BCCF}" dt="2021-05-24T11:15:34.502" v="2405" actId="12788"/>
          <ac:spMkLst>
            <pc:docMk/>
            <pc:sldMk cId="2003759014" sldId="10461"/>
            <ac:spMk id="93" creationId="{B8679077-D452-46D0-A661-FDF487360092}"/>
          </ac:spMkLst>
        </pc:spChg>
        <pc:spChg chg="mod">
          <ac:chgData name="Ugo MANTEL" userId="2d5b7065-31bb-4181-a7f8-a73bf0c30211" providerId="ADAL" clId="{9344D105-636D-4857-BD0F-AFC44A54BCCF}" dt="2021-05-24T09:49:49.527" v="2266" actId="552"/>
          <ac:spMkLst>
            <pc:docMk/>
            <pc:sldMk cId="2003759014" sldId="10461"/>
            <ac:spMk id="94" creationId="{BDD7F547-3501-4278-AC3F-8BB57279ACB9}"/>
          </ac:spMkLst>
        </pc:spChg>
        <pc:spChg chg="mod">
          <ac:chgData name="Ugo MANTEL" userId="2d5b7065-31bb-4181-a7f8-a73bf0c30211" providerId="ADAL" clId="{9344D105-636D-4857-BD0F-AFC44A54BCCF}" dt="2021-05-24T09:42:01.792" v="2238" actId="14100"/>
          <ac:spMkLst>
            <pc:docMk/>
            <pc:sldMk cId="2003759014" sldId="10461"/>
            <ac:spMk id="95" creationId="{3EC38CA6-491D-4320-8DEC-584C755D04B6}"/>
          </ac:spMkLst>
        </pc:spChg>
        <pc:spChg chg="mod">
          <ac:chgData name="Ugo MANTEL" userId="2d5b7065-31bb-4181-a7f8-a73bf0c30211" providerId="ADAL" clId="{9344D105-636D-4857-BD0F-AFC44A54BCCF}" dt="2021-05-24T09:42:01.792" v="2238" actId="14100"/>
          <ac:spMkLst>
            <pc:docMk/>
            <pc:sldMk cId="2003759014" sldId="10461"/>
            <ac:spMk id="96" creationId="{FBB7D235-E014-4FCE-BC74-C29BFD28D17F}"/>
          </ac:spMkLst>
        </pc:spChg>
        <pc:spChg chg="mod">
          <ac:chgData name="Ugo MANTEL" userId="2d5b7065-31bb-4181-a7f8-a73bf0c30211" providerId="ADAL" clId="{9344D105-636D-4857-BD0F-AFC44A54BCCF}" dt="2021-05-24T09:42:01.792" v="2238" actId="14100"/>
          <ac:spMkLst>
            <pc:docMk/>
            <pc:sldMk cId="2003759014" sldId="10461"/>
            <ac:spMk id="97" creationId="{594140F8-2792-40AD-850A-2AAD0CC4A0F4}"/>
          </ac:spMkLst>
        </pc:spChg>
        <pc:spChg chg="add del mod modVis">
          <ac:chgData name="Ugo MANTEL" userId="2d5b7065-31bb-4181-a7f8-a73bf0c30211" providerId="ADAL" clId="{9344D105-636D-4857-BD0F-AFC44A54BCCF}" dt="2021-05-24T11:22:09.546" v="3817"/>
          <ac:spMkLst>
            <pc:docMk/>
            <pc:sldMk cId="2003759014" sldId="10461"/>
            <ac:spMk id="98" creationId="{23A56E32-FEF0-4A19-8D1F-C6DBCBEC5E8F}"/>
          </ac:spMkLst>
        </pc:spChg>
        <pc:spChg chg="add del mod modVis">
          <ac:chgData name="Ugo MANTEL" userId="2d5b7065-31bb-4181-a7f8-a73bf0c30211" providerId="ADAL" clId="{9344D105-636D-4857-BD0F-AFC44A54BCCF}" dt="2021-05-24T11:22:12.059" v="3864"/>
          <ac:spMkLst>
            <pc:docMk/>
            <pc:sldMk cId="2003759014" sldId="10461"/>
            <ac:spMk id="102" creationId="{E0BBFE58-64ED-4F69-8ADF-CD1E07A80BE8}"/>
          </ac:spMkLst>
        </pc:spChg>
        <pc:spChg chg="add del mod modVis">
          <ac:chgData name="Ugo MANTEL" userId="2d5b7065-31bb-4181-a7f8-a73bf0c30211" providerId="ADAL" clId="{9344D105-636D-4857-BD0F-AFC44A54BCCF}" dt="2021-05-24T11:22:37.709" v="3913"/>
          <ac:spMkLst>
            <pc:docMk/>
            <pc:sldMk cId="2003759014" sldId="10461"/>
            <ac:spMk id="103" creationId="{232CB2DC-EF63-4767-BFBE-07B3532FE94F}"/>
          </ac:spMkLst>
        </pc:spChg>
        <pc:spChg chg="add del mod modVis">
          <ac:chgData name="Ugo MANTEL" userId="2d5b7065-31bb-4181-a7f8-a73bf0c30211" providerId="ADAL" clId="{9344D105-636D-4857-BD0F-AFC44A54BCCF}" dt="2021-05-24T11:22:41.424" v="3964"/>
          <ac:spMkLst>
            <pc:docMk/>
            <pc:sldMk cId="2003759014" sldId="10461"/>
            <ac:spMk id="104" creationId="{535A35A0-CA65-414C-8E88-53F74CDC690B}"/>
          </ac:spMkLst>
        </pc:spChg>
        <pc:spChg chg="add del mod modVis">
          <ac:chgData name="Ugo MANTEL" userId="2d5b7065-31bb-4181-a7f8-a73bf0c30211" providerId="ADAL" clId="{9344D105-636D-4857-BD0F-AFC44A54BCCF}" dt="2021-05-24T11:22:42.474" v="4010"/>
          <ac:spMkLst>
            <pc:docMk/>
            <pc:sldMk cId="2003759014" sldId="10461"/>
            <ac:spMk id="106" creationId="{64E00D72-1E11-40B0-B2C4-36EAC728A98A}"/>
          </ac:spMkLst>
        </pc:spChg>
        <pc:spChg chg="add del mod modVis">
          <ac:chgData name="Ugo MANTEL" userId="2d5b7065-31bb-4181-a7f8-a73bf0c30211" providerId="ADAL" clId="{9344D105-636D-4857-BD0F-AFC44A54BCCF}" dt="2021-05-24T11:22:44.523" v="4060"/>
          <ac:spMkLst>
            <pc:docMk/>
            <pc:sldMk cId="2003759014" sldId="10461"/>
            <ac:spMk id="107" creationId="{007A28CB-E6D3-4C2D-BB61-911DFC687422}"/>
          </ac:spMkLst>
        </pc:spChg>
        <pc:spChg chg="add del mod modVis">
          <ac:chgData name="Ugo MANTEL" userId="2d5b7065-31bb-4181-a7f8-a73bf0c30211" providerId="ADAL" clId="{9344D105-636D-4857-BD0F-AFC44A54BCCF}" dt="2021-05-24T11:22:46.795" v="4111"/>
          <ac:spMkLst>
            <pc:docMk/>
            <pc:sldMk cId="2003759014" sldId="10461"/>
            <ac:spMk id="108" creationId="{9A644BB0-1AB6-47EF-8F74-2EF9EE81B866}"/>
          </ac:spMkLst>
        </pc:spChg>
        <pc:spChg chg="add del mod modVis">
          <ac:chgData name="Ugo MANTEL" userId="2d5b7065-31bb-4181-a7f8-a73bf0c30211" providerId="ADAL" clId="{9344D105-636D-4857-BD0F-AFC44A54BCCF}" dt="2021-05-24T11:22:48.438" v="4161"/>
          <ac:spMkLst>
            <pc:docMk/>
            <pc:sldMk cId="2003759014" sldId="10461"/>
            <ac:spMk id="109" creationId="{D4AF3CF7-0036-420D-A763-B850CD129A6D}"/>
          </ac:spMkLst>
        </pc:spChg>
        <pc:spChg chg="add del mod modVis">
          <ac:chgData name="Ugo MANTEL" userId="2d5b7065-31bb-4181-a7f8-a73bf0c30211" providerId="ADAL" clId="{9344D105-636D-4857-BD0F-AFC44A54BCCF}" dt="2021-05-24T11:32:17.613" v="4311"/>
          <ac:spMkLst>
            <pc:docMk/>
            <pc:sldMk cId="2003759014" sldId="10461"/>
            <ac:spMk id="110" creationId="{0A4670DB-C6F0-405A-9B38-578EED504CAD}"/>
          </ac:spMkLst>
        </pc:spChg>
        <pc:spChg chg="add del mod modVis">
          <ac:chgData name="Ugo MANTEL" userId="2d5b7065-31bb-4181-a7f8-a73bf0c30211" providerId="ADAL" clId="{9344D105-636D-4857-BD0F-AFC44A54BCCF}" dt="2021-05-24T11:32:18.358" v="4355"/>
          <ac:spMkLst>
            <pc:docMk/>
            <pc:sldMk cId="2003759014" sldId="10461"/>
            <ac:spMk id="111" creationId="{62966CCB-1D01-42FD-B690-44C8B53FF1E4}"/>
          </ac:spMkLst>
        </pc:spChg>
        <pc:spChg chg="add del mod modVis">
          <ac:chgData name="Ugo MANTEL" userId="2d5b7065-31bb-4181-a7f8-a73bf0c30211" providerId="ADAL" clId="{9344D105-636D-4857-BD0F-AFC44A54BCCF}" dt="2021-05-24T11:32:20.923" v="4402"/>
          <ac:spMkLst>
            <pc:docMk/>
            <pc:sldMk cId="2003759014" sldId="10461"/>
            <ac:spMk id="112" creationId="{E2649D36-EBFE-4AF5-9D75-2D93B7EB64A2}"/>
          </ac:spMkLst>
        </pc:spChg>
        <pc:spChg chg="add del mod modVis">
          <ac:chgData name="Ugo MANTEL" userId="2d5b7065-31bb-4181-a7f8-a73bf0c30211" providerId="ADAL" clId="{9344D105-636D-4857-BD0F-AFC44A54BCCF}" dt="2021-05-24T11:32:22.259" v="4450"/>
          <ac:spMkLst>
            <pc:docMk/>
            <pc:sldMk cId="2003759014" sldId="10461"/>
            <ac:spMk id="113" creationId="{DFCDD9D5-CE01-4514-BF46-88144CF8D822}"/>
          </ac:spMkLst>
        </pc:spChg>
        <pc:spChg chg="add del mod modVis">
          <ac:chgData name="Ugo MANTEL" userId="2d5b7065-31bb-4181-a7f8-a73bf0c30211" providerId="ADAL" clId="{9344D105-636D-4857-BD0F-AFC44A54BCCF}" dt="2021-05-24T11:32:25.662" v="4509"/>
          <ac:spMkLst>
            <pc:docMk/>
            <pc:sldMk cId="2003759014" sldId="10461"/>
            <ac:spMk id="114" creationId="{B42002E0-ED73-4A09-ADB3-501376E4F325}"/>
          </ac:spMkLst>
        </pc:spChg>
        <pc:spChg chg="add del mod modVis">
          <ac:chgData name="Ugo MANTEL" userId="2d5b7065-31bb-4181-a7f8-a73bf0c30211" providerId="ADAL" clId="{9344D105-636D-4857-BD0F-AFC44A54BCCF}" dt="2021-05-24T11:32:27.273" v="4557"/>
          <ac:spMkLst>
            <pc:docMk/>
            <pc:sldMk cId="2003759014" sldId="10461"/>
            <ac:spMk id="123" creationId="{B1F30222-78A5-4044-9EBC-E731F0EB80E3}"/>
          </ac:spMkLst>
        </pc:spChg>
        <pc:spChg chg="add del mod modVis">
          <ac:chgData name="Ugo MANTEL" userId="2d5b7065-31bb-4181-a7f8-a73bf0c30211" providerId="ADAL" clId="{9344D105-636D-4857-BD0F-AFC44A54BCCF}" dt="2021-05-24T11:32:29.355" v="4606"/>
          <ac:spMkLst>
            <pc:docMk/>
            <pc:sldMk cId="2003759014" sldId="10461"/>
            <ac:spMk id="124" creationId="{387997E2-C934-488B-9E4B-C0319FA762A4}"/>
          </ac:spMkLst>
        </pc:spChg>
        <pc:spChg chg="add del mod modVis">
          <ac:chgData name="Ugo MANTEL" userId="2d5b7065-31bb-4181-a7f8-a73bf0c30211" providerId="ADAL" clId="{9344D105-636D-4857-BD0F-AFC44A54BCCF}" dt="2021-05-24T11:32:32.519" v="4665"/>
          <ac:spMkLst>
            <pc:docMk/>
            <pc:sldMk cId="2003759014" sldId="10461"/>
            <ac:spMk id="125" creationId="{F8ABD21F-AC82-4FBF-9B12-87DD04A563FB}"/>
          </ac:spMkLst>
        </pc:spChg>
        <pc:spChg chg="add del mod modVis">
          <ac:chgData name="Ugo MANTEL" userId="2d5b7065-31bb-4181-a7f8-a73bf0c30211" providerId="ADAL" clId="{9344D105-636D-4857-BD0F-AFC44A54BCCF}" dt="2021-05-24T11:32:35.525" v="4724"/>
          <ac:spMkLst>
            <pc:docMk/>
            <pc:sldMk cId="2003759014" sldId="10461"/>
            <ac:spMk id="126" creationId="{94138D59-A358-4067-9222-4580F8C65D80}"/>
          </ac:spMkLst>
        </pc:spChg>
        <pc:spChg chg="add del mod modVis">
          <ac:chgData name="Ugo MANTEL" userId="2d5b7065-31bb-4181-a7f8-a73bf0c30211" providerId="ADAL" clId="{9344D105-636D-4857-BD0F-AFC44A54BCCF}" dt="2021-05-24T11:32:37.255" v="4771"/>
          <ac:spMkLst>
            <pc:docMk/>
            <pc:sldMk cId="2003759014" sldId="10461"/>
            <ac:spMk id="127" creationId="{7E90C517-1435-49D5-9DD7-0F576E8D20D8}"/>
          </ac:spMkLst>
        </pc:spChg>
        <pc:spChg chg="add del mod modVis">
          <ac:chgData name="Ugo MANTEL" userId="2d5b7065-31bb-4181-a7f8-a73bf0c30211" providerId="ADAL" clId="{9344D105-636D-4857-BD0F-AFC44A54BCCF}" dt="2021-05-24T11:32:38.369" v="4815"/>
          <ac:spMkLst>
            <pc:docMk/>
            <pc:sldMk cId="2003759014" sldId="10461"/>
            <ac:spMk id="128" creationId="{FDA66DE6-29DC-4005-ABD7-14CAC45CC4F3}"/>
          </ac:spMkLst>
        </pc:spChg>
        <pc:spChg chg="add del mod modVis">
          <ac:chgData name="Ugo MANTEL" userId="2d5b7065-31bb-4181-a7f8-a73bf0c30211" providerId="ADAL" clId="{9344D105-636D-4857-BD0F-AFC44A54BCCF}" dt="2021-05-24T11:32:39.060" v="4860"/>
          <ac:spMkLst>
            <pc:docMk/>
            <pc:sldMk cId="2003759014" sldId="10461"/>
            <ac:spMk id="129" creationId="{EEE54471-6BAE-4B1E-99DF-9065958AD139}"/>
          </ac:spMkLst>
        </pc:spChg>
        <pc:spChg chg="add del mod modVis">
          <ac:chgData name="Ugo MANTEL" userId="2d5b7065-31bb-4181-a7f8-a73bf0c30211" providerId="ADAL" clId="{9344D105-636D-4857-BD0F-AFC44A54BCCF}" dt="2021-05-24T11:32:40.350" v="4904"/>
          <ac:spMkLst>
            <pc:docMk/>
            <pc:sldMk cId="2003759014" sldId="10461"/>
            <ac:spMk id="130" creationId="{5E50D69F-D895-4FC1-BCAB-2D9AE2DE8048}"/>
          </ac:spMkLst>
        </pc:spChg>
        <pc:spChg chg="add del mod modVis">
          <ac:chgData name="Ugo MANTEL" userId="2d5b7065-31bb-4181-a7f8-a73bf0c30211" providerId="ADAL" clId="{9344D105-636D-4857-BD0F-AFC44A54BCCF}" dt="2021-05-24T11:32:41.550" v="4951"/>
          <ac:spMkLst>
            <pc:docMk/>
            <pc:sldMk cId="2003759014" sldId="10461"/>
            <ac:spMk id="131" creationId="{9069FFEF-DAEA-4544-939A-BF1DCC7F7359}"/>
          </ac:spMkLst>
        </pc:spChg>
        <pc:spChg chg="add del mod modVis">
          <ac:chgData name="Ugo MANTEL" userId="2d5b7065-31bb-4181-a7f8-a73bf0c30211" providerId="ADAL" clId="{9344D105-636D-4857-BD0F-AFC44A54BCCF}" dt="2021-05-24T11:32:44.847" v="4997"/>
          <ac:spMkLst>
            <pc:docMk/>
            <pc:sldMk cId="2003759014" sldId="10461"/>
            <ac:spMk id="132" creationId="{EDCDCFDA-54ED-4AB5-870D-AD14B657C0E2}"/>
          </ac:spMkLst>
        </pc:spChg>
        <pc:spChg chg="add del mod modVis">
          <ac:chgData name="Ugo MANTEL" userId="2d5b7065-31bb-4181-a7f8-a73bf0c30211" providerId="ADAL" clId="{9344D105-636D-4857-BD0F-AFC44A54BCCF}" dt="2021-05-24T11:32:46.134" v="5041"/>
          <ac:spMkLst>
            <pc:docMk/>
            <pc:sldMk cId="2003759014" sldId="10461"/>
            <ac:spMk id="133" creationId="{3AC30D39-C9F8-46E2-9755-92DEF6A3C4B1}"/>
          </ac:spMkLst>
        </pc:spChg>
        <pc:spChg chg="add del mod modVis">
          <ac:chgData name="Ugo MANTEL" userId="2d5b7065-31bb-4181-a7f8-a73bf0c30211" providerId="ADAL" clId="{9344D105-636D-4857-BD0F-AFC44A54BCCF}" dt="2021-05-24T11:33:05.112" v="5094"/>
          <ac:spMkLst>
            <pc:docMk/>
            <pc:sldMk cId="2003759014" sldId="10461"/>
            <ac:spMk id="134" creationId="{02D83790-100F-41D0-9EAD-B1CA02BBF730}"/>
          </ac:spMkLst>
        </pc:spChg>
        <pc:spChg chg="add del mod modVis">
          <ac:chgData name="Ugo MANTEL" userId="2d5b7065-31bb-4181-a7f8-a73bf0c30211" providerId="ADAL" clId="{9344D105-636D-4857-BD0F-AFC44A54BCCF}" dt="2021-05-24T11:37:35.438" v="5141"/>
          <ac:spMkLst>
            <pc:docMk/>
            <pc:sldMk cId="2003759014" sldId="10461"/>
            <ac:spMk id="135" creationId="{C09236D0-6A95-4D72-A682-D5531383543C}"/>
          </ac:spMkLst>
        </pc:spChg>
        <pc:spChg chg="add del mod modVis">
          <ac:chgData name="Ugo MANTEL" userId="2d5b7065-31bb-4181-a7f8-a73bf0c30211" providerId="ADAL" clId="{9344D105-636D-4857-BD0F-AFC44A54BCCF}" dt="2021-05-24T11:37:42.712" v="5185"/>
          <ac:spMkLst>
            <pc:docMk/>
            <pc:sldMk cId="2003759014" sldId="10461"/>
            <ac:spMk id="136" creationId="{F2E9960D-4922-4F6A-B248-66B2C7F9A50A}"/>
          </ac:spMkLst>
        </pc:spChg>
        <pc:spChg chg="add del mod modVis">
          <ac:chgData name="Ugo MANTEL" userId="2d5b7065-31bb-4181-a7f8-a73bf0c30211" providerId="ADAL" clId="{9344D105-636D-4857-BD0F-AFC44A54BCCF}" dt="2021-05-24T11:37:48.743" v="5229"/>
          <ac:spMkLst>
            <pc:docMk/>
            <pc:sldMk cId="2003759014" sldId="10461"/>
            <ac:spMk id="137" creationId="{3BD231B1-236C-4027-9370-C8382F7BF975}"/>
          </ac:spMkLst>
        </pc:spChg>
        <pc:spChg chg="add del mod modVis">
          <ac:chgData name="Ugo MANTEL" userId="2d5b7065-31bb-4181-a7f8-a73bf0c30211" providerId="ADAL" clId="{9344D105-636D-4857-BD0F-AFC44A54BCCF}" dt="2021-05-24T11:37:55.807" v="5273"/>
          <ac:spMkLst>
            <pc:docMk/>
            <pc:sldMk cId="2003759014" sldId="10461"/>
            <ac:spMk id="138" creationId="{B4D10019-CF03-4C1E-BEA3-1B5BD648EC47}"/>
          </ac:spMkLst>
        </pc:spChg>
        <pc:spChg chg="add mod">
          <ac:chgData name="Ugo MANTEL" userId="2d5b7065-31bb-4181-a7f8-a73bf0c30211" providerId="ADAL" clId="{9344D105-636D-4857-BD0F-AFC44A54BCCF}" dt="2021-05-24T11:59:13.394" v="5293"/>
          <ac:spMkLst>
            <pc:docMk/>
            <pc:sldMk cId="2003759014" sldId="10461"/>
            <ac:spMk id="139" creationId="{B6F4F1CD-801C-4462-B3EF-19E4D60E5415}"/>
          </ac:spMkLst>
        </pc:spChg>
        <pc:grpChg chg="mod topLvl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14" creationId="{737B65D2-3469-40C8-B1DB-FCCD38BA1F69}"/>
          </ac:grpSpMkLst>
        </pc:grpChg>
        <pc:grpChg chg="mod topLvl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17" creationId="{EA4BBDE3-F1AC-4311-8AF6-551AFB7DB08E}"/>
          </ac:grpSpMkLst>
        </pc:grpChg>
        <pc:grpChg chg="mod topLvl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20" creationId="{4B268BBB-63A5-4D88-9EEF-AEF0A59366D8}"/>
          </ac:grpSpMkLst>
        </pc:grpChg>
        <pc:grpChg chg="mod topLvl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23" creationId="{A998381A-EBBA-4B93-99C1-4EC0413264A9}"/>
          </ac:grpSpMkLst>
        </pc:grpChg>
        <pc:grpChg chg="del mod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26" creationId="{2D263A6F-20EB-43D2-81E9-90A9D24083E3}"/>
          </ac:grpSpMkLst>
        </pc:grpChg>
        <pc:grpChg chg="del mod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27" creationId="{AE9A966B-33CF-4406-A636-FB79CB894A5C}"/>
          </ac:grpSpMkLst>
        </pc:grpChg>
        <pc:grpChg chg="del mod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28" creationId="{4FDA452E-BBCA-45B3-A966-2373E6A9F8CE}"/>
          </ac:grpSpMkLst>
        </pc:grpChg>
        <pc:grpChg chg="del mod">
          <ac:chgData name="Ugo MANTEL" userId="2d5b7065-31bb-4181-a7f8-a73bf0c30211" providerId="ADAL" clId="{9344D105-636D-4857-BD0F-AFC44A54BCCF}" dt="2021-05-24T11:28:48.641" v="4164" actId="165"/>
          <ac:grpSpMkLst>
            <pc:docMk/>
            <pc:sldMk cId="2003759014" sldId="10461"/>
            <ac:grpSpMk id="29" creationId="{A884C600-90C0-4C01-A3CC-23C8E0CDA069}"/>
          </ac:grpSpMkLst>
        </pc:grpChg>
        <pc:grpChg chg="del">
          <ac:chgData name="Ugo MANTEL" userId="2d5b7065-31bb-4181-a7f8-a73bf0c30211" providerId="ADAL" clId="{9344D105-636D-4857-BD0F-AFC44A54BCCF}" dt="2021-05-24T09:40:45.492" v="2205" actId="478"/>
          <ac:grpSpMkLst>
            <pc:docMk/>
            <pc:sldMk cId="2003759014" sldId="10461"/>
            <ac:grpSpMk id="92" creationId="{E911C0A4-6D2A-4771-BA14-A45B6CE2FF37}"/>
          </ac:grpSpMkLst>
        </pc:grpChg>
        <pc:graphicFrameChg chg="mod">
          <ac:chgData name="Ugo MANTEL" userId="2d5b7065-31bb-4181-a7f8-a73bf0c30211" providerId="ADAL" clId="{9344D105-636D-4857-BD0F-AFC44A54BCCF}" dt="2021-05-24T11:37:55.807" v="5275"/>
          <ac:graphicFrameMkLst>
            <pc:docMk/>
            <pc:sldMk cId="2003759014" sldId="10461"/>
            <ac:graphicFrameMk id="4" creationId="{FE9A305D-3669-4634-B9B4-C6C2AFA8A793}"/>
          </ac:graphicFrameMkLst>
        </pc:graphicFrameChg>
        <pc:picChg chg="add mod">
          <ac:chgData name="Ugo MANTEL" userId="2d5b7065-31bb-4181-a7f8-a73bf0c30211" providerId="ADAL" clId="{9344D105-636D-4857-BD0F-AFC44A54BCCF}" dt="2021-05-24T11:14:57.048" v="2396" actId="12788"/>
          <ac:picMkLst>
            <pc:docMk/>
            <pc:sldMk cId="2003759014" sldId="10461"/>
            <ac:picMk id="9" creationId="{DEFA417D-B4D4-417B-9671-FFF60D0DDA53}"/>
          </ac:picMkLst>
        </pc:picChg>
        <pc:picChg chg="add del mod">
          <ac:chgData name="Ugo MANTEL" userId="2d5b7065-31bb-4181-a7f8-a73bf0c30211" providerId="ADAL" clId="{9344D105-636D-4857-BD0F-AFC44A54BCCF}" dt="2021-05-24T11:15:36.409" v="2406" actId="478"/>
          <ac:picMkLst>
            <pc:docMk/>
            <pc:sldMk cId="2003759014" sldId="10461"/>
            <ac:picMk id="11" creationId="{EB0EFC2D-D7C9-400A-BC9B-5E00D6E64470}"/>
          </ac:picMkLst>
        </pc:picChg>
        <pc:picChg chg="add mod">
          <ac:chgData name="Ugo MANTEL" userId="2d5b7065-31bb-4181-a7f8-a73bf0c30211" providerId="ADAL" clId="{9344D105-636D-4857-BD0F-AFC44A54BCCF}" dt="2021-05-24T11:16:28.595" v="2412" actId="1076"/>
          <ac:picMkLst>
            <pc:docMk/>
            <pc:sldMk cId="2003759014" sldId="10461"/>
            <ac:picMk id="13" creationId="{59A3E703-553E-45CA-A916-E1F289D7B9A6}"/>
          </ac:picMkLst>
        </pc:picChg>
        <pc:picChg chg="mod">
          <ac:chgData name="Ugo MANTEL" userId="2d5b7065-31bb-4181-a7f8-a73bf0c30211" providerId="ADAL" clId="{9344D105-636D-4857-BD0F-AFC44A54BCCF}" dt="2021-05-24T09:49:13.359" v="2259" actId="14100"/>
          <ac:picMkLst>
            <pc:docMk/>
            <pc:sldMk cId="2003759014" sldId="10461"/>
            <ac:picMk id="52" creationId="{23152ACA-0AB7-47A6-9C10-E209002B2451}"/>
          </ac:picMkLst>
        </pc:picChg>
        <pc:picChg chg="add mod">
          <ac:chgData name="Ugo MANTEL" userId="2d5b7065-31bb-4181-a7f8-a73bf0c30211" providerId="ADAL" clId="{9344D105-636D-4857-BD0F-AFC44A54BCCF}" dt="2021-05-24T11:15:34.502" v="2405" actId="12788"/>
          <ac:picMkLst>
            <pc:docMk/>
            <pc:sldMk cId="2003759014" sldId="10461"/>
            <ac:picMk id="83" creationId="{937FF442-3EF3-44DA-991B-C1DF06536518}"/>
          </ac:picMkLst>
        </pc:picChg>
      </pc:sldChg>
      <pc:sldChg chg="addSp modSp mod">
        <pc:chgData name="Ugo MANTEL" userId="2d5b7065-31bb-4181-a7f8-a73bf0c30211" providerId="ADAL" clId="{9344D105-636D-4857-BD0F-AFC44A54BCCF}" dt="2021-05-25T14:20:11.766" v="28464" actId="790"/>
        <pc:sldMkLst>
          <pc:docMk/>
          <pc:sldMk cId="994864461" sldId="10463"/>
        </pc:sldMkLst>
        <pc:spChg chg="mod">
          <ac:chgData name="Ugo MANTEL" userId="2d5b7065-31bb-4181-a7f8-a73bf0c30211" providerId="ADAL" clId="{9344D105-636D-4857-BD0F-AFC44A54BCCF}" dt="2021-05-25T14:20:11.715" v="28407" actId="790"/>
          <ac:spMkLst>
            <pc:docMk/>
            <pc:sldMk cId="994864461" sldId="10463"/>
            <ac:spMk id="2" creationId="{6141F854-3009-40D7-9038-56590105A49E}"/>
          </ac:spMkLst>
        </pc:spChg>
        <pc:spChg chg="mod">
          <ac:chgData name="Ugo MANTEL" userId="2d5b7065-31bb-4181-a7f8-a73bf0c30211" providerId="ADAL" clId="{9344D105-636D-4857-BD0F-AFC44A54BCCF}" dt="2021-05-25T14:20:11.716" v="28408" actId="790"/>
          <ac:spMkLst>
            <pc:docMk/>
            <pc:sldMk cId="994864461" sldId="10463"/>
            <ac:spMk id="14" creationId="{BF99168B-58D2-49E3-9128-C54D5771CCAF}"/>
          </ac:spMkLst>
        </pc:spChg>
        <pc:spChg chg="mod">
          <ac:chgData name="Ugo MANTEL" userId="2d5b7065-31bb-4181-a7f8-a73bf0c30211" providerId="ADAL" clId="{9344D105-636D-4857-BD0F-AFC44A54BCCF}" dt="2021-05-25T14:20:11.717" v="28409" actId="790"/>
          <ac:spMkLst>
            <pc:docMk/>
            <pc:sldMk cId="994864461" sldId="10463"/>
            <ac:spMk id="41" creationId="{8514CDF6-D3F3-4CEC-96D8-EB94AFEB3106}"/>
          </ac:spMkLst>
        </pc:spChg>
        <pc:spChg chg="mod">
          <ac:chgData name="Ugo MANTEL" userId="2d5b7065-31bb-4181-a7f8-a73bf0c30211" providerId="ADAL" clId="{9344D105-636D-4857-BD0F-AFC44A54BCCF}" dt="2021-05-25T14:20:11.718" v="28410" actId="790"/>
          <ac:spMkLst>
            <pc:docMk/>
            <pc:sldMk cId="994864461" sldId="10463"/>
            <ac:spMk id="42" creationId="{B14DB10B-7FE9-42ED-B303-F33106400EA9}"/>
          </ac:spMkLst>
        </pc:spChg>
        <pc:spChg chg="mod">
          <ac:chgData name="Ugo MANTEL" userId="2d5b7065-31bb-4181-a7f8-a73bf0c30211" providerId="ADAL" clId="{9344D105-636D-4857-BD0F-AFC44A54BCCF}" dt="2021-05-25T14:20:11.719" v="28411" actId="790"/>
          <ac:spMkLst>
            <pc:docMk/>
            <pc:sldMk cId="994864461" sldId="10463"/>
            <ac:spMk id="43" creationId="{E84EA5FA-08E9-40F6-A71F-8BA8F3E3ED99}"/>
          </ac:spMkLst>
        </pc:spChg>
        <pc:spChg chg="mod">
          <ac:chgData name="Ugo MANTEL" userId="2d5b7065-31bb-4181-a7f8-a73bf0c30211" providerId="ADAL" clId="{9344D105-636D-4857-BD0F-AFC44A54BCCF}" dt="2021-05-25T14:20:11.719" v="28412" actId="790"/>
          <ac:spMkLst>
            <pc:docMk/>
            <pc:sldMk cId="994864461" sldId="10463"/>
            <ac:spMk id="44" creationId="{F595688A-2B2A-4B18-BC8F-3E1BBE846D86}"/>
          </ac:spMkLst>
        </pc:spChg>
        <pc:spChg chg="mod">
          <ac:chgData name="Ugo MANTEL" userId="2d5b7065-31bb-4181-a7f8-a73bf0c30211" providerId="ADAL" clId="{9344D105-636D-4857-BD0F-AFC44A54BCCF}" dt="2021-05-25T14:20:11.720" v="28413" actId="790"/>
          <ac:spMkLst>
            <pc:docMk/>
            <pc:sldMk cId="994864461" sldId="10463"/>
            <ac:spMk id="45" creationId="{7A651798-9873-484A-BCBC-F1732F254FCF}"/>
          </ac:spMkLst>
        </pc:spChg>
        <pc:spChg chg="mod">
          <ac:chgData name="Ugo MANTEL" userId="2d5b7065-31bb-4181-a7f8-a73bf0c30211" providerId="ADAL" clId="{9344D105-636D-4857-BD0F-AFC44A54BCCF}" dt="2021-05-25T14:20:11.721" v="28414" actId="790"/>
          <ac:spMkLst>
            <pc:docMk/>
            <pc:sldMk cId="994864461" sldId="10463"/>
            <ac:spMk id="49" creationId="{D81D2065-13CD-4420-A58C-E72AE87D1A42}"/>
          </ac:spMkLst>
        </pc:spChg>
        <pc:spChg chg="mod">
          <ac:chgData name="Ugo MANTEL" userId="2d5b7065-31bb-4181-a7f8-a73bf0c30211" providerId="ADAL" clId="{9344D105-636D-4857-BD0F-AFC44A54BCCF}" dt="2021-05-25T14:20:11.722" v="28415" actId="790"/>
          <ac:spMkLst>
            <pc:docMk/>
            <pc:sldMk cId="994864461" sldId="10463"/>
            <ac:spMk id="50" creationId="{ACAAB4F1-8D2B-4B8D-A0C1-3794501DF384}"/>
          </ac:spMkLst>
        </pc:spChg>
        <pc:spChg chg="mod">
          <ac:chgData name="Ugo MANTEL" userId="2d5b7065-31bb-4181-a7f8-a73bf0c30211" providerId="ADAL" clId="{9344D105-636D-4857-BD0F-AFC44A54BCCF}" dt="2021-05-25T14:20:11.722" v="28416" actId="790"/>
          <ac:spMkLst>
            <pc:docMk/>
            <pc:sldMk cId="994864461" sldId="10463"/>
            <ac:spMk id="51" creationId="{CCA5A507-9498-412A-8734-37E9A0CAFBC2}"/>
          </ac:spMkLst>
        </pc:spChg>
        <pc:spChg chg="mod">
          <ac:chgData name="Ugo MANTEL" userId="2d5b7065-31bb-4181-a7f8-a73bf0c30211" providerId="ADAL" clId="{9344D105-636D-4857-BD0F-AFC44A54BCCF}" dt="2021-05-25T14:20:11.723" v="28417" actId="790"/>
          <ac:spMkLst>
            <pc:docMk/>
            <pc:sldMk cId="994864461" sldId="10463"/>
            <ac:spMk id="52" creationId="{9926A3AA-BF17-44D4-8DE7-9339CF1BE6FD}"/>
          </ac:spMkLst>
        </pc:spChg>
        <pc:spChg chg="mod">
          <ac:chgData name="Ugo MANTEL" userId="2d5b7065-31bb-4181-a7f8-a73bf0c30211" providerId="ADAL" clId="{9344D105-636D-4857-BD0F-AFC44A54BCCF}" dt="2021-05-25T14:20:11.724" v="28418" actId="790"/>
          <ac:spMkLst>
            <pc:docMk/>
            <pc:sldMk cId="994864461" sldId="10463"/>
            <ac:spMk id="53" creationId="{5E59300E-921D-44E2-90E6-C444434FE1E2}"/>
          </ac:spMkLst>
        </pc:spChg>
        <pc:spChg chg="mod">
          <ac:chgData name="Ugo MANTEL" userId="2d5b7065-31bb-4181-a7f8-a73bf0c30211" providerId="ADAL" clId="{9344D105-636D-4857-BD0F-AFC44A54BCCF}" dt="2021-05-25T14:20:11.726" v="28419" actId="790"/>
          <ac:spMkLst>
            <pc:docMk/>
            <pc:sldMk cId="994864461" sldId="10463"/>
            <ac:spMk id="56" creationId="{2FB57385-9778-4E16-88A7-927D307E97B3}"/>
          </ac:spMkLst>
        </pc:spChg>
        <pc:spChg chg="mod">
          <ac:chgData name="Ugo MANTEL" userId="2d5b7065-31bb-4181-a7f8-a73bf0c30211" providerId="ADAL" clId="{9344D105-636D-4857-BD0F-AFC44A54BCCF}" dt="2021-05-25T14:20:11.727" v="28420" actId="790"/>
          <ac:spMkLst>
            <pc:docMk/>
            <pc:sldMk cId="994864461" sldId="10463"/>
            <ac:spMk id="60" creationId="{16434E0F-0445-4AD4-82FB-D64C1DE95F23}"/>
          </ac:spMkLst>
        </pc:spChg>
        <pc:spChg chg="mod">
          <ac:chgData name="Ugo MANTEL" userId="2d5b7065-31bb-4181-a7f8-a73bf0c30211" providerId="ADAL" clId="{9344D105-636D-4857-BD0F-AFC44A54BCCF}" dt="2021-05-25T14:20:11.728" v="28421" actId="790"/>
          <ac:spMkLst>
            <pc:docMk/>
            <pc:sldMk cId="994864461" sldId="10463"/>
            <ac:spMk id="61" creationId="{A9D37744-99D5-4181-A4E2-3E7AF4C1AAEF}"/>
          </ac:spMkLst>
        </pc:spChg>
        <pc:spChg chg="mod">
          <ac:chgData name="Ugo MANTEL" userId="2d5b7065-31bb-4181-a7f8-a73bf0c30211" providerId="ADAL" clId="{9344D105-636D-4857-BD0F-AFC44A54BCCF}" dt="2021-05-25T14:20:11.729" v="28422" actId="790"/>
          <ac:spMkLst>
            <pc:docMk/>
            <pc:sldMk cId="994864461" sldId="10463"/>
            <ac:spMk id="62" creationId="{7CA1B84B-275B-4A40-B4C6-ACCA5B1EF060}"/>
          </ac:spMkLst>
        </pc:spChg>
        <pc:spChg chg="mod">
          <ac:chgData name="Ugo MANTEL" userId="2d5b7065-31bb-4181-a7f8-a73bf0c30211" providerId="ADAL" clId="{9344D105-636D-4857-BD0F-AFC44A54BCCF}" dt="2021-05-25T14:20:11.731" v="28424" actId="790"/>
          <ac:spMkLst>
            <pc:docMk/>
            <pc:sldMk cId="994864461" sldId="10463"/>
            <ac:spMk id="63" creationId="{34C8AF29-90C4-46FA-B9DC-F36ED53B3BDD}"/>
          </ac:spMkLst>
        </pc:spChg>
        <pc:spChg chg="mod">
          <ac:chgData name="Ugo MANTEL" userId="2d5b7065-31bb-4181-a7f8-a73bf0c30211" providerId="ADAL" clId="{9344D105-636D-4857-BD0F-AFC44A54BCCF}" dt="2021-05-25T14:20:11.732" v="28425" actId="790"/>
          <ac:spMkLst>
            <pc:docMk/>
            <pc:sldMk cId="994864461" sldId="10463"/>
            <ac:spMk id="64" creationId="{2D17AE97-4406-4CDC-B948-322489FAF64E}"/>
          </ac:spMkLst>
        </pc:spChg>
        <pc:spChg chg="mod">
          <ac:chgData name="Ugo MANTEL" userId="2d5b7065-31bb-4181-a7f8-a73bf0c30211" providerId="ADAL" clId="{9344D105-636D-4857-BD0F-AFC44A54BCCF}" dt="2021-05-25T14:20:11.730" v="28423" actId="790"/>
          <ac:spMkLst>
            <pc:docMk/>
            <pc:sldMk cId="994864461" sldId="10463"/>
            <ac:spMk id="65" creationId="{6959121F-EC41-4CB3-A845-BFD588522528}"/>
          </ac:spMkLst>
        </pc:spChg>
        <pc:spChg chg="mod">
          <ac:chgData name="Ugo MANTEL" userId="2d5b7065-31bb-4181-a7f8-a73bf0c30211" providerId="ADAL" clId="{9344D105-636D-4857-BD0F-AFC44A54BCCF}" dt="2021-05-25T14:20:11.732" v="28426" actId="790"/>
          <ac:spMkLst>
            <pc:docMk/>
            <pc:sldMk cId="994864461" sldId="10463"/>
            <ac:spMk id="66" creationId="{4479525C-995C-481A-84E6-2CD575176647}"/>
          </ac:spMkLst>
        </pc:spChg>
        <pc:spChg chg="mod">
          <ac:chgData name="Ugo MANTEL" userId="2d5b7065-31bb-4181-a7f8-a73bf0c30211" providerId="ADAL" clId="{9344D105-636D-4857-BD0F-AFC44A54BCCF}" dt="2021-05-25T14:20:11.733" v="28427" actId="790"/>
          <ac:spMkLst>
            <pc:docMk/>
            <pc:sldMk cId="994864461" sldId="10463"/>
            <ac:spMk id="67" creationId="{04E022E5-2E4D-42E2-AA60-46BE011C9266}"/>
          </ac:spMkLst>
        </pc:spChg>
        <pc:spChg chg="mod">
          <ac:chgData name="Ugo MANTEL" userId="2d5b7065-31bb-4181-a7f8-a73bf0c30211" providerId="ADAL" clId="{9344D105-636D-4857-BD0F-AFC44A54BCCF}" dt="2021-05-25T14:20:11.734" v="28428" actId="790"/>
          <ac:spMkLst>
            <pc:docMk/>
            <pc:sldMk cId="994864461" sldId="10463"/>
            <ac:spMk id="68" creationId="{E440AB09-76A6-4F09-B7C3-B68484BF0101}"/>
          </ac:spMkLst>
        </pc:spChg>
        <pc:spChg chg="mod">
          <ac:chgData name="Ugo MANTEL" userId="2d5b7065-31bb-4181-a7f8-a73bf0c30211" providerId="ADAL" clId="{9344D105-636D-4857-BD0F-AFC44A54BCCF}" dt="2021-05-25T14:20:11.735" v="28429" actId="790"/>
          <ac:spMkLst>
            <pc:docMk/>
            <pc:sldMk cId="994864461" sldId="10463"/>
            <ac:spMk id="69" creationId="{2011D7F9-8390-4E30-9AD1-E3611E2BC1CD}"/>
          </ac:spMkLst>
        </pc:spChg>
        <pc:spChg chg="mod">
          <ac:chgData name="Ugo MANTEL" userId="2d5b7065-31bb-4181-a7f8-a73bf0c30211" providerId="ADAL" clId="{9344D105-636D-4857-BD0F-AFC44A54BCCF}" dt="2021-05-25T14:20:11.736" v="28430" actId="790"/>
          <ac:spMkLst>
            <pc:docMk/>
            <pc:sldMk cId="994864461" sldId="10463"/>
            <ac:spMk id="70" creationId="{AFE4887D-245E-4A5E-8885-8AF19040C140}"/>
          </ac:spMkLst>
        </pc:spChg>
        <pc:spChg chg="mod">
          <ac:chgData name="Ugo MANTEL" userId="2d5b7065-31bb-4181-a7f8-a73bf0c30211" providerId="ADAL" clId="{9344D105-636D-4857-BD0F-AFC44A54BCCF}" dt="2021-05-25T14:20:11.736" v="28431" actId="790"/>
          <ac:spMkLst>
            <pc:docMk/>
            <pc:sldMk cId="994864461" sldId="10463"/>
            <ac:spMk id="71" creationId="{F0F2AF39-5991-495C-A600-6A657673BFB6}"/>
          </ac:spMkLst>
        </pc:spChg>
        <pc:spChg chg="mod">
          <ac:chgData name="Ugo MANTEL" userId="2d5b7065-31bb-4181-a7f8-a73bf0c30211" providerId="ADAL" clId="{9344D105-636D-4857-BD0F-AFC44A54BCCF}" dt="2021-05-25T14:20:11.737" v="28432" actId="790"/>
          <ac:spMkLst>
            <pc:docMk/>
            <pc:sldMk cId="994864461" sldId="10463"/>
            <ac:spMk id="72" creationId="{80311AF2-539D-40DF-BC68-A43B2EEB1602}"/>
          </ac:spMkLst>
        </pc:spChg>
        <pc:spChg chg="mod">
          <ac:chgData name="Ugo MANTEL" userId="2d5b7065-31bb-4181-a7f8-a73bf0c30211" providerId="ADAL" clId="{9344D105-636D-4857-BD0F-AFC44A54BCCF}" dt="2021-05-25T14:20:11.738" v="28433" actId="790"/>
          <ac:spMkLst>
            <pc:docMk/>
            <pc:sldMk cId="994864461" sldId="10463"/>
            <ac:spMk id="73" creationId="{0B2D4FEA-C321-48DA-A508-11F9FD1D872D}"/>
          </ac:spMkLst>
        </pc:spChg>
        <pc:spChg chg="mod">
          <ac:chgData name="Ugo MANTEL" userId="2d5b7065-31bb-4181-a7f8-a73bf0c30211" providerId="ADAL" clId="{9344D105-636D-4857-BD0F-AFC44A54BCCF}" dt="2021-05-25T14:20:11.739" v="28434" actId="790"/>
          <ac:spMkLst>
            <pc:docMk/>
            <pc:sldMk cId="994864461" sldId="10463"/>
            <ac:spMk id="74" creationId="{6C2C45BC-5F8F-4158-95FA-DBED5FF506B1}"/>
          </ac:spMkLst>
        </pc:spChg>
        <pc:spChg chg="mod">
          <ac:chgData name="Ugo MANTEL" userId="2d5b7065-31bb-4181-a7f8-a73bf0c30211" providerId="ADAL" clId="{9344D105-636D-4857-BD0F-AFC44A54BCCF}" dt="2021-05-25T14:20:11.740" v="28435" actId="790"/>
          <ac:spMkLst>
            <pc:docMk/>
            <pc:sldMk cId="994864461" sldId="10463"/>
            <ac:spMk id="75" creationId="{7B0FFDE9-FFD9-4A73-8832-170F98D17244}"/>
          </ac:spMkLst>
        </pc:spChg>
        <pc:spChg chg="mod">
          <ac:chgData name="Ugo MANTEL" userId="2d5b7065-31bb-4181-a7f8-a73bf0c30211" providerId="ADAL" clId="{9344D105-636D-4857-BD0F-AFC44A54BCCF}" dt="2021-05-25T14:20:11.741" v="28436" actId="790"/>
          <ac:spMkLst>
            <pc:docMk/>
            <pc:sldMk cId="994864461" sldId="10463"/>
            <ac:spMk id="76" creationId="{04AB1183-48A5-4AAB-AFC7-EE17CBA30D1F}"/>
          </ac:spMkLst>
        </pc:spChg>
        <pc:spChg chg="mod">
          <ac:chgData name="Ugo MANTEL" userId="2d5b7065-31bb-4181-a7f8-a73bf0c30211" providerId="ADAL" clId="{9344D105-636D-4857-BD0F-AFC44A54BCCF}" dt="2021-05-25T14:20:11.742" v="28437" actId="790"/>
          <ac:spMkLst>
            <pc:docMk/>
            <pc:sldMk cId="994864461" sldId="10463"/>
            <ac:spMk id="77" creationId="{953DC0E8-B9BA-4272-838D-47500A00630B}"/>
          </ac:spMkLst>
        </pc:spChg>
        <pc:spChg chg="mod">
          <ac:chgData name="Ugo MANTEL" userId="2d5b7065-31bb-4181-a7f8-a73bf0c30211" providerId="ADAL" clId="{9344D105-636D-4857-BD0F-AFC44A54BCCF}" dt="2021-05-25T14:20:11.743" v="28438" actId="790"/>
          <ac:spMkLst>
            <pc:docMk/>
            <pc:sldMk cId="994864461" sldId="10463"/>
            <ac:spMk id="78" creationId="{6E94A301-188D-411F-840A-724B132E6629}"/>
          </ac:spMkLst>
        </pc:spChg>
        <pc:spChg chg="mod">
          <ac:chgData name="Ugo MANTEL" userId="2d5b7065-31bb-4181-a7f8-a73bf0c30211" providerId="ADAL" clId="{9344D105-636D-4857-BD0F-AFC44A54BCCF}" dt="2021-05-25T14:20:11.744" v="28439" actId="790"/>
          <ac:spMkLst>
            <pc:docMk/>
            <pc:sldMk cId="994864461" sldId="10463"/>
            <ac:spMk id="79" creationId="{7F2E29EF-CCA5-49C7-B921-5468D45F7D5D}"/>
          </ac:spMkLst>
        </pc:spChg>
        <pc:spChg chg="mod">
          <ac:chgData name="Ugo MANTEL" userId="2d5b7065-31bb-4181-a7f8-a73bf0c30211" providerId="ADAL" clId="{9344D105-636D-4857-BD0F-AFC44A54BCCF}" dt="2021-05-25T14:20:11.745" v="28440" actId="790"/>
          <ac:spMkLst>
            <pc:docMk/>
            <pc:sldMk cId="994864461" sldId="10463"/>
            <ac:spMk id="80" creationId="{F2B59353-E19F-4D93-9E7E-E095010072BD}"/>
          </ac:spMkLst>
        </pc:spChg>
        <pc:spChg chg="mod">
          <ac:chgData name="Ugo MANTEL" userId="2d5b7065-31bb-4181-a7f8-a73bf0c30211" providerId="ADAL" clId="{9344D105-636D-4857-BD0F-AFC44A54BCCF}" dt="2021-05-25T14:20:11.746" v="28441" actId="790"/>
          <ac:spMkLst>
            <pc:docMk/>
            <pc:sldMk cId="994864461" sldId="10463"/>
            <ac:spMk id="81" creationId="{CC201E51-AC66-4CA9-A83C-D0C9C8FFE8BE}"/>
          </ac:spMkLst>
        </pc:spChg>
        <pc:spChg chg="mod">
          <ac:chgData name="Ugo MANTEL" userId="2d5b7065-31bb-4181-a7f8-a73bf0c30211" providerId="ADAL" clId="{9344D105-636D-4857-BD0F-AFC44A54BCCF}" dt="2021-05-25T14:20:11.747" v="28442" actId="790"/>
          <ac:spMkLst>
            <pc:docMk/>
            <pc:sldMk cId="994864461" sldId="10463"/>
            <ac:spMk id="82" creationId="{89D680A3-5621-4E69-8DC5-AAE03504131D}"/>
          </ac:spMkLst>
        </pc:spChg>
        <pc:spChg chg="add mod">
          <ac:chgData name="Ugo MANTEL" userId="2d5b7065-31bb-4181-a7f8-a73bf0c30211" providerId="ADAL" clId="{9344D105-636D-4857-BD0F-AFC44A54BCCF}" dt="2021-05-25T14:20:11.766" v="28464" actId="790"/>
          <ac:spMkLst>
            <pc:docMk/>
            <pc:sldMk cId="994864461" sldId="10463"/>
            <ac:spMk id="92" creationId="{E7D22619-E8D4-4A88-8485-350757193325}"/>
          </ac:spMkLst>
        </pc:spChg>
        <pc:spChg chg="mod">
          <ac:chgData name="Ugo MANTEL" userId="2d5b7065-31bb-4181-a7f8-a73bf0c30211" providerId="ADAL" clId="{9344D105-636D-4857-BD0F-AFC44A54BCCF}" dt="2021-05-25T14:20:11.748" v="28443" actId="790"/>
          <ac:spMkLst>
            <pc:docMk/>
            <pc:sldMk cId="994864461" sldId="10463"/>
            <ac:spMk id="96" creationId="{60AA0A4A-BEEE-4604-956C-953BE71EFC9D}"/>
          </ac:spMkLst>
        </pc:spChg>
        <pc:spChg chg="mod">
          <ac:chgData name="Ugo MANTEL" userId="2d5b7065-31bb-4181-a7f8-a73bf0c30211" providerId="ADAL" clId="{9344D105-636D-4857-BD0F-AFC44A54BCCF}" dt="2021-05-25T14:20:11.749" v="28444" actId="790"/>
          <ac:spMkLst>
            <pc:docMk/>
            <pc:sldMk cId="994864461" sldId="10463"/>
            <ac:spMk id="109" creationId="{B8C651EF-8C79-4EEF-BCDF-0C547882B32B}"/>
          </ac:spMkLst>
        </pc:spChg>
        <pc:spChg chg="mod">
          <ac:chgData name="Ugo MANTEL" userId="2d5b7065-31bb-4181-a7f8-a73bf0c30211" providerId="ADAL" clId="{9344D105-636D-4857-BD0F-AFC44A54BCCF}" dt="2021-05-25T14:20:11.749" v="28445" actId="790"/>
          <ac:spMkLst>
            <pc:docMk/>
            <pc:sldMk cId="994864461" sldId="10463"/>
            <ac:spMk id="110" creationId="{C1242745-0D13-455E-8D76-9CABDFB68D09}"/>
          </ac:spMkLst>
        </pc:spChg>
        <pc:spChg chg="mod">
          <ac:chgData name="Ugo MANTEL" userId="2d5b7065-31bb-4181-a7f8-a73bf0c30211" providerId="ADAL" clId="{9344D105-636D-4857-BD0F-AFC44A54BCCF}" dt="2021-05-25T14:20:11.750" v="28446" actId="790"/>
          <ac:spMkLst>
            <pc:docMk/>
            <pc:sldMk cId="994864461" sldId="10463"/>
            <ac:spMk id="111" creationId="{F76AA831-FD95-45A6-8806-8F9A459A7676}"/>
          </ac:spMkLst>
        </pc:spChg>
        <pc:spChg chg="mod">
          <ac:chgData name="Ugo MANTEL" userId="2d5b7065-31bb-4181-a7f8-a73bf0c30211" providerId="ADAL" clId="{9344D105-636D-4857-BD0F-AFC44A54BCCF}" dt="2021-05-25T14:20:11.751" v="28447" actId="790"/>
          <ac:spMkLst>
            <pc:docMk/>
            <pc:sldMk cId="994864461" sldId="10463"/>
            <ac:spMk id="112" creationId="{FEDE8EDB-9323-48AA-A8D4-0F9C692E7A3C}"/>
          </ac:spMkLst>
        </pc:spChg>
        <pc:spChg chg="mod">
          <ac:chgData name="Ugo MANTEL" userId="2d5b7065-31bb-4181-a7f8-a73bf0c30211" providerId="ADAL" clId="{9344D105-636D-4857-BD0F-AFC44A54BCCF}" dt="2021-05-25T14:20:11.752" v="28448" actId="790"/>
          <ac:spMkLst>
            <pc:docMk/>
            <pc:sldMk cId="994864461" sldId="10463"/>
            <ac:spMk id="113" creationId="{66FFCA00-9590-4FD6-BEA6-01F02807C391}"/>
          </ac:spMkLst>
        </pc:spChg>
        <pc:spChg chg="mod">
          <ac:chgData name="Ugo MANTEL" userId="2d5b7065-31bb-4181-a7f8-a73bf0c30211" providerId="ADAL" clId="{9344D105-636D-4857-BD0F-AFC44A54BCCF}" dt="2021-05-25T14:20:11.753" v="28449" actId="790"/>
          <ac:spMkLst>
            <pc:docMk/>
            <pc:sldMk cId="994864461" sldId="10463"/>
            <ac:spMk id="114" creationId="{83E3983C-7907-4845-8A3C-B826235A80DE}"/>
          </ac:spMkLst>
        </pc:spChg>
        <pc:spChg chg="mod">
          <ac:chgData name="Ugo MANTEL" userId="2d5b7065-31bb-4181-a7f8-a73bf0c30211" providerId="ADAL" clId="{9344D105-636D-4857-BD0F-AFC44A54BCCF}" dt="2021-05-25T14:20:11.754" v="28450" actId="790"/>
          <ac:spMkLst>
            <pc:docMk/>
            <pc:sldMk cId="994864461" sldId="10463"/>
            <ac:spMk id="115" creationId="{856DB5DA-5C74-47EE-A53D-D14D437C76BE}"/>
          </ac:spMkLst>
        </pc:spChg>
        <pc:spChg chg="mod">
          <ac:chgData name="Ugo MANTEL" userId="2d5b7065-31bb-4181-a7f8-a73bf0c30211" providerId="ADAL" clId="{9344D105-636D-4857-BD0F-AFC44A54BCCF}" dt="2021-05-25T14:20:11.754" v="28451" actId="790"/>
          <ac:spMkLst>
            <pc:docMk/>
            <pc:sldMk cId="994864461" sldId="10463"/>
            <ac:spMk id="116" creationId="{256E6065-18B1-4B1A-9B1C-395D7858CEF7}"/>
          </ac:spMkLst>
        </pc:spChg>
        <pc:spChg chg="mod">
          <ac:chgData name="Ugo MANTEL" userId="2d5b7065-31bb-4181-a7f8-a73bf0c30211" providerId="ADAL" clId="{9344D105-636D-4857-BD0F-AFC44A54BCCF}" dt="2021-05-25T14:20:11.755" v="28452" actId="790"/>
          <ac:spMkLst>
            <pc:docMk/>
            <pc:sldMk cId="994864461" sldId="10463"/>
            <ac:spMk id="117" creationId="{8FF8270B-E7B5-4CEF-9925-A038D6A17D9E}"/>
          </ac:spMkLst>
        </pc:spChg>
        <pc:spChg chg="mod">
          <ac:chgData name="Ugo MANTEL" userId="2d5b7065-31bb-4181-a7f8-a73bf0c30211" providerId="ADAL" clId="{9344D105-636D-4857-BD0F-AFC44A54BCCF}" dt="2021-05-25T14:20:11.756" v="28453" actId="790"/>
          <ac:spMkLst>
            <pc:docMk/>
            <pc:sldMk cId="994864461" sldId="10463"/>
            <ac:spMk id="118" creationId="{1CF9F239-F8D1-473B-9E76-AB8282E7869E}"/>
          </ac:spMkLst>
        </pc:spChg>
        <pc:spChg chg="mod">
          <ac:chgData name="Ugo MANTEL" userId="2d5b7065-31bb-4181-a7f8-a73bf0c30211" providerId="ADAL" clId="{9344D105-636D-4857-BD0F-AFC44A54BCCF}" dt="2021-05-25T14:20:11.756" v="28454" actId="790"/>
          <ac:spMkLst>
            <pc:docMk/>
            <pc:sldMk cId="994864461" sldId="10463"/>
            <ac:spMk id="119" creationId="{69B6E3C2-D5C0-49B4-903F-13C06B000B16}"/>
          </ac:spMkLst>
        </pc:spChg>
        <pc:spChg chg="mod">
          <ac:chgData name="Ugo MANTEL" userId="2d5b7065-31bb-4181-a7f8-a73bf0c30211" providerId="ADAL" clId="{9344D105-636D-4857-BD0F-AFC44A54BCCF}" dt="2021-05-25T14:20:11.757" v="28455" actId="790"/>
          <ac:spMkLst>
            <pc:docMk/>
            <pc:sldMk cId="994864461" sldId="10463"/>
            <ac:spMk id="120" creationId="{78EECC20-D216-4136-9D42-27F7C1CFFE8D}"/>
          </ac:spMkLst>
        </pc:spChg>
        <pc:spChg chg="mod">
          <ac:chgData name="Ugo MANTEL" userId="2d5b7065-31bb-4181-a7f8-a73bf0c30211" providerId="ADAL" clId="{9344D105-636D-4857-BD0F-AFC44A54BCCF}" dt="2021-05-25T14:20:11.758" v="28456" actId="790"/>
          <ac:spMkLst>
            <pc:docMk/>
            <pc:sldMk cId="994864461" sldId="10463"/>
            <ac:spMk id="138" creationId="{786755AD-722C-439B-AACB-BCCC66E0BC2C}"/>
          </ac:spMkLst>
        </pc:spChg>
        <pc:spChg chg="mod">
          <ac:chgData name="Ugo MANTEL" userId="2d5b7065-31bb-4181-a7f8-a73bf0c30211" providerId="ADAL" clId="{9344D105-636D-4857-BD0F-AFC44A54BCCF}" dt="2021-05-25T14:20:11.759" v="28457" actId="790"/>
          <ac:spMkLst>
            <pc:docMk/>
            <pc:sldMk cId="994864461" sldId="10463"/>
            <ac:spMk id="144" creationId="{6EE8D667-CA8A-4C92-9EF4-8F0051D4E11C}"/>
          </ac:spMkLst>
        </pc:spChg>
        <pc:spChg chg="mod">
          <ac:chgData name="Ugo MANTEL" userId="2d5b7065-31bb-4181-a7f8-a73bf0c30211" providerId="ADAL" clId="{9344D105-636D-4857-BD0F-AFC44A54BCCF}" dt="2021-05-25T14:20:11.760" v="28458" actId="790"/>
          <ac:spMkLst>
            <pc:docMk/>
            <pc:sldMk cId="994864461" sldId="10463"/>
            <ac:spMk id="152" creationId="{D3C9318C-98C0-4C62-8EBD-9AD019DF3AC0}"/>
          </ac:spMkLst>
        </pc:spChg>
        <pc:spChg chg="mod">
          <ac:chgData name="Ugo MANTEL" userId="2d5b7065-31bb-4181-a7f8-a73bf0c30211" providerId="ADAL" clId="{9344D105-636D-4857-BD0F-AFC44A54BCCF}" dt="2021-05-25T14:20:11.760" v="28459" actId="790"/>
          <ac:spMkLst>
            <pc:docMk/>
            <pc:sldMk cId="994864461" sldId="10463"/>
            <ac:spMk id="154" creationId="{15C04357-F4FC-4E40-89E9-1938E6F2473A}"/>
          </ac:spMkLst>
        </pc:spChg>
        <pc:spChg chg="mod">
          <ac:chgData name="Ugo MANTEL" userId="2d5b7065-31bb-4181-a7f8-a73bf0c30211" providerId="ADAL" clId="{9344D105-636D-4857-BD0F-AFC44A54BCCF}" dt="2021-05-25T14:20:11.761" v="28460" actId="790"/>
          <ac:spMkLst>
            <pc:docMk/>
            <pc:sldMk cId="994864461" sldId="10463"/>
            <ac:spMk id="157" creationId="{030C0D2C-3FC1-42D9-B6D4-42F94552EB2A}"/>
          </ac:spMkLst>
        </pc:spChg>
        <pc:spChg chg="mod">
          <ac:chgData name="Ugo MANTEL" userId="2d5b7065-31bb-4181-a7f8-a73bf0c30211" providerId="ADAL" clId="{9344D105-636D-4857-BD0F-AFC44A54BCCF}" dt="2021-05-25T14:20:11.762" v="28461" actId="790"/>
          <ac:spMkLst>
            <pc:docMk/>
            <pc:sldMk cId="994864461" sldId="10463"/>
            <ac:spMk id="162" creationId="{8226D5C3-E940-4438-8464-F5F38C7B3362}"/>
          </ac:spMkLst>
        </pc:spChg>
        <pc:spChg chg="mod">
          <ac:chgData name="Ugo MANTEL" userId="2d5b7065-31bb-4181-a7f8-a73bf0c30211" providerId="ADAL" clId="{9344D105-636D-4857-BD0F-AFC44A54BCCF}" dt="2021-05-25T14:20:11.764" v="28462" actId="790"/>
          <ac:spMkLst>
            <pc:docMk/>
            <pc:sldMk cId="994864461" sldId="10463"/>
            <ac:spMk id="163" creationId="{26C15832-81C9-4BE1-A3CD-12515BF77ED9}"/>
          </ac:spMkLst>
        </pc:spChg>
        <pc:spChg chg="mod">
          <ac:chgData name="Ugo MANTEL" userId="2d5b7065-31bb-4181-a7f8-a73bf0c30211" providerId="ADAL" clId="{9344D105-636D-4857-BD0F-AFC44A54BCCF}" dt="2021-05-25T14:20:11.765" v="28463" actId="790"/>
          <ac:spMkLst>
            <pc:docMk/>
            <pc:sldMk cId="994864461" sldId="10463"/>
            <ac:spMk id="164" creationId="{D679480C-80AA-4247-B47E-1515FE438063}"/>
          </ac:spMkLst>
        </pc:spChg>
      </pc:sldChg>
      <pc:sldChg chg="addSp modSp mod">
        <pc:chgData name="Ugo MANTEL" userId="2d5b7065-31bb-4181-a7f8-a73bf0c30211" providerId="ADAL" clId="{9344D105-636D-4857-BD0F-AFC44A54BCCF}" dt="2021-05-25T07:52:58.458" v="11634" actId="20577"/>
        <pc:sldMkLst>
          <pc:docMk/>
          <pc:sldMk cId="4123958613" sldId="10464"/>
        </pc:sldMkLst>
        <pc:spChg chg="mod">
          <ac:chgData name="Ugo MANTEL" userId="2d5b7065-31bb-4181-a7f8-a73bf0c30211" providerId="ADAL" clId="{9344D105-636D-4857-BD0F-AFC44A54BCCF}" dt="2021-05-25T07:52:19.667" v="11623" actId="20577"/>
          <ac:spMkLst>
            <pc:docMk/>
            <pc:sldMk cId="4123958613" sldId="10464"/>
            <ac:spMk id="53" creationId="{5E59300E-921D-44E2-90E6-C444434FE1E2}"/>
          </ac:spMkLst>
        </pc:spChg>
        <pc:spChg chg="add mod">
          <ac:chgData name="Ugo MANTEL" userId="2d5b7065-31bb-4181-a7f8-a73bf0c30211" providerId="ADAL" clId="{9344D105-636D-4857-BD0F-AFC44A54BCCF}" dt="2021-05-25T07:52:58.458" v="11634" actId="20577"/>
          <ac:spMkLst>
            <pc:docMk/>
            <pc:sldMk cId="4123958613" sldId="10464"/>
            <ac:spMk id="91" creationId="{71562F2B-ACFD-42F1-925B-D00C6D2F796D}"/>
          </ac:spMkLst>
        </pc:spChg>
      </pc:sldChg>
      <pc:sldChg chg="addSp delSp modSp mod">
        <pc:chgData name="Ugo MANTEL" userId="2d5b7065-31bb-4181-a7f8-a73bf0c30211" providerId="ADAL" clId="{9344D105-636D-4857-BD0F-AFC44A54BCCF}" dt="2021-05-25T14:20:12.550" v="29301" actId="790"/>
        <pc:sldMkLst>
          <pc:docMk/>
          <pc:sldMk cId="1519874409" sldId="10465"/>
        </pc:sldMkLst>
        <pc:spChg chg="mod">
          <ac:chgData name="Ugo MANTEL" userId="2d5b7065-31bb-4181-a7f8-a73bf0c30211" providerId="ADAL" clId="{9344D105-636D-4857-BD0F-AFC44A54BCCF}" dt="2021-05-25T14:20:12.519" v="29273" actId="790"/>
          <ac:spMkLst>
            <pc:docMk/>
            <pc:sldMk cId="1519874409" sldId="10465"/>
            <ac:spMk id="2" creationId="{22CE637A-08CD-4B57-9E43-4D794A97D425}"/>
          </ac:spMkLst>
        </pc:spChg>
        <pc:spChg chg="add del mod modVis">
          <ac:chgData name="Ugo MANTEL" userId="2d5b7065-31bb-4181-a7f8-a73bf0c30211" providerId="ADAL" clId="{9344D105-636D-4857-BD0F-AFC44A54BCCF}" dt="2021-05-25T09:06:46.146" v="12354"/>
          <ac:spMkLst>
            <pc:docMk/>
            <pc:sldMk cId="1519874409" sldId="10465"/>
            <ac:spMk id="4" creationId="{21B917F8-FABB-4A59-93BF-C99FB56AFB57}"/>
          </ac:spMkLst>
        </pc:spChg>
        <pc:spChg chg="mod">
          <ac:chgData name="Ugo MANTEL" userId="2d5b7065-31bb-4181-a7f8-a73bf0c30211" providerId="ADAL" clId="{9344D105-636D-4857-BD0F-AFC44A54BCCF}" dt="2021-05-25T14:20:12.520" v="29274" actId="790"/>
          <ac:spMkLst>
            <pc:docMk/>
            <pc:sldMk cId="1519874409" sldId="10465"/>
            <ac:spMk id="17" creationId="{EAAF5B4D-73E3-453B-97EC-E705A8C01554}"/>
          </ac:spMkLst>
        </pc:spChg>
        <pc:spChg chg="mod">
          <ac:chgData name="Ugo MANTEL" userId="2d5b7065-31bb-4181-a7f8-a73bf0c30211" providerId="ADAL" clId="{9344D105-636D-4857-BD0F-AFC44A54BCCF}" dt="2021-05-25T14:20:12.522" v="29276" actId="790"/>
          <ac:spMkLst>
            <pc:docMk/>
            <pc:sldMk cId="1519874409" sldId="10465"/>
            <ac:spMk id="18" creationId="{B77F2001-EECC-4091-A46F-B13C297AFD91}"/>
          </ac:spMkLst>
        </pc:spChg>
        <pc:spChg chg="mod">
          <ac:chgData name="Ugo MANTEL" userId="2d5b7065-31bb-4181-a7f8-a73bf0c30211" providerId="ADAL" clId="{9344D105-636D-4857-BD0F-AFC44A54BCCF}" dt="2021-05-25T14:20:12.521" v="29275" actId="790"/>
          <ac:spMkLst>
            <pc:docMk/>
            <pc:sldMk cId="1519874409" sldId="10465"/>
            <ac:spMk id="23" creationId="{0C95EF0E-C411-407B-BF74-3CD0A42FA4B6}"/>
          </ac:spMkLst>
        </pc:spChg>
        <pc:spChg chg="mod">
          <ac:chgData name="Ugo MANTEL" userId="2d5b7065-31bb-4181-a7f8-a73bf0c30211" providerId="ADAL" clId="{9344D105-636D-4857-BD0F-AFC44A54BCCF}" dt="2021-05-25T14:20:12.522" v="29277" actId="790"/>
          <ac:spMkLst>
            <pc:docMk/>
            <pc:sldMk cId="1519874409" sldId="10465"/>
            <ac:spMk id="26" creationId="{1467DC4C-D91B-4890-86E8-8B6B324D9380}"/>
          </ac:spMkLst>
        </pc:spChg>
        <pc:spChg chg="mod">
          <ac:chgData name="Ugo MANTEL" userId="2d5b7065-31bb-4181-a7f8-a73bf0c30211" providerId="ADAL" clId="{9344D105-636D-4857-BD0F-AFC44A54BCCF}" dt="2021-05-25T14:20:12.523" v="29278" actId="790"/>
          <ac:spMkLst>
            <pc:docMk/>
            <pc:sldMk cId="1519874409" sldId="10465"/>
            <ac:spMk id="29" creationId="{D49177BB-F71C-42AC-9A8C-812D68405634}"/>
          </ac:spMkLst>
        </pc:spChg>
        <pc:spChg chg="mod">
          <ac:chgData name="Ugo MANTEL" userId="2d5b7065-31bb-4181-a7f8-a73bf0c30211" providerId="ADAL" clId="{9344D105-636D-4857-BD0F-AFC44A54BCCF}" dt="2021-05-25T14:20:12.524" v="29279" actId="790"/>
          <ac:spMkLst>
            <pc:docMk/>
            <pc:sldMk cId="1519874409" sldId="10465"/>
            <ac:spMk id="30" creationId="{990B3219-5A14-48A6-A29D-258D28CA817A}"/>
          </ac:spMkLst>
        </pc:spChg>
        <pc:spChg chg="mod">
          <ac:chgData name="Ugo MANTEL" userId="2d5b7065-31bb-4181-a7f8-a73bf0c30211" providerId="ADAL" clId="{9344D105-636D-4857-BD0F-AFC44A54BCCF}" dt="2021-05-25T14:20:12.524" v="29280" actId="790"/>
          <ac:spMkLst>
            <pc:docMk/>
            <pc:sldMk cId="1519874409" sldId="10465"/>
            <ac:spMk id="31" creationId="{98270023-57CC-4644-A288-9156D3D5FBCE}"/>
          </ac:spMkLst>
        </pc:spChg>
        <pc:spChg chg="mod">
          <ac:chgData name="Ugo MANTEL" userId="2d5b7065-31bb-4181-a7f8-a73bf0c30211" providerId="ADAL" clId="{9344D105-636D-4857-BD0F-AFC44A54BCCF}" dt="2021-05-25T14:20:12.525" v="29281" actId="790"/>
          <ac:spMkLst>
            <pc:docMk/>
            <pc:sldMk cId="1519874409" sldId="10465"/>
            <ac:spMk id="32" creationId="{9E722F19-F936-4688-BE29-34529CE98CFB}"/>
          </ac:spMkLst>
        </pc:spChg>
        <pc:spChg chg="mod">
          <ac:chgData name="Ugo MANTEL" userId="2d5b7065-31bb-4181-a7f8-a73bf0c30211" providerId="ADAL" clId="{9344D105-636D-4857-BD0F-AFC44A54BCCF}" dt="2021-05-25T14:20:12.526" v="29282" actId="790"/>
          <ac:spMkLst>
            <pc:docMk/>
            <pc:sldMk cId="1519874409" sldId="10465"/>
            <ac:spMk id="41" creationId="{013DFE0D-012C-4AE2-A406-883249D468BC}"/>
          </ac:spMkLst>
        </pc:spChg>
        <pc:spChg chg="mod">
          <ac:chgData name="Ugo MANTEL" userId="2d5b7065-31bb-4181-a7f8-a73bf0c30211" providerId="ADAL" clId="{9344D105-636D-4857-BD0F-AFC44A54BCCF}" dt="2021-05-25T14:20:12.536" v="29290" actId="790"/>
          <ac:spMkLst>
            <pc:docMk/>
            <pc:sldMk cId="1519874409" sldId="10465"/>
            <ac:spMk id="44" creationId="{0B53E553-6743-45FB-AE8E-BF6F0D532CEA}"/>
          </ac:spMkLst>
        </pc:spChg>
        <pc:spChg chg="mod">
          <ac:chgData name="Ugo MANTEL" userId="2d5b7065-31bb-4181-a7f8-a73bf0c30211" providerId="ADAL" clId="{9344D105-636D-4857-BD0F-AFC44A54BCCF}" dt="2021-05-25T14:20:12.527" v="29283" actId="790"/>
          <ac:spMkLst>
            <pc:docMk/>
            <pc:sldMk cId="1519874409" sldId="10465"/>
            <ac:spMk id="45" creationId="{81D23D10-6232-4D82-8BCF-13B9525E1855}"/>
          </ac:spMkLst>
        </pc:spChg>
        <pc:spChg chg="mod">
          <ac:chgData name="Ugo MANTEL" userId="2d5b7065-31bb-4181-a7f8-a73bf0c30211" providerId="ADAL" clId="{9344D105-636D-4857-BD0F-AFC44A54BCCF}" dt="2021-05-25T14:20:12.528" v="29284" actId="790"/>
          <ac:spMkLst>
            <pc:docMk/>
            <pc:sldMk cId="1519874409" sldId="10465"/>
            <ac:spMk id="46" creationId="{041E4A41-5EFF-4E8D-82D0-B598CD53AEB6}"/>
          </ac:spMkLst>
        </pc:spChg>
        <pc:spChg chg="mod">
          <ac:chgData name="Ugo MANTEL" userId="2d5b7065-31bb-4181-a7f8-a73bf0c30211" providerId="ADAL" clId="{9344D105-636D-4857-BD0F-AFC44A54BCCF}" dt="2021-05-25T14:20:12.529" v="29285" actId="790"/>
          <ac:spMkLst>
            <pc:docMk/>
            <pc:sldMk cId="1519874409" sldId="10465"/>
            <ac:spMk id="49" creationId="{9FC58EF0-5CD6-4A71-8940-F6C8C883FBD1}"/>
          </ac:spMkLst>
        </pc:spChg>
        <pc:spChg chg="mod">
          <ac:chgData name="Ugo MANTEL" userId="2d5b7065-31bb-4181-a7f8-a73bf0c30211" providerId="ADAL" clId="{9344D105-636D-4857-BD0F-AFC44A54BCCF}" dt="2021-05-25T14:20:12.530" v="29286" actId="790"/>
          <ac:spMkLst>
            <pc:docMk/>
            <pc:sldMk cId="1519874409" sldId="10465"/>
            <ac:spMk id="50" creationId="{0B6C5844-4A3E-4824-8EAE-60D3B3E1BFF5}"/>
          </ac:spMkLst>
        </pc:spChg>
        <pc:spChg chg="mod">
          <ac:chgData name="Ugo MANTEL" userId="2d5b7065-31bb-4181-a7f8-a73bf0c30211" providerId="ADAL" clId="{9344D105-636D-4857-BD0F-AFC44A54BCCF}" dt="2021-05-25T14:20:12.531" v="29287" actId="790"/>
          <ac:spMkLst>
            <pc:docMk/>
            <pc:sldMk cId="1519874409" sldId="10465"/>
            <ac:spMk id="51" creationId="{8F8A1894-627E-4A77-8FEF-2E5519D9FC48}"/>
          </ac:spMkLst>
        </pc:spChg>
        <pc:spChg chg="mod">
          <ac:chgData name="Ugo MANTEL" userId="2d5b7065-31bb-4181-a7f8-a73bf0c30211" providerId="ADAL" clId="{9344D105-636D-4857-BD0F-AFC44A54BCCF}" dt="2021-05-25T14:20:12.534" v="29288" actId="790"/>
          <ac:spMkLst>
            <pc:docMk/>
            <pc:sldMk cId="1519874409" sldId="10465"/>
            <ac:spMk id="52" creationId="{76A2D6C4-57ED-451A-A7F1-033FE34AB68E}"/>
          </ac:spMkLst>
        </pc:spChg>
        <pc:spChg chg="mod">
          <ac:chgData name="Ugo MANTEL" userId="2d5b7065-31bb-4181-a7f8-a73bf0c30211" providerId="ADAL" clId="{9344D105-636D-4857-BD0F-AFC44A54BCCF}" dt="2021-05-25T14:20:12.534" v="29289" actId="790"/>
          <ac:spMkLst>
            <pc:docMk/>
            <pc:sldMk cId="1519874409" sldId="10465"/>
            <ac:spMk id="53" creationId="{1D696651-4ADA-4682-8B2D-872B8258B7F2}"/>
          </ac:spMkLst>
        </pc:spChg>
        <pc:spChg chg="mod">
          <ac:chgData name="Ugo MANTEL" userId="2d5b7065-31bb-4181-a7f8-a73bf0c30211" providerId="ADAL" clId="{9344D105-636D-4857-BD0F-AFC44A54BCCF}" dt="2021-05-25T14:20:12.537" v="29291" actId="790"/>
          <ac:spMkLst>
            <pc:docMk/>
            <pc:sldMk cId="1519874409" sldId="10465"/>
            <ac:spMk id="59" creationId="{3DAFC222-EE91-423E-A279-AC68BF7E5200}"/>
          </ac:spMkLst>
        </pc:spChg>
        <pc:spChg chg="mod">
          <ac:chgData name="Ugo MANTEL" userId="2d5b7065-31bb-4181-a7f8-a73bf0c30211" providerId="ADAL" clId="{9344D105-636D-4857-BD0F-AFC44A54BCCF}" dt="2021-05-25T14:20:12.544" v="29295" actId="790"/>
          <ac:spMkLst>
            <pc:docMk/>
            <pc:sldMk cId="1519874409" sldId="10465"/>
            <ac:spMk id="75" creationId="{3B90C99E-5118-46A1-8F4B-BC0DCBD5F532}"/>
          </ac:spMkLst>
        </pc:spChg>
        <pc:spChg chg="mod">
          <ac:chgData name="Ugo MANTEL" userId="2d5b7065-31bb-4181-a7f8-a73bf0c30211" providerId="ADAL" clId="{9344D105-636D-4857-BD0F-AFC44A54BCCF}" dt="2021-05-25T14:20:12.545" v="29296" actId="790"/>
          <ac:spMkLst>
            <pc:docMk/>
            <pc:sldMk cId="1519874409" sldId="10465"/>
            <ac:spMk id="78" creationId="{29A37347-61AA-4078-80BD-C960E43A81AF}"/>
          </ac:spMkLst>
        </pc:spChg>
        <pc:spChg chg="mod">
          <ac:chgData name="Ugo MANTEL" userId="2d5b7065-31bb-4181-a7f8-a73bf0c30211" providerId="ADAL" clId="{9344D105-636D-4857-BD0F-AFC44A54BCCF}" dt="2021-05-25T14:20:12.548" v="29299" actId="790"/>
          <ac:spMkLst>
            <pc:docMk/>
            <pc:sldMk cId="1519874409" sldId="10465"/>
            <ac:spMk id="81" creationId="{21CC608C-B99A-4A42-9697-626D17010014}"/>
          </ac:spMkLst>
        </pc:spChg>
        <pc:spChg chg="mod">
          <ac:chgData name="Ugo MANTEL" userId="2d5b7065-31bb-4181-a7f8-a73bf0c30211" providerId="ADAL" clId="{9344D105-636D-4857-BD0F-AFC44A54BCCF}" dt="2021-05-25T14:20:12.546" v="29297" actId="790"/>
          <ac:spMkLst>
            <pc:docMk/>
            <pc:sldMk cId="1519874409" sldId="10465"/>
            <ac:spMk id="87" creationId="{011A9D4A-70AD-43A5-9A8B-1BA37B50CD90}"/>
          </ac:spMkLst>
        </pc:spChg>
        <pc:spChg chg="mod">
          <ac:chgData name="Ugo MANTEL" userId="2d5b7065-31bb-4181-a7f8-a73bf0c30211" providerId="ADAL" clId="{9344D105-636D-4857-BD0F-AFC44A54BCCF}" dt="2021-05-25T14:20:12.547" v="29298" actId="790"/>
          <ac:spMkLst>
            <pc:docMk/>
            <pc:sldMk cId="1519874409" sldId="10465"/>
            <ac:spMk id="92" creationId="{8AB39739-AED6-4791-9E02-58EE9F6AB505}"/>
          </ac:spMkLst>
        </pc:spChg>
        <pc:spChg chg="mod">
          <ac:chgData name="Ugo MANTEL" userId="2d5b7065-31bb-4181-a7f8-a73bf0c30211" providerId="ADAL" clId="{9344D105-636D-4857-BD0F-AFC44A54BCCF}" dt="2021-05-25T14:20:12.539" v="29292" actId="790"/>
          <ac:spMkLst>
            <pc:docMk/>
            <pc:sldMk cId="1519874409" sldId="10465"/>
            <ac:spMk id="94" creationId="{BF59A564-3768-4FD0-BB89-C2C9D89D7D6F}"/>
          </ac:spMkLst>
        </pc:spChg>
        <pc:spChg chg="mod">
          <ac:chgData name="Ugo MANTEL" userId="2d5b7065-31bb-4181-a7f8-a73bf0c30211" providerId="ADAL" clId="{9344D105-636D-4857-BD0F-AFC44A54BCCF}" dt="2021-05-25T14:20:12.549" v="29300" actId="790"/>
          <ac:spMkLst>
            <pc:docMk/>
            <pc:sldMk cId="1519874409" sldId="10465"/>
            <ac:spMk id="96" creationId="{CE4E2441-955C-4882-BD20-B9505DC3A971}"/>
          </ac:spMkLst>
        </pc:spChg>
        <pc:spChg chg="mod">
          <ac:chgData name="Ugo MANTEL" userId="2d5b7065-31bb-4181-a7f8-a73bf0c30211" providerId="ADAL" clId="{9344D105-636D-4857-BD0F-AFC44A54BCCF}" dt="2021-05-25T14:20:12.542" v="29293" actId="790"/>
          <ac:spMkLst>
            <pc:docMk/>
            <pc:sldMk cId="1519874409" sldId="10465"/>
            <ac:spMk id="97" creationId="{8FC70572-4538-4FAA-BEC9-F74E3EC477C1}"/>
          </ac:spMkLst>
        </pc:spChg>
        <pc:spChg chg="mod">
          <ac:chgData name="Ugo MANTEL" userId="2d5b7065-31bb-4181-a7f8-a73bf0c30211" providerId="ADAL" clId="{9344D105-636D-4857-BD0F-AFC44A54BCCF}" dt="2021-05-25T14:20:12.543" v="29294" actId="790"/>
          <ac:spMkLst>
            <pc:docMk/>
            <pc:sldMk cId="1519874409" sldId="10465"/>
            <ac:spMk id="98" creationId="{FC1F4A9D-DB6A-4376-88B8-66395C2A5202}"/>
          </ac:spMkLst>
        </pc:spChg>
        <pc:spChg chg="mod">
          <ac:chgData name="Ugo MANTEL" userId="2d5b7065-31bb-4181-a7f8-a73bf0c30211" providerId="ADAL" clId="{9344D105-636D-4857-BD0F-AFC44A54BCCF}" dt="2021-05-25T14:20:12.550" v="29301" actId="790"/>
          <ac:spMkLst>
            <pc:docMk/>
            <pc:sldMk cId="1519874409" sldId="10465"/>
            <ac:spMk id="99" creationId="{A3D680AA-841F-4FE7-9115-FEE6A855B5C5}"/>
          </ac:spMkLst>
        </pc:spChg>
        <pc:graphicFrameChg chg="mod">
          <ac:chgData name="Ugo MANTEL" userId="2d5b7065-31bb-4181-a7f8-a73bf0c30211" providerId="ADAL" clId="{9344D105-636D-4857-BD0F-AFC44A54BCCF}" dt="2021-05-25T09:06:46.148" v="12356"/>
          <ac:graphicFrameMkLst>
            <pc:docMk/>
            <pc:sldMk cId="1519874409" sldId="10465"/>
            <ac:graphicFrameMk id="3" creationId="{44A8661F-A698-4B3A-8522-3EA11ED55901}"/>
          </ac:graphicFrameMkLst>
        </pc:graphicFrameChg>
      </pc:sldChg>
      <pc:sldChg chg="add">
        <pc:chgData name="Ugo MANTEL" userId="2d5b7065-31bb-4181-a7f8-a73bf0c30211" providerId="ADAL" clId="{9344D105-636D-4857-BD0F-AFC44A54BCCF}" dt="2021-05-24T11:51:36.601" v="5290"/>
        <pc:sldMkLst>
          <pc:docMk/>
          <pc:sldMk cId="2049462253" sldId="10467"/>
        </pc:sldMkLst>
      </pc:sldChg>
      <pc:sldChg chg="addSp modSp add">
        <pc:chgData name="Ugo MANTEL" userId="2d5b7065-31bb-4181-a7f8-a73bf0c30211" providerId="ADAL" clId="{9344D105-636D-4857-BD0F-AFC44A54BCCF}" dt="2021-05-24T11:59:54.153" v="5301"/>
        <pc:sldMkLst>
          <pc:docMk/>
          <pc:sldMk cId="2750370863" sldId="10468"/>
        </pc:sldMkLst>
        <pc:spChg chg="add mod">
          <ac:chgData name="Ugo MANTEL" userId="2d5b7065-31bb-4181-a7f8-a73bf0c30211" providerId="ADAL" clId="{9344D105-636D-4857-BD0F-AFC44A54BCCF}" dt="2021-05-24T11:59:54.153" v="5301"/>
          <ac:spMkLst>
            <pc:docMk/>
            <pc:sldMk cId="2750370863" sldId="10468"/>
            <ac:spMk id="59" creationId="{A7FDBE4A-C7D9-442B-8CC3-61E99914C89F}"/>
          </ac:spMkLst>
        </pc:spChg>
      </pc:sldChg>
      <pc:sldChg chg="del">
        <pc:chgData name="Ugo MANTEL" userId="2d5b7065-31bb-4181-a7f8-a73bf0c30211" providerId="ADAL" clId="{9344D105-636D-4857-BD0F-AFC44A54BCCF}" dt="2021-05-24T15:50:00.950" v="9111" actId="47"/>
        <pc:sldMkLst>
          <pc:docMk/>
          <pc:sldMk cId="3039853858" sldId="10469"/>
        </pc:sldMkLst>
      </pc:sldChg>
      <pc:sldChg chg="addSp delSp modSp mod ord">
        <pc:chgData name="Ugo MANTEL" userId="2d5b7065-31bb-4181-a7f8-a73bf0c30211" providerId="ADAL" clId="{9344D105-636D-4857-BD0F-AFC44A54BCCF}" dt="2021-05-25T15:00:30.989" v="37725"/>
        <pc:sldMkLst>
          <pc:docMk/>
          <pc:sldMk cId="246696543" sldId="10470"/>
        </pc:sldMkLst>
        <pc:spChg chg="del mod">
          <ac:chgData name="Ugo MANTEL" userId="2d5b7065-31bb-4181-a7f8-a73bf0c30211" providerId="ADAL" clId="{9344D105-636D-4857-BD0F-AFC44A54BCCF}" dt="2021-05-25T15:00:26.929" v="37720" actId="478"/>
          <ac:spMkLst>
            <pc:docMk/>
            <pc:sldMk cId="246696543" sldId="10470"/>
            <ac:spMk id="2" creationId="{9BD2639D-DCC0-44D5-BA6B-7FD2B3FE6960}"/>
          </ac:spMkLst>
        </pc:spChg>
        <pc:spChg chg="add del mod">
          <ac:chgData name="Ugo MANTEL" userId="2d5b7065-31bb-4181-a7f8-a73bf0c30211" providerId="ADAL" clId="{9344D105-636D-4857-BD0F-AFC44A54BCCF}" dt="2021-05-25T15:00:30.506" v="37723" actId="478"/>
          <ac:spMkLst>
            <pc:docMk/>
            <pc:sldMk cId="246696543" sldId="10470"/>
            <ac:spMk id="4" creationId="{342E4EF6-3DBD-4761-BE85-7BDB2BAF5286}"/>
          </ac:spMkLst>
        </pc:spChg>
        <pc:spChg chg="mod">
          <ac:chgData name="Ugo MANTEL" userId="2d5b7065-31bb-4181-a7f8-a73bf0c30211" providerId="ADAL" clId="{9344D105-636D-4857-BD0F-AFC44A54BCCF}" dt="2021-05-25T14:20:13.374" v="30092" actId="790"/>
          <ac:spMkLst>
            <pc:docMk/>
            <pc:sldMk cId="246696543" sldId="10470"/>
            <ac:spMk id="8" creationId="{AA3CDC90-54F7-480D-A0C8-E46C65C92BB6}"/>
          </ac:spMkLst>
        </pc:spChg>
        <pc:spChg chg="mod">
          <ac:chgData name="Ugo MANTEL" userId="2d5b7065-31bb-4181-a7f8-a73bf0c30211" providerId="ADAL" clId="{9344D105-636D-4857-BD0F-AFC44A54BCCF}" dt="2021-05-25T14:20:13.375" v="30093" actId="790"/>
          <ac:spMkLst>
            <pc:docMk/>
            <pc:sldMk cId="246696543" sldId="10470"/>
            <ac:spMk id="9" creationId="{08DC229D-9D4E-4AD4-945F-1D13A2A073C1}"/>
          </ac:spMkLst>
        </pc:spChg>
        <pc:spChg chg="del mod">
          <ac:chgData name="Ugo MANTEL" userId="2d5b7065-31bb-4181-a7f8-a73bf0c30211" providerId="ADAL" clId="{9344D105-636D-4857-BD0F-AFC44A54BCCF}" dt="2021-05-25T15:00:26.929" v="37720" actId="478"/>
          <ac:spMkLst>
            <pc:docMk/>
            <pc:sldMk cId="246696543" sldId="10470"/>
            <ac:spMk id="29" creationId="{73115FFA-06D2-43F6-9A18-2172D29EC764}"/>
          </ac:spMkLst>
        </pc:spChg>
        <pc:spChg chg="del mod">
          <ac:chgData name="Ugo MANTEL" userId="2d5b7065-31bb-4181-a7f8-a73bf0c30211" providerId="ADAL" clId="{9344D105-636D-4857-BD0F-AFC44A54BCCF}" dt="2021-05-25T15:00:26.929" v="37720" actId="478"/>
          <ac:spMkLst>
            <pc:docMk/>
            <pc:sldMk cId="246696543" sldId="10470"/>
            <ac:spMk id="69" creationId="{6CC4A358-2A09-460F-8DE2-7FC6205936D8}"/>
          </ac:spMkLst>
        </pc:spChg>
        <pc:spChg chg="mod">
          <ac:chgData name="Ugo MANTEL" userId="2d5b7065-31bb-4181-a7f8-a73bf0c30211" providerId="ADAL" clId="{9344D105-636D-4857-BD0F-AFC44A54BCCF}" dt="2021-05-25T14:20:13.402" v="30112" actId="790"/>
          <ac:spMkLst>
            <pc:docMk/>
            <pc:sldMk cId="246696543" sldId="10470"/>
            <ac:spMk id="70" creationId="{69512478-4F7C-4EB8-B587-69AC4EA2524C}"/>
          </ac:spMkLst>
        </pc:spChg>
        <pc:spChg chg="mod">
          <ac:chgData name="Ugo MANTEL" userId="2d5b7065-31bb-4181-a7f8-a73bf0c30211" providerId="ADAL" clId="{9344D105-636D-4857-BD0F-AFC44A54BCCF}" dt="2021-05-25T14:20:13.379" v="30095" actId="790"/>
          <ac:spMkLst>
            <pc:docMk/>
            <pc:sldMk cId="246696543" sldId="10470"/>
            <ac:spMk id="71" creationId="{6D20AF9C-AD4E-4705-8646-82C3F902C567}"/>
          </ac:spMkLst>
        </pc:spChg>
        <pc:spChg chg="mod">
          <ac:chgData name="Ugo MANTEL" userId="2d5b7065-31bb-4181-a7f8-a73bf0c30211" providerId="ADAL" clId="{9344D105-636D-4857-BD0F-AFC44A54BCCF}" dt="2021-05-25T14:20:13.380" v="30096" actId="790"/>
          <ac:spMkLst>
            <pc:docMk/>
            <pc:sldMk cId="246696543" sldId="10470"/>
            <ac:spMk id="74" creationId="{BFA5C3C2-52D4-4D73-B267-0DDE883B9F06}"/>
          </ac:spMkLst>
        </pc:spChg>
        <pc:spChg chg="mod">
          <ac:chgData name="Ugo MANTEL" userId="2d5b7065-31bb-4181-a7f8-a73bf0c30211" providerId="ADAL" clId="{9344D105-636D-4857-BD0F-AFC44A54BCCF}" dt="2021-05-25T14:20:13.381" v="30097" actId="790"/>
          <ac:spMkLst>
            <pc:docMk/>
            <pc:sldMk cId="246696543" sldId="10470"/>
            <ac:spMk id="75" creationId="{FD51F5E5-2F67-4B93-A14E-0F721FD83409}"/>
          </ac:spMkLst>
        </pc:spChg>
        <pc:spChg chg="mod">
          <ac:chgData name="Ugo MANTEL" userId="2d5b7065-31bb-4181-a7f8-a73bf0c30211" providerId="ADAL" clId="{9344D105-636D-4857-BD0F-AFC44A54BCCF}" dt="2021-05-25T14:20:13.382" v="30098" actId="790"/>
          <ac:spMkLst>
            <pc:docMk/>
            <pc:sldMk cId="246696543" sldId="10470"/>
            <ac:spMk id="76" creationId="{DC7B39B4-6883-43E3-9131-411630C9A092}"/>
          </ac:spMkLst>
        </pc:spChg>
        <pc:spChg chg="mod">
          <ac:chgData name="Ugo MANTEL" userId="2d5b7065-31bb-4181-a7f8-a73bf0c30211" providerId="ADAL" clId="{9344D105-636D-4857-BD0F-AFC44A54BCCF}" dt="2021-05-25T14:20:13.382" v="30099" actId="790"/>
          <ac:spMkLst>
            <pc:docMk/>
            <pc:sldMk cId="246696543" sldId="10470"/>
            <ac:spMk id="77" creationId="{4A69330F-8915-4BF0-BEF4-0906E0F9C36E}"/>
          </ac:spMkLst>
        </pc:spChg>
        <pc:spChg chg="mod">
          <ac:chgData name="Ugo MANTEL" userId="2d5b7065-31bb-4181-a7f8-a73bf0c30211" providerId="ADAL" clId="{9344D105-636D-4857-BD0F-AFC44A54BCCF}" dt="2021-05-25T14:20:13.383" v="30100" actId="790"/>
          <ac:spMkLst>
            <pc:docMk/>
            <pc:sldMk cId="246696543" sldId="10470"/>
            <ac:spMk id="79" creationId="{926410C2-A1F6-421F-BC6B-E17012BC18FC}"/>
          </ac:spMkLst>
        </pc:spChg>
        <pc:spChg chg="mod">
          <ac:chgData name="Ugo MANTEL" userId="2d5b7065-31bb-4181-a7f8-a73bf0c30211" providerId="ADAL" clId="{9344D105-636D-4857-BD0F-AFC44A54BCCF}" dt="2021-05-25T14:20:13.385" v="30101" actId="790"/>
          <ac:spMkLst>
            <pc:docMk/>
            <pc:sldMk cId="246696543" sldId="10470"/>
            <ac:spMk id="81" creationId="{41C7D8BC-B160-452B-A653-FE8C817C0DE5}"/>
          </ac:spMkLst>
        </pc:spChg>
        <pc:spChg chg="mod">
          <ac:chgData name="Ugo MANTEL" userId="2d5b7065-31bb-4181-a7f8-a73bf0c30211" providerId="ADAL" clId="{9344D105-636D-4857-BD0F-AFC44A54BCCF}" dt="2021-05-25T14:20:13.386" v="30102" actId="790"/>
          <ac:spMkLst>
            <pc:docMk/>
            <pc:sldMk cId="246696543" sldId="10470"/>
            <ac:spMk id="83" creationId="{092273F5-8613-4F3F-B694-87D17D60CA3A}"/>
          </ac:spMkLst>
        </pc:spChg>
        <pc:spChg chg="mod">
          <ac:chgData name="Ugo MANTEL" userId="2d5b7065-31bb-4181-a7f8-a73bf0c30211" providerId="ADAL" clId="{9344D105-636D-4857-BD0F-AFC44A54BCCF}" dt="2021-05-25T14:20:13.387" v="30103" actId="790"/>
          <ac:spMkLst>
            <pc:docMk/>
            <pc:sldMk cId="246696543" sldId="10470"/>
            <ac:spMk id="84" creationId="{E0D6334A-71C5-4811-B3B9-4A3926681EE1}"/>
          </ac:spMkLst>
        </pc:spChg>
        <pc:spChg chg="mod">
          <ac:chgData name="Ugo MANTEL" userId="2d5b7065-31bb-4181-a7f8-a73bf0c30211" providerId="ADAL" clId="{9344D105-636D-4857-BD0F-AFC44A54BCCF}" dt="2021-05-25T14:20:13.388" v="30104" actId="790"/>
          <ac:spMkLst>
            <pc:docMk/>
            <pc:sldMk cId="246696543" sldId="10470"/>
            <ac:spMk id="85" creationId="{8691ED70-943C-4072-BAEC-A95B12AAFE00}"/>
          </ac:spMkLst>
        </pc:spChg>
        <pc:spChg chg="mod">
          <ac:chgData name="Ugo MANTEL" userId="2d5b7065-31bb-4181-a7f8-a73bf0c30211" providerId="ADAL" clId="{9344D105-636D-4857-BD0F-AFC44A54BCCF}" dt="2021-05-25T14:20:13.389" v="30105" actId="790"/>
          <ac:spMkLst>
            <pc:docMk/>
            <pc:sldMk cId="246696543" sldId="10470"/>
            <ac:spMk id="98" creationId="{6337AF24-4179-4310-9455-DAE4CFDCDABB}"/>
          </ac:spMkLst>
        </pc:spChg>
        <pc:spChg chg="mod">
          <ac:chgData name="Ugo MANTEL" userId="2d5b7065-31bb-4181-a7f8-a73bf0c30211" providerId="ADAL" clId="{9344D105-636D-4857-BD0F-AFC44A54BCCF}" dt="2021-05-25T14:20:13.393" v="30106" actId="790"/>
          <ac:spMkLst>
            <pc:docMk/>
            <pc:sldMk cId="246696543" sldId="10470"/>
            <ac:spMk id="104" creationId="{306E4210-9494-45F0-BCA5-5DE31A995A05}"/>
          </ac:spMkLst>
        </pc:spChg>
        <pc:spChg chg="mod">
          <ac:chgData name="Ugo MANTEL" userId="2d5b7065-31bb-4181-a7f8-a73bf0c30211" providerId="ADAL" clId="{9344D105-636D-4857-BD0F-AFC44A54BCCF}" dt="2021-05-25T14:20:13.394" v="30107" actId="790"/>
          <ac:spMkLst>
            <pc:docMk/>
            <pc:sldMk cId="246696543" sldId="10470"/>
            <ac:spMk id="105" creationId="{BC8E7AD7-ACE7-4907-9606-689CA2783FBF}"/>
          </ac:spMkLst>
        </pc:spChg>
        <pc:spChg chg="mod">
          <ac:chgData name="Ugo MANTEL" userId="2d5b7065-31bb-4181-a7f8-a73bf0c30211" providerId="ADAL" clId="{9344D105-636D-4857-BD0F-AFC44A54BCCF}" dt="2021-05-25T14:20:13.395" v="30108" actId="790"/>
          <ac:spMkLst>
            <pc:docMk/>
            <pc:sldMk cId="246696543" sldId="10470"/>
            <ac:spMk id="106" creationId="{D2ED2DB6-16B9-47C7-861D-66CE6ABD6994}"/>
          </ac:spMkLst>
        </pc:spChg>
        <pc:spChg chg="mod">
          <ac:chgData name="Ugo MANTEL" userId="2d5b7065-31bb-4181-a7f8-a73bf0c30211" providerId="ADAL" clId="{9344D105-636D-4857-BD0F-AFC44A54BCCF}" dt="2021-05-25T14:20:13.397" v="30109" actId="790"/>
          <ac:spMkLst>
            <pc:docMk/>
            <pc:sldMk cId="246696543" sldId="10470"/>
            <ac:spMk id="107" creationId="{C3FE6728-B471-4469-822F-E6CCF454F4E3}"/>
          </ac:spMkLst>
        </pc:spChg>
        <pc:spChg chg="mod">
          <ac:chgData name="Ugo MANTEL" userId="2d5b7065-31bb-4181-a7f8-a73bf0c30211" providerId="ADAL" clId="{9344D105-636D-4857-BD0F-AFC44A54BCCF}" dt="2021-05-25T14:20:13.397" v="30110" actId="790"/>
          <ac:spMkLst>
            <pc:docMk/>
            <pc:sldMk cId="246696543" sldId="10470"/>
            <ac:spMk id="108" creationId="{74F08308-F3AF-47D3-926C-68B9BC30C142}"/>
          </ac:spMkLst>
        </pc:spChg>
        <pc:spChg chg="mod">
          <ac:chgData name="Ugo MANTEL" userId="2d5b7065-31bb-4181-a7f8-a73bf0c30211" providerId="ADAL" clId="{9344D105-636D-4857-BD0F-AFC44A54BCCF}" dt="2021-05-25T14:20:13.403" v="30113" actId="790"/>
          <ac:spMkLst>
            <pc:docMk/>
            <pc:sldMk cId="246696543" sldId="10470"/>
            <ac:spMk id="109" creationId="{900E0DB4-63DE-411E-95D1-CDDE6BD22BEC}"/>
          </ac:spMkLst>
        </pc:spChg>
        <pc:spChg chg="mod">
          <ac:chgData name="Ugo MANTEL" userId="2d5b7065-31bb-4181-a7f8-a73bf0c30211" providerId="ADAL" clId="{9344D105-636D-4857-BD0F-AFC44A54BCCF}" dt="2021-05-25T14:20:13.403" v="30114" actId="790"/>
          <ac:spMkLst>
            <pc:docMk/>
            <pc:sldMk cId="246696543" sldId="10470"/>
            <ac:spMk id="110" creationId="{FDC6DE17-F845-4ACC-AF9C-2831EC5B38A6}"/>
          </ac:spMkLst>
        </pc:spChg>
        <pc:spChg chg="mod">
          <ac:chgData name="Ugo MANTEL" userId="2d5b7065-31bb-4181-a7f8-a73bf0c30211" providerId="ADAL" clId="{9344D105-636D-4857-BD0F-AFC44A54BCCF}" dt="2021-05-25T14:20:13.404" v="30115" actId="790"/>
          <ac:spMkLst>
            <pc:docMk/>
            <pc:sldMk cId="246696543" sldId="10470"/>
            <ac:spMk id="114" creationId="{D24ADC21-3DB4-48FF-9089-1AC595AD08C2}"/>
          </ac:spMkLst>
        </pc:spChg>
        <pc:spChg chg="mod">
          <ac:chgData name="Ugo MANTEL" userId="2d5b7065-31bb-4181-a7f8-a73bf0c30211" providerId="ADAL" clId="{9344D105-636D-4857-BD0F-AFC44A54BCCF}" dt="2021-05-25T14:20:13.404" v="30116" actId="790"/>
          <ac:spMkLst>
            <pc:docMk/>
            <pc:sldMk cId="246696543" sldId="10470"/>
            <ac:spMk id="115" creationId="{89D31E51-F145-4E23-B085-988A1B42FF11}"/>
          </ac:spMkLst>
        </pc:spChg>
        <pc:spChg chg="mod">
          <ac:chgData name="Ugo MANTEL" userId="2d5b7065-31bb-4181-a7f8-a73bf0c30211" providerId="ADAL" clId="{9344D105-636D-4857-BD0F-AFC44A54BCCF}" dt="2021-05-25T14:20:13.405" v="30117" actId="790"/>
          <ac:spMkLst>
            <pc:docMk/>
            <pc:sldMk cId="246696543" sldId="10470"/>
            <ac:spMk id="116" creationId="{D12CBC38-01FD-43CD-9717-BA62835105E9}"/>
          </ac:spMkLst>
        </pc:spChg>
        <pc:spChg chg="mod">
          <ac:chgData name="Ugo MANTEL" userId="2d5b7065-31bb-4181-a7f8-a73bf0c30211" providerId="ADAL" clId="{9344D105-636D-4857-BD0F-AFC44A54BCCF}" dt="2021-05-25T14:20:13.407" v="30118" actId="790"/>
          <ac:spMkLst>
            <pc:docMk/>
            <pc:sldMk cId="246696543" sldId="10470"/>
            <ac:spMk id="125" creationId="{D3B4B401-D104-4A5F-B626-0FAE8929CF61}"/>
          </ac:spMkLst>
        </pc:spChg>
        <pc:graphicFrameChg chg="mod">
          <ac:chgData name="Ugo MANTEL" userId="2d5b7065-31bb-4181-a7f8-a73bf0c30211" providerId="ADAL" clId="{9344D105-636D-4857-BD0F-AFC44A54BCCF}" dt="2021-05-25T15:00:30.989" v="37725"/>
          <ac:graphicFrameMkLst>
            <pc:docMk/>
            <pc:sldMk cId="246696543" sldId="10470"/>
            <ac:graphicFrameMk id="30" creationId="{53E3E7D1-27D2-497A-A4F4-626376A2C07A}"/>
          </ac:graphicFrameMkLst>
        </pc:graphicFrameChg>
        <pc:picChg chg="del">
          <ac:chgData name="Ugo MANTEL" userId="2d5b7065-31bb-4181-a7f8-a73bf0c30211" providerId="ADAL" clId="{9344D105-636D-4857-BD0F-AFC44A54BCCF}" dt="2021-05-25T14:58:56.162" v="37520" actId="478"/>
          <ac:picMkLst>
            <pc:docMk/>
            <pc:sldMk cId="246696543" sldId="10470"/>
            <ac:picMk id="126" creationId="{B5704220-A864-4D76-BE66-E5F4E16EE97D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5:01:59.627" v="37726" actId="478"/>
        <pc:sldMkLst>
          <pc:docMk/>
          <pc:sldMk cId="3771311343" sldId="10471"/>
        </pc:sldMkLst>
        <pc:spChg chg="add del mod modVis">
          <ac:chgData name="Ugo MANTEL" userId="2d5b7065-31bb-4181-a7f8-a73bf0c30211" providerId="ADAL" clId="{9344D105-636D-4857-BD0F-AFC44A54BCCF}" dt="2021-05-25T14:56:44.278" v="37472"/>
          <ac:spMkLst>
            <pc:docMk/>
            <pc:sldMk cId="3771311343" sldId="10471"/>
            <ac:spMk id="2" creationId="{3FE5DB50-0F3C-4EBC-A617-EDECEB7D6C09}"/>
          </ac:spMkLst>
        </pc:spChg>
        <pc:spChg chg="add del mod modVis">
          <ac:chgData name="Ugo MANTEL" userId="2d5b7065-31bb-4181-a7f8-a73bf0c30211" providerId="ADAL" clId="{9344D105-636D-4857-BD0F-AFC44A54BCCF}" dt="2021-05-24T16:03:44.912" v="9285"/>
          <ac:spMkLst>
            <pc:docMk/>
            <pc:sldMk cId="3771311343" sldId="10471"/>
            <ac:spMk id="2" creationId="{48664D3E-295C-4B37-B1A7-A8A50D046F5F}"/>
          </ac:spMkLst>
        </pc:spChg>
        <pc:spChg chg="mod topLvl">
          <ac:chgData name="Ugo MANTEL" userId="2d5b7065-31bb-4181-a7f8-a73bf0c30211" providerId="ADAL" clId="{9344D105-636D-4857-BD0F-AFC44A54BCCF}" dt="2021-05-25T14:20:13.304" v="30011" actId="790"/>
          <ac:spMkLst>
            <pc:docMk/>
            <pc:sldMk cId="3771311343" sldId="10471"/>
            <ac:spMk id="3" creationId="{BF7EC08C-D333-4AEB-BF4D-1846F2A4EA5F}"/>
          </ac:spMkLst>
        </pc:spChg>
        <pc:spChg chg="mod topLvl">
          <ac:chgData name="Ugo MANTEL" userId="2d5b7065-31bb-4181-a7f8-a73bf0c30211" providerId="ADAL" clId="{9344D105-636D-4857-BD0F-AFC44A54BCCF}" dt="2021-05-25T14:20:13.305" v="30012" actId="790"/>
          <ac:spMkLst>
            <pc:docMk/>
            <pc:sldMk cId="3771311343" sldId="10471"/>
            <ac:spMk id="4" creationId="{F56E6202-8C73-436F-ABC3-79B9E1D041C9}"/>
          </ac:spMkLst>
        </pc:spChg>
        <pc:spChg chg="del mod">
          <ac:chgData name="Ugo MANTEL" userId="2d5b7065-31bb-4181-a7f8-a73bf0c30211" providerId="ADAL" clId="{9344D105-636D-4857-BD0F-AFC44A54BCCF}" dt="2021-05-25T15:01:59.627" v="37726" actId="478"/>
          <ac:spMkLst>
            <pc:docMk/>
            <pc:sldMk cId="3771311343" sldId="10471"/>
            <ac:spMk id="5" creationId="{C8A4A222-42CB-4AE9-9CCE-1E65EEBAD3E3}"/>
          </ac:spMkLst>
        </pc:spChg>
        <pc:spChg chg="add del mod modVis">
          <ac:chgData name="Ugo MANTEL" userId="2d5b7065-31bb-4181-a7f8-a73bf0c30211" providerId="ADAL" clId="{9344D105-636D-4857-BD0F-AFC44A54BCCF}" dt="2021-05-25T14:58:40.338" v="37516"/>
          <ac:spMkLst>
            <pc:docMk/>
            <pc:sldMk cId="3771311343" sldId="10471"/>
            <ac:spMk id="6" creationId="{92484DB9-D796-4B36-9D4B-CD704AE3FF64}"/>
          </ac:spMkLst>
        </pc:spChg>
        <pc:spChg chg="add del mod modVis">
          <ac:chgData name="Ugo MANTEL" userId="2d5b7065-31bb-4181-a7f8-a73bf0c30211" providerId="ADAL" clId="{9344D105-636D-4857-BD0F-AFC44A54BCCF}" dt="2021-05-24T16:03:47.331" v="9329"/>
          <ac:spMkLst>
            <pc:docMk/>
            <pc:sldMk cId="3771311343" sldId="10471"/>
            <ac:spMk id="6" creationId="{D5DAD9BC-681D-4DDC-AD88-6C40CFF5F656}"/>
          </ac:spMkLst>
        </pc:spChg>
        <pc:spChg chg="mod">
          <ac:chgData name="Ugo MANTEL" userId="2d5b7065-31bb-4181-a7f8-a73bf0c30211" providerId="ADAL" clId="{9344D105-636D-4857-BD0F-AFC44A54BCCF}" dt="2021-05-25T14:20:13.340" v="30053" actId="790"/>
          <ac:spMkLst>
            <pc:docMk/>
            <pc:sldMk cId="3771311343" sldId="10471"/>
            <ac:spMk id="7" creationId="{89660A66-5421-4DE8-A82F-E1A343298E85}"/>
          </ac:spMkLst>
        </pc:spChg>
        <pc:spChg chg="add del mod modVis">
          <ac:chgData name="Ugo MANTEL" userId="2d5b7065-31bb-4181-a7f8-a73bf0c30211" providerId="ADAL" clId="{9344D105-636D-4857-BD0F-AFC44A54BCCF}" dt="2021-05-24T16:03:48.817" v="9380"/>
          <ac:spMkLst>
            <pc:docMk/>
            <pc:sldMk cId="3771311343" sldId="10471"/>
            <ac:spMk id="8" creationId="{1EF6B14F-38D5-4800-98BE-982861C8FD2A}"/>
          </ac:spMkLst>
        </pc:spChg>
        <pc:spChg chg="add del mod modVis">
          <ac:chgData name="Ugo MANTEL" userId="2d5b7065-31bb-4181-a7f8-a73bf0c30211" providerId="ADAL" clId="{9344D105-636D-4857-BD0F-AFC44A54BCCF}" dt="2021-05-24T16:06:42.131" v="9439"/>
          <ac:spMkLst>
            <pc:docMk/>
            <pc:sldMk cId="3771311343" sldId="10471"/>
            <ac:spMk id="9" creationId="{B9FF6ECB-E7A7-4D75-88CA-9EDAF26858FA}"/>
          </ac:spMkLst>
        </pc:spChg>
        <pc:spChg chg="add del mod modVis">
          <ac:chgData name="Ugo MANTEL" userId="2d5b7065-31bb-4181-a7f8-a73bf0c30211" providerId="ADAL" clId="{9344D105-636D-4857-BD0F-AFC44A54BCCF}" dt="2021-05-24T16:06:43.498" v="9484"/>
          <ac:spMkLst>
            <pc:docMk/>
            <pc:sldMk cId="3771311343" sldId="10471"/>
            <ac:spMk id="10" creationId="{21736C1B-2449-44F2-BC39-44E43806B87F}"/>
          </ac:spMkLst>
        </pc:spChg>
        <pc:spChg chg="add del mod modVis">
          <ac:chgData name="Ugo MANTEL" userId="2d5b7065-31bb-4181-a7f8-a73bf0c30211" providerId="ADAL" clId="{9344D105-636D-4857-BD0F-AFC44A54BCCF}" dt="2021-05-24T16:06:44.519" v="9531"/>
          <ac:spMkLst>
            <pc:docMk/>
            <pc:sldMk cId="3771311343" sldId="10471"/>
            <ac:spMk id="11" creationId="{FA0DA136-0E7A-4943-91DC-FDFDEF5D26AE}"/>
          </ac:spMkLst>
        </pc:spChg>
        <pc:spChg chg="add del mod modVis">
          <ac:chgData name="Ugo MANTEL" userId="2d5b7065-31bb-4181-a7f8-a73bf0c30211" providerId="ADAL" clId="{9344D105-636D-4857-BD0F-AFC44A54BCCF}" dt="2021-05-24T16:06:46.021" v="9575"/>
          <ac:spMkLst>
            <pc:docMk/>
            <pc:sldMk cId="3771311343" sldId="10471"/>
            <ac:spMk id="14" creationId="{A08FD395-AA93-434F-8076-D7CC49EC6CA3}"/>
          </ac:spMkLst>
        </pc:spChg>
        <pc:spChg chg="add del mod modVis">
          <ac:chgData name="Ugo MANTEL" userId="2d5b7065-31bb-4181-a7f8-a73bf0c30211" providerId="ADAL" clId="{9344D105-636D-4857-BD0F-AFC44A54BCCF}" dt="2021-05-24T16:06:48.792" v="9630"/>
          <ac:spMkLst>
            <pc:docMk/>
            <pc:sldMk cId="3771311343" sldId="10471"/>
            <ac:spMk id="15" creationId="{EBFBFEE1-4153-48B3-A95E-74FEFB261BC9}"/>
          </ac:spMkLst>
        </pc:spChg>
        <pc:spChg chg="add del mod modVis">
          <ac:chgData name="Ugo MANTEL" userId="2d5b7065-31bb-4181-a7f8-a73bf0c30211" providerId="ADAL" clId="{9344D105-636D-4857-BD0F-AFC44A54BCCF}" dt="2021-05-24T16:06:49.476" v="9674"/>
          <ac:spMkLst>
            <pc:docMk/>
            <pc:sldMk cId="3771311343" sldId="10471"/>
            <ac:spMk id="16" creationId="{5E58BBCA-86A7-4147-BCC5-295D2459845A}"/>
          </ac:spMkLst>
        </pc:spChg>
        <pc:spChg chg="add del mod modVis">
          <ac:chgData name="Ugo MANTEL" userId="2d5b7065-31bb-4181-a7f8-a73bf0c30211" providerId="ADAL" clId="{9344D105-636D-4857-BD0F-AFC44A54BCCF}" dt="2021-05-24T16:06:52.533" v="9723"/>
          <ac:spMkLst>
            <pc:docMk/>
            <pc:sldMk cId="3771311343" sldId="10471"/>
            <ac:spMk id="17" creationId="{8F20F7C8-1D60-45B6-A20F-C207427CE2AA}"/>
          </ac:spMkLst>
        </pc:spChg>
        <pc:spChg chg="add del mod modVis">
          <ac:chgData name="Ugo MANTEL" userId="2d5b7065-31bb-4181-a7f8-a73bf0c30211" providerId="ADAL" clId="{9344D105-636D-4857-BD0F-AFC44A54BCCF}" dt="2021-05-24T16:06:55.548" v="9780"/>
          <ac:spMkLst>
            <pc:docMk/>
            <pc:sldMk cId="3771311343" sldId="10471"/>
            <ac:spMk id="18" creationId="{FAD4906B-59CB-49F0-92D5-323C2533BD92}"/>
          </ac:spMkLst>
        </pc:spChg>
        <pc:spChg chg="add del mod modVis">
          <ac:chgData name="Ugo MANTEL" userId="2d5b7065-31bb-4181-a7f8-a73bf0c30211" providerId="ADAL" clId="{9344D105-636D-4857-BD0F-AFC44A54BCCF}" dt="2021-05-24T16:06:56.321" v="9826"/>
          <ac:spMkLst>
            <pc:docMk/>
            <pc:sldMk cId="3771311343" sldId="10471"/>
            <ac:spMk id="19" creationId="{CD93AF68-4388-4CA1-8008-12C72E32672A}"/>
          </ac:spMkLst>
        </pc:spChg>
        <pc:spChg chg="add del mod modVis">
          <ac:chgData name="Ugo MANTEL" userId="2d5b7065-31bb-4181-a7f8-a73bf0c30211" providerId="ADAL" clId="{9344D105-636D-4857-BD0F-AFC44A54BCCF}" dt="2021-05-24T16:07:02.701" v="9898"/>
          <ac:spMkLst>
            <pc:docMk/>
            <pc:sldMk cId="3771311343" sldId="10471"/>
            <ac:spMk id="20" creationId="{96BCFC99-D885-4162-8906-500AA5E179AE}"/>
          </ac:spMkLst>
        </pc:spChg>
        <pc:spChg chg="add del mod modVis">
          <ac:chgData name="Ugo MANTEL" userId="2d5b7065-31bb-4181-a7f8-a73bf0c30211" providerId="ADAL" clId="{9344D105-636D-4857-BD0F-AFC44A54BCCF}" dt="2021-05-24T16:07:03.303" v="9942"/>
          <ac:spMkLst>
            <pc:docMk/>
            <pc:sldMk cId="3771311343" sldId="10471"/>
            <ac:spMk id="21" creationId="{509CF11F-BF7B-47BC-AB82-8D592A03E37E}"/>
          </ac:spMkLst>
        </pc:spChg>
        <pc:spChg chg="add del mod modVis">
          <ac:chgData name="Ugo MANTEL" userId="2d5b7065-31bb-4181-a7f8-a73bf0c30211" providerId="ADAL" clId="{9344D105-636D-4857-BD0F-AFC44A54BCCF}" dt="2021-05-24T16:07:04.568" v="9986"/>
          <ac:spMkLst>
            <pc:docMk/>
            <pc:sldMk cId="3771311343" sldId="10471"/>
            <ac:spMk id="22" creationId="{1320F45C-CC88-4A4F-8011-0DDF612FE4DB}"/>
          </ac:spMkLst>
        </pc:spChg>
        <pc:spChg chg="add del mod modVis">
          <ac:chgData name="Ugo MANTEL" userId="2d5b7065-31bb-4181-a7f8-a73bf0c30211" providerId="ADAL" clId="{9344D105-636D-4857-BD0F-AFC44A54BCCF}" dt="2021-05-24T16:07:08.745" v="10048"/>
          <ac:spMkLst>
            <pc:docMk/>
            <pc:sldMk cId="3771311343" sldId="10471"/>
            <ac:spMk id="23" creationId="{A2106796-DA47-445C-8791-A277C07109D4}"/>
          </ac:spMkLst>
        </pc:spChg>
        <pc:spChg chg="add del mod modVis">
          <ac:chgData name="Ugo MANTEL" userId="2d5b7065-31bb-4181-a7f8-a73bf0c30211" providerId="ADAL" clId="{9344D105-636D-4857-BD0F-AFC44A54BCCF}" dt="2021-05-24T16:07:11.846" v="10106"/>
          <ac:spMkLst>
            <pc:docMk/>
            <pc:sldMk cId="3771311343" sldId="10471"/>
            <ac:spMk id="24" creationId="{29BA99CB-684D-4D18-8C1F-3EB7CE33FA47}"/>
          </ac:spMkLst>
        </pc:spChg>
        <pc:spChg chg="add del mod modVis">
          <ac:chgData name="Ugo MANTEL" userId="2d5b7065-31bb-4181-a7f8-a73bf0c30211" providerId="ADAL" clId="{9344D105-636D-4857-BD0F-AFC44A54BCCF}" dt="2021-05-24T16:07:12.715" v="10151"/>
          <ac:spMkLst>
            <pc:docMk/>
            <pc:sldMk cId="3771311343" sldId="10471"/>
            <ac:spMk id="25" creationId="{60063C71-90E8-4244-9983-B3E5C056379C}"/>
          </ac:spMkLst>
        </pc:spChg>
        <pc:spChg chg="add del mod modVis">
          <ac:chgData name="Ugo MANTEL" userId="2d5b7065-31bb-4181-a7f8-a73bf0c30211" providerId="ADAL" clId="{9344D105-636D-4857-BD0F-AFC44A54BCCF}" dt="2021-05-24T16:07:15.935" v="10199"/>
          <ac:spMkLst>
            <pc:docMk/>
            <pc:sldMk cId="3771311343" sldId="10471"/>
            <ac:spMk id="27" creationId="{B154F47B-3F97-495C-B3DE-8EB65183CDED}"/>
          </ac:spMkLst>
        </pc:spChg>
        <pc:spChg chg="add del mod modVis">
          <ac:chgData name="Ugo MANTEL" userId="2d5b7065-31bb-4181-a7f8-a73bf0c30211" providerId="ADAL" clId="{9344D105-636D-4857-BD0F-AFC44A54BCCF}" dt="2021-05-24T16:07:17.316" v="10245"/>
          <ac:spMkLst>
            <pc:docMk/>
            <pc:sldMk cId="3771311343" sldId="10471"/>
            <ac:spMk id="28" creationId="{897EF254-C85C-4C2B-87E4-534DD4B4B3C0}"/>
          </ac:spMkLst>
        </pc:spChg>
        <pc:spChg chg="add del mod modVis">
          <ac:chgData name="Ugo MANTEL" userId="2d5b7065-31bb-4181-a7f8-a73bf0c30211" providerId="ADAL" clId="{9344D105-636D-4857-BD0F-AFC44A54BCCF}" dt="2021-05-24T16:07:44.265" v="10292"/>
          <ac:spMkLst>
            <pc:docMk/>
            <pc:sldMk cId="3771311343" sldId="10471"/>
            <ac:spMk id="29" creationId="{77D7A189-7F9E-476D-98FC-7E6CA92A42AE}"/>
          </ac:spMkLst>
        </pc:spChg>
        <pc:spChg chg="add del mod modVis">
          <ac:chgData name="Ugo MANTEL" userId="2d5b7065-31bb-4181-a7f8-a73bf0c30211" providerId="ADAL" clId="{9344D105-636D-4857-BD0F-AFC44A54BCCF}" dt="2021-05-24T16:08:14.307" v="10336"/>
          <ac:spMkLst>
            <pc:docMk/>
            <pc:sldMk cId="3771311343" sldId="10471"/>
            <ac:spMk id="30" creationId="{09F96D0B-B19D-445E-BAE1-C76C13DA8C0B}"/>
          </ac:spMkLst>
        </pc:spChg>
        <pc:spChg chg="mod topLvl">
          <ac:chgData name="Ugo MANTEL" userId="2d5b7065-31bb-4181-a7f8-a73bf0c30211" providerId="ADAL" clId="{9344D105-636D-4857-BD0F-AFC44A54BCCF}" dt="2021-05-25T14:20:13.307" v="30014" actId="790"/>
          <ac:spMkLst>
            <pc:docMk/>
            <pc:sldMk cId="3771311343" sldId="10471"/>
            <ac:spMk id="31" creationId="{6833583F-9417-4D83-8D65-EB5BC3514609}"/>
          </ac:spMkLst>
        </pc:spChg>
        <pc:spChg chg="add del mod modVis">
          <ac:chgData name="Ugo MANTEL" userId="2d5b7065-31bb-4181-a7f8-a73bf0c30211" providerId="ADAL" clId="{9344D105-636D-4857-BD0F-AFC44A54BCCF}" dt="2021-05-24T16:08:30.833" v="10380"/>
          <ac:spMkLst>
            <pc:docMk/>
            <pc:sldMk cId="3771311343" sldId="10471"/>
            <ac:spMk id="32" creationId="{55CA82EA-1560-4BEF-ADB6-10E720D689C6}"/>
          </ac:spMkLst>
        </pc:spChg>
        <pc:spChg chg="add del mod modVis">
          <ac:chgData name="Ugo MANTEL" userId="2d5b7065-31bb-4181-a7f8-a73bf0c30211" providerId="ADAL" clId="{9344D105-636D-4857-BD0F-AFC44A54BCCF}" dt="2021-05-24T16:08:33.411" v="10424"/>
          <ac:spMkLst>
            <pc:docMk/>
            <pc:sldMk cId="3771311343" sldId="10471"/>
            <ac:spMk id="33" creationId="{1CBC37F7-DFA6-48AE-B974-2E3E7D549034}"/>
          </ac:spMkLst>
        </pc:spChg>
        <pc:spChg chg="add del mod modVis">
          <ac:chgData name="Ugo MANTEL" userId="2d5b7065-31bb-4181-a7f8-a73bf0c30211" providerId="ADAL" clId="{9344D105-636D-4857-BD0F-AFC44A54BCCF}" dt="2021-05-24T16:08:40.728" v="10475"/>
          <ac:spMkLst>
            <pc:docMk/>
            <pc:sldMk cId="3771311343" sldId="10471"/>
            <ac:spMk id="34" creationId="{6A98F775-38EB-4D9E-851D-30DC019D26F0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35" creationId="{493BB09C-FA45-4A0B-AA09-A4CAEE243AD5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36" creationId="{82BB232E-7B26-4AB7-A3CB-DB98A135B993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37" creationId="{0A8E0738-A8AF-4249-931D-47A14D3A91FD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38" creationId="{4CDFF166-E028-475A-AD25-5778BC8A48AD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39" creationId="{11051FB9-3465-42B5-8D5F-7222DC80BBD1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40" creationId="{85C2A5DC-8C64-4584-B35B-F94DDFB84C96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41" creationId="{09DBE724-EE52-4B0F-A5AF-95D28BC90FAF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42" creationId="{73115DBD-DBEB-484B-B0DA-E3BAE64BC68C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43" creationId="{23DA9231-68E2-44FA-AFE3-79BB76D9E58E}"/>
          </ac:spMkLst>
        </pc:spChg>
        <pc:spChg chg="del">
          <ac:chgData name="Ugo MANTEL" userId="2d5b7065-31bb-4181-a7f8-a73bf0c30211" providerId="ADAL" clId="{9344D105-636D-4857-BD0F-AFC44A54BCCF}" dt="2021-05-25T08:48:17.742" v="11764" actId="478"/>
          <ac:spMkLst>
            <pc:docMk/>
            <pc:sldMk cId="3771311343" sldId="10471"/>
            <ac:spMk id="44" creationId="{8FA4736D-A144-4C84-9A93-62623A4348D6}"/>
          </ac:spMkLst>
        </pc:spChg>
        <pc:spChg chg="add del mod modVis">
          <ac:chgData name="Ugo MANTEL" userId="2d5b7065-31bb-4181-a7f8-a73bf0c30211" providerId="ADAL" clId="{9344D105-636D-4857-BD0F-AFC44A54BCCF}" dt="2021-05-24T16:08:43.472" v="10519"/>
          <ac:spMkLst>
            <pc:docMk/>
            <pc:sldMk cId="3771311343" sldId="10471"/>
            <ac:spMk id="45" creationId="{AE94E349-890E-416B-8531-B0A262435D50}"/>
          </ac:spMkLst>
        </pc:spChg>
        <pc:spChg chg="add del mod modVis">
          <ac:chgData name="Ugo MANTEL" userId="2d5b7065-31bb-4181-a7f8-a73bf0c30211" providerId="ADAL" clId="{9344D105-636D-4857-BD0F-AFC44A54BCCF}" dt="2021-05-24T16:08:50.172" v="10563"/>
          <ac:spMkLst>
            <pc:docMk/>
            <pc:sldMk cId="3771311343" sldId="10471"/>
            <ac:spMk id="46" creationId="{946161CC-5ACB-46FD-AD6B-5B0741D714DA}"/>
          </ac:spMkLst>
        </pc:spChg>
        <pc:spChg chg="add del mod modVis">
          <ac:chgData name="Ugo MANTEL" userId="2d5b7065-31bb-4181-a7f8-a73bf0c30211" providerId="ADAL" clId="{9344D105-636D-4857-BD0F-AFC44A54BCCF}" dt="2021-05-24T16:08:50.947" v="10607"/>
          <ac:spMkLst>
            <pc:docMk/>
            <pc:sldMk cId="3771311343" sldId="10471"/>
            <ac:spMk id="47" creationId="{FC68C87E-FA69-4A8D-8946-E721D27A913D}"/>
          </ac:spMkLst>
        </pc:spChg>
        <pc:spChg chg="add del mod modVis">
          <ac:chgData name="Ugo MANTEL" userId="2d5b7065-31bb-4181-a7f8-a73bf0c30211" providerId="ADAL" clId="{9344D105-636D-4857-BD0F-AFC44A54BCCF}" dt="2021-05-24T16:09:02.708" v="10661"/>
          <ac:spMkLst>
            <pc:docMk/>
            <pc:sldMk cId="3771311343" sldId="10471"/>
            <ac:spMk id="48" creationId="{0DA8ED0F-0F59-4527-B965-EAEC79682369}"/>
          </ac:spMkLst>
        </pc:spChg>
        <pc:spChg chg="add del mod modVis">
          <ac:chgData name="Ugo MANTEL" userId="2d5b7065-31bb-4181-a7f8-a73bf0c30211" providerId="ADAL" clId="{9344D105-636D-4857-BD0F-AFC44A54BCCF}" dt="2021-05-24T16:09:16.137" v="10716"/>
          <ac:spMkLst>
            <pc:docMk/>
            <pc:sldMk cId="3771311343" sldId="10471"/>
            <ac:spMk id="49" creationId="{93BCB303-2333-4E80-9025-B4C9F6D7BF65}"/>
          </ac:spMkLst>
        </pc:spChg>
        <pc:spChg chg="add del mod modVis">
          <ac:chgData name="Ugo MANTEL" userId="2d5b7065-31bb-4181-a7f8-a73bf0c30211" providerId="ADAL" clId="{9344D105-636D-4857-BD0F-AFC44A54BCCF}" dt="2021-05-24T16:09:21.430" v="10767"/>
          <ac:spMkLst>
            <pc:docMk/>
            <pc:sldMk cId="3771311343" sldId="10471"/>
            <ac:spMk id="50" creationId="{069AB575-5A38-4CB6-AC25-51B896713646}"/>
          </ac:spMkLst>
        </pc:spChg>
        <pc:spChg chg="add del mod modVis">
          <ac:chgData name="Ugo MANTEL" userId="2d5b7065-31bb-4181-a7f8-a73bf0c30211" providerId="ADAL" clId="{9344D105-636D-4857-BD0F-AFC44A54BCCF}" dt="2021-05-24T16:09:25.634" v="10811"/>
          <ac:spMkLst>
            <pc:docMk/>
            <pc:sldMk cId="3771311343" sldId="10471"/>
            <ac:spMk id="51" creationId="{B47D9BD8-347A-4E3C-AD78-0784A9E6EAEF}"/>
          </ac:spMkLst>
        </pc:spChg>
        <pc:spChg chg="add del mod modVis">
          <ac:chgData name="Ugo MANTEL" userId="2d5b7065-31bb-4181-a7f8-a73bf0c30211" providerId="ADAL" clId="{9344D105-636D-4857-BD0F-AFC44A54BCCF}" dt="2021-05-24T16:09:29.590" v="10855"/>
          <ac:spMkLst>
            <pc:docMk/>
            <pc:sldMk cId="3771311343" sldId="10471"/>
            <ac:spMk id="52" creationId="{96C167BA-0897-4684-B951-6294C7062B9C}"/>
          </ac:spMkLst>
        </pc:spChg>
        <pc:spChg chg="add del mod modVis">
          <ac:chgData name="Ugo MANTEL" userId="2d5b7065-31bb-4181-a7f8-a73bf0c30211" providerId="ADAL" clId="{9344D105-636D-4857-BD0F-AFC44A54BCCF}" dt="2021-05-24T16:09:32.051" v="10899"/>
          <ac:spMkLst>
            <pc:docMk/>
            <pc:sldMk cId="3771311343" sldId="10471"/>
            <ac:spMk id="53" creationId="{74DB9450-8EE5-42A9-A8C2-7EF7BABE9FBF}"/>
          </ac:spMkLst>
        </pc:spChg>
        <pc:spChg chg="mod topLvl">
          <ac:chgData name="Ugo MANTEL" userId="2d5b7065-31bb-4181-a7f8-a73bf0c30211" providerId="ADAL" clId="{9344D105-636D-4857-BD0F-AFC44A54BCCF}" dt="2021-05-25T14:20:13.306" v="30013" actId="790"/>
          <ac:spMkLst>
            <pc:docMk/>
            <pc:sldMk cId="3771311343" sldId="10471"/>
            <ac:spMk id="61" creationId="{429B4092-7068-4B9D-A454-B1CB8E51857A}"/>
          </ac:spMkLst>
        </pc:spChg>
        <pc:spChg chg="mod topLvl">
          <ac:chgData name="Ugo MANTEL" userId="2d5b7065-31bb-4181-a7f8-a73bf0c30211" providerId="ADAL" clId="{9344D105-636D-4857-BD0F-AFC44A54BCCF}" dt="2021-05-25T14:20:13.307" v="30015" actId="790"/>
          <ac:spMkLst>
            <pc:docMk/>
            <pc:sldMk cId="3771311343" sldId="10471"/>
            <ac:spMk id="62" creationId="{C3BC7508-A876-408E-9AA5-D060235200CF}"/>
          </ac:spMkLst>
        </pc:spChg>
        <pc:spChg chg="mod topLvl">
          <ac:chgData name="Ugo MANTEL" userId="2d5b7065-31bb-4181-a7f8-a73bf0c30211" providerId="ADAL" clId="{9344D105-636D-4857-BD0F-AFC44A54BCCF}" dt="2021-05-25T14:20:13.309" v="30016" actId="790"/>
          <ac:spMkLst>
            <pc:docMk/>
            <pc:sldMk cId="3771311343" sldId="10471"/>
            <ac:spMk id="63" creationId="{154F5C8D-107C-461F-8E2E-5C0572ACEA23}"/>
          </ac:spMkLst>
        </pc:spChg>
        <pc:spChg chg="mod topLvl">
          <ac:chgData name="Ugo MANTEL" userId="2d5b7065-31bb-4181-a7f8-a73bf0c30211" providerId="ADAL" clId="{9344D105-636D-4857-BD0F-AFC44A54BCCF}" dt="2021-05-25T14:20:13.309" v="30017" actId="790"/>
          <ac:spMkLst>
            <pc:docMk/>
            <pc:sldMk cId="3771311343" sldId="10471"/>
            <ac:spMk id="65" creationId="{DAEC1D80-2DE8-42A1-B27A-ED68DD00D80A}"/>
          </ac:spMkLst>
        </pc:spChg>
        <pc:spChg chg="mod topLvl">
          <ac:chgData name="Ugo MANTEL" userId="2d5b7065-31bb-4181-a7f8-a73bf0c30211" providerId="ADAL" clId="{9344D105-636D-4857-BD0F-AFC44A54BCCF}" dt="2021-05-25T14:20:13.310" v="30018" actId="790"/>
          <ac:spMkLst>
            <pc:docMk/>
            <pc:sldMk cId="3771311343" sldId="10471"/>
            <ac:spMk id="66" creationId="{549CB0F9-0921-4F83-8BE1-33B1376C70AD}"/>
          </ac:spMkLst>
        </pc:spChg>
        <pc:spChg chg="mod topLvl">
          <ac:chgData name="Ugo MANTEL" userId="2d5b7065-31bb-4181-a7f8-a73bf0c30211" providerId="ADAL" clId="{9344D105-636D-4857-BD0F-AFC44A54BCCF}" dt="2021-05-25T14:20:13.311" v="30019" actId="790"/>
          <ac:spMkLst>
            <pc:docMk/>
            <pc:sldMk cId="3771311343" sldId="10471"/>
            <ac:spMk id="68" creationId="{BC6C384D-6D48-4F72-9CCC-A3090247DEF3}"/>
          </ac:spMkLst>
        </pc:spChg>
        <pc:spChg chg="mod topLvl">
          <ac:chgData name="Ugo MANTEL" userId="2d5b7065-31bb-4181-a7f8-a73bf0c30211" providerId="ADAL" clId="{9344D105-636D-4857-BD0F-AFC44A54BCCF}" dt="2021-05-25T14:20:13.312" v="30020" actId="790"/>
          <ac:spMkLst>
            <pc:docMk/>
            <pc:sldMk cId="3771311343" sldId="10471"/>
            <ac:spMk id="69" creationId="{3D97D249-03E2-45B9-9843-9C134F3CD172}"/>
          </ac:spMkLst>
        </pc:spChg>
        <pc:spChg chg="mod topLvl">
          <ac:chgData name="Ugo MANTEL" userId="2d5b7065-31bb-4181-a7f8-a73bf0c30211" providerId="ADAL" clId="{9344D105-636D-4857-BD0F-AFC44A54BCCF}" dt="2021-05-25T14:20:13.313" v="30021" actId="790"/>
          <ac:spMkLst>
            <pc:docMk/>
            <pc:sldMk cId="3771311343" sldId="10471"/>
            <ac:spMk id="70" creationId="{ED1757FD-82F7-4472-914B-403DC08243D6}"/>
          </ac:spMkLst>
        </pc:spChg>
        <pc:spChg chg="mod topLvl">
          <ac:chgData name="Ugo MANTEL" userId="2d5b7065-31bb-4181-a7f8-a73bf0c30211" providerId="ADAL" clId="{9344D105-636D-4857-BD0F-AFC44A54BCCF}" dt="2021-05-25T14:20:13.313" v="30022" actId="790"/>
          <ac:spMkLst>
            <pc:docMk/>
            <pc:sldMk cId="3771311343" sldId="10471"/>
            <ac:spMk id="71" creationId="{97222C63-D3F5-4F71-B21E-5ADF2F49728A}"/>
          </ac:spMkLst>
        </pc:spChg>
        <pc:spChg chg="mod">
          <ac:chgData name="Ugo MANTEL" userId="2d5b7065-31bb-4181-a7f8-a73bf0c30211" providerId="ADAL" clId="{9344D105-636D-4857-BD0F-AFC44A54BCCF}" dt="2021-05-25T14:20:13.314" v="30023" actId="790"/>
          <ac:spMkLst>
            <pc:docMk/>
            <pc:sldMk cId="3771311343" sldId="10471"/>
            <ac:spMk id="74" creationId="{07A4452F-EC98-4B4B-AF01-D6E89D1240D3}"/>
          </ac:spMkLst>
        </pc:spChg>
        <pc:spChg chg="del mod">
          <ac:chgData name="Ugo MANTEL" userId="2d5b7065-31bb-4181-a7f8-a73bf0c30211" providerId="ADAL" clId="{9344D105-636D-4857-BD0F-AFC44A54BCCF}" dt="2021-05-24T15:50:24.528" v="9118" actId="478"/>
          <ac:spMkLst>
            <pc:docMk/>
            <pc:sldMk cId="3771311343" sldId="10471"/>
            <ac:spMk id="75" creationId="{57FC6978-2605-4AF6-BAA6-DB007EC0B10A}"/>
          </ac:spMkLst>
        </pc:spChg>
        <pc:spChg chg="mod">
          <ac:chgData name="Ugo MANTEL" userId="2d5b7065-31bb-4181-a7f8-a73bf0c30211" providerId="ADAL" clId="{9344D105-636D-4857-BD0F-AFC44A54BCCF}" dt="2021-05-25T14:20:13.344" v="30058" actId="790"/>
          <ac:spMkLst>
            <pc:docMk/>
            <pc:sldMk cId="3771311343" sldId="10471"/>
            <ac:spMk id="82" creationId="{F4E4B764-4651-4F52-BF5F-76CA304A2CB1}"/>
          </ac:spMkLst>
        </pc:spChg>
        <pc:spChg chg="mod">
          <ac:chgData name="Ugo MANTEL" userId="2d5b7065-31bb-4181-a7f8-a73bf0c30211" providerId="ADAL" clId="{9344D105-636D-4857-BD0F-AFC44A54BCCF}" dt="2021-05-25T14:20:13.345" v="30059" actId="790"/>
          <ac:spMkLst>
            <pc:docMk/>
            <pc:sldMk cId="3771311343" sldId="10471"/>
            <ac:spMk id="83" creationId="{D51A1D5E-455C-4169-8151-BC965C55A728}"/>
          </ac:spMkLst>
        </pc:spChg>
        <pc:spChg chg="mod">
          <ac:chgData name="Ugo MANTEL" userId="2d5b7065-31bb-4181-a7f8-a73bf0c30211" providerId="ADAL" clId="{9344D105-636D-4857-BD0F-AFC44A54BCCF}" dt="2021-05-25T14:20:13.346" v="30060" actId="790"/>
          <ac:spMkLst>
            <pc:docMk/>
            <pc:sldMk cId="3771311343" sldId="10471"/>
            <ac:spMk id="85" creationId="{D05E3B6F-2AF2-44E5-9A62-A145B4EF039C}"/>
          </ac:spMkLst>
        </pc:spChg>
        <pc:spChg chg="mod">
          <ac:chgData name="Ugo MANTEL" userId="2d5b7065-31bb-4181-a7f8-a73bf0c30211" providerId="ADAL" clId="{9344D105-636D-4857-BD0F-AFC44A54BCCF}" dt="2021-05-25T14:20:13.348" v="30061" actId="790"/>
          <ac:spMkLst>
            <pc:docMk/>
            <pc:sldMk cId="3771311343" sldId="10471"/>
            <ac:spMk id="86" creationId="{70006939-4845-44E0-8FFF-B0057E2B3972}"/>
          </ac:spMkLst>
        </pc:spChg>
        <pc:spChg chg="mod">
          <ac:chgData name="Ugo MANTEL" userId="2d5b7065-31bb-4181-a7f8-a73bf0c30211" providerId="ADAL" clId="{9344D105-636D-4857-BD0F-AFC44A54BCCF}" dt="2021-05-25T14:20:13.349" v="30062" actId="790"/>
          <ac:spMkLst>
            <pc:docMk/>
            <pc:sldMk cId="3771311343" sldId="10471"/>
            <ac:spMk id="87" creationId="{470D8735-5753-40CE-B606-8B4E451A1A36}"/>
          </ac:spMkLst>
        </pc:spChg>
        <pc:spChg chg="mod">
          <ac:chgData name="Ugo MANTEL" userId="2d5b7065-31bb-4181-a7f8-a73bf0c30211" providerId="ADAL" clId="{9344D105-636D-4857-BD0F-AFC44A54BCCF}" dt="2021-05-25T14:20:13.350" v="30063" actId="790"/>
          <ac:spMkLst>
            <pc:docMk/>
            <pc:sldMk cId="3771311343" sldId="10471"/>
            <ac:spMk id="88" creationId="{413CE789-E0ED-4212-82D0-2EAD3CD13AD7}"/>
          </ac:spMkLst>
        </pc:spChg>
        <pc:spChg chg="mod">
          <ac:chgData name="Ugo MANTEL" userId="2d5b7065-31bb-4181-a7f8-a73bf0c30211" providerId="ADAL" clId="{9344D105-636D-4857-BD0F-AFC44A54BCCF}" dt="2021-05-25T14:20:13.355" v="30065" actId="790"/>
          <ac:spMkLst>
            <pc:docMk/>
            <pc:sldMk cId="3771311343" sldId="10471"/>
            <ac:spMk id="89" creationId="{28AF8B66-2A65-4362-87E5-B0E235F35B9D}"/>
          </ac:spMkLst>
        </pc:spChg>
        <pc:spChg chg="mod">
          <ac:chgData name="Ugo MANTEL" userId="2d5b7065-31bb-4181-a7f8-a73bf0c30211" providerId="ADAL" clId="{9344D105-636D-4857-BD0F-AFC44A54BCCF}" dt="2021-05-25T14:20:13.315" v="30024" actId="790"/>
          <ac:spMkLst>
            <pc:docMk/>
            <pc:sldMk cId="3771311343" sldId="10471"/>
            <ac:spMk id="90" creationId="{41881290-9A30-4E7A-9BC1-876CB1F8A385}"/>
          </ac:spMkLst>
        </pc:spChg>
        <pc:spChg chg="mod">
          <ac:chgData name="Ugo MANTEL" userId="2d5b7065-31bb-4181-a7f8-a73bf0c30211" providerId="ADAL" clId="{9344D105-636D-4857-BD0F-AFC44A54BCCF}" dt="2021-05-25T14:20:13.315" v="30025" actId="790"/>
          <ac:spMkLst>
            <pc:docMk/>
            <pc:sldMk cId="3771311343" sldId="10471"/>
            <ac:spMk id="91" creationId="{B12DC479-034F-454F-AAA8-8EF5CFD02807}"/>
          </ac:spMkLst>
        </pc:spChg>
        <pc:spChg chg="mod">
          <ac:chgData name="Ugo MANTEL" userId="2d5b7065-31bb-4181-a7f8-a73bf0c30211" providerId="ADAL" clId="{9344D105-636D-4857-BD0F-AFC44A54BCCF}" dt="2021-05-25T14:20:13.316" v="30026" actId="790"/>
          <ac:spMkLst>
            <pc:docMk/>
            <pc:sldMk cId="3771311343" sldId="10471"/>
            <ac:spMk id="92" creationId="{76A58873-F028-44AD-B036-6014AFE98DAC}"/>
          </ac:spMkLst>
        </pc:spChg>
        <pc:spChg chg="mod">
          <ac:chgData name="Ugo MANTEL" userId="2d5b7065-31bb-4181-a7f8-a73bf0c30211" providerId="ADAL" clId="{9344D105-636D-4857-BD0F-AFC44A54BCCF}" dt="2021-05-25T14:20:13.317" v="30027" actId="790"/>
          <ac:spMkLst>
            <pc:docMk/>
            <pc:sldMk cId="3771311343" sldId="10471"/>
            <ac:spMk id="93" creationId="{3B9743A1-5ED2-4F4C-BB6D-275074013264}"/>
          </ac:spMkLst>
        </pc:spChg>
        <pc:spChg chg="mod">
          <ac:chgData name="Ugo MANTEL" userId="2d5b7065-31bb-4181-a7f8-a73bf0c30211" providerId="ADAL" clId="{9344D105-636D-4857-BD0F-AFC44A54BCCF}" dt="2021-05-25T14:58:47.805" v="37519" actId="207"/>
          <ac:spMkLst>
            <pc:docMk/>
            <pc:sldMk cId="3771311343" sldId="10471"/>
            <ac:spMk id="94" creationId="{97DE17B6-9FE7-4223-89B2-30E2BE4EF922}"/>
          </ac:spMkLst>
        </pc:spChg>
        <pc:spChg chg="mod">
          <ac:chgData name="Ugo MANTEL" userId="2d5b7065-31bb-4181-a7f8-a73bf0c30211" providerId="ADAL" clId="{9344D105-636D-4857-BD0F-AFC44A54BCCF}" dt="2021-05-25T14:20:13.365" v="30080" actId="790"/>
          <ac:spMkLst>
            <pc:docMk/>
            <pc:sldMk cId="3771311343" sldId="10471"/>
            <ac:spMk id="95" creationId="{0D1D9248-8345-479A-BED0-F9B1DDFA7876}"/>
          </ac:spMkLst>
        </pc:spChg>
        <pc:spChg chg="mod">
          <ac:chgData name="Ugo MANTEL" userId="2d5b7065-31bb-4181-a7f8-a73bf0c30211" providerId="ADAL" clId="{9344D105-636D-4857-BD0F-AFC44A54BCCF}" dt="2021-05-25T14:20:13.319" v="30028" actId="790"/>
          <ac:spMkLst>
            <pc:docMk/>
            <pc:sldMk cId="3771311343" sldId="10471"/>
            <ac:spMk id="96" creationId="{D2C43358-406F-4E70-BACB-F67E0A6CC3F2}"/>
          </ac:spMkLst>
        </pc:spChg>
        <pc:spChg chg="mod">
          <ac:chgData name="Ugo MANTEL" userId="2d5b7065-31bb-4181-a7f8-a73bf0c30211" providerId="ADAL" clId="{9344D105-636D-4857-BD0F-AFC44A54BCCF}" dt="2021-05-25T14:20:13.366" v="30081" actId="790"/>
          <ac:spMkLst>
            <pc:docMk/>
            <pc:sldMk cId="3771311343" sldId="10471"/>
            <ac:spMk id="97" creationId="{E3203FCA-9AD2-4A9C-BEC4-FD7951EE5137}"/>
          </ac:spMkLst>
        </pc:spChg>
        <pc:spChg chg="mod">
          <ac:chgData name="Ugo MANTEL" userId="2d5b7065-31bb-4181-a7f8-a73bf0c30211" providerId="ADAL" clId="{9344D105-636D-4857-BD0F-AFC44A54BCCF}" dt="2021-05-25T14:20:13.367" v="30082" actId="790"/>
          <ac:spMkLst>
            <pc:docMk/>
            <pc:sldMk cId="3771311343" sldId="10471"/>
            <ac:spMk id="98" creationId="{0A9027CD-D049-4F63-918A-3F35757DCF8F}"/>
          </ac:spMkLst>
        </pc:spChg>
        <pc:spChg chg="mod">
          <ac:chgData name="Ugo MANTEL" userId="2d5b7065-31bb-4181-a7f8-a73bf0c30211" providerId="ADAL" clId="{9344D105-636D-4857-BD0F-AFC44A54BCCF}" dt="2021-05-25T14:20:13.367" v="30083" actId="790"/>
          <ac:spMkLst>
            <pc:docMk/>
            <pc:sldMk cId="3771311343" sldId="10471"/>
            <ac:spMk id="99" creationId="{A62C4207-2FD6-43C0-BB9D-9372AE0C04D4}"/>
          </ac:spMkLst>
        </pc:spChg>
        <pc:spChg chg="mod">
          <ac:chgData name="Ugo MANTEL" userId="2d5b7065-31bb-4181-a7f8-a73bf0c30211" providerId="ADAL" clId="{9344D105-636D-4857-BD0F-AFC44A54BCCF}" dt="2021-05-25T14:20:13.368" v="30084" actId="790"/>
          <ac:spMkLst>
            <pc:docMk/>
            <pc:sldMk cId="3771311343" sldId="10471"/>
            <ac:spMk id="100" creationId="{6A60BFB2-776E-4EC4-83C9-BD1F32C2E8F2}"/>
          </ac:spMkLst>
        </pc:spChg>
        <pc:spChg chg="mod">
          <ac:chgData name="Ugo MANTEL" userId="2d5b7065-31bb-4181-a7f8-a73bf0c30211" providerId="ADAL" clId="{9344D105-636D-4857-BD0F-AFC44A54BCCF}" dt="2021-05-25T14:20:13.320" v="30029" actId="790"/>
          <ac:spMkLst>
            <pc:docMk/>
            <pc:sldMk cId="3771311343" sldId="10471"/>
            <ac:spMk id="101" creationId="{DFEE41A0-0ABE-4979-86BF-6CBC2EF8B814}"/>
          </ac:spMkLst>
        </pc:spChg>
        <pc:spChg chg="mod">
          <ac:chgData name="Ugo MANTEL" userId="2d5b7065-31bb-4181-a7f8-a73bf0c30211" providerId="ADAL" clId="{9344D105-636D-4857-BD0F-AFC44A54BCCF}" dt="2021-05-25T14:20:13.320" v="30030" actId="790"/>
          <ac:spMkLst>
            <pc:docMk/>
            <pc:sldMk cId="3771311343" sldId="10471"/>
            <ac:spMk id="102" creationId="{25D9139B-5EFF-4CE0-B69B-AAFD2CC83680}"/>
          </ac:spMkLst>
        </pc:spChg>
        <pc:spChg chg="mod">
          <ac:chgData name="Ugo MANTEL" userId="2d5b7065-31bb-4181-a7f8-a73bf0c30211" providerId="ADAL" clId="{9344D105-636D-4857-BD0F-AFC44A54BCCF}" dt="2021-05-25T14:20:13.322" v="30031" actId="790"/>
          <ac:spMkLst>
            <pc:docMk/>
            <pc:sldMk cId="3771311343" sldId="10471"/>
            <ac:spMk id="103" creationId="{051E8E28-1C73-41A4-954F-28FCC69F8B3D}"/>
          </ac:spMkLst>
        </pc:spChg>
        <pc:spChg chg="mod">
          <ac:chgData name="Ugo MANTEL" userId="2d5b7065-31bb-4181-a7f8-a73bf0c30211" providerId="ADAL" clId="{9344D105-636D-4857-BD0F-AFC44A54BCCF}" dt="2021-05-25T14:20:13.323" v="30032" actId="790"/>
          <ac:spMkLst>
            <pc:docMk/>
            <pc:sldMk cId="3771311343" sldId="10471"/>
            <ac:spMk id="104" creationId="{BB921A20-15A9-4775-AA42-653C9967308F}"/>
          </ac:spMkLst>
        </pc:spChg>
        <pc:spChg chg="mod">
          <ac:chgData name="Ugo MANTEL" userId="2d5b7065-31bb-4181-a7f8-a73bf0c30211" providerId="ADAL" clId="{9344D105-636D-4857-BD0F-AFC44A54BCCF}" dt="2021-05-25T14:20:13.324" v="30033" actId="790"/>
          <ac:spMkLst>
            <pc:docMk/>
            <pc:sldMk cId="3771311343" sldId="10471"/>
            <ac:spMk id="105" creationId="{0B19B62A-017B-4A18-ACD3-C52265D63A61}"/>
          </ac:spMkLst>
        </pc:spChg>
        <pc:spChg chg="mod">
          <ac:chgData name="Ugo MANTEL" userId="2d5b7065-31bb-4181-a7f8-a73bf0c30211" providerId="ADAL" clId="{9344D105-636D-4857-BD0F-AFC44A54BCCF}" dt="2021-05-25T14:20:13.369" v="30085" actId="790"/>
          <ac:spMkLst>
            <pc:docMk/>
            <pc:sldMk cId="3771311343" sldId="10471"/>
            <ac:spMk id="106" creationId="{BB2AB1E2-CF8B-48E7-A2C2-65481A28DBB7}"/>
          </ac:spMkLst>
        </pc:spChg>
        <pc:spChg chg="mod">
          <ac:chgData name="Ugo MANTEL" userId="2d5b7065-31bb-4181-a7f8-a73bf0c30211" providerId="ADAL" clId="{9344D105-636D-4857-BD0F-AFC44A54BCCF}" dt="2021-05-25T14:20:13.370" v="30086" actId="790"/>
          <ac:spMkLst>
            <pc:docMk/>
            <pc:sldMk cId="3771311343" sldId="10471"/>
            <ac:spMk id="107" creationId="{72BA097B-6EA1-4418-9369-93584BAD5E27}"/>
          </ac:spMkLst>
        </pc:spChg>
        <pc:spChg chg="mod">
          <ac:chgData name="Ugo MANTEL" userId="2d5b7065-31bb-4181-a7f8-a73bf0c30211" providerId="ADAL" clId="{9344D105-636D-4857-BD0F-AFC44A54BCCF}" dt="2021-05-25T14:20:13.326" v="30034" actId="790"/>
          <ac:spMkLst>
            <pc:docMk/>
            <pc:sldMk cId="3771311343" sldId="10471"/>
            <ac:spMk id="108" creationId="{5E56E817-AA0F-401E-9C9B-444BDB6B1C9C}"/>
          </ac:spMkLst>
        </pc:spChg>
        <pc:spChg chg="mod">
          <ac:chgData name="Ugo MANTEL" userId="2d5b7065-31bb-4181-a7f8-a73bf0c30211" providerId="ADAL" clId="{9344D105-636D-4857-BD0F-AFC44A54BCCF}" dt="2021-05-25T14:20:13.370" v="30087" actId="790"/>
          <ac:spMkLst>
            <pc:docMk/>
            <pc:sldMk cId="3771311343" sldId="10471"/>
            <ac:spMk id="109" creationId="{E4D25694-5E5B-4557-AC9E-1B7A9ACCA52C}"/>
          </ac:spMkLst>
        </pc:spChg>
        <pc:spChg chg="mod">
          <ac:chgData name="Ugo MANTEL" userId="2d5b7065-31bb-4181-a7f8-a73bf0c30211" providerId="ADAL" clId="{9344D105-636D-4857-BD0F-AFC44A54BCCF}" dt="2021-05-25T14:20:13.326" v="30035" actId="790"/>
          <ac:spMkLst>
            <pc:docMk/>
            <pc:sldMk cId="3771311343" sldId="10471"/>
            <ac:spMk id="110" creationId="{A67ACEC3-8B8F-41CF-AA05-D23034EAEB75}"/>
          </ac:spMkLst>
        </pc:spChg>
        <pc:spChg chg="mod">
          <ac:chgData name="Ugo MANTEL" userId="2d5b7065-31bb-4181-a7f8-a73bf0c30211" providerId="ADAL" clId="{9344D105-636D-4857-BD0F-AFC44A54BCCF}" dt="2021-05-25T14:20:13.327" v="30036" actId="790"/>
          <ac:spMkLst>
            <pc:docMk/>
            <pc:sldMk cId="3771311343" sldId="10471"/>
            <ac:spMk id="111" creationId="{5C027790-24EA-487D-9B0D-C10E82E897F7}"/>
          </ac:spMkLst>
        </pc:spChg>
        <pc:spChg chg="mod">
          <ac:chgData name="Ugo MANTEL" userId="2d5b7065-31bb-4181-a7f8-a73bf0c30211" providerId="ADAL" clId="{9344D105-636D-4857-BD0F-AFC44A54BCCF}" dt="2021-05-25T14:20:13.328" v="30037" actId="790"/>
          <ac:spMkLst>
            <pc:docMk/>
            <pc:sldMk cId="3771311343" sldId="10471"/>
            <ac:spMk id="112" creationId="{9A8D8EC5-6AF6-4041-8DFB-9583B8307259}"/>
          </ac:spMkLst>
        </pc:spChg>
        <pc:spChg chg="mod">
          <ac:chgData name="Ugo MANTEL" userId="2d5b7065-31bb-4181-a7f8-a73bf0c30211" providerId="ADAL" clId="{9344D105-636D-4857-BD0F-AFC44A54BCCF}" dt="2021-05-25T14:20:13.329" v="30038" actId="790"/>
          <ac:spMkLst>
            <pc:docMk/>
            <pc:sldMk cId="3771311343" sldId="10471"/>
            <ac:spMk id="113" creationId="{44652165-FC6B-4F97-AC0D-133BB7D1BAD2}"/>
          </ac:spMkLst>
        </pc:spChg>
        <pc:spChg chg="mod">
          <ac:chgData name="Ugo MANTEL" userId="2d5b7065-31bb-4181-a7f8-a73bf0c30211" providerId="ADAL" clId="{9344D105-636D-4857-BD0F-AFC44A54BCCF}" dt="2021-05-25T14:20:13.330" v="30039" actId="790"/>
          <ac:spMkLst>
            <pc:docMk/>
            <pc:sldMk cId="3771311343" sldId="10471"/>
            <ac:spMk id="114" creationId="{E20A28FF-CC3B-46E1-8EAA-A16BF3535DFD}"/>
          </ac:spMkLst>
        </pc:spChg>
        <pc:spChg chg="mod">
          <ac:chgData name="Ugo MANTEL" userId="2d5b7065-31bb-4181-a7f8-a73bf0c30211" providerId="ADAL" clId="{9344D105-636D-4857-BD0F-AFC44A54BCCF}" dt="2021-05-25T14:20:13.330" v="30040" actId="790"/>
          <ac:spMkLst>
            <pc:docMk/>
            <pc:sldMk cId="3771311343" sldId="10471"/>
            <ac:spMk id="115" creationId="{B79490B9-35E9-4A2B-9078-72C34907B6FE}"/>
          </ac:spMkLst>
        </pc:spChg>
        <pc:spChg chg="mod">
          <ac:chgData name="Ugo MANTEL" userId="2d5b7065-31bb-4181-a7f8-a73bf0c30211" providerId="ADAL" clId="{9344D105-636D-4857-BD0F-AFC44A54BCCF}" dt="2021-05-25T14:20:13.330" v="30041" actId="790"/>
          <ac:spMkLst>
            <pc:docMk/>
            <pc:sldMk cId="3771311343" sldId="10471"/>
            <ac:spMk id="116" creationId="{456E1467-5C50-4A06-9522-0AD12C48A016}"/>
          </ac:spMkLst>
        </pc:spChg>
        <pc:spChg chg="mod">
          <ac:chgData name="Ugo MANTEL" userId="2d5b7065-31bb-4181-a7f8-a73bf0c30211" providerId="ADAL" clId="{9344D105-636D-4857-BD0F-AFC44A54BCCF}" dt="2021-05-25T14:20:13.332" v="30042" actId="790"/>
          <ac:spMkLst>
            <pc:docMk/>
            <pc:sldMk cId="3771311343" sldId="10471"/>
            <ac:spMk id="117" creationId="{F380ABA6-5B66-49D3-81BB-ACD662A765E6}"/>
          </ac:spMkLst>
        </pc:spChg>
        <pc:spChg chg="mod">
          <ac:chgData name="Ugo MANTEL" userId="2d5b7065-31bb-4181-a7f8-a73bf0c30211" providerId="ADAL" clId="{9344D105-636D-4857-BD0F-AFC44A54BCCF}" dt="2021-05-25T14:20:13.332" v="30043" actId="790"/>
          <ac:spMkLst>
            <pc:docMk/>
            <pc:sldMk cId="3771311343" sldId="10471"/>
            <ac:spMk id="118" creationId="{B9380990-3943-4657-BAAF-0D744F9FD78D}"/>
          </ac:spMkLst>
        </pc:spChg>
        <pc:spChg chg="mod">
          <ac:chgData name="Ugo MANTEL" userId="2d5b7065-31bb-4181-a7f8-a73bf0c30211" providerId="ADAL" clId="{9344D105-636D-4857-BD0F-AFC44A54BCCF}" dt="2021-05-25T14:20:13.333" v="30044" actId="790"/>
          <ac:spMkLst>
            <pc:docMk/>
            <pc:sldMk cId="3771311343" sldId="10471"/>
            <ac:spMk id="119" creationId="{9B267A34-A156-4106-9533-D8215EE2663E}"/>
          </ac:spMkLst>
        </pc:spChg>
        <pc:spChg chg="mod">
          <ac:chgData name="Ugo MANTEL" userId="2d5b7065-31bb-4181-a7f8-a73bf0c30211" providerId="ADAL" clId="{9344D105-636D-4857-BD0F-AFC44A54BCCF}" dt="2021-05-25T14:20:13.333" v="30045" actId="790"/>
          <ac:spMkLst>
            <pc:docMk/>
            <pc:sldMk cId="3771311343" sldId="10471"/>
            <ac:spMk id="120" creationId="{CB01490A-3973-40DC-AEB1-2D6EA6E1A0A4}"/>
          </ac:spMkLst>
        </pc:spChg>
        <pc:spChg chg="mod">
          <ac:chgData name="Ugo MANTEL" userId="2d5b7065-31bb-4181-a7f8-a73bf0c30211" providerId="ADAL" clId="{9344D105-636D-4857-BD0F-AFC44A54BCCF}" dt="2021-05-25T14:20:13.335" v="30046" actId="790"/>
          <ac:spMkLst>
            <pc:docMk/>
            <pc:sldMk cId="3771311343" sldId="10471"/>
            <ac:spMk id="121" creationId="{C2D7FB70-A462-48A0-89B9-CB4E2533177E}"/>
          </ac:spMkLst>
        </pc:spChg>
        <pc:spChg chg="mod">
          <ac:chgData name="Ugo MANTEL" userId="2d5b7065-31bb-4181-a7f8-a73bf0c30211" providerId="ADAL" clId="{9344D105-636D-4857-BD0F-AFC44A54BCCF}" dt="2021-05-25T14:20:13.335" v="30047" actId="790"/>
          <ac:spMkLst>
            <pc:docMk/>
            <pc:sldMk cId="3771311343" sldId="10471"/>
            <ac:spMk id="122" creationId="{C36B3BB3-0A10-4D0E-A0BA-E1DE98A30CB6}"/>
          </ac:spMkLst>
        </pc:spChg>
        <pc:spChg chg="mod">
          <ac:chgData name="Ugo MANTEL" userId="2d5b7065-31bb-4181-a7f8-a73bf0c30211" providerId="ADAL" clId="{9344D105-636D-4857-BD0F-AFC44A54BCCF}" dt="2021-05-25T14:20:13.371" v="30088" actId="790"/>
          <ac:spMkLst>
            <pc:docMk/>
            <pc:sldMk cId="3771311343" sldId="10471"/>
            <ac:spMk id="123" creationId="{CC0FCEDD-7A24-41D2-A7AA-F04D90F856B2}"/>
          </ac:spMkLst>
        </pc:spChg>
        <pc:spChg chg="mod">
          <ac:chgData name="Ugo MANTEL" userId="2d5b7065-31bb-4181-a7f8-a73bf0c30211" providerId="ADAL" clId="{9344D105-636D-4857-BD0F-AFC44A54BCCF}" dt="2021-05-25T14:20:13.372" v="30089" actId="790"/>
          <ac:spMkLst>
            <pc:docMk/>
            <pc:sldMk cId="3771311343" sldId="10471"/>
            <ac:spMk id="124" creationId="{5F9F77D4-A53B-42F9-AAAF-F3415D60A350}"/>
          </ac:spMkLst>
        </pc:spChg>
        <pc:spChg chg="mod">
          <ac:chgData name="Ugo MANTEL" userId="2d5b7065-31bb-4181-a7f8-a73bf0c30211" providerId="ADAL" clId="{9344D105-636D-4857-BD0F-AFC44A54BCCF}" dt="2021-05-25T14:20:13.373" v="30090" actId="790"/>
          <ac:spMkLst>
            <pc:docMk/>
            <pc:sldMk cId="3771311343" sldId="10471"/>
            <ac:spMk id="125" creationId="{199319C2-2220-458D-A1EF-3333A023E1E5}"/>
          </ac:spMkLst>
        </pc:spChg>
        <pc:spChg chg="mod">
          <ac:chgData name="Ugo MANTEL" userId="2d5b7065-31bb-4181-a7f8-a73bf0c30211" providerId="ADAL" clId="{9344D105-636D-4857-BD0F-AFC44A54BCCF}" dt="2021-05-25T14:20:13.336" v="30048" actId="790"/>
          <ac:spMkLst>
            <pc:docMk/>
            <pc:sldMk cId="3771311343" sldId="10471"/>
            <ac:spMk id="126" creationId="{6A4E3728-6F76-4F5C-AD55-F21D91F17917}"/>
          </ac:spMkLst>
        </pc:spChg>
        <pc:spChg chg="mod">
          <ac:chgData name="Ugo MANTEL" userId="2d5b7065-31bb-4181-a7f8-a73bf0c30211" providerId="ADAL" clId="{9344D105-636D-4857-BD0F-AFC44A54BCCF}" dt="2021-05-25T14:20:13.337" v="30049" actId="790"/>
          <ac:spMkLst>
            <pc:docMk/>
            <pc:sldMk cId="3771311343" sldId="10471"/>
            <ac:spMk id="127" creationId="{EFED5C9C-72CB-4E63-A6AD-2C07271EAE9B}"/>
          </ac:spMkLst>
        </pc:spChg>
        <pc:spChg chg="mod">
          <ac:chgData name="Ugo MANTEL" userId="2d5b7065-31bb-4181-a7f8-a73bf0c30211" providerId="ADAL" clId="{9344D105-636D-4857-BD0F-AFC44A54BCCF}" dt="2021-05-25T14:20:13.338" v="30050" actId="790"/>
          <ac:spMkLst>
            <pc:docMk/>
            <pc:sldMk cId="3771311343" sldId="10471"/>
            <ac:spMk id="128" creationId="{000C42A2-058A-4BC7-8070-8DB64E2E0DF1}"/>
          </ac:spMkLst>
        </pc:spChg>
        <pc:spChg chg="mod">
          <ac:chgData name="Ugo MANTEL" userId="2d5b7065-31bb-4181-a7f8-a73bf0c30211" providerId="ADAL" clId="{9344D105-636D-4857-BD0F-AFC44A54BCCF}" dt="2021-05-25T14:20:13.339" v="30051" actId="790"/>
          <ac:spMkLst>
            <pc:docMk/>
            <pc:sldMk cId="3771311343" sldId="10471"/>
            <ac:spMk id="129" creationId="{704628AA-B675-421B-B2CD-4D9F22E8AF2A}"/>
          </ac:spMkLst>
        </pc:spChg>
        <pc:spChg chg="mod">
          <ac:chgData name="Ugo MANTEL" userId="2d5b7065-31bb-4181-a7f8-a73bf0c30211" providerId="ADAL" clId="{9344D105-636D-4857-BD0F-AFC44A54BCCF}" dt="2021-05-25T14:20:13.340" v="30052" actId="790"/>
          <ac:spMkLst>
            <pc:docMk/>
            <pc:sldMk cId="3771311343" sldId="10471"/>
            <ac:spMk id="130" creationId="{8EC55234-29CE-40E6-8E6D-5C76C8A3D812}"/>
          </ac:spMkLst>
        </pc:spChg>
        <pc:spChg chg="mod topLvl">
          <ac:chgData name="Ugo MANTEL" userId="2d5b7065-31bb-4181-a7f8-a73bf0c30211" providerId="ADAL" clId="{9344D105-636D-4857-BD0F-AFC44A54BCCF}" dt="2021-05-25T14:20:13.342" v="30056" actId="790"/>
          <ac:spMkLst>
            <pc:docMk/>
            <pc:sldMk cId="3771311343" sldId="10471"/>
            <ac:spMk id="131" creationId="{E92B0E66-09CA-4148-9FF3-26C30D1439DA}"/>
          </ac:spMkLst>
        </pc:spChg>
        <pc:spChg chg="mod topLvl">
          <ac:chgData name="Ugo MANTEL" userId="2d5b7065-31bb-4181-a7f8-a73bf0c30211" providerId="ADAL" clId="{9344D105-636D-4857-BD0F-AFC44A54BCCF}" dt="2021-05-25T14:20:13.341" v="30054" actId="790"/>
          <ac:spMkLst>
            <pc:docMk/>
            <pc:sldMk cId="3771311343" sldId="10471"/>
            <ac:spMk id="132" creationId="{0083CCC6-F42B-4EAF-B9BA-BBC3E950AE97}"/>
          </ac:spMkLst>
        </pc:spChg>
        <pc:spChg chg="mod topLvl">
          <ac:chgData name="Ugo MANTEL" userId="2d5b7065-31bb-4181-a7f8-a73bf0c30211" providerId="ADAL" clId="{9344D105-636D-4857-BD0F-AFC44A54BCCF}" dt="2021-05-25T14:20:13.342" v="30055" actId="790"/>
          <ac:spMkLst>
            <pc:docMk/>
            <pc:sldMk cId="3771311343" sldId="10471"/>
            <ac:spMk id="133" creationId="{916B3D0F-3F4E-49CE-9220-552D32AE6CCA}"/>
          </ac:spMkLst>
        </pc:spChg>
        <pc:spChg chg="mod topLvl">
          <ac:chgData name="Ugo MANTEL" userId="2d5b7065-31bb-4181-a7f8-a73bf0c30211" providerId="ADAL" clId="{9344D105-636D-4857-BD0F-AFC44A54BCCF}" dt="2021-05-25T14:20:13.343" v="30057" actId="790"/>
          <ac:spMkLst>
            <pc:docMk/>
            <pc:sldMk cId="3771311343" sldId="10471"/>
            <ac:spMk id="134" creationId="{0E8FFEA0-725C-4183-B61D-99E0F0909086}"/>
          </ac:spMkLst>
        </pc:spChg>
        <pc:spChg chg="mod">
          <ac:chgData name="Ugo MANTEL" userId="2d5b7065-31bb-4181-a7f8-a73bf0c30211" providerId="ADAL" clId="{9344D105-636D-4857-BD0F-AFC44A54BCCF}" dt="2021-05-25T14:20:13.355" v="30066" actId="790"/>
          <ac:spMkLst>
            <pc:docMk/>
            <pc:sldMk cId="3771311343" sldId="10471"/>
            <ac:spMk id="135" creationId="{36579EE9-8F47-497C-8CC1-4A19EB98C2FB}"/>
          </ac:spMkLst>
        </pc:spChg>
        <pc:spChg chg="mod">
          <ac:chgData name="Ugo MANTEL" userId="2d5b7065-31bb-4181-a7f8-a73bf0c30211" providerId="ADAL" clId="{9344D105-636D-4857-BD0F-AFC44A54BCCF}" dt="2021-05-25T14:20:13.356" v="30067" actId="790"/>
          <ac:spMkLst>
            <pc:docMk/>
            <pc:sldMk cId="3771311343" sldId="10471"/>
            <ac:spMk id="140" creationId="{6248663C-319E-444C-8525-B5087AF9CE29}"/>
          </ac:spMkLst>
        </pc:spChg>
        <pc:spChg chg="mod">
          <ac:chgData name="Ugo MANTEL" userId="2d5b7065-31bb-4181-a7f8-a73bf0c30211" providerId="ADAL" clId="{9344D105-636D-4857-BD0F-AFC44A54BCCF}" dt="2021-05-25T14:20:13.357" v="30068" actId="790"/>
          <ac:spMkLst>
            <pc:docMk/>
            <pc:sldMk cId="3771311343" sldId="10471"/>
            <ac:spMk id="141" creationId="{85F111E8-5870-49AB-B728-7209C09AEC6E}"/>
          </ac:spMkLst>
        </pc:spChg>
        <pc:spChg chg="mod">
          <ac:chgData name="Ugo MANTEL" userId="2d5b7065-31bb-4181-a7f8-a73bf0c30211" providerId="ADAL" clId="{9344D105-636D-4857-BD0F-AFC44A54BCCF}" dt="2021-05-25T14:20:13.357" v="30069" actId="790"/>
          <ac:spMkLst>
            <pc:docMk/>
            <pc:sldMk cId="3771311343" sldId="10471"/>
            <ac:spMk id="143" creationId="{54B0EB5C-F61A-43AD-A123-55E4C90CB3B3}"/>
          </ac:spMkLst>
        </pc:spChg>
        <pc:spChg chg="mod">
          <ac:chgData name="Ugo MANTEL" userId="2d5b7065-31bb-4181-a7f8-a73bf0c30211" providerId="ADAL" clId="{9344D105-636D-4857-BD0F-AFC44A54BCCF}" dt="2021-05-25T14:20:13.358" v="30070" actId="790"/>
          <ac:spMkLst>
            <pc:docMk/>
            <pc:sldMk cId="3771311343" sldId="10471"/>
            <ac:spMk id="144" creationId="{EF655E77-DB9D-448E-A6D5-39E94417F17D}"/>
          </ac:spMkLst>
        </pc:spChg>
        <pc:spChg chg="mod">
          <ac:chgData name="Ugo MANTEL" userId="2d5b7065-31bb-4181-a7f8-a73bf0c30211" providerId="ADAL" clId="{9344D105-636D-4857-BD0F-AFC44A54BCCF}" dt="2021-05-25T14:20:13.359" v="30071" actId="790"/>
          <ac:spMkLst>
            <pc:docMk/>
            <pc:sldMk cId="3771311343" sldId="10471"/>
            <ac:spMk id="146" creationId="{693373D8-8E49-488D-BDCA-F1956724483D}"/>
          </ac:spMkLst>
        </pc:spChg>
        <pc:spChg chg="mod">
          <ac:chgData name="Ugo MANTEL" userId="2d5b7065-31bb-4181-a7f8-a73bf0c30211" providerId="ADAL" clId="{9344D105-636D-4857-BD0F-AFC44A54BCCF}" dt="2021-05-25T14:20:13.359" v="30072" actId="790"/>
          <ac:spMkLst>
            <pc:docMk/>
            <pc:sldMk cId="3771311343" sldId="10471"/>
            <ac:spMk id="147" creationId="{672B69A2-3519-46C9-96A5-3BBF955EECEF}"/>
          </ac:spMkLst>
        </pc:spChg>
        <pc:spChg chg="mod">
          <ac:chgData name="Ugo MANTEL" userId="2d5b7065-31bb-4181-a7f8-a73bf0c30211" providerId="ADAL" clId="{9344D105-636D-4857-BD0F-AFC44A54BCCF}" dt="2021-05-25T14:20:13.360" v="30073" actId="790"/>
          <ac:spMkLst>
            <pc:docMk/>
            <pc:sldMk cId="3771311343" sldId="10471"/>
            <ac:spMk id="149" creationId="{315A35B9-D3F4-4C97-B176-4798F54179D7}"/>
          </ac:spMkLst>
        </pc:spChg>
        <pc:spChg chg="mod">
          <ac:chgData name="Ugo MANTEL" userId="2d5b7065-31bb-4181-a7f8-a73bf0c30211" providerId="ADAL" clId="{9344D105-636D-4857-BD0F-AFC44A54BCCF}" dt="2021-05-25T14:20:13.361" v="30074" actId="790"/>
          <ac:spMkLst>
            <pc:docMk/>
            <pc:sldMk cId="3771311343" sldId="10471"/>
            <ac:spMk id="150" creationId="{5209417A-CD5F-4652-90C2-C3F7635829D9}"/>
          </ac:spMkLst>
        </pc:spChg>
        <pc:spChg chg="mod">
          <ac:chgData name="Ugo MANTEL" userId="2d5b7065-31bb-4181-a7f8-a73bf0c30211" providerId="ADAL" clId="{9344D105-636D-4857-BD0F-AFC44A54BCCF}" dt="2021-05-25T14:20:13.361" v="30075" actId="790"/>
          <ac:spMkLst>
            <pc:docMk/>
            <pc:sldMk cId="3771311343" sldId="10471"/>
            <ac:spMk id="151" creationId="{D2B036C2-8693-454B-B4F2-18AB2236FD3C}"/>
          </ac:spMkLst>
        </pc:spChg>
        <pc:spChg chg="mod">
          <ac:chgData name="Ugo MANTEL" userId="2d5b7065-31bb-4181-a7f8-a73bf0c30211" providerId="ADAL" clId="{9344D105-636D-4857-BD0F-AFC44A54BCCF}" dt="2021-05-25T14:20:13.362" v="30076" actId="790"/>
          <ac:spMkLst>
            <pc:docMk/>
            <pc:sldMk cId="3771311343" sldId="10471"/>
            <ac:spMk id="152" creationId="{CE1DAE80-D63E-4412-9269-9A18EAF38626}"/>
          </ac:spMkLst>
        </pc:spChg>
        <pc:spChg chg="mod">
          <ac:chgData name="Ugo MANTEL" userId="2d5b7065-31bb-4181-a7f8-a73bf0c30211" providerId="ADAL" clId="{9344D105-636D-4857-BD0F-AFC44A54BCCF}" dt="2021-05-25T14:20:13.363" v="30077" actId="790"/>
          <ac:spMkLst>
            <pc:docMk/>
            <pc:sldMk cId="3771311343" sldId="10471"/>
            <ac:spMk id="153" creationId="{D1862418-9E31-4865-A029-3E571F1DE652}"/>
          </ac:spMkLst>
        </pc:spChg>
        <pc:spChg chg="mod">
          <ac:chgData name="Ugo MANTEL" userId="2d5b7065-31bb-4181-a7f8-a73bf0c30211" providerId="ADAL" clId="{9344D105-636D-4857-BD0F-AFC44A54BCCF}" dt="2021-05-25T14:20:13.363" v="30078" actId="790"/>
          <ac:spMkLst>
            <pc:docMk/>
            <pc:sldMk cId="3771311343" sldId="10471"/>
            <ac:spMk id="154" creationId="{B19F0202-21BD-46E5-90DA-AC056F04674D}"/>
          </ac:spMkLst>
        </pc:spChg>
        <pc:grpChg chg="del">
          <ac:chgData name="Ugo MANTEL" userId="2d5b7065-31bb-4181-a7f8-a73bf0c30211" providerId="ADAL" clId="{9344D105-636D-4857-BD0F-AFC44A54BCCF}" dt="2021-05-24T15:37:06.490" v="9041" actId="165"/>
          <ac:grpSpMkLst>
            <pc:docMk/>
            <pc:sldMk cId="3771311343" sldId="10471"/>
            <ac:grpSpMk id="6" creationId="{78991E3B-C0C8-4F7C-ABE9-26A0CB953DE9}"/>
          </ac:grpSpMkLst>
        </pc:grpChg>
        <pc:grpChg chg="del">
          <ac:chgData name="Ugo MANTEL" userId="2d5b7065-31bb-4181-a7f8-a73bf0c30211" providerId="ADAL" clId="{9344D105-636D-4857-BD0F-AFC44A54BCCF}" dt="2021-05-24T15:37:55.922" v="9051" actId="165"/>
          <ac:grpSpMkLst>
            <pc:docMk/>
            <pc:sldMk cId="3771311343" sldId="10471"/>
            <ac:grpSpMk id="8" creationId="{031046A0-1E57-46D6-B2DD-76D0C758E3A1}"/>
          </ac:grpSpMkLst>
        </pc:grpChg>
        <pc:grpChg chg="del">
          <ac:chgData name="Ugo MANTEL" userId="2d5b7065-31bb-4181-a7f8-a73bf0c30211" providerId="ADAL" clId="{9344D105-636D-4857-BD0F-AFC44A54BCCF}" dt="2021-05-24T15:36:04.269" v="9013" actId="165"/>
          <ac:grpSpMkLst>
            <pc:docMk/>
            <pc:sldMk cId="3771311343" sldId="10471"/>
            <ac:grpSpMk id="14" creationId="{2E588956-FC7B-4E68-A4E6-000368E12185}"/>
          </ac:grpSpMkLst>
        </pc:grpChg>
        <pc:grpChg chg="del">
          <ac:chgData name="Ugo MANTEL" userId="2d5b7065-31bb-4181-a7f8-a73bf0c30211" providerId="ADAL" clId="{9344D105-636D-4857-BD0F-AFC44A54BCCF}" dt="2021-05-24T15:36:04.269" v="9013" actId="165"/>
          <ac:grpSpMkLst>
            <pc:docMk/>
            <pc:sldMk cId="3771311343" sldId="10471"/>
            <ac:grpSpMk id="15" creationId="{0E0E59CC-6A8A-46E9-A0F9-27106F7B7C6F}"/>
          </ac:grpSpMkLst>
        </pc:grpChg>
        <pc:graphicFrameChg chg="mod">
          <ac:chgData name="Ugo MANTEL" userId="2d5b7065-31bb-4181-a7f8-a73bf0c30211" providerId="ADAL" clId="{9344D105-636D-4857-BD0F-AFC44A54BCCF}" dt="2021-05-25T14:58:40.340" v="37518"/>
          <ac:graphicFrameMkLst>
            <pc:docMk/>
            <pc:sldMk cId="3771311343" sldId="10471"/>
            <ac:graphicFrameMk id="13" creationId="{D5282E07-8E0F-44F4-BAB3-480BECA549C1}"/>
          </ac:graphicFrameMkLst>
        </pc:graphicFrameChg>
        <pc:picChg chg="add mod">
          <ac:chgData name="Ugo MANTEL" userId="2d5b7065-31bb-4181-a7f8-a73bf0c30211" providerId="ADAL" clId="{9344D105-636D-4857-BD0F-AFC44A54BCCF}" dt="2021-05-24T15:39:59.863" v="9089" actId="12789"/>
          <ac:picMkLst>
            <pc:docMk/>
            <pc:sldMk cId="3771311343" sldId="10471"/>
            <ac:picMk id="26" creationId="{B7CFC285-134A-48B1-AB0C-79A312024798}"/>
          </ac:picMkLst>
        </pc:picChg>
      </pc:sldChg>
      <pc:sldChg chg="addSp delSp modSp add mod">
        <pc:chgData name="Ugo MANTEL" userId="2d5b7065-31bb-4181-a7f8-a73bf0c30211" providerId="ADAL" clId="{9344D105-636D-4857-BD0F-AFC44A54BCCF}" dt="2021-05-25T08:21:30.339" v="11758" actId="165"/>
        <pc:sldMkLst>
          <pc:docMk/>
          <pc:sldMk cId="923224959" sldId="10472"/>
        </pc:sldMkLst>
        <pc:spChg chg="mod ord">
          <ac:chgData name="Ugo MANTEL" userId="2d5b7065-31bb-4181-a7f8-a73bf0c30211" providerId="ADAL" clId="{9344D105-636D-4857-BD0F-AFC44A54BCCF}" dt="2021-05-24T12:48:54.467" v="5819"/>
          <ac:spMkLst>
            <pc:docMk/>
            <pc:sldMk cId="923224959" sldId="10472"/>
            <ac:spMk id="2" creationId="{5D79E977-AA1E-485B-8A01-E93F32111B97}"/>
          </ac:spMkLst>
        </pc:spChg>
        <pc:spChg chg="add del mod modVis">
          <ac:chgData name="Ugo MANTEL" userId="2d5b7065-31bb-4181-a7f8-a73bf0c30211" providerId="ADAL" clId="{9344D105-636D-4857-BD0F-AFC44A54BCCF}" dt="2021-05-24T12:48:54.476" v="5863"/>
          <ac:spMkLst>
            <pc:docMk/>
            <pc:sldMk cId="923224959" sldId="10472"/>
            <ac:spMk id="3" creationId="{64208413-3335-4323-82EC-716F47AAB8F2}"/>
          </ac:spMkLst>
        </pc:spChg>
        <pc:spChg chg="mod ord topLvl">
          <ac:chgData name="Ugo MANTEL" userId="2d5b7065-31bb-4181-a7f8-a73bf0c30211" providerId="ADAL" clId="{9344D105-636D-4857-BD0F-AFC44A54BCCF}" dt="2021-05-25T08:21:30.339" v="11758" actId="165"/>
          <ac:spMkLst>
            <pc:docMk/>
            <pc:sldMk cId="923224959" sldId="10472"/>
            <ac:spMk id="4" creationId="{CF43FFDF-1514-417B-8DD3-055802931621}"/>
          </ac:spMkLst>
        </pc:spChg>
        <pc:spChg chg="mod ord topLvl">
          <ac:chgData name="Ugo MANTEL" userId="2d5b7065-31bb-4181-a7f8-a73bf0c30211" providerId="ADAL" clId="{9344D105-636D-4857-BD0F-AFC44A54BCCF}" dt="2021-05-25T08:21:30.339" v="11758" actId="165"/>
          <ac:spMkLst>
            <pc:docMk/>
            <pc:sldMk cId="923224959" sldId="10472"/>
            <ac:spMk id="6" creationId="{3CBA4C50-DBB5-4C5E-A8E6-B2C4564C2D94}"/>
          </ac:spMkLst>
        </pc:spChg>
        <pc:spChg chg="mod ord topLvl">
          <ac:chgData name="Ugo MANTEL" userId="2d5b7065-31bb-4181-a7f8-a73bf0c30211" providerId="ADAL" clId="{9344D105-636D-4857-BD0F-AFC44A54BCCF}" dt="2021-05-25T08:21:30.339" v="11758" actId="165"/>
          <ac:spMkLst>
            <pc:docMk/>
            <pc:sldMk cId="923224959" sldId="10472"/>
            <ac:spMk id="7" creationId="{43822D74-25F7-4476-8B1E-2346DA56E4D6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8" creationId="{724BFDF7-9689-4C00-8E86-336E333DE596}"/>
          </ac:spMkLst>
        </pc:spChg>
        <pc:spChg chg="mod ord">
          <ac:chgData name="Ugo MANTEL" userId="2d5b7065-31bb-4181-a7f8-a73bf0c30211" providerId="ADAL" clId="{9344D105-636D-4857-BD0F-AFC44A54BCCF}" dt="2021-05-24T12:48:54.473" v="5853"/>
          <ac:spMkLst>
            <pc:docMk/>
            <pc:sldMk cId="923224959" sldId="10472"/>
            <ac:spMk id="9" creationId="{02B09B86-63EB-478A-A1B9-73EB0B102213}"/>
          </ac:spMkLst>
        </pc:spChg>
        <pc:spChg chg="mod ord">
          <ac:chgData name="Ugo MANTEL" userId="2d5b7065-31bb-4181-a7f8-a73bf0c30211" providerId="ADAL" clId="{9344D105-636D-4857-BD0F-AFC44A54BCCF}" dt="2021-05-25T07:50:35.545" v="11610" actId="14100"/>
          <ac:spMkLst>
            <pc:docMk/>
            <pc:sldMk cId="923224959" sldId="10472"/>
            <ac:spMk id="10" creationId="{35E020ED-F5CE-43BF-B644-9BAA4063B2A4}"/>
          </ac:spMkLst>
        </pc:spChg>
        <pc:spChg chg="del mod ord">
          <ac:chgData name="Ugo MANTEL" userId="2d5b7065-31bb-4181-a7f8-a73bf0c30211" providerId="ADAL" clId="{9344D105-636D-4857-BD0F-AFC44A54BCCF}" dt="2021-05-24T12:55:28.568" v="6035" actId="478"/>
          <ac:spMkLst>
            <pc:docMk/>
            <pc:sldMk cId="923224959" sldId="10472"/>
            <ac:spMk id="11" creationId="{05B1CB16-16AA-4959-8BC5-12A9A4D976A7}"/>
          </ac:spMkLst>
        </pc:spChg>
        <pc:spChg chg="mod ord">
          <ac:chgData name="Ugo MANTEL" userId="2d5b7065-31bb-4181-a7f8-a73bf0c30211" providerId="ADAL" clId="{9344D105-636D-4857-BD0F-AFC44A54BCCF}" dt="2021-05-24T12:48:54.468" v="5825"/>
          <ac:spMkLst>
            <pc:docMk/>
            <pc:sldMk cId="923224959" sldId="10472"/>
            <ac:spMk id="12" creationId="{17ACB834-4B29-46A1-8305-C573136B1B39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13" creationId="{724BFDF7-9689-4C00-8E86-336E333DE596}"/>
          </ac:spMkLst>
        </pc:spChg>
        <pc:spChg chg="mod ord">
          <ac:chgData name="Ugo MANTEL" userId="2d5b7065-31bb-4181-a7f8-a73bf0c30211" providerId="ADAL" clId="{9344D105-636D-4857-BD0F-AFC44A54BCCF}" dt="2021-05-24T12:48:54.468" v="5827"/>
          <ac:spMkLst>
            <pc:docMk/>
            <pc:sldMk cId="923224959" sldId="10472"/>
            <ac:spMk id="14" creationId="{1033C433-7522-4EDA-9187-702F506345A0}"/>
          </ac:spMkLst>
        </pc:spChg>
        <pc:spChg chg="mod ord">
          <ac:chgData name="Ugo MANTEL" userId="2d5b7065-31bb-4181-a7f8-a73bf0c30211" providerId="ADAL" clId="{9344D105-636D-4857-BD0F-AFC44A54BCCF}" dt="2021-05-24T12:48:54.468" v="5829"/>
          <ac:spMkLst>
            <pc:docMk/>
            <pc:sldMk cId="923224959" sldId="10472"/>
            <ac:spMk id="15" creationId="{CEFA4725-CB21-4B2C-A186-C70732A4705C}"/>
          </ac:spMkLst>
        </pc:spChg>
        <pc:spChg chg="mod ord">
          <ac:chgData name="Ugo MANTEL" userId="2d5b7065-31bb-4181-a7f8-a73bf0c30211" providerId="ADAL" clId="{9344D105-636D-4857-BD0F-AFC44A54BCCF}" dt="2021-05-24T12:48:54.468" v="5831"/>
          <ac:spMkLst>
            <pc:docMk/>
            <pc:sldMk cId="923224959" sldId="10472"/>
            <ac:spMk id="16" creationId="{6546156D-9B65-4AC1-8D80-88505BD08537}"/>
          </ac:spMkLst>
        </pc:spChg>
        <pc:spChg chg="mod ord">
          <ac:chgData name="Ugo MANTEL" userId="2d5b7065-31bb-4181-a7f8-a73bf0c30211" providerId="ADAL" clId="{9344D105-636D-4857-BD0F-AFC44A54BCCF}" dt="2021-05-24T12:59:51.718" v="6580" actId="404"/>
          <ac:spMkLst>
            <pc:docMk/>
            <pc:sldMk cId="923224959" sldId="10472"/>
            <ac:spMk id="17" creationId="{93C43DF0-5B80-4873-976E-9DCC9459DEE9}"/>
          </ac:spMkLst>
        </pc:spChg>
        <pc:spChg chg="add del mod ord">
          <ac:chgData name="Ugo MANTEL" userId="2d5b7065-31bb-4181-a7f8-a73bf0c30211" providerId="ADAL" clId="{9344D105-636D-4857-BD0F-AFC44A54BCCF}" dt="2021-05-24T12:48:54.467" v="5817"/>
          <ac:spMkLst>
            <pc:docMk/>
            <pc:sldMk cId="923224959" sldId="10472"/>
            <ac:spMk id="19" creationId="{34792A96-E177-45FE-8A1C-54080EF644FD}"/>
          </ac:spMkLst>
        </pc:spChg>
        <pc:spChg chg="add mod ord">
          <ac:chgData name="Ugo MANTEL" userId="2d5b7065-31bb-4181-a7f8-a73bf0c30211" providerId="ADAL" clId="{9344D105-636D-4857-BD0F-AFC44A54BCCF}" dt="2021-05-24T12:54:11.800" v="6032" actId="1076"/>
          <ac:spMkLst>
            <pc:docMk/>
            <pc:sldMk cId="923224959" sldId="10472"/>
            <ac:spMk id="25" creationId="{5146D732-EFA5-477C-B0A6-85AD09BD0B4D}"/>
          </ac:spMkLst>
        </pc:spChg>
        <pc:spChg chg="add mod ord">
          <ac:chgData name="Ugo MANTEL" userId="2d5b7065-31bb-4181-a7f8-a73bf0c30211" providerId="ADAL" clId="{9344D105-636D-4857-BD0F-AFC44A54BCCF}" dt="2021-05-24T13:02:34.191" v="6699" actId="948"/>
          <ac:spMkLst>
            <pc:docMk/>
            <pc:sldMk cId="923224959" sldId="10472"/>
            <ac:spMk id="26" creationId="{141BDBD6-FC39-484B-80B4-A5A00C8A001E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27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28" creationId="{724BFDF7-9689-4C00-8E86-336E333DE596}"/>
          </ac:spMkLst>
        </pc:spChg>
        <pc:spChg chg="add mod">
          <ac:chgData name="Ugo MANTEL" userId="2d5b7065-31bb-4181-a7f8-a73bf0c30211" providerId="ADAL" clId="{9344D105-636D-4857-BD0F-AFC44A54BCCF}" dt="2021-05-24T13:35:05.956" v="7461" actId="6549"/>
          <ac:spMkLst>
            <pc:docMk/>
            <pc:sldMk cId="923224959" sldId="10472"/>
            <ac:spMk id="34" creationId="{504918DD-5AAF-4442-83FD-97BE3D7438E6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36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37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38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39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4T12:51:36.396" v="5937" actId="207"/>
          <ac:spMkLst>
            <pc:docMk/>
            <pc:sldMk cId="923224959" sldId="10472"/>
            <ac:spMk id="40" creationId="{724BFDF7-9689-4C00-8E86-336E333DE596}"/>
          </ac:spMkLst>
        </pc:spChg>
        <pc:spChg chg="del mod">
          <ac:chgData name="Ugo MANTEL" userId="2d5b7065-31bb-4181-a7f8-a73bf0c30211" providerId="ADAL" clId="{9344D105-636D-4857-BD0F-AFC44A54BCCF}" dt="2021-05-24T12:51:29.705" v="5935" actId="478"/>
          <ac:spMkLst>
            <pc:docMk/>
            <pc:sldMk cId="923224959" sldId="10472"/>
            <ac:spMk id="41" creationId="{724BFDF7-9689-4C00-8E86-336E333DE596}"/>
          </ac:spMkLst>
        </pc:spChg>
        <pc:spChg chg="del mod">
          <ac:chgData name="Ugo MANTEL" userId="2d5b7065-31bb-4181-a7f8-a73bf0c30211" providerId="ADAL" clId="{9344D105-636D-4857-BD0F-AFC44A54BCCF}" dt="2021-05-24T12:51:28.735" v="5934" actId="478"/>
          <ac:spMkLst>
            <pc:docMk/>
            <pc:sldMk cId="923224959" sldId="10472"/>
            <ac:spMk id="42" creationId="{724BFDF7-9689-4C00-8E86-336E333DE596}"/>
          </ac:spMkLst>
        </pc:spChg>
        <pc:spChg chg="del mod">
          <ac:chgData name="Ugo MANTEL" userId="2d5b7065-31bb-4181-a7f8-a73bf0c30211" providerId="ADAL" clId="{9344D105-636D-4857-BD0F-AFC44A54BCCF}" dt="2021-05-24T12:53:00.121" v="5980" actId="478"/>
          <ac:spMkLst>
            <pc:docMk/>
            <pc:sldMk cId="923224959" sldId="10472"/>
            <ac:spMk id="47" creationId="{9A1AD0E4-A534-4497-962F-4FBC4ED2C72B}"/>
          </ac:spMkLst>
        </pc:spChg>
        <pc:spChg chg="del mod">
          <ac:chgData name="Ugo MANTEL" userId="2d5b7065-31bb-4181-a7f8-a73bf0c30211" providerId="ADAL" clId="{9344D105-636D-4857-BD0F-AFC44A54BCCF}" dt="2021-05-24T12:53:01.571" v="5981" actId="478"/>
          <ac:spMkLst>
            <pc:docMk/>
            <pc:sldMk cId="923224959" sldId="10472"/>
            <ac:spMk id="48" creationId="{9A1AD0E4-A534-4497-962F-4FBC4ED2C72B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49" creationId="{AC2E296B-D590-41D5-B321-39915244D6EB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50" creationId="{88FD78BF-31E9-4740-A71E-93A784A63E89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51" creationId="{85785102-1DA7-4971-BB6E-F07931CD4F56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52" creationId="{0162DD6C-9805-42EB-9F5A-B9F70EFC2E5E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53" creationId="{1D4CAFD4-3295-4E09-A03F-D7F570110E85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54" creationId="{2FCD94A9-2B70-413B-9F2A-F1B1AE9A2932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55" creationId="{1C8FE0D7-1529-46E1-BAEE-59ED105BD183}"/>
          </ac:spMkLst>
        </pc:spChg>
        <pc:spChg chg="add mod">
          <ac:chgData name="Ugo MANTEL" userId="2d5b7065-31bb-4181-a7f8-a73bf0c30211" providerId="ADAL" clId="{9344D105-636D-4857-BD0F-AFC44A54BCCF}" dt="2021-05-24T12:55:54.181" v="6037" actId="164"/>
          <ac:spMkLst>
            <pc:docMk/>
            <pc:sldMk cId="923224959" sldId="10472"/>
            <ac:spMk id="56" creationId="{414AB9CE-85EC-4BB9-8061-5284376CECC4}"/>
          </ac:spMkLst>
        </pc:spChg>
        <pc:spChg chg="add del mod">
          <ac:chgData name="Ugo MANTEL" userId="2d5b7065-31bb-4181-a7f8-a73bf0c30211" providerId="ADAL" clId="{9344D105-636D-4857-BD0F-AFC44A54BCCF}" dt="2021-05-24T13:08:46.442" v="6969" actId="478"/>
          <ac:spMkLst>
            <pc:docMk/>
            <pc:sldMk cId="923224959" sldId="10472"/>
            <ac:spMk id="62" creationId="{EDE59A2B-B07E-48BC-914A-0DC47210128B}"/>
          </ac:spMkLst>
        </pc:spChg>
        <pc:spChg chg="add del mod">
          <ac:chgData name="Ugo MANTEL" userId="2d5b7065-31bb-4181-a7f8-a73bf0c30211" providerId="ADAL" clId="{9344D105-636D-4857-BD0F-AFC44A54BCCF}" dt="2021-05-24T13:08:46.442" v="6969" actId="478"/>
          <ac:spMkLst>
            <pc:docMk/>
            <pc:sldMk cId="923224959" sldId="10472"/>
            <ac:spMk id="63" creationId="{B5D219AB-1781-44F8-B0BF-670804E07DF3}"/>
          </ac:spMkLst>
        </pc:spChg>
        <pc:spChg chg="add del mod">
          <ac:chgData name="Ugo MANTEL" userId="2d5b7065-31bb-4181-a7f8-a73bf0c30211" providerId="ADAL" clId="{9344D105-636D-4857-BD0F-AFC44A54BCCF}" dt="2021-05-24T13:34:33.096" v="7459" actId="478"/>
          <ac:spMkLst>
            <pc:docMk/>
            <pc:sldMk cId="923224959" sldId="10472"/>
            <ac:spMk id="64" creationId="{B7CD8323-E7C7-491F-84C7-619D5D1C8F56}"/>
          </ac:spMkLst>
        </pc:spChg>
        <pc:spChg chg="add del mod">
          <ac:chgData name="Ugo MANTEL" userId="2d5b7065-31bb-4181-a7f8-a73bf0c30211" providerId="ADAL" clId="{9344D105-636D-4857-BD0F-AFC44A54BCCF}" dt="2021-05-24T13:34:33.096" v="7459" actId="478"/>
          <ac:spMkLst>
            <pc:docMk/>
            <pc:sldMk cId="923224959" sldId="10472"/>
            <ac:spMk id="65" creationId="{FA9E09FB-D6A2-4593-9244-84CAE8C28E86}"/>
          </ac:spMkLst>
        </pc:spChg>
        <pc:grpChg chg="add del mod">
          <ac:chgData name="Ugo MANTEL" userId="2d5b7065-31bb-4181-a7f8-a73bf0c30211" providerId="ADAL" clId="{9344D105-636D-4857-BD0F-AFC44A54BCCF}" dt="2021-05-25T08:21:30.339" v="11758" actId="165"/>
          <ac:grpSpMkLst>
            <pc:docMk/>
            <pc:sldMk cId="923224959" sldId="10472"/>
            <ac:grpSpMk id="3" creationId="{23DDEFD8-7325-4A79-9A6A-F66F8E1ABE23}"/>
          </ac:grpSpMkLst>
        </pc:grpChg>
        <pc:grpChg chg="add mod">
          <ac:chgData name="Ugo MANTEL" userId="2d5b7065-31bb-4181-a7f8-a73bf0c30211" providerId="ADAL" clId="{9344D105-636D-4857-BD0F-AFC44A54BCCF}" dt="2021-05-24T12:54:17.827" v="6033" actId="1076"/>
          <ac:grpSpMkLst>
            <pc:docMk/>
            <pc:sldMk cId="923224959" sldId="10472"/>
            <ac:grpSpMk id="43" creationId="{87142682-EBDC-4233-B669-414B88DD87B8}"/>
          </ac:grpSpMkLst>
        </pc:grpChg>
        <pc:grpChg chg="add del mod">
          <ac:chgData name="Ugo MANTEL" userId="2d5b7065-31bb-4181-a7f8-a73bf0c30211" providerId="ADAL" clId="{9344D105-636D-4857-BD0F-AFC44A54BCCF}" dt="2021-05-24T13:03:04.271" v="6705" actId="478"/>
          <ac:grpSpMkLst>
            <pc:docMk/>
            <pc:sldMk cId="923224959" sldId="10472"/>
            <ac:grpSpMk id="57" creationId="{8AC977C5-FBD5-4136-87B7-0F35FC15646D}"/>
          </ac:grpSpMkLst>
        </pc:grpChg>
        <pc:graphicFrameChg chg="add mod ord modVis">
          <ac:chgData name="Ugo MANTEL" userId="2d5b7065-31bb-4181-a7f8-a73bf0c30211" providerId="ADAL" clId="{9344D105-636D-4857-BD0F-AFC44A54BCCF}" dt="2021-05-24T12:48:54.638" v="5878"/>
          <ac:graphicFrameMkLst>
            <pc:docMk/>
            <pc:sldMk cId="923224959" sldId="10472"/>
            <ac:graphicFrameMk id="5" creationId="{6308243E-0BBD-46A4-8D4E-B63D45AD58CB}"/>
          </ac:graphicFrameMkLst>
        </pc:graphicFrameChg>
        <pc:picChg chg="del mod ord">
          <ac:chgData name="Ugo MANTEL" userId="2d5b7065-31bb-4181-a7f8-a73bf0c30211" providerId="ADAL" clId="{9344D105-636D-4857-BD0F-AFC44A54BCCF}" dt="2021-05-24T12:53:15.460" v="5995" actId="478"/>
          <ac:picMkLst>
            <pc:docMk/>
            <pc:sldMk cId="923224959" sldId="10472"/>
            <ac:picMk id="4" creationId="{661F5EB4-1732-4CAA-948E-F5CBCB6E3777}"/>
          </ac:picMkLst>
        </pc:picChg>
        <pc:picChg chg="add del mod">
          <ac:chgData name="Ugo MANTEL" userId="2d5b7065-31bb-4181-a7f8-a73bf0c30211" providerId="ADAL" clId="{9344D105-636D-4857-BD0F-AFC44A54BCCF}" dt="2021-05-24T12:51:25.856" v="5933" actId="27803"/>
          <ac:picMkLst>
            <pc:docMk/>
            <pc:sldMk cId="923224959" sldId="10472"/>
            <ac:picMk id="7" creationId="{724BFDF7-9689-4C00-8E86-336E333DE596}"/>
          </ac:picMkLst>
        </pc:picChg>
        <pc:picChg chg="mod ord topLvl">
          <ac:chgData name="Ugo MANTEL" userId="2d5b7065-31bb-4181-a7f8-a73bf0c30211" providerId="ADAL" clId="{9344D105-636D-4857-BD0F-AFC44A54BCCF}" dt="2021-05-25T08:21:30.339" v="11758" actId="165"/>
          <ac:picMkLst>
            <pc:docMk/>
            <pc:sldMk cId="923224959" sldId="10472"/>
            <ac:picMk id="11" creationId="{B7DFEDFB-DB95-4178-9150-11024DB995B4}"/>
          </ac:picMkLst>
        </pc:picChg>
        <pc:picChg chg="mod ord">
          <ac:chgData name="Ugo MANTEL" userId="2d5b7065-31bb-4181-a7f8-a73bf0c30211" providerId="ADAL" clId="{9344D105-636D-4857-BD0F-AFC44A54BCCF}" dt="2021-05-24T12:48:54.469" v="5833"/>
          <ac:picMkLst>
            <pc:docMk/>
            <pc:sldMk cId="923224959" sldId="10472"/>
            <ac:picMk id="18" creationId="{228EABAF-A989-4B46-8036-4F98D5212A68}"/>
          </ac:picMkLst>
        </pc:picChg>
        <pc:picChg chg="mod ord">
          <ac:chgData name="Ugo MANTEL" userId="2d5b7065-31bb-4181-a7f8-a73bf0c30211" providerId="ADAL" clId="{9344D105-636D-4857-BD0F-AFC44A54BCCF}" dt="2021-05-24T12:48:54.470" v="5841"/>
          <ac:picMkLst>
            <pc:docMk/>
            <pc:sldMk cId="923224959" sldId="10472"/>
            <ac:picMk id="29" creationId="{25B9D01C-A3C2-4BDA-842F-156B93608450}"/>
          </ac:picMkLst>
        </pc:picChg>
        <pc:picChg chg="mod ord">
          <ac:chgData name="Ugo MANTEL" userId="2d5b7065-31bb-4181-a7f8-a73bf0c30211" providerId="ADAL" clId="{9344D105-636D-4857-BD0F-AFC44A54BCCF}" dt="2021-05-24T12:48:54.470" v="5843"/>
          <ac:picMkLst>
            <pc:docMk/>
            <pc:sldMk cId="923224959" sldId="10472"/>
            <ac:picMk id="30" creationId="{5339F1DB-1565-41E6-8F4C-5EED9E5CA495}"/>
          </ac:picMkLst>
        </pc:picChg>
        <pc:picChg chg="mod ord">
          <ac:chgData name="Ugo MANTEL" userId="2d5b7065-31bb-4181-a7f8-a73bf0c30211" providerId="ADAL" clId="{9344D105-636D-4857-BD0F-AFC44A54BCCF}" dt="2021-05-24T12:54:06.086" v="6030" actId="12788"/>
          <ac:picMkLst>
            <pc:docMk/>
            <pc:sldMk cId="923224959" sldId="10472"/>
            <ac:picMk id="35" creationId="{F6BE703A-B5DE-453D-A711-8625467EF67C}"/>
          </ac:picMkLst>
        </pc:picChg>
        <pc:picChg chg="mod ord topLvl">
          <ac:chgData name="Ugo MANTEL" userId="2d5b7065-31bb-4181-a7f8-a73bf0c30211" providerId="ADAL" clId="{9344D105-636D-4857-BD0F-AFC44A54BCCF}" dt="2021-05-25T08:21:30.339" v="11758" actId="165"/>
          <ac:picMkLst>
            <pc:docMk/>
            <pc:sldMk cId="923224959" sldId="10472"/>
            <ac:picMk id="41" creationId="{B0CCC845-4ED5-4CDF-97F8-057AC4F4608D}"/>
          </ac:picMkLst>
        </pc:picChg>
        <pc:picChg chg="mod ord topLvl">
          <ac:chgData name="Ugo MANTEL" userId="2d5b7065-31bb-4181-a7f8-a73bf0c30211" providerId="ADAL" clId="{9344D105-636D-4857-BD0F-AFC44A54BCCF}" dt="2021-05-25T08:21:30.339" v="11758" actId="165"/>
          <ac:picMkLst>
            <pc:docMk/>
            <pc:sldMk cId="923224959" sldId="10472"/>
            <ac:picMk id="42" creationId="{3E7DD9B9-1CEA-4E94-9A2C-D61BA89219DB}"/>
          </ac:picMkLst>
        </pc:picChg>
        <pc:picChg chg="mod ord topLvl">
          <ac:chgData name="Ugo MANTEL" userId="2d5b7065-31bb-4181-a7f8-a73bf0c30211" providerId="ADAL" clId="{9344D105-636D-4857-BD0F-AFC44A54BCCF}" dt="2021-05-25T08:21:30.339" v="11758" actId="165"/>
          <ac:picMkLst>
            <pc:docMk/>
            <pc:sldMk cId="923224959" sldId="10472"/>
            <ac:picMk id="44" creationId="{47965000-65DF-48F1-A225-D918A4975AF3}"/>
          </ac:picMkLst>
        </pc:picChg>
        <pc:picChg chg="add del mod">
          <ac:chgData name="Ugo MANTEL" userId="2d5b7065-31bb-4181-a7f8-a73bf0c30211" providerId="ADAL" clId="{9344D105-636D-4857-BD0F-AFC44A54BCCF}" dt="2021-05-24T12:52:57.181" v="5979" actId="27803"/>
          <ac:picMkLst>
            <pc:docMk/>
            <pc:sldMk cId="923224959" sldId="10472"/>
            <ac:picMk id="45" creationId="{9A1AD0E4-A534-4497-962F-4FBC4ED2C72B}"/>
          </ac:picMkLst>
        </pc:picChg>
        <pc:picChg chg="mod ord topLvl">
          <ac:chgData name="Ugo MANTEL" userId="2d5b7065-31bb-4181-a7f8-a73bf0c30211" providerId="ADAL" clId="{9344D105-636D-4857-BD0F-AFC44A54BCCF}" dt="2021-05-25T08:21:30.339" v="11758" actId="165"/>
          <ac:picMkLst>
            <pc:docMk/>
            <pc:sldMk cId="923224959" sldId="10472"/>
            <ac:picMk id="45" creationId="{A832B60B-1530-4164-B6C9-CEC461E7DDD0}"/>
          </ac:picMkLst>
        </pc:picChg>
        <pc:picChg chg="add mod">
          <ac:chgData name="Ugo MANTEL" userId="2d5b7065-31bb-4181-a7f8-a73bf0c30211" providerId="ADAL" clId="{9344D105-636D-4857-BD0F-AFC44A54BCCF}" dt="2021-05-24T13:02:43.639" v="6700" actId="571"/>
          <ac:picMkLst>
            <pc:docMk/>
            <pc:sldMk cId="923224959" sldId="10472"/>
            <ac:picMk id="58" creationId="{4E139A1F-1C16-49E1-B924-03A35F79582F}"/>
          </ac:picMkLst>
        </pc:picChg>
        <pc:picChg chg="add mod">
          <ac:chgData name="Ugo MANTEL" userId="2d5b7065-31bb-4181-a7f8-a73bf0c30211" providerId="ADAL" clId="{9344D105-636D-4857-BD0F-AFC44A54BCCF}" dt="2021-05-24T13:02:45.573" v="6701" actId="571"/>
          <ac:picMkLst>
            <pc:docMk/>
            <pc:sldMk cId="923224959" sldId="10472"/>
            <ac:picMk id="59" creationId="{820C1652-AA56-4D49-8DE0-B7F7571F38BB}"/>
          </ac:picMkLst>
        </pc:picChg>
        <pc:picChg chg="add mod">
          <ac:chgData name="Ugo MANTEL" userId="2d5b7065-31bb-4181-a7f8-a73bf0c30211" providerId="ADAL" clId="{9344D105-636D-4857-BD0F-AFC44A54BCCF}" dt="2021-05-24T13:02:52.093" v="6702" actId="571"/>
          <ac:picMkLst>
            <pc:docMk/>
            <pc:sldMk cId="923224959" sldId="10472"/>
            <ac:picMk id="60" creationId="{8E74F60A-76CF-43FA-938F-6DF675BB3A23}"/>
          </ac:picMkLst>
        </pc:picChg>
        <pc:picChg chg="add mod">
          <ac:chgData name="Ugo MANTEL" userId="2d5b7065-31bb-4181-a7f8-a73bf0c30211" providerId="ADAL" clId="{9344D105-636D-4857-BD0F-AFC44A54BCCF}" dt="2021-05-24T13:02:57.562" v="6704" actId="207"/>
          <ac:picMkLst>
            <pc:docMk/>
            <pc:sldMk cId="923224959" sldId="10472"/>
            <ac:picMk id="61" creationId="{AAB54CB2-6D55-4555-8222-A6C5404733E3}"/>
          </ac:picMkLst>
        </pc:picChg>
      </pc:sldChg>
      <pc:sldChg chg="addSp delSp modSp del mod">
        <pc:chgData name="Ugo MANTEL" userId="2d5b7065-31bb-4181-a7f8-a73bf0c30211" providerId="ADAL" clId="{9344D105-636D-4857-BD0F-AFC44A54BCCF}" dt="2021-05-25T09:32:28.326" v="13116" actId="47"/>
        <pc:sldMkLst>
          <pc:docMk/>
          <pc:sldMk cId="2505788154" sldId="10474"/>
        </pc:sldMkLst>
        <pc:spChg chg="del">
          <ac:chgData name="Ugo MANTEL" userId="2d5b7065-31bb-4181-a7f8-a73bf0c30211" providerId="ADAL" clId="{9344D105-636D-4857-BD0F-AFC44A54BCCF}" dt="2021-05-24T16:16:34.954" v="11009" actId="478"/>
          <ac:spMkLst>
            <pc:docMk/>
            <pc:sldMk cId="2505788154" sldId="10474"/>
            <ac:spMk id="3" creationId="{1773FC09-D385-45A1-AC2E-146DDDE8BD0A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24" creationId="{B613E2EA-B96E-46E4-BF88-51F7E87FD434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25" creationId="{0634D66A-E6F6-4578-8A06-11D9F3F9E648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31" creationId="{0C5924EB-4FAB-4EEB-8C48-044C8B950722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32" creationId="{F2EECF5B-E5DE-4D06-85AD-830FFDAFCB24}"/>
          </ac:spMkLst>
        </pc:spChg>
        <pc:spChg chg="del">
          <ac:chgData name="Ugo MANTEL" userId="2d5b7065-31bb-4181-a7f8-a73bf0c30211" providerId="ADAL" clId="{9344D105-636D-4857-BD0F-AFC44A54BCCF}" dt="2021-05-24T13:42:02.064" v="7585" actId="478"/>
          <ac:spMkLst>
            <pc:docMk/>
            <pc:sldMk cId="2505788154" sldId="10474"/>
            <ac:spMk id="59" creationId="{EA6890C8-3B25-4BC1-B255-6FDC8ACC9FFA}"/>
          </ac:spMkLst>
        </pc:spChg>
        <pc:spChg chg="del">
          <ac:chgData name="Ugo MANTEL" userId="2d5b7065-31bb-4181-a7f8-a73bf0c30211" providerId="ADAL" clId="{9344D105-636D-4857-BD0F-AFC44A54BCCF}" dt="2021-05-24T13:42:02.064" v="7585" actId="478"/>
          <ac:spMkLst>
            <pc:docMk/>
            <pc:sldMk cId="2505788154" sldId="10474"/>
            <ac:spMk id="60" creationId="{2E0AF7B1-E1FA-4244-A8B3-5647CA25A2D8}"/>
          </ac:spMkLst>
        </pc:spChg>
        <pc:spChg chg="del">
          <ac:chgData name="Ugo MANTEL" userId="2d5b7065-31bb-4181-a7f8-a73bf0c30211" providerId="ADAL" clId="{9344D105-636D-4857-BD0F-AFC44A54BCCF}" dt="2021-05-24T13:42:02.064" v="7585" actId="478"/>
          <ac:spMkLst>
            <pc:docMk/>
            <pc:sldMk cId="2505788154" sldId="10474"/>
            <ac:spMk id="62" creationId="{FD9C8703-8870-4B66-BD32-4BBDFC990586}"/>
          </ac:spMkLst>
        </pc:spChg>
        <pc:spChg chg="del">
          <ac:chgData name="Ugo MANTEL" userId="2d5b7065-31bb-4181-a7f8-a73bf0c30211" providerId="ADAL" clId="{9344D105-636D-4857-BD0F-AFC44A54BCCF}" dt="2021-05-24T13:42:02.064" v="7585" actId="478"/>
          <ac:spMkLst>
            <pc:docMk/>
            <pc:sldMk cId="2505788154" sldId="10474"/>
            <ac:spMk id="63" creationId="{49572747-F2B7-4B82-BACA-746AF07C39A7}"/>
          </ac:spMkLst>
        </pc:spChg>
        <pc:spChg chg="del">
          <ac:chgData name="Ugo MANTEL" userId="2d5b7065-31bb-4181-a7f8-a73bf0c30211" providerId="ADAL" clId="{9344D105-636D-4857-BD0F-AFC44A54BCCF}" dt="2021-05-24T13:42:02.064" v="7585" actId="478"/>
          <ac:spMkLst>
            <pc:docMk/>
            <pc:sldMk cId="2505788154" sldId="10474"/>
            <ac:spMk id="64" creationId="{62AD9C8B-EE8D-4437-9A4F-DB3CF9653138}"/>
          </ac:spMkLst>
        </pc:spChg>
        <pc:spChg chg="mod">
          <ac:chgData name="Ugo MANTEL" userId="2d5b7065-31bb-4181-a7f8-a73bf0c30211" providerId="ADAL" clId="{9344D105-636D-4857-BD0F-AFC44A54BCCF}" dt="2021-05-25T07:52:07.864" v="11622" actId="114"/>
          <ac:spMkLst>
            <pc:docMk/>
            <pc:sldMk cId="2505788154" sldId="10474"/>
            <ac:spMk id="64" creationId="{715DCA8A-86D5-45FB-9BFD-4D1110B6C7FB}"/>
          </ac:spMkLst>
        </pc:spChg>
        <pc:spChg chg="mod">
          <ac:chgData name="Ugo MANTEL" userId="2d5b7065-31bb-4181-a7f8-a73bf0c30211" providerId="ADAL" clId="{9344D105-636D-4857-BD0F-AFC44A54BCCF}" dt="2021-05-25T07:31:04.581" v="11031" actId="20577"/>
          <ac:spMkLst>
            <pc:docMk/>
            <pc:sldMk cId="2505788154" sldId="10474"/>
            <ac:spMk id="72" creationId="{C5BAE9F3-F0CE-4E5D-A59F-809FDD7B37E5}"/>
          </ac:spMkLst>
        </pc:spChg>
        <pc:spChg chg="mod">
          <ac:chgData name="Ugo MANTEL" userId="2d5b7065-31bb-4181-a7f8-a73bf0c30211" providerId="ADAL" clId="{9344D105-636D-4857-BD0F-AFC44A54BCCF}" dt="2021-05-25T07:39:07.290" v="11149" actId="20577"/>
          <ac:spMkLst>
            <pc:docMk/>
            <pc:sldMk cId="2505788154" sldId="10474"/>
            <ac:spMk id="74" creationId="{E5DAF6B5-73B5-4F99-AC68-3AF9C1E72B1A}"/>
          </ac:spMkLst>
        </pc:spChg>
        <pc:spChg chg="add mod">
          <ac:chgData name="Ugo MANTEL" userId="2d5b7065-31bb-4181-a7f8-a73bf0c30211" providerId="ADAL" clId="{9344D105-636D-4857-BD0F-AFC44A54BCCF}" dt="2021-05-24T13:42:02.580" v="7586"/>
          <ac:spMkLst>
            <pc:docMk/>
            <pc:sldMk cId="2505788154" sldId="10474"/>
            <ac:spMk id="78" creationId="{BE2FB5DD-C34E-41C9-91E9-F7910227B253}"/>
          </ac:spMkLst>
        </pc:spChg>
        <pc:spChg chg="add mod">
          <ac:chgData name="Ugo MANTEL" userId="2d5b7065-31bb-4181-a7f8-a73bf0c30211" providerId="ADAL" clId="{9344D105-636D-4857-BD0F-AFC44A54BCCF}" dt="2021-05-24T13:42:02.580" v="7586"/>
          <ac:spMkLst>
            <pc:docMk/>
            <pc:sldMk cId="2505788154" sldId="10474"/>
            <ac:spMk id="79" creationId="{987E3A29-35FB-44D0-830C-98224FE5939E}"/>
          </ac:spMkLst>
        </pc:spChg>
        <pc:spChg chg="add mod">
          <ac:chgData name="Ugo MANTEL" userId="2d5b7065-31bb-4181-a7f8-a73bf0c30211" providerId="ADAL" clId="{9344D105-636D-4857-BD0F-AFC44A54BCCF}" dt="2021-05-24T13:42:02.580" v="7586"/>
          <ac:spMkLst>
            <pc:docMk/>
            <pc:sldMk cId="2505788154" sldId="10474"/>
            <ac:spMk id="80" creationId="{9E159D94-53AC-4543-A7C1-B2F625D77A92}"/>
          </ac:spMkLst>
        </pc:spChg>
        <pc:spChg chg="add mod">
          <ac:chgData name="Ugo MANTEL" userId="2d5b7065-31bb-4181-a7f8-a73bf0c30211" providerId="ADAL" clId="{9344D105-636D-4857-BD0F-AFC44A54BCCF}" dt="2021-05-24T13:42:02.580" v="7586"/>
          <ac:spMkLst>
            <pc:docMk/>
            <pc:sldMk cId="2505788154" sldId="10474"/>
            <ac:spMk id="81" creationId="{3F40900F-5E10-47C1-9B77-8A4BAB96ECE8}"/>
          </ac:spMkLst>
        </pc:spChg>
        <pc:spChg chg="add mod">
          <ac:chgData name="Ugo MANTEL" userId="2d5b7065-31bb-4181-a7f8-a73bf0c30211" providerId="ADAL" clId="{9344D105-636D-4857-BD0F-AFC44A54BCCF}" dt="2021-05-24T13:42:02.580" v="7586"/>
          <ac:spMkLst>
            <pc:docMk/>
            <pc:sldMk cId="2505788154" sldId="10474"/>
            <ac:spMk id="82" creationId="{0E1D3493-1D0F-4215-B036-5EE85B79166D}"/>
          </ac:spMkLst>
        </pc:spChg>
        <pc:spChg chg="mod">
          <ac:chgData name="Ugo MANTEL" userId="2d5b7065-31bb-4181-a7f8-a73bf0c30211" providerId="ADAL" clId="{9344D105-636D-4857-BD0F-AFC44A54BCCF}" dt="2021-05-25T07:42:32.739" v="11440" actId="20577"/>
          <ac:spMkLst>
            <pc:docMk/>
            <pc:sldMk cId="2505788154" sldId="10474"/>
            <ac:spMk id="83" creationId="{F3D9AFF7-1D4F-497C-9EBC-5196256BD28B}"/>
          </ac:spMkLst>
        </pc:spChg>
        <pc:spChg chg="add mod">
          <ac:chgData name="Ugo MANTEL" userId="2d5b7065-31bb-4181-a7f8-a73bf0c30211" providerId="ADAL" clId="{9344D105-636D-4857-BD0F-AFC44A54BCCF}" dt="2021-05-24T13:42:02.580" v="7586"/>
          <ac:spMkLst>
            <pc:docMk/>
            <pc:sldMk cId="2505788154" sldId="10474"/>
            <ac:spMk id="84" creationId="{82EBBB7A-5471-454F-9E18-48C0BA42145C}"/>
          </ac:spMkLst>
        </pc:spChg>
        <pc:spChg chg="add mod">
          <ac:chgData name="Ugo MANTEL" userId="2d5b7065-31bb-4181-a7f8-a73bf0c30211" providerId="ADAL" clId="{9344D105-636D-4857-BD0F-AFC44A54BCCF}" dt="2021-05-24T13:42:02.580" v="7586"/>
          <ac:spMkLst>
            <pc:docMk/>
            <pc:sldMk cId="2505788154" sldId="10474"/>
            <ac:spMk id="85" creationId="{C45D6D08-8894-42EA-8C23-28E2C27E9226}"/>
          </ac:spMkLst>
        </pc:spChg>
        <pc:spChg chg="add del mod">
          <ac:chgData name="Ugo MANTEL" userId="2d5b7065-31bb-4181-a7f8-a73bf0c30211" providerId="ADAL" clId="{9344D105-636D-4857-BD0F-AFC44A54BCCF}" dt="2021-05-24T16:14:32.383" v="10934" actId="478"/>
          <ac:spMkLst>
            <pc:docMk/>
            <pc:sldMk cId="2505788154" sldId="10474"/>
            <ac:spMk id="86" creationId="{24839B2F-6BC9-4925-93F1-34CB220326C4}"/>
          </ac:spMkLst>
        </pc:spChg>
        <pc:spChg chg="mod">
          <ac:chgData name="Ugo MANTEL" userId="2d5b7065-31bb-4181-a7f8-a73bf0c30211" providerId="ADAL" clId="{9344D105-636D-4857-BD0F-AFC44A54BCCF}" dt="2021-05-24T13:49:57.820" v="7625" actId="207"/>
          <ac:spMkLst>
            <pc:docMk/>
            <pc:sldMk cId="2505788154" sldId="10474"/>
            <ac:spMk id="87" creationId="{7BB8F9F8-E10F-4E64-9187-C6D2D1422ACE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88" creationId="{34AD6019-DF31-49B1-9576-11ED4DEEE9F3}"/>
          </ac:spMkLst>
        </pc:spChg>
        <pc:spChg chg="mod">
          <ac:chgData name="Ugo MANTEL" userId="2d5b7065-31bb-4181-a7f8-a73bf0c30211" providerId="ADAL" clId="{9344D105-636D-4857-BD0F-AFC44A54BCCF}" dt="2021-05-25T07:39:47.952" v="11151" actId="571"/>
          <ac:spMkLst>
            <pc:docMk/>
            <pc:sldMk cId="2505788154" sldId="10474"/>
            <ac:spMk id="88" creationId="{4B4F6905-C203-4AF4-8BA5-3B49C36D9584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89" creationId="{0E3C8382-14B0-4DD7-8CF1-F74F30CA1AB5}"/>
          </ac:spMkLst>
        </pc:spChg>
        <pc:spChg chg="mod">
          <ac:chgData name="Ugo MANTEL" userId="2d5b7065-31bb-4181-a7f8-a73bf0c30211" providerId="ADAL" clId="{9344D105-636D-4857-BD0F-AFC44A54BCCF}" dt="2021-05-25T07:39:47.952" v="11151" actId="571"/>
          <ac:spMkLst>
            <pc:docMk/>
            <pc:sldMk cId="2505788154" sldId="10474"/>
            <ac:spMk id="89" creationId="{174F4EA3-8084-4B2D-89A4-CCE7AE249383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90" creationId="{08ED6D2A-682C-461A-BA1C-AC84CBEC2E76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91" creationId="{602468B7-98F9-47C4-8231-08793B2DF3B3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94" creationId="{BF5B00B0-9183-440C-A99F-1C50EFA053F6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95" creationId="{A1CB9407-E980-4B78-9BC3-672647E87D1B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96" creationId="{9C0F66FB-561C-4DB9-BAD1-4012B3F815F5}"/>
          </ac:spMkLst>
        </pc:spChg>
        <pc:spChg chg="del">
          <ac:chgData name="Ugo MANTEL" userId="2d5b7065-31bb-4181-a7f8-a73bf0c30211" providerId="ADAL" clId="{9344D105-636D-4857-BD0F-AFC44A54BCCF}" dt="2021-05-24T13:50:15.704" v="7626" actId="478"/>
          <ac:spMkLst>
            <pc:docMk/>
            <pc:sldMk cId="2505788154" sldId="10474"/>
            <ac:spMk id="97" creationId="{C1B3BAF1-8B3C-4DCB-B21F-84C74A57C140}"/>
          </ac:spMkLst>
        </pc:spChg>
        <pc:spChg chg="mod">
          <ac:chgData name="Ugo MANTEL" userId="2d5b7065-31bb-4181-a7f8-a73bf0c30211" providerId="ADAL" clId="{9344D105-636D-4857-BD0F-AFC44A54BCCF}" dt="2021-05-24T16:16:29.745" v="11007" actId="12789"/>
          <ac:spMkLst>
            <pc:docMk/>
            <pc:sldMk cId="2505788154" sldId="10474"/>
            <ac:spMk id="98" creationId="{155E4236-CAB2-4935-A41B-5827B290D7AF}"/>
          </ac:spMkLst>
        </pc:spChg>
        <pc:spChg chg="mod">
          <ac:chgData name="Ugo MANTEL" userId="2d5b7065-31bb-4181-a7f8-a73bf0c30211" providerId="ADAL" clId="{9344D105-636D-4857-BD0F-AFC44A54BCCF}" dt="2021-05-24T16:16:29.745" v="11007" actId="12789"/>
          <ac:spMkLst>
            <pc:docMk/>
            <pc:sldMk cId="2505788154" sldId="10474"/>
            <ac:spMk id="99" creationId="{E826E758-16D4-41A9-B213-8CD96CCD28E1}"/>
          </ac:spMkLst>
        </pc:spChg>
        <pc:spChg chg="mod">
          <ac:chgData name="Ugo MANTEL" userId="2d5b7065-31bb-4181-a7f8-a73bf0c30211" providerId="ADAL" clId="{9344D105-636D-4857-BD0F-AFC44A54BCCF}" dt="2021-05-24T16:16:31.015" v="11008" actId="408"/>
          <ac:spMkLst>
            <pc:docMk/>
            <pc:sldMk cId="2505788154" sldId="10474"/>
            <ac:spMk id="101" creationId="{5C486219-021C-4931-8CB3-BC338DFED7AD}"/>
          </ac:spMkLst>
        </pc:spChg>
        <pc:spChg chg="mod">
          <ac:chgData name="Ugo MANTEL" userId="2d5b7065-31bb-4181-a7f8-a73bf0c30211" providerId="ADAL" clId="{9344D105-636D-4857-BD0F-AFC44A54BCCF}" dt="2021-05-24T16:16:31.015" v="11008" actId="408"/>
          <ac:spMkLst>
            <pc:docMk/>
            <pc:sldMk cId="2505788154" sldId="10474"/>
            <ac:spMk id="102" creationId="{337BA1E6-E57A-42B2-8587-4126F7EDF557}"/>
          </ac:spMkLst>
        </pc:spChg>
        <pc:spChg chg="add mod">
          <ac:chgData name="Ugo MANTEL" userId="2d5b7065-31bb-4181-a7f8-a73bf0c30211" providerId="ADAL" clId="{9344D105-636D-4857-BD0F-AFC44A54BCCF}" dt="2021-05-24T16:16:29.745" v="11007" actId="12789"/>
          <ac:spMkLst>
            <pc:docMk/>
            <pc:sldMk cId="2505788154" sldId="10474"/>
            <ac:spMk id="103" creationId="{D1ADF058-49F0-46BE-A5B0-D41C2897BE51}"/>
          </ac:spMkLst>
        </pc:spChg>
        <pc:spChg chg="add mod">
          <ac:chgData name="Ugo MANTEL" userId="2d5b7065-31bb-4181-a7f8-a73bf0c30211" providerId="ADAL" clId="{9344D105-636D-4857-BD0F-AFC44A54BCCF}" dt="2021-05-24T16:16:31.015" v="11008" actId="408"/>
          <ac:spMkLst>
            <pc:docMk/>
            <pc:sldMk cId="2505788154" sldId="10474"/>
            <ac:spMk id="109" creationId="{BBAA2621-CEE3-45B9-A27A-5E3B01CCE547}"/>
          </ac:spMkLst>
        </pc:spChg>
        <pc:spChg chg="mod">
          <ac:chgData name="Ugo MANTEL" userId="2d5b7065-31bb-4181-a7f8-a73bf0c30211" providerId="ADAL" clId="{9344D105-636D-4857-BD0F-AFC44A54BCCF}" dt="2021-05-24T16:16:29.745" v="11007" actId="12789"/>
          <ac:spMkLst>
            <pc:docMk/>
            <pc:sldMk cId="2505788154" sldId="10474"/>
            <ac:spMk id="115" creationId="{6A4C58FE-5AEA-4FD2-9A97-403D8B58FA6D}"/>
          </ac:spMkLst>
        </pc:spChg>
        <pc:spChg chg="mod">
          <ac:chgData name="Ugo MANTEL" userId="2d5b7065-31bb-4181-a7f8-a73bf0c30211" providerId="ADAL" clId="{9344D105-636D-4857-BD0F-AFC44A54BCCF}" dt="2021-05-24T16:16:29.745" v="11007" actId="12789"/>
          <ac:spMkLst>
            <pc:docMk/>
            <pc:sldMk cId="2505788154" sldId="10474"/>
            <ac:spMk id="116" creationId="{8726275F-B4E8-4763-BB8A-6ECAFC4537F9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18" creationId="{FE0472EE-49C3-4CE2-A375-6C6AE74F0C1C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19" creationId="{64762B4E-7948-41DE-9CFB-D9645965441E}"/>
          </ac:spMkLst>
        </pc:spChg>
        <pc:spChg chg="mod">
          <ac:chgData name="Ugo MANTEL" userId="2d5b7065-31bb-4181-a7f8-a73bf0c30211" providerId="ADAL" clId="{9344D105-636D-4857-BD0F-AFC44A54BCCF}" dt="2021-05-25T07:39:44.098" v="11150" actId="1076"/>
          <ac:spMkLst>
            <pc:docMk/>
            <pc:sldMk cId="2505788154" sldId="10474"/>
            <ac:spMk id="121" creationId="{B3D74C9A-F9FC-4552-B06E-DB2622B4F2A2}"/>
          </ac:spMkLst>
        </pc:spChg>
        <pc:spChg chg="mod">
          <ac:chgData name="Ugo MANTEL" userId="2d5b7065-31bb-4181-a7f8-a73bf0c30211" providerId="ADAL" clId="{9344D105-636D-4857-BD0F-AFC44A54BCCF}" dt="2021-05-25T07:39:44.098" v="11150" actId="1076"/>
          <ac:spMkLst>
            <pc:docMk/>
            <pc:sldMk cId="2505788154" sldId="10474"/>
            <ac:spMk id="122" creationId="{79C67B36-70F9-4CAC-853D-F2E50C96F1C7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24" creationId="{1F0BA65E-ABAB-4F7D-A1C9-036AEF81130A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25" creationId="{957142BE-40DE-408C-AE23-2738DCAD96A0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27" creationId="{7C98CE62-68ED-4EF5-B29F-BB791918EB46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28" creationId="{3347CFEF-C1B7-4BA6-B6D0-B6771946B65E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29" creationId="{D71975E8-6EB4-4EA3-B34C-4F9196C4ABBE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33" creationId="{A342E216-A2F2-4FE4-89F9-E0010C3D7924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34" creationId="{70FE3725-42CC-4172-9F8D-F2B05517B173}"/>
          </ac:spMkLst>
        </pc:spChg>
        <pc:spChg chg="mod">
          <ac:chgData name="Ugo MANTEL" userId="2d5b7065-31bb-4181-a7f8-a73bf0c30211" providerId="ADAL" clId="{9344D105-636D-4857-BD0F-AFC44A54BCCF}" dt="2021-05-24T16:14:46.977" v="10939" actId="12789"/>
          <ac:spMkLst>
            <pc:docMk/>
            <pc:sldMk cId="2505788154" sldId="10474"/>
            <ac:spMk id="135" creationId="{E9E47757-74E5-4C3A-8349-4DF9BC11DA26}"/>
          </ac:spMkLst>
        </pc:spChg>
        <pc:spChg chg="add mod">
          <ac:chgData name="Ugo MANTEL" userId="2d5b7065-31bb-4181-a7f8-a73bf0c30211" providerId="ADAL" clId="{9344D105-636D-4857-BD0F-AFC44A54BCCF}" dt="2021-05-24T16:16:29.745" v="11007" actId="12789"/>
          <ac:spMkLst>
            <pc:docMk/>
            <pc:sldMk cId="2505788154" sldId="10474"/>
            <ac:spMk id="139" creationId="{8DA1D49F-7219-4276-AD3C-AD0D21AF958D}"/>
          </ac:spMkLst>
        </pc:spChg>
        <pc:spChg chg="del">
          <ac:chgData name="Ugo MANTEL" userId="2d5b7065-31bb-4181-a7f8-a73bf0c30211" providerId="ADAL" clId="{9344D105-636D-4857-BD0F-AFC44A54BCCF}" dt="2021-05-24T16:16:34.954" v="11009" actId="478"/>
          <ac:spMkLst>
            <pc:docMk/>
            <pc:sldMk cId="2505788154" sldId="10474"/>
            <ac:spMk id="152" creationId="{FD7ED2BD-3A04-423A-8563-A638727F3B40}"/>
          </ac:spMkLst>
        </pc:spChg>
        <pc:grpChg chg="add mod">
          <ac:chgData name="Ugo MANTEL" userId="2d5b7065-31bb-4181-a7f8-a73bf0c30211" providerId="ADAL" clId="{9344D105-636D-4857-BD0F-AFC44A54BCCF}" dt="2021-05-24T16:16:31.015" v="11008" actId="408"/>
          <ac:grpSpMkLst>
            <pc:docMk/>
            <pc:sldMk cId="2505788154" sldId="10474"/>
            <ac:grpSpMk id="4" creationId="{D2751CD2-283F-4565-A56B-C94C4DDF9D9B}"/>
          </ac:grpSpMkLst>
        </pc:grpChg>
        <pc:grpChg chg="add mod">
          <ac:chgData name="Ugo MANTEL" userId="2d5b7065-31bb-4181-a7f8-a73bf0c30211" providerId="ADAL" clId="{9344D105-636D-4857-BD0F-AFC44A54BCCF}" dt="2021-05-24T16:16:31.015" v="11008" actId="408"/>
          <ac:grpSpMkLst>
            <pc:docMk/>
            <pc:sldMk cId="2505788154" sldId="10474"/>
            <ac:grpSpMk id="5" creationId="{C2F84A0B-2FB6-4ECF-8DBA-898ACC3D08C5}"/>
          </ac:grpSpMkLst>
        </pc:grpChg>
        <pc:grpChg chg="add mod">
          <ac:chgData name="Ugo MANTEL" userId="2d5b7065-31bb-4181-a7f8-a73bf0c30211" providerId="ADAL" clId="{9344D105-636D-4857-BD0F-AFC44A54BCCF}" dt="2021-05-24T16:16:31.015" v="11008" actId="408"/>
          <ac:grpSpMkLst>
            <pc:docMk/>
            <pc:sldMk cId="2505788154" sldId="10474"/>
            <ac:grpSpMk id="6" creationId="{37076D58-9404-4D57-A55B-DAC900B83417}"/>
          </ac:grpSpMkLst>
        </pc:grpChg>
        <pc:grpChg chg="add mod">
          <ac:chgData name="Ugo MANTEL" userId="2d5b7065-31bb-4181-a7f8-a73bf0c30211" providerId="ADAL" clId="{9344D105-636D-4857-BD0F-AFC44A54BCCF}" dt="2021-05-25T07:39:47.952" v="11151" actId="571"/>
          <ac:grpSpMkLst>
            <pc:docMk/>
            <pc:sldMk cId="2505788154" sldId="10474"/>
            <ac:grpSpMk id="86" creationId="{7C8D18A9-E702-488F-8E08-5768A3F3652C}"/>
          </ac:grpSpMkLst>
        </pc:grpChg>
        <pc:grpChg chg="add mod">
          <ac:chgData name="Ugo MANTEL" userId="2d5b7065-31bb-4181-a7f8-a73bf0c30211" providerId="ADAL" clId="{9344D105-636D-4857-BD0F-AFC44A54BCCF}" dt="2021-05-24T16:16:29.745" v="11007" actId="12789"/>
          <ac:grpSpMkLst>
            <pc:docMk/>
            <pc:sldMk cId="2505788154" sldId="10474"/>
            <ac:grpSpMk id="92" creationId="{080151CE-2118-4CA4-BE36-D41509DAAA67}"/>
          </ac:grpSpMkLst>
        </pc:grpChg>
        <pc:grpChg chg="add mod">
          <ac:chgData name="Ugo MANTEL" userId="2d5b7065-31bb-4181-a7f8-a73bf0c30211" providerId="ADAL" clId="{9344D105-636D-4857-BD0F-AFC44A54BCCF}" dt="2021-05-24T16:16:31.015" v="11008" actId="408"/>
          <ac:grpSpMkLst>
            <pc:docMk/>
            <pc:sldMk cId="2505788154" sldId="10474"/>
            <ac:grpSpMk id="100" creationId="{FBCF54A0-A61A-421C-8BCD-2795A7CCBAF3}"/>
          </ac:grpSpMkLst>
        </pc:grpChg>
        <pc:grpChg chg="add mod">
          <ac:chgData name="Ugo MANTEL" userId="2d5b7065-31bb-4181-a7f8-a73bf0c30211" providerId="ADAL" clId="{9344D105-636D-4857-BD0F-AFC44A54BCCF}" dt="2021-05-24T16:16:29.745" v="11007" actId="12789"/>
          <ac:grpSpMkLst>
            <pc:docMk/>
            <pc:sldMk cId="2505788154" sldId="10474"/>
            <ac:grpSpMk id="114" creationId="{04D37A1A-67C9-47A6-B3A9-A53C671C124B}"/>
          </ac:grpSpMkLst>
        </pc:grpChg>
        <pc:grpChg chg="mod">
          <ac:chgData name="Ugo MANTEL" userId="2d5b7065-31bb-4181-a7f8-a73bf0c30211" providerId="ADAL" clId="{9344D105-636D-4857-BD0F-AFC44A54BCCF}" dt="2021-05-24T16:14:46.977" v="10939" actId="12789"/>
          <ac:grpSpMkLst>
            <pc:docMk/>
            <pc:sldMk cId="2505788154" sldId="10474"/>
            <ac:grpSpMk id="117" creationId="{C1A6053F-1EE1-478D-B8D5-E37BD970B069}"/>
          </ac:grpSpMkLst>
        </pc:grpChg>
        <pc:grpChg chg="mod">
          <ac:chgData name="Ugo MANTEL" userId="2d5b7065-31bb-4181-a7f8-a73bf0c30211" providerId="ADAL" clId="{9344D105-636D-4857-BD0F-AFC44A54BCCF}" dt="2021-05-25T07:39:44.098" v="11150" actId="1076"/>
          <ac:grpSpMkLst>
            <pc:docMk/>
            <pc:sldMk cId="2505788154" sldId="10474"/>
            <ac:grpSpMk id="120" creationId="{836067BF-A926-4C0B-AB18-2D08FCA9200A}"/>
          </ac:grpSpMkLst>
        </pc:grpChg>
        <pc:grpChg chg="mod">
          <ac:chgData name="Ugo MANTEL" userId="2d5b7065-31bb-4181-a7f8-a73bf0c30211" providerId="ADAL" clId="{9344D105-636D-4857-BD0F-AFC44A54BCCF}" dt="2021-05-24T16:14:46.977" v="10939" actId="12789"/>
          <ac:grpSpMkLst>
            <pc:docMk/>
            <pc:sldMk cId="2505788154" sldId="10474"/>
            <ac:grpSpMk id="123" creationId="{7D8E6618-2876-4C35-932F-43E19ED46C1E}"/>
          </ac:grpSpMkLst>
        </pc:grpChg>
        <pc:grpChg chg="mod">
          <ac:chgData name="Ugo MANTEL" userId="2d5b7065-31bb-4181-a7f8-a73bf0c30211" providerId="ADAL" clId="{9344D105-636D-4857-BD0F-AFC44A54BCCF}" dt="2021-05-24T16:14:46.977" v="10939" actId="12789"/>
          <ac:grpSpMkLst>
            <pc:docMk/>
            <pc:sldMk cId="2505788154" sldId="10474"/>
            <ac:grpSpMk id="126" creationId="{A6B80790-D3E4-48E1-9CE6-2C2ABD766657}"/>
          </ac:grpSpMkLst>
        </pc:grpChg>
        <pc:picChg chg="del">
          <ac:chgData name="Ugo MANTEL" userId="2d5b7065-31bb-4181-a7f8-a73bf0c30211" providerId="ADAL" clId="{9344D105-636D-4857-BD0F-AFC44A54BCCF}" dt="2021-05-24T13:50:15.704" v="7626" actId="478"/>
          <ac:picMkLst>
            <pc:docMk/>
            <pc:sldMk cId="2505788154" sldId="10474"/>
            <ac:picMk id="93" creationId="{A90C6CFE-2360-43E9-A279-EBF3A9773ABF}"/>
          </ac:picMkLst>
        </pc:picChg>
        <pc:picChg chg="del">
          <ac:chgData name="Ugo MANTEL" userId="2d5b7065-31bb-4181-a7f8-a73bf0c30211" providerId="ADAL" clId="{9344D105-636D-4857-BD0F-AFC44A54BCCF}" dt="2021-05-24T13:50:15.704" v="7626" actId="478"/>
          <ac:picMkLst>
            <pc:docMk/>
            <pc:sldMk cId="2505788154" sldId="10474"/>
            <ac:picMk id="153" creationId="{F871BE55-66C5-4C86-BDB2-A8D57E347C05}"/>
          </ac:picMkLst>
        </pc:picChg>
      </pc:sldChg>
      <pc:sldChg chg="addSp delSp modSp mod">
        <pc:chgData name="Ugo MANTEL" userId="2d5b7065-31bb-4181-a7f8-a73bf0c30211" providerId="ADAL" clId="{9344D105-636D-4857-BD0F-AFC44A54BCCF}" dt="2021-05-25T07:48:04.804" v="11591" actId="478"/>
        <pc:sldMkLst>
          <pc:docMk/>
          <pc:sldMk cId="2085535939" sldId="10475"/>
        </pc:sldMkLst>
        <pc:spChg chg="del">
          <ac:chgData name="Ugo MANTEL" userId="2d5b7065-31bb-4181-a7f8-a73bf0c30211" providerId="ADAL" clId="{9344D105-636D-4857-BD0F-AFC44A54BCCF}" dt="2021-05-25T07:48:04.804" v="11591" actId="478"/>
          <ac:spMkLst>
            <pc:docMk/>
            <pc:sldMk cId="2085535939" sldId="10475"/>
            <ac:spMk id="3" creationId="{1773FC09-D385-45A1-AC2E-146DDDE8BD0A}"/>
          </ac:spMkLst>
        </pc:spChg>
        <pc:spChg chg="add mod">
          <ac:chgData name="Ugo MANTEL" userId="2d5b7065-31bb-4181-a7f8-a73bf0c30211" providerId="ADAL" clId="{9344D105-636D-4857-BD0F-AFC44A54BCCF}" dt="2021-05-25T07:48:00.394" v="11590"/>
          <ac:spMkLst>
            <pc:docMk/>
            <pc:sldMk cId="2085535939" sldId="10475"/>
            <ac:spMk id="46" creationId="{D685C480-1D86-4AA5-83EA-E5A42211663B}"/>
          </ac:spMkLst>
        </pc:spChg>
        <pc:spChg chg="del">
          <ac:chgData name="Ugo MANTEL" userId="2d5b7065-31bb-4181-a7f8-a73bf0c30211" providerId="ADAL" clId="{9344D105-636D-4857-BD0F-AFC44A54BCCF}" dt="2021-05-25T07:48:04.804" v="11591" actId="478"/>
          <ac:spMkLst>
            <pc:docMk/>
            <pc:sldMk cId="2085535939" sldId="10475"/>
            <ac:spMk id="152" creationId="{FD7ED2BD-3A04-423A-8563-A638727F3B40}"/>
          </ac:spMkLst>
        </pc:spChg>
        <pc:spChg chg="del">
          <ac:chgData name="Ugo MANTEL" userId="2d5b7065-31bb-4181-a7f8-a73bf0c30211" providerId="ADAL" clId="{9344D105-636D-4857-BD0F-AFC44A54BCCF}" dt="2021-05-24T15:18:51.761" v="8931" actId="478"/>
          <ac:spMkLst>
            <pc:docMk/>
            <pc:sldMk cId="2085535939" sldId="10475"/>
            <ac:spMk id="154" creationId="{D35DD235-AAB8-4F6B-B3B1-D38983ADA0CA}"/>
          </ac:spMkLst>
        </pc:spChg>
        <pc:spChg chg="del">
          <ac:chgData name="Ugo MANTEL" userId="2d5b7065-31bb-4181-a7f8-a73bf0c30211" providerId="ADAL" clId="{9344D105-636D-4857-BD0F-AFC44A54BCCF}" dt="2021-05-24T15:18:51.761" v="8931" actId="478"/>
          <ac:spMkLst>
            <pc:docMk/>
            <pc:sldMk cId="2085535939" sldId="10475"/>
            <ac:spMk id="155" creationId="{45677D6E-1074-44F0-A972-E8300AB3680D}"/>
          </ac:spMkLst>
        </pc:spChg>
        <pc:spChg chg="del">
          <ac:chgData name="Ugo MANTEL" userId="2d5b7065-31bb-4181-a7f8-a73bf0c30211" providerId="ADAL" clId="{9344D105-636D-4857-BD0F-AFC44A54BCCF}" dt="2021-05-24T15:18:51.761" v="8931" actId="478"/>
          <ac:spMkLst>
            <pc:docMk/>
            <pc:sldMk cId="2085535939" sldId="10475"/>
            <ac:spMk id="156" creationId="{29678C34-BE61-4AD4-863B-FD79AC636B57}"/>
          </ac:spMkLst>
        </pc:spChg>
        <pc:spChg chg="del">
          <ac:chgData name="Ugo MANTEL" userId="2d5b7065-31bb-4181-a7f8-a73bf0c30211" providerId="ADAL" clId="{9344D105-636D-4857-BD0F-AFC44A54BCCF}" dt="2021-05-24T15:18:51.761" v="8931" actId="478"/>
          <ac:spMkLst>
            <pc:docMk/>
            <pc:sldMk cId="2085535939" sldId="10475"/>
            <ac:spMk id="157" creationId="{FC79914C-612B-461D-BE51-7D1309D6DFE0}"/>
          </ac:spMkLst>
        </pc:spChg>
        <pc:spChg chg="del">
          <ac:chgData name="Ugo MANTEL" userId="2d5b7065-31bb-4181-a7f8-a73bf0c30211" providerId="ADAL" clId="{9344D105-636D-4857-BD0F-AFC44A54BCCF}" dt="2021-05-24T15:18:51.761" v="8931" actId="478"/>
          <ac:spMkLst>
            <pc:docMk/>
            <pc:sldMk cId="2085535939" sldId="10475"/>
            <ac:spMk id="158" creationId="{2D81ABC9-682E-4CC0-995F-B4C6876BBBA5}"/>
          </ac:spMkLst>
        </pc:spChg>
        <pc:spChg chg="del">
          <ac:chgData name="Ugo MANTEL" userId="2d5b7065-31bb-4181-a7f8-a73bf0c30211" providerId="ADAL" clId="{9344D105-636D-4857-BD0F-AFC44A54BCCF}" dt="2021-05-24T15:18:51.761" v="8931" actId="478"/>
          <ac:spMkLst>
            <pc:docMk/>
            <pc:sldMk cId="2085535939" sldId="10475"/>
            <ac:spMk id="159" creationId="{B9492A56-4112-40F4-9483-056AE30973C3}"/>
          </ac:spMkLst>
        </pc:spChg>
        <pc:spChg chg="del">
          <ac:chgData name="Ugo MANTEL" userId="2d5b7065-31bb-4181-a7f8-a73bf0c30211" providerId="ADAL" clId="{9344D105-636D-4857-BD0F-AFC44A54BCCF}" dt="2021-05-24T15:18:51.761" v="8931" actId="478"/>
          <ac:spMkLst>
            <pc:docMk/>
            <pc:sldMk cId="2085535939" sldId="10475"/>
            <ac:spMk id="160" creationId="{DF39C3C0-CF28-40E8-9508-1DBF262C4F4D}"/>
          </ac:spMkLst>
        </pc:spChg>
        <pc:graphicFrameChg chg="add del modGraphic">
          <ac:chgData name="Ugo MANTEL" userId="2d5b7065-31bb-4181-a7f8-a73bf0c30211" providerId="ADAL" clId="{9344D105-636D-4857-BD0F-AFC44A54BCCF}" dt="2021-05-24T15:18:34.291" v="8928" actId="27309"/>
          <ac:graphicFrameMkLst>
            <pc:docMk/>
            <pc:sldMk cId="2085535939" sldId="10475"/>
            <ac:graphicFrameMk id="5" creationId="{25A0A592-50EA-45EB-B351-2675DC914DB8}"/>
          </ac:graphicFrameMkLst>
        </pc:graphicFrameChg>
      </pc:sldChg>
      <pc:sldChg chg="addSp delSp modSp mod">
        <pc:chgData name="Ugo MANTEL" userId="2d5b7065-31bb-4181-a7f8-a73bf0c30211" providerId="ADAL" clId="{9344D105-636D-4857-BD0F-AFC44A54BCCF}" dt="2021-05-25T07:47:57.817" v="11589" actId="478"/>
        <pc:sldMkLst>
          <pc:docMk/>
          <pc:sldMk cId="2421576044" sldId="10476"/>
        </pc:sldMkLst>
        <pc:spChg chg="del">
          <ac:chgData name="Ugo MANTEL" userId="2d5b7065-31bb-4181-a7f8-a73bf0c30211" providerId="ADAL" clId="{9344D105-636D-4857-BD0F-AFC44A54BCCF}" dt="2021-05-25T07:47:57.817" v="11589" actId="478"/>
          <ac:spMkLst>
            <pc:docMk/>
            <pc:sldMk cId="2421576044" sldId="10476"/>
            <ac:spMk id="3" creationId="{1773FC09-D385-45A1-AC2E-146DDDE8BD0A}"/>
          </ac:spMkLst>
        </pc:spChg>
        <pc:spChg chg="add mod">
          <ac:chgData name="Ugo MANTEL" userId="2d5b7065-31bb-4181-a7f8-a73bf0c30211" providerId="ADAL" clId="{9344D105-636D-4857-BD0F-AFC44A54BCCF}" dt="2021-05-25T07:47:54.450" v="11588" actId="20577"/>
          <ac:spMkLst>
            <pc:docMk/>
            <pc:sldMk cId="2421576044" sldId="10476"/>
            <ac:spMk id="57" creationId="{5150E856-31B7-4313-B06A-05BA81DAF344}"/>
          </ac:spMkLst>
        </pc:spChg>
        <pc:spChg chg="del">
          <ac:chgData name="Ugo MANTEL" userId="2d5b7065-31bb-4181-a7f8-a73bf0c30211" providerId="ADAL" clId="{9344D105-636D-4857-BD0F-AFC44A54BCCF}" dt="2021-05-24T15:18:48.261" v="8930" actId="478"/>
          <ac:spMkLst>
            <pc:docMk/>
            <pc:sldMk cId="2421576044" sldId="10476"/>
            <ac:spMk id="78" creationId="{BE2FB5DD-C34E-41C9-91E9-F7910227B253}"/>
          </ac:spMkLst>
        </pc:spChg>
        <pc:spChg chg="del">
          <ac:chgData name="Ugo MANTEL" userId="2d5b7065-31bb-4181-a7f8-a73bf0c30211" providerId="ADAL" clId="{9344D105-636D-4857-BD0F-AFC44A54BCCF}" dt="2021-05-24T15:18:45.859" v="8929" actId="478"/>
          <ac:spMkLst>
            <pc:docMk/>
            <pc:sldMk cId="2421576044" sldId="10476"/>
            <ac:spMk id="79" creationId="{987E3A29-35FB-44D0-830C-98224FE5939E}"/>
          </ac:spMkLst>
        </pc:spChg>
        <pc:spChg chg="del">
          <ac:chgData name="Ugo MANTEL" userId="2d5b7065-31bb-4181-a7f8-a73bf0c30211" providerId="ADAL" clId="{9344D105-636D-4857-BD0F-AFC44A54BCCF}" dt="2021-05-24T15:18:45.859" v="8929" actId="478"/>
          <ac:spMkLst>
            <pc:docMk/>
            <pc:sldMk cId="2421576044" sldId="10476"/>
            <ac:spMk id="80" creationId="{9E159D94-53AC-4543-A7C1-B2F625D77A92}"/>
          </ac:spMkLst>
        </pc:spChg>
        <pc:spChg chg="del">
          <ac:chgData name="Ugo MANTEL" userId="2d5b7065-31bb-4181-a7f8-a73bf0c30211" providerId="ADAL" clId="{9344D105-636D-4857-BD0F-AFC44A54BCCF}" dt="2021-05-24T15:18:45.859" v="8929" actId="478"/>
          <ac:spMkLst>
            <pc:docMk/>
            <pc:sldMk cId="2421576044" sldId="10476"/>
            <ac:spMk id="81" creationId="{3F40900F-5E10-47C1-9B77-8A4BAB96ECE8}"/>
          </ac:spMkLst>
        </pc:spChg>
        <pc:spChg chg="del">
          <ac:chgData name="Ugo MANTEL" userId="2d5b7065-31bb-4181-a7f8-a73bf0c30211" providerId="ADAL" clId="{9344D105-636D-4857-BD0F-AFC44A54BCCF}" dt="2021-05-24T15:18:45.859" v="8929" actId="478"/>
          <ac:spMkLst>
            <pc:docMk/>
            <pc:sldMk cId="2421576044" sldId="10476"/>
            <ac:spMk id="82" creationId="{0E1D3493-1D0F-4215-B036-5EE85B79166D}"/>
          </ac:spMkLst>
        </pc:spChg>
        <pc:spChg chg="del">
          <ac:chgData name="Ugo MANTEL" userId="2d5b7065-31bb-4181-a7f8-a73bf0c30211" providerId="ADAL" clId="{9344D105-636D-4857-BD0F-AFC44A54BCCF}" dt="2021-05-24T15:18:45.859" v="8929" actId="478"/>
          <ac:spMkLst>
            <pc:docMk/>
            <pc:sldMk cId="2421576044" sldId="10476"/>
            <ac:spMk id="84" creationId="{82EBBB7A-5471-454F-9E18-48C0BA42145C}"/>
          </ac:spMkLst>
        </pc:spChg>
        <pc:spChg chg="del">
          <ac:chgData name="Ugo MANTEL" userId="2d5b7065-31bb-4181-a7f8-a73bf0c30211" providerId="ADAL" clId="{9344D105-636D-4857-BD0F-AFC44A54BCCF}" dt="2021-05-24T15:18:45.859" v="8929" actId="478"/>
          <ac:spMkLst>
            <pc:docMk/>
            <pc:sldMk cId="2421576044" sldId="10476"/>
            <ac:spMk id="85" creationId="{C45D6D08-8894-42EA-8C23-28E2C27E9226}"/>
          </ac:spMkLst>
        </pc:spChg>
        <pc:spChg chg="del">
          <ac:chgData name="Ugo MANTEL" userId="2d5b7065-31bb-4181-a7f8-a73bf0c30211" providerId="ADAL" clId="{9344D105-636D-4857-BD0F-AFC44A54BCCF}" dt="2021-05-25T07:47:57.817" v="11589" actId="478"/>
          <ac:spMkLst>
            <pc:docMk/>
            <pc:sldMk cId="2421576044" sldId="10476"/>
            <ac:spMk id="86" creationId="{24839B2F-6BC9-4925-93F1-34CB220326C4}"/>
          </ac:spMkLst>
        </pc:spChg>
        <pc:spChg chg="del">
          <ac:chgData name="Ugo MANTEL" userId="2d5b7065-31bb-4181-a7f8-a73bf0c30211" providerId="ADAL" clId="{9344D105-636D-4857-BD0F-AFC44A54BCCF}" dt="2021-05-25T07:47:57.817" v="11589" actId="478"/>
          <ac:spMkLst>
            <pc:docMk/>
            <pc:sldMk cId="2421576044" sldId="10476"/>
            <ac:spMk id="152" creationId="{FD7ED2BD-3A04-423A-8563-A638727F3B40}"/>
          </ac:spMkLst>
        </pc:spChg>
      </pc:sldChg>
      <pc:sldChg chg="addSp delSp modSp mod">
        <pc:chgData name="Ugo MANTEL" userId="2d5b7065-31bb-4181-a7f8-a73bf0c30211" providerId="ADAL" clId="{9344D105-636D-4857-BD0F-AFC44A54BCCF}" dt="2021-05-25T15:21:46.652" v="37923" actId="12789"/>
        <pc:sldMkLst>
          <pc:docMk/>
          <pc:sldMk cId="334705468" sldId="10477"/>
        </pc:sldMkLst>
        <pc:spChg chg="mod">
          <ac:chgData name="Ugo MANTEL" userId="2d5b7065-31bb-4181-a7f8-a73bf0c30211" providerId="ADAL" clId="{9344D105-636D-4857-BD0F-AFC44A54BCCF}" dt="2021-05-25T14:59:20.122" v="37677" actId="948"/>
          <ac:spMkLst>
            <pc:docMk/>
            <pc:sldMk cId="334705468" sldId="10477"/>
            <ac:spMk id="2" creationId="{EF803D54-FFD7-419D-904B-922F49CD2917}"/>
          </ac:spMkLst>
        </pc:spChg>
        <pc:spChg chg="mod">
          <ac:chgData name="Ugo MANTEL" userId="2d5b7065-31bb-4181-a7f8-a73bf0c30211" providerId="ADAL" clId="{9344D105-636D-4857-BD0F-AFC44A54BCCF}" dt="2021-05-25T14:20:13.410" v="30120" actId="790"/>
          <ac:spMkLst>
            <pc:docMk/>
            <pc:sldMk cId="334705468" sldId="10477"/>
            <ac:spMk id="3" creationId="{2A6E30E2-FDCF-4E7D-8476-BAB65F50C885}"/>
          </ac:spMkLst>
        </pc:spChg>
        <pc:spChg chg="mod">
          <ac:chgData name="Ugo MANTEL" userId="2d5b7065-31bb-4181-a7f8-a73bf0c30211" providerId="ADAL" clId="{9344D105-636D-4857-BD0F-AFC44A54BCCF}" dt="2021-05-25T14:20:13.411" v="30121" actId="790"/>
          <ac:spMkLst>
            <pc:docMk/>
            <pc:sldMk cId="334705468" sldId="10477"/>
            <ac:spMk id="4" creationId="{FBFA45FE-6078-4B3A-B961-35E498E9E5D3}"/>
          </ac:spMkLst>
        </pc:spChg>
        <pc:spChg chg="mod">
          <ac:chgData name="Ugo MANTEL" userId="2d5b7065-31bb-4181-a7f8-a73bf0c30211" providerId="ADAL" clId="{9344D105-636D-4857-BD0F-AFC44A54BCCF}" dt="2021-05-25T14:20:13.412" v="30122" actId="790"/>
          <ac:spMkLst>
            <pc:docMk/>
            <pc:sldMk cId="334705468" sldId="10477"/>
            <ac:spMk id="5" creationId="{BD728580-58BC-437C-9489-75F07B3629B7}"/>
          </ac:spMkLst>
        </pc:spChg>
        <pc:spChg chg="mod">
          <ac:chgData name="Ugo MANTEL" userId="2d5b7065-31bb-4181-a7f8-a73bf0c30211" providerId="ADAL" clId="{9344D105-636D-4857-BD0F-AFC44A54BCCF}" dt="2021-05-25T14:20:13.413" v="30123" actId="790"/>
          <ac:spMkLst>
            <pc:docMk/>
            <pc:sldMk cId="334705468" sldId="10477"/>
            <ac:spMk id="6" creationId="{0D71B3A7-C6C6-4652-87AB-E37A79AE81E6}"/>
          </ac:spMkLst>
        </pc:spChg>
        <pc:spChg chg="mod">
          <ac:chgData name="Ugo MANTEL" userId="2d5b7065-31bb-4181-a7f8-a73bf0c30211" providerId="ADAL" clId="{9344D105-636D-4857-BD0F-AFC44A54BCCF}" dt="2021-05-25T15:21:40.233" v="37922" actId="12789"/>
          <ac:spMkLst>
            <pc:docMk/>
            <pc:sldMk cId="334705468" sldId="10477"/>
            <ac:spMk id="10" creationId="{CF9EF04D-A8DA-430C-8FE6-73B9D52438D8}"/>
          </ac:spMkLst>
        </pc:spChg>
        <pc:spChg chg="mod">
          <ac:chgData name="Ugo MANTEL" userId="2d5b7065-31bb-4181-a7f8-a73bf0c30211" providerId="ADAL" clId="{9344D105-636D-4857-BD0F-AFC44A54BCCF}" dt="2021-05-25T15:21:40.233" v="37922" actId="12789"/>
          <ac:spMkLst>
            <pc:docMk/>
            <pc:sldMk cId="334705468" sldId="10477"/>
            <ac:spMk id="13" creationId="{033DC122-AC82-47EE-870C-AD69707CBF04}"/>
          </ac:spMkLst>
        </pc:spChg>
        <pc:spChg chg="mod">
          <ac:chgData name="Ugo MANTEL" userId="2d5b7065-31bb-4181-a7f8-a73bf0c30211" providerId="ADAL" clId="{9344D105-636D-4857-BD0F-AFC44A54BCCF}" dt="2021-05-25T15:21:40.233" v="37922" actId="12789"/>
          <ac:spMkLst>
            <pc:docMk/>
            <pc:sldMk cId="334705468" sldId="10477"/>
            <ac:spMk id="16" creationId="{BA25FE13-8A4A-4C62-8AAF-9FD70412153E}"/>
          </ac:spMkLst>
        </pc:spChg>
        <pc:spChg chg="mod">
          <ac:chgData name="Ugo MANTEL" userId="2d5b7065-31bb-4181-a7f8-a73bf0c30211" providerId="ADAL" clId="{9344D105-636D-4857-BD0F-AFC44A54BCCF}" dt="2021-05-25T14:20:13.416" v="30127" actId="790"/>
          <ac:spMkLst>
            <pc:docMk/>
            <pc:sldMk cId="334705468" sldId="10477"/>
            <ac:spMk id="17" creationId="{C95AA0A5-D344-4A89-8DED-5C9C7D2C8476}"/>
          </ac:spMkLst>
        </pc:spChg>
        <pc:spChg chg="mod">
          <ac:chgData name="Ugo MANTEL" userId="2d5b7065-31bb-4181-a7f8-a73bf0c30211" providerId="ADAL" clId="{9344D105-636D-4857-BD0F-AFC44A54BCCF}" dt="2021-05-25T14:20:13.417" v="30128" actId="790"/>
          <ac:spMkLst>
            <pc:docMk/>
            <pc:sldMk cId="334705468" sldId="10477"/>
            <ac:spMk id="18" creationId="{1E38532B-2BB5-4511-A5A4-2ADA00937150}"/>
          </ac:spMkLst>
        </pc:spChg>
        <pc:spChg chg="mod">
          <ac:chgData name="Ugo MANTEL" userId="2d5b7065-31bb-4181-a7f8-a73bf0c30211" providerId="ADAL" clId="{9344D105-636D-4857-BD0F-AFC44A54BCCF}" dt="2021-05-25T15:21:34.121" v="37921" actId="12789"/>
          <ac:spMkLst>
            <pc:docMk/>
            <pc:sldMk cId="334705468" sldId="10477"/>
            <ac:spMk id="20" creationId="{D3E8F46A-1282-4F9D-BA95-A76BD3832A8E}"/>
          </ac:spMkLst>
        </pc:spChg>
        <pc:spChg chg="mod">
          <ac:chgData name="Ugo MANTEL" userId="2d5b7065-31bb-4181-a7f8-a73bf0c30211" providerId="ADAL" clId="{9344D105-636D-4857-BD0F-AFC44A54BCCF}" dt="2021-05-25T14:20:13.419" v="30130" actId="790"/>
          <ac:spMkLst>
            <pc:docMk/>
            <pc:sldMk cId="334705468" sldId="10477"/>
            <ac:spMk id="22" creationId="{D535997E-8335-4695-94AA-DF0C785AF086}"/>
          </ac:spMkLst>
        </pc:spChg>
        <pc:spChg chg="add del mod modVis">
          <ac:chgData name="Ugo MANTEL" userId="2d5b7065-31bb-4181-a7f8-a73bf0c30211" providerId="ADAL" clId="{9344D105-636D-4857-BD0F-AFC44A54BCCF}" dt="2021-05-25T14:59:07.839" v="37569"/>
          <ac:spMkLst>
            <pc:docMk/>
            <pc:sldMk cId="334705468" sldId="10477"/>
            <ac:spMk id="23" creationId="{A9AFE5A7-F932-4DBB-997A-6FC78632CA80}"/>
          </ac:spMkLst>
        </pc:spChg>
        <pc:spChg chg="add del mod modVis">
          <ac:chgData name="Ugo MANTEL" userId="2d5b7065-31bb-4181-a7f8-a73bf0c30211" providerId="ADAL" clId="{9344D105-636D-4857-BD0F-AFC44A54BCCF}" dt="2021-05-25T14:59:09.080" v="37619"/>
          <ac:spMkLst>
            <pc:docMk/>
            <pc:sldMk cId="334705468" sldId="10477"/>
            <ac:spMk id="25" creationId="{2C624BF6-3793-4B99-96DC-F5443F60FA7B}"/>
          </ac:spMkLst>
        </pc:spChg>
        <pc:spChg chg="mod">
          <ac:chgData name="Ugo MANTEL" userId="2d5b7065-31bb-4181-a7f8-a73bf0c30211" providerId="ADAL" clId="{9344D105-636D-4857-BD0F-AFC44A54BCCF}" dt="2021-05-25T15:21:46.652" v="37923" actId="12789"/>
          <ac:spMkLst>
            <pc:docMk/>
            <pc:sldMk cId="334705468" sldId="10477"/>
            <ac:spMk id="26" creationId="{66C73AF3-2F81-48F3-9356-49C96219ED98}"/>
          </ac:spMkLst>
        </pc:spChg>
        <pc:spChg chg="mod">
          <ac:chgData name="Ugo MANTEL" userId="2d5b7065-31bb-4181-a7f8-a73bf0c30211" providerId="ADAL" clId="{9344D105-636D-4857-BD0F-AFC44A54BCCF}" dt="2021-05-25T15:21:27.278" v="37920" actId="12789"/>
          <ac:spMkLst>
            <pc:docMk/>
            <pc:sldMk cId="334705468" sldId="10477"/>
            <ac:spMk id="28" creationId="{11F45C7E-D600-4FC3-A415-594AC03D2F45}"/>
          </ac:spMkLst>
        </pc:spChg>
        <pc:spChg chg="mod">
          <ac:chgData name="Ugo MANTEL" userId="2d5b7065-31bb-4181-a7f8-a73bf0c30211" providerId="ADAL" clId="{9344D105-636D-4857-BD0F-AFC44A54BCCF}" dt="2021-05-25T15:21:40.233" v="37922" actId="12789"/>
          <ac:spMkLst>
            <pc:docMk/>
            <pc:sldMk cId="334705468" sldId="10477"/>
            <ac:spMk id="29" creationId="{5365F92F-0931-4875-B2EB-848E9F83E6CC}"/>
          </ac:spMkLst>
        </pc:spChg>
        <pc:spChg chg="mod">
          <ac:chgData name="Ugo MANTEL" userId="2d5b7065-31bb-4181-a7f8-a73bf0c30211" providerId="ADAL" clId="{9344D105-636D-4857-BD0F-AFC44A54BCCF}" dt="2021-05-25T15:21:40.233" v="37922" actId="12789"/>
          <ac:spMkLst>
            <pc:docMk/>
            <pc:sldMk cId="334705468" sldId="10477"/>
            <ac:spMk id="30" creationId="{5CF58670-FDBC-4498-AA19-361A784C51E5}"/>
          </ac:spMkLst>
        </pc:spChg>
        <pc:spChg chg="mod">
          <ac:chgData name="Ugo MANTEL" userId="2d5b7065-31bb-4181-a7f8-a73bf0c30211" providerId="ADAL" clId="{9344D105-636D-4857-BD0F-AFC44A54BCCF}" dt="2021-05-25T15:21:40.233" v="37922" actId="12789"/>
          <ac:spMkLst>
            <pc:docMk/>
            <pc:sldMk cId="334705468" sldId="10477"/>
            <ac:spMk id="31" creationId="{AFB7D9E8-12F8-4137-9C99-6BE03780E318}"/>
          </ac:spMkLst>
        </pc:spChg>
        <pc:spChg chg="add del mod modVis">
          <ac:chgData name="Ugo MANTEL" userId="2d5b7065-31bb-4181-a7f8-a73bf0c30211" providerId="ADAL" clId="{9344D105-636D-4857-BD0F-AFC44A54BCCF}" dt="2021-05-25T14:59:18.466" v="37668"/>
          <ac:spMkLst>
            <pc:docMk/>
            <pc:sldMk cId="334705468" sldId="10477"/>
            <ac:spMk id="33" creationId="{D9CBE132-76FF-46F3-BB08-C384B7043FEC}"/>
          </ac:spMkLst>
        </pc:spChg>
        <pc:spChg chg="mod">
          <ac:chgData name="Ugo MANTEL" userId="2d5b7065-31bb-4181-a7f8-a73bf0c30211" providerId="ADAL" clId="{9344D105-636D-4857-BD0F-AFC44A54BCCF}" dt="2021-05-25T15:21:27.278" v="37920" actId="12789"/>
          <ac:spMkLst>
            <pc:docMk/>
            <pc:sldMk cId="334705468" sldId="10477"/>
            <ac:spMk id="34" creationId="{D51C10A5-1BAD-439D-A50A-11F2CFA0F6BE}"/>
          </ac:spMkLst>
        </pc:spChg>
        <pc:spChg chg="add del mod modVis">
          <ac:chgData name="Ugo MANTEL" userId="2d5b7065-31bb-4181-a7f8-a73bf0c30211" providerId="ADAL" clId="{9344D105-636D-4857-BD0F-AFC44A54BCCF}" dt="2021-05-25T14:59:20.223" v="37717"/>
          <ac:spMkLst>
            <pc:docMk/>
            <pc:sldMk cId="334705468" sldId="10477"/>
            <ac:spMk id="40" creationId="{6F9CC286-AC27-4BDE-8C2F-C314D4B414AF}"/>
          </ac:spMkLst>
        </pc:spChg>
        <pc:spChg chg="mod">
          <ac:chgData name="Ugo MANTEL" userId="2d5b7065-31bb-4181-a7f8-a73bf0c30211" providerId="ADAL" clId="{9344D105-636D-4857-BD0F-AFC44A54BCCF}" dt="2021-05-25T14:20:13.424" v="30137" actId="790"/>
          <ac:spMkLst>
            <pc:docMk/>
            <pc:sldMk cId="334705468" sldId="10477"/>
            <ac:spMk id="55" creationId="{A655C1A1-F1BC-4E0A-8733-FE9304D5DF11}"/>
          </ac:spMkLst>
        </pc:spChg>
        <pc:spChg chg="mod">
          <ac:chgData name="Ugo MANTEL" userId="2d5b7065-31bb-4181-a7f8-a73bf0c30211" providerId="ADAL" clId="{9344D105-636D-4857-BD0F-AFC44A54BCCF}" dt="2021-05-25T14:20:13.427" v="30138" actId="790"/>
          <ac:spMkLst>
            <pc:docMk/>
            <pc:sldMk cId="334705468" sldId="10477"/>
            <ac:spMk id="56" creationId="{677E9C9C-EFC6-41AC-96D5-37F781C64C68}"/>
          </ac:spMkLst>
        </pc:spChg>
        <pc:spChg chg="mod">
          <ac:chgData name="Ugo MANTEL" userId="2d5b7065-31bb-4181-a7f8-a73bf0c30211" providerId="ADAL" clId="{9344D105-636D-4857-BD0F-AFC44A54BCCF}" dt="2021-05-25T14:20:13.428" v="30139" actId="790"/>
          <ac:spMkLst>
            <pc:docMk/>
            <pc:sldMk cId="334705468" sldId="10477"/>
            <ac:spMk id="57" creationId="{8C686930-14F3-4E4F-ACF7-741C5C0CBA0E}"/>
          </ac:spMkLst>
        </pc:spChg>
        <pc:spChg chg="mod">
          <ac:chgData name="Ugo MANTEL" userId="2d5b7065-31bb-4181-a7f8-a73bf0c30211" providerId="ADAL" clId="{9344D105-636D-4857-BD0F-AFC44A54BCCF}" dt="2021-05-25T14:20:13.429" v="30140" actId="790"/>
          <ac:spMkLst>
            <pc:docMk/>
            <pc:sldMk cId="334705468" sldId="10477"/>
            <ac:spMk id="58" creationId="{7D9AD63F-1A86-4E94-836B-E191B19B627C}"/>
          </ac:spMkLst>
        </pc:spChg>
        <pc:spChg chg="mod">
          <ac:chgData name="Ugo MANTEL" userId="2d5b7065-31bb-4181-a7f8-a73bf0c30211" providerId="ADAL" clId="{9344D105-636D-4857-BD0F-AFC44A54BCCF}" dt="2021-05-25T14:20:13.429" v="30141" actId="790"/>
          <ac:spMkLst>
            <pc:docMk/>
            <pc:sldMk cId="334705468" sldId="10477"/>
            <ac:spMk id="59" creationId="{041C200D-085E-4D71-9F95-528827DD5908}"/>
          </ac:spMkLst>
        </pc:spChg>
        <pc:spChg chg="mod">
          <ac:chgData name="Ugo MANTEL" userId="2d5b7065-31bb-4181-a7f8-a73bf0c30211" providerId="ADAL" clId="{9344D105-636D-4857-BD0F-AFC44A54BCCF}" dt="2021-05-25T14:20:13.439" v="30154" actId="790"/>
          <ac:spMkLst>
            <pc:docMk/>
            <pc:sldMk cId="334705468" sldId="10477"/>
            <ac:spMk id="61" creationId="{B633ECD0-04B9-472D-9A5F-152B0B507B32}"/>
          </ac:spMkLst>
        </pc:spChg>
        <pc:spChg chg="mod">
          <ac:chgData name="Ugo MANTEL" userId="2d5b7065-31bb-4181-a7f8-a73bf0c30211" providerId="ADAL" clId="{9344D105-636D-4857-BD0F-AFC44A54BCCF}" dt="2021-05-25T14:20:13.430" v="30142" actId="790"/>
          <ac:spMkLst>
            <pc:docMk/>
            <pc:sldMk cId="334705468" sldId="10477"/>
            <ac:spMk id="62" creationId="{DACD3A10-EDCD-4394-8682-3E21BEBD94B9}"/>
          </ac:spMkLst>
        </pc:spChg>
        <pc:spChg chg="mod">
          <ac:chgData name="Ugo MANTEL" userId="2d5b7065-31bb-4181-a7f8-a73bf0c30211" providerId="ADAL" clId="{9344D105-636D-4857-BD0F-AFC44A54BCCF}" dt="2021-05-25T14:20:13.431" v="30143" actId="790"/>
          <ac:spMkLst>
            <pc:docMk/>
            <pc:sldMk cId="334705468" sldId="10477"/>
            <ac:spMk id="63" creationId="{5293ED27-83B1-4596-AF8C-8E4ED5F56B2A}"/>
          </ac:spMkLst>
        </pc:spChg>
        <pc:spChg chg="mod">
          <ac:chgData name="Ugo MANTEL" userId="2d5b7065-31bb-4181-a7f8-a73bf0c30211" providerId="ADAL" clId="{9344D105-636D-4857-BD0F-AFC44A54BCCF}" dt="2021-05-25T14:20:13.439" v="30155" actId="790"/>
          <ac:spMkLst>
            <pc:docMk/>
            <pc:sldMk cId="334705468" sldId="10477"/>
            <ac:spMk id="64" creationId="{6A8845BC-191A-4A90-984C-74D167193E75}"/>
          </ac:spMkLst>
        </pc:spChg>
        <pc:spChg chg="mod">
          <ac:chgData name="Ugo MANTEL" userId="2d5b7065-31bb-4181-a7f8-a73bf0c30211" providerId="ADAL" clId="{9344D105-636D-4857-BD0F-AFC44A54BCCF}" dt="2021-05-25T14:20:13.440" v="30156" actId="790"/>
          <ac:spMkLst>
            <pc:docMk/>
            <pc:sldMk cId="334705468" sldId="10477"/>
            <ac:spMk id="67" creationId="{614BE8AA-D3AD-4E4A-9623-B0FFCCE65E21}"/>
          </ac:spMkLst>
        </pc:spChg>
        <pc:spChg chg="mod">
          <ac:chgData name="Ugo MANTEL" userId="2d5b7065-31bb-4181-a7f8-a73bf0c30211" providerId="ADAL" clId="{9344D105-636D-4857-BD0F-AFC44A54BCCF}" dt="2021-05-25T14:20:13.441" v="30157" actId="790"/>
          <ac:spMkLst>
            <pc:docMk/>
            <pc:sldMk cId="334705468" sldId="10477"/>
            <ac:spMk id="69" creationId="{6A80616E-3AD0-4486-BEAE-B0B76CD8542C}"/>
          </ac:spMkLst>
        </pc:spChg>
        <pc:spChg chg="mod">
          <ac:chgData name="Ugo MANTEL" userId="2d5b7065-31bb-4181-a7f8-a73bf0c30211" providerId="ADAL" clId="{9344D105-636D-4857-BD0F-AFC44A54BCCF}" dt="2021-05-25T14:20:13.432" v="30144" actId="790"/>
          <ac:spMkLst>
            <pc:docMk/>
            <pc:sldMk cId="334705468" sldId="10477"/>
            <ac:spMk id="70" creationId="{113E5341-4F28-4188-8C4A-3DE28CB9566A}"/>
          </ac:spMkLst>
        </pc:spChg>
        <pc:spChg chg="mod">
          <ac:chgData name="Ugo MANTEL" userId="2d5b7065-31bb-4181-a7f8-a73bf0c30211" providerId="ADAL" clId="{9344D105-636D-4857-BD0F-AFC44A54BCCF}" dt="2021-05-25T14:20:13.432" v="30145" actId="790"/>
          <ac:spMkLst>
            <pc:docMk/>
            <pc:sldMk cId="334705468" sldId="10477"/>
            <ac:spMk id="71" creationId="{3592CACF-8BA8-4665-B2A9-12172F995CEC}"/>
          </ac:spMkLst>
        </pc:spChg>
        <pc:spChg chg="mod">
          <ac:chgData name="Ugo MANTEL" userId="2d5b7065-31bb-4181-a7f8-a73bf0c30211" providerId="ADAL" clId="{9344D105-636D-4857-BD0F-AFC44A54BCCF}" dt="2021-05-25T14:20:13.433" v="30146" actId="790"/>
          <ac:spMkLst>
            <pc:docMk/>
            <pc:sldMk cId="334705468" sldId="10477"/>
            <ac:spMk id="72" creationId="{F58111E3-E56D-4B61-BEB0-20F5DAD06446}"/>
          </ac:spMkLst>
        </pc:spChg>
        <pc:spChg chg="mod">
          <ac:chgData name="Ugo MANTEL" userId="2d5b7065-31bb-4181-a7f8-a73bf0c30211" providerId="ADAL" clId="{9344D105-636D-4857-BD0F-AFC44A54BCCF}" dt="2021-05-25T14:20:13.441" v="30158" actId="790"/>
          <ac:spMkLst>
            <pc:docMk/>
            <pc:sldMk cId="334705468" sldId="10477"/>
            <ac:spMk id="73" creationId="{77F836DF-7403-4093-8AC4-970799AA8CFC}"/>
          </ac:spMkLst>
        </pc:spChg>
        <pc:spChg chg="mod">
          <ac:chgData name="Ugo MANTEL" userId="2d5b7065-31bb-4181-a7f8-a73bf0c30211" providerId="ADAL" clId="{9344D105-636D-4857-BD0F-AFC44A54BCCF}" dt="2021-05-25T14:20:13.442" v="30159" actId="790"/>
          <ac:spMkLst>
            <pc:docMk/>
            <pc:sldMk cId="334705468" sldId="10477"/>
            <ac:spMk id="74" creationId="{362E7172-AD5F-4C32-9C30-62F8207A2E99}"/>
          </ac:spMkLst>
        </pc:spChg>
        <pc:spChg chg="mod">
          <ac:chgData name="Ugo MANTEL" userId="2d5b7065-31bb-4181-a7f8-a73bf0c30211" providerId="ADAL" clId="{9344D105-636D-4857-BD0F-AFC44A54BCCF}" dt="2021-05-25T14:20:13.443" v="30160" actId="790"/>
          <ac:spMkLst>
            <pc:docMk/>
            <pc:sldMk cId="334705468" sldId="10477"/>
            <ac:spMk id="75" creationId="{48C73108-0FE1-4040-BD98-E59414ED71E6}"/>
          </ac:spMkLst>
        </pc:spChg>
        <pc:spChg chg="mod">
          <ac:chgData name="Ugo MANTEL" userId="2d5b7065-31bb-4181-a7f8-a73bf0c30211" providerId="ADAL" clId="{9344D105-636D-4857-BD0F-AFC44A54BCCF}" dt="2021-05-25T14:20:13.444" v="30161" actId="790"/>
          <ac:spMkLst>
            <pc:docMk/>
            <pc:sldMk cId="334705468" sldId="10477"/>
            <ac:spMk id="76" creationId="{C44503AE-7116-4D84-B3CB-D664E7E52F7F}"/>
          </ac:spMkLst>
        </pc:spChg>
        <pc:spChg chg="mod">
          <ac:chgData name="Ugo MANTEL" userId="2d5b7065-31bb-4181-a7f8-a73bf0c30211" providerId="ADAL" clId="{9344D105-636D-4857-BD0F-AFC44A54BCCF}" dt="2021-05-25T14:20:13.445" v="30162" actId="790"/>
          <ac:spMkLst>
            <pc:docMk/>
            <pc:sldMk cId="334705468" sldId="10477"/>
            <ac:spMk id="77" creationId="{1AACD203-4F63-46B5-B9FA-BD8F18B75D33}"/>
          </ac:spMkLst>
        </pc:spChg>
        <pc:spChg chg="add del mod">
          <ac:chgData name="Ugo MANTEL" userId="2d5b7065-31bb-4181-a7f8-a73bf0c30211" providerId="ADAL" clId="{9344D105-636D-4857-BD0F-AFC44A54BCCF}" dt="2021-05-25T15:21:07.432" v="37917" actId="21"/>
          <ac:spMkLst>
            <pc:docMk/>
            <pc:sldMk cId="334705468" sldId="10477"/>
            <ac:spMk id="82" creationId="{D4CDDE9C-252B-4F51-AEDE-9E4E1D6F969C}"/>
          </ac:spMkLst>
        </pc:spChg>
        <pc:spChg chg="mod">
          <ac:chgData name="Ugo MANTEL" userId="2d5b7065-31bb-4181-a7f8-a73bf0c30211" providerId="ADAL" clId="{9344D105-636D-4857-BD0F-AFC44A54BCCF}" dt="2021-05-25T15:21:19.367" v="37919" actId="554"/>
          <ac:spMkLst>
            <pc:docMk/>
            <pc:sldMk cId="334705468" sldId="10477"/>
            <ac:spMk id="83" creationId="{BBEDC2F7-2402-445A-B640-9462BA281C6B}"/>
          </ac:spMkLst>
        </pc:spChg>
        <pc:spChg chg="mod">
          <ac:chgData name="Ugo MANTEL" userId="2d5b7065-31bb-4181-a7f8-a73bf0c30211" providerId="ADAL" clId="{9344D105-636D-4857-BD0F-AFC44A54BCCF}" dt="2021-05-25T14:20:13.434" v="30147" actId="790"/>
          <ac:spMkLst>
            <pc:docMk/>
            <pc:sldMk cId="334705468" sldId="10477"/>
            <ac:spMk id="85" creationId="{68001F5E-6947-4E7D-975E-31B3E2A94A1A}"/>
          </ac:spMkLst>
        </pc:spChg>
        <pc:spChg chg="mod">
          <ac:chgData name="Ugo MANTEL" userId="2d5b7065-31bb-4181-a7f8-a73bf0c30211" providerId="ADAL" clId="{9344D105-636D-4857-BD0F-AFC44A54BCCF}" dt="2021-05-25T14:20:13.434" v="30148" actId="790"/>
          <ac:spMkLst>
            <pc:docMk/>
            <pc:sldMk cId="334705468" sldId="10477"/>
            <ac:spMk id="86" creationId="{820AFBE1-61ED-4FFA-946D-2E783059BBBE}"/>
          </ac:spMkLst>
        </pc:spChg>
        <pc:spChg chg="mod">
          <ac:chgData name="Ugo MANTEL" userId="2d5b7065-31bb-4181-a7f8-a73bf0c30211" providerId="ADAL" clId="{9344D105-636D-4857-BD0F-AFC44A54BCCF}" dt="2021-05-25T14:20:13.435" v="30149" actId="790"/>
          <ac:spMkLst>
            <pc:docMk/>
            <pc:sldMk cId="334705468" sldId="10477"/>
            <ac:spMk id="87" creationId="{7FBDB10B-1BA5-42DA-A513-C61789A1AF1C}"/>
          </ac:spMkLst>
        </pc:spChg>
        <pc:spChg chg="mod">
          <ac:chgData name="Ugo MANTEL" userId="2d5b7065-31bb-4181-a7f8-a73bf0c30211" providerId="ADAL" clId="{9344D105-636D-4857-BD0F-AFC44A54BCCF}" dt="2021-05-25T14:20:13.436" v="30150" actId="790"/>
          <ac:spMkLst>
            <pc:docMk/>
            <pc:sldMk cId="334705468" sldId="10477"/>
            <ac:spMk id="88" creationId="{29183D46-5420-483E-87FD-D9321C8095A3}"/>
          </ac:spMkLst>
        </pc:spChg>
        <pc:spChg chg="mod">
          <ac:chgData name="Ugo MANTEL" userId="2d5b7065-31bb-4181-a7f8-a73bf0c30211" providerId="ADAL" clId="{9344D105-636D-4857-BD0F-AFC44A54BCCF}" dt="2021-05-25T15:21:34.121" v="37921" actId="12789"/>
          <ac:spMkLst>
            <pc:docMk/>
            <pc:sldMk cId="334705468" sldId="10477"/>
            <ac:spMk id="89" creationId="{EC8EA891-9074-42C7-909C-A4254666A874}"/>
          </ac:spMkLst>
        </pc:spChg>
        <pc:spChg chg="mod">
          <ac:chgData name="Ugo MANTEL" userId="2d5b7065-31bb-4181-a7f8-a73bf0c30211" providerId="ADAL" clId="{9344D105-636D-4857-BD0F-AFC44A54BCCF}" dt="2021-05-25T15:21:46.652" v="37923" actId="12789"/>
          <ac:spMkLst>
            <pc:docMk/>
            <pc:sldMk cId="334705468" sldId="10477"/>
            <ac:spMk id="90" creationId="{508AA679-5CA1-4AF0-8C4D-3DAD14C5E05B}"/>
          </ac:spMkLst>
        </pc:spChg>
        <pc:spChg chg="mod">
          <ac:chgData name="Ugo MANTEL" userId="2d5b7065-31bb-4181-a7f8-a73bf0c30211" providerId="ADAL" clId="{9344D105-636D-4857-BD0F-AFC44A54BCCF}" dt="2021-05-25T15:21:46.652" v="37923" actId="12789"/>
          <ac:spMkLst>
            <pc:docMk/>
            <pc:sldMk cId="334705468" sldId="10477"/>
            <ac:spMk id="91" creationId="{587FB1B6-ABB0-4EF1-8100-2CF2CD97B6D7}"/>
          </ac:spMkLst>
        </pc:spChg>
        <pc:spChg chg="mod">
          <ac:chgData name="Ugo MANTEL" userId="2d5b7065-31bb-4181-a7f8-a73bf0c30211" providerId="ADAL" clId="{9344D105-636D-4857-BD0F-AFC44A54BCCF}" dt="2021-05-25T14:20:13.447" v="30164" actId="790"/>
          <ac:spMkLst>
            <pc:docMk/>
            <pc:sldMk cId="334705468" sldId="10477"/>
            <ac:spMk id="93" creationId="{CB470B3E-F071-4E4E-9C69-1F39B42015EC}"/>
          </ac:spMkLst>
        </pc:spChg>
        <pc:graphicFrameChg chg="mod">
          <ac:chgData name="Ugo MANTEL" userId="2d5b7065-31bb-4181-a7f8-a73bf0c30211" providerId="ADAL" clId="{9344D105-636D-4857-BD0F-AFC44A54BCCF}" dt="2021-05-25T14:59:20.226" v="37719"/>
          <ac:graphicFrameMkLst>
            <pc:docMk/>
            <pc:sldMk cId="334705468" sldId="10477"/>
            <ac:graphicFrameMk id="27" creationId="{BFED8127-4C36-49D7-B643-65705A286230}"/>
          </ac:graphicFrameMkLst>
        </pc:graphicFrameChg>
        <pc:picChg chg="mod">
          <ac:chgData name="Ugo MANTEL" userId="2d5b7065-31bb-4181-a7f8-a73bf0c30211" providerId="ADAL" clId="{9344D105-636D-4857-BD0F-AFC44A54BCCF}" dt="2021-05-25T15:21:27.278" v="37920" actId="12789"/>
          <ac:picMkLst>
            <pc:docMk/>
            <pc:sldMk cId="334705468" sldId="10477"/>
            <ac:picMk id="7" creationId="{2929ED29-B0BD-4B11-948A-4811710159E5}"/>
          </ac:picMkLst>
        </pc:picChg>
        <pc:picChg chg="mod">
          <ac:chgData name="Ugo MANTEL" userId="2d5b7065-31bb-4181-a7f8-a73bf0c30211" providerId="ADAL" clId="{9344D105-636D-4857-BD0F-AFC44A54BCCF}" dt="2021-05-25T15:21:40.233" v="37922" actId="12789"/>
          <ac:picMkLst>
            <pc:docMk/>
            <pc:sldMk cId="334705468" sldId="10477"/>
            <ac:picMk id="8" creationId="{F943C314-59B0-4574-8F6E-B5AE0CFC559A}"/>
          </ac:picMkLst>
        </pc:picChg>
        <pc:picChg chg="mod">
          <ac:chgData name="Ugo MANTEL" userId="2d5b7065-31bb-4181-a7f8-a73bf0c30211" providerId="ADAL" clId="{9344D105-636D-4857-BD0F-AFC44A54BCCF}" dt="2021-05-25T15:21:34.121" v="37921" actId="12789"/>
          <ac:picMkLst>
            <pc:docMk/>
            <pc:sldMk cId="334705468" sldId="10477"/>
            <ac:picMk id="9" creationId="{8778A21F-BE99-4DD2-8603-8659C12E87A5}"/>
          </ac:picMkLst>
        </pc:picChg>
        <pc:picChg chg="mod">
          <ac:chgData name="Ugo MANTEL" userId="2d5b7065-31bb-4181-a7f8-a73bf0c30211" providerId="ADAL" clId="{9344D105-636D-4857-BD0F-AFC44A54BCCF}" dt="2021-05-25T15:21:34.121" v="37921" actId="12789"/>
          <ac:picMkLst>
            <pc:docMk/>
            <pc:sldMk cId="334705468" sldId="10477"/>
            <ac:picMk id="11" creationId="{2D2CEFCD-A039-419F-81A1-8AA3003D6890}"/>
          </ac:picMkLst>
        </pc:picChg>
        <pc:picChg chg="mod">
          <ac:chgData name="Ugo MANTEL" userId="2d5b7065-31bb-4181-a7f8-a73bf0c30211" providerId="ADAL" clId="{9344D105-636D-4857-BD0F-AFC44A54BCCF}" dt="2021-05-25T15:21:27.278" v="37920" actId="12789"/>
          <ac:picMkLst>
            <pc:docMk/>
            <pc:sldMk cId="334705468" sldId="10477"/>
            <ac:picMk id="12" creationId="{BD95FA27-BF22-4DB4-9B28-617517531DAA}"/>
          </ac:picMkLst>
        </pc:picChg>
        <pc:picChg chg="mod">
          <ac:chgData name="Ugo MANTEL" userId="2d5b7065-31bb-4181-a7f8-a73bf0c30211" providerId="ADAL" clId="{9344D105-636D-4857-BD0F-AFC44A54BCCF}" dt="2021-05-25T15:21:34.121" v="37921" actId="12789"/>
          <ac:picMkLst>
            <pc:docMk/>
            <pc:sldMk cId="334705468" sldId="10477"/>
            <ac:picMk id="14" creationId="{6BC28474-8AF3-473C-8F8C-18461A6CE0B9}"/>
          </ac:picMkLst>
        </pc:picChg>
        <pc:picChg chg="mod">
          <ac:chgData name="Ugo MANTEL" userId="2d5b7065-31bb-4181-a7f8-a73bf0c30211" providerId="ADAL" clId="{9344D105-636D-4857-BD0F-AFC44A54BCCF}" dt="2021-05-25T15:21:34.121" v="37921" actId="12789"/>
          <ac:picMkLst>
            <pc:docMk/>
            <pc:sldMk cId="334705468" sldId="10477"/>
            <ac:picMk id="15" creationId="{56DF0977-C4D1-41D2-A890-6ED0D5862AFE}"/>
          </ac:picMkLst>
        </pc:picChg>
        <pc:picChg chg="mod">
          <ac:chgData name="Ugo MANTEL" userId="2d5b7065-31bb-4181-a7f8-a73bf0c30211" providerId="ADAL" clId="{9344D105-636D-4857-BD0F-AFC44A54BCCF}" dt="2021-05-25T15:21:34.121" v="37921" actId="12789"/>
          <ac:picMkLst>
            <pc:docMk/>
            <pc:sldMk cId="334705468" sldId="10477"/>
            <ac:picMk id="19" creationId="{9793FF22-688A-47E8-B3B3-DCC441A4FF14}"/>
          </ac:picMkLst>
        </pc:picChg>
        <pc:picChg chg="mod">
          <ac:chgData name="Ugo MANTEL" userId="2d5b7065-31bb-4181-a7f8-a73bf0c30211" providerId="ADAL" clId="{9344D105-636D-4857-BD0F-AFC44A54BCCF}" dt="2021-05-25T15:21:27.278" v="37920" actId="12789"/>
          <ac:picMkLst>
            <pc:docMk/>
            <pc:sldMk cId="334705468" sldId="10477"/>
            <ac:picMk id="32" creationId="{06782DC8-58F7-44AC-8D69-9255CA51E9A4}"/>
          </ac:picMkLst>
        </pc:picChg>
        <pc:picChg chg="mod">
          <ac:chgData name="Ugo MANTEL" userId="2d5b7065-31bb-4181-a7f8-a73bf0c30211" providerId="ADAL" clId="{9344D105-636D-4857-BD0F-AFC44A54BCCF}" dt="2021-05-25T15:21:27.278" v="37920" actId="12789"/>
          <ac:picMkLst>
            <pc:docMk/>
            <pc:sldMk cId="334705468" sldId="10477"/>
            <ac:picMk id="35" creationId="{7FCB5740-A04F-408A-8CF9-31FDB56784C8}"/>
          </ac:picMkLst>
        </pc:picChg>
        <pc:picChg chg="mod">
          <ac:chgData name="Ugo MANTEL" userId="2d5b7065-31bb-4181-a7f8-a73bf0c30211" providerId="ADAL" clId="{9344D105-636D-4857-BD0F-AFC44A54BCCF}" dt="2021-05-25T15:21:46.652" v="37923" actId="12789"/>
          <ac:picMkLst>
            <pc:docMk/>
            <pc:sldMk cId="334705468" sldId="10477"/>
            <ac:picMk id="36" creationId="{409B7CBE-2060-470E-98AB-6EFA723F6260}"/>
          </ac:picMkLst>
        </pc:picChg>
        <pc:picChg chg="mod">
          <ac:chgData name="Ugo MANTEL" userId="2d5b7065-31bb-4181-a7f8-a73bf0c30211" providerId="ADAL" clId="{9344D105-636D-4857-BD0F-AFC44A54BCCF}" dt="2021-05-25T15:21:46.652" v="37923" actId="12789"/>
          <ac:picMkLst>
            <pc:docMk/>
            <pc:sldMk cId="334705468" sldId="10477"/>
            <ac:picMk id="37" creationId="{BED9F253-3ECC-4C94-913A-B7000DF90473}"/>
          </ac:picMkLst>
        </pc:picChg>
        <pc:picChg chg="mod">
          <ac:chgData name="Ugo MANTEL" userId="2d5b7065-31bb-4181-a7f8-a73bf0c30211" providerId="ADAL" clId="{9344D105-636D-4857-BD0F-AFC44A54BCCF}" dt="2021-05-25T15:21:46.652" v="37923" actId="12789"/>
          <ac:picMkLst>
            <pc:docMk/>
            <pc:sldMk cId="334705468" sldId="10477"/>
            <ac:picMk id="38" creationId="{48F53FFE-6EF9-4960-BC83-E233F3A710C7}"/>
          </ac:picMkLst>
        </pc:picChg>
        <pc:picChg chg="mod">
          <ac:chgData name="Ugo MANTEL" userId="2d5b7065-31bb-4181-a7f8-a73bf0c30211" providerId="ADAL" clId="{9344D105-636D-4857-BD0F-AFC44A54BCCF}" dt="2021-05-25T15:21:46.652" v="37923" actId="12789"/>
          <ac:picMkLst>
            <pc:docMk/>
            <pc:sldMk cId="334705468" sldId="10477"/>
            <ac:picMk id="39" creationId="{C407932B-E9DF-4E75-A878-0DFD88BE4268}"/>
          </ac:picMkLst>
        </pc:picChg>
        <pc:picChg chg="mod">
          <ac:chgData name="Ugo MANTEL" userId="2d5b7065-31bb-4181-a7f8-a73bf0c30211" providerId="ADAL" clId="{9344D105-636D-4857-BD0F-AFC44A54BCCF}" dt="2021-05-25T15:21:27.278" v="37920" actId="12789"/>
          <ac:picMkLst>
            <pc:docMk/>
            <pc:sldMk cId="334705468" sldId="10477"/>
            <ac:picMk id="60" creationId="{51487C34-4D80-40A8-949E-18D8BA63ACB5}"/>
          </ac:picMkLst>
        </pc:picChg>
        <pc:picChg chg="mod">
          <ac:chgData name="Ugo MANTEL" userId="2d5b7065-31bb-4181-a7f8-a73bf0c30211" providerId="ADAL" clId="{9344D105-636D-4857-BD0F-AFC44A54BCCF}" dt="2021-05-25T15:21:19.367" v="37919" actId="554"/>
          <ac:picMkLst>
            <pc:docMk/>
            <pc:sldMk cId="334705468" sldId="10477"/>
            <ac:picMk id="78" creationId="{467FBB22-7E12-416B-9466-7D424BC4AAD1}"/>
          </ac:picMkLst>
        </pc:picChg>
        <pc:picChg chg="mod">
          <ac:chgData name="Ugo MANTEL" userId="2d5b7065-31bb-4181-a7f8-a73bf0c30211" providerId="ADAL" clId="{9344D105-636D-4857-BD0F-AFC44A54BCCF}" dt="2021-05-25T15:21:19.367" v="37919" actId="554"/>
          <ac:picMkLst>
            <pc:docMk/>
            <pc:sldMk cId="334705468" sldId="10477"/>
            <ac:picMk id="79" creationId="{FA860EA6-ED1C-4D2E-940F-ED2A91BA3BF3}"/>
          </ac:picMkLst>
        </pc:picChg>
        <pc:picChg chg="mod">
          <ac:chgData name="Ugo MANTEL" userId="2d5b7065-31bb-4181-a7f8-a73bf0c30211" providerId="ADAL" clId="{9344D105-636D-4857-BD0F-AFC44A54BCCF}" dt="2021-05-25T15:21:19.367" v="37919" actId="554"/>
          <ac:picMkLst>
            <pc:docMk/>
            <pc:sldMk cId="334705468" sldId="10477"/>
            <ac:picMk id="80" creationId="{E3DE989F-2571-441B-AFF1-29F28A895994}"/>
          </ac:picMkLst>
        </pc:picChg>
        <pc:picChg chg="mod">
          <ac:chgData name="Ugo MANTEL" userId="2d5b7065-31bb-4181-a7f8-a73bf0c30211" providerId="ADAL" clId="{9344D105-636D-4857-BD0F-AFC44A54BCCF}" dt="2021-05-25T15:21:19.367" v="37919" actId="554"/>
          <ac:picMkLst>
            <pc:docMk/>
            <pc:sldMk cId="334705468" sldId="10477"/>
            <ac:picMk id="81" creationId="{8F0586C8-C4A2-4211-9BAC-8ACB3C0AB3BF}"/>
          </ac:picMkLst>
        </pc:picChg>
        <pc:picChg chg="mod">
          <ac:chgData name="Ugo MANTEL" userId="2d5b7065-31bb-4181-a7f8-a73bf0c30211" providerId="ADAL" clId="{9344D105-636D-4857-BD0F-AFC44A54BCCF}" dt="2021-05-25T15:21:19.367" v="37919" actId="554"/>
          <ac:picMkLst>
            <pc:docMk/>
            <pc:sldMk cId="334705468" sldId="10477"/>
            <ac:picMk id="92" creationId="{4DA0F3A0-2375-4DF6-B07C-F5E77826D81E}"/>
          </ac:picMkLst>
        </pc:picChg>
        <pc:picChg chg="mod">
          <ac:chgData name="Ugo MANTEL" userId="2d5b7065-31bb-4181-a7f8-a73bf0c30211" providerId="ADAL" clId="{9344D105-636D-4857-BD0F-AFC44A54BCCF}" dt="2021-05-25T15:21:19.367" v="37919" actId="554"/>
          <ac:picMkLst>
            <pc:docMk/>
            <pc:sldMk cId="334705468" sldId="10477"/>
            <ac:picMk id="2050" creationId="{C8668CE2-366E-46CF-937B-722D06DBE883}"/>
          </ac:picMkLst>
        </pc:picChg>
      </pc:sldChg>
      <pc:sldChg chg="add del">
        <pc:chgData name="Ugo MANTEL" userId="2d5b7065-31bb-4181-a7f8-a73bf0c30211" providerId="ADAL" clId="{9344D105-636D-4857-BD0F-AFC44A54BCCF}" dt="2021-05-24T14:47:52.248" v="7723" actId="47"/>
        <pc:sldMkLst>
          <pc:docMk/>
          <pc:sldMk cId="2241285965" sldId="10477"/>
        </pc:sldMkLst>
      </pc:sldChg>
      <pc:sldChg chg="modSp mod">
        <pc:chgData name="Ugo MANTEL" userId="2d5b7065-31bb-4181-a7f8-a73bf0c30211" providerId="ADAL" clId="{9344D105-636D-4857-BD0F-AFC44A54BCCF}" dt="2021-05-25T14:20:13.629" v="30334" actId="790"/>
        <pc:sldMkLst>
          <pc:docMk/>
          <pc:sldMk cId="736967352" sldId="10478"/>
        </pc:sldMkLst>
        <pc:spChg chg="mod">
          <ac:chgData name="Ugo MANTEL" userId="2d5b7065-31bb-4181-a7f8-a73bf0c30211" providerId="ADAL" clId="{9344D105-636D-4857-BD0F-AFC44A54BCCF}" dt="2021-05-25T14:20:13.628" v="30332" actId="790"/>
          <ac:spMkLst>
            <pc:docMk/>
            <pc:sldMk cId="736967352" sldId="10478"/>
            <ac:spMk id="6" creationId="{94FCAA59-3122-4D3E-BB92-89E8DDA4E673}"/>
          </ac:spMkLst>
        </pc:spChg>
        <pc:spChg chg="mod">
          <ac:chgData name="Ugo MANTEL" userId="2d5b7065-31bb-4181-a7f8-a73bf0c30211" providerId="ADAL" clId="{9344D105-636D-4857-BD0F-AFC44A54BCCF}" dt="2021-05-25T14:20:13.629" v="30333" actId="790"/>
          <ac:spMkLst>
            <pc:docMk/>
            <pc:sldMk cId="736967352" sldId="10478"/>
            <ac:spMk id="19" creationId="{4D7AAE71-D4C6-4985-9DEC-118E6DC22C57}"/>
          </ac:spMkLst>
        </pc:spChg>
        <pc:spChg chg="mod">
          <ac:chgData name="Ugo MANTEL" userId="2d5b7065-31bb-4181-a7f8-a73bf0c30211" providerId="ADAL" clId="{9344D105-636D-4857-BD0F-AFC44A54BCCF}" dt="2021-05-25T14:20:13.629" v="30334" actId="790"/>
          <ac:spMkLst>
            <pc:docMk/>
            <pc:sldMk cId="736967352" sldId="10478"/>
            <ac:spMk id="22" creationId="{B9BD5E20-F2DD-4137-92F4-7D7F45ED8514}"/>
          </ac:spMkLst>
        </pc:spChg>
      </pc:sldChg>
      <pc:sldChg chg="addSp delSp modSp del mod">
        <pc:chgData name="Ugo MANTEL" userId="2d5b7065-31bb-4181-a7f8-a73bf0c30211" providerId="ADAL" clId="{9344D105-636D-4857-BD0F-AFC44A54BCCF}" dt="2021-05-25T13:07:29.297" v="19141" actId="47"/>
        <pc:sldMkLst>
          <pc:docMk/>
          <pc:sldMk cId="588134585" sldId="10479"/>
        </pc:sldMkLst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0" creationId="{8B80541E-0CB8-4F46-AA31-1D2CE8ECE50F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2" creationId="{5632CA9B-96AD-46F9-9A8A-B6E6800443DD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3" creationId="{8A47A578-76B7-48A6-B910-8A54E9BC3C53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6" creationId="{4FCCDEAF-F1D6-472C-8877-BCF7D817DF4C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21" creationId="{58337BA2-B7F0-4432-B9BF-C085B3E8B7D0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23" creationId="{CAB7DE97-987C-4E1B-AC28-72D620F2E2AC}"/>
          </ac:spMkLst>
        </pc:spChg>
        <pc:spChg chg="add mod">
          <ac:chgData name="Ugo MANTEL" userId="2d5b7065-31bb-4181-a7f8-a73bf0c30211" providerId="ADAL" clId="{9344D105-636D-4857-BD0F-AFC44A54BCCF}" dt="2021-05-25T09:34:03.273" v="13135"/>
          <ac:spMkLst>
            <pc:docMk/>
            <pc:sldMk cId="588134585" sldId="10479"/>
            <ac:spMk id="46" creationId="{AA0E1647-C0A6-4DAB-B4D5-C02AE9A04EAC}"/>
          </ac:spMkLst>
        </pc:spChg>
        <pc:spChg chg="mod">
          <ac:chgData name="Ugo MANTEL" userId="2d5b7065-31bb-4181-a7f8-a73bf0c30211" providerId="ADAL" clId="{9344D105-636D-4857-BD0F-AFC44A54BCCF}" dt="2021-05-25T09:29:11.774" v="12662" actId="14100"/>
          <ac:spMkLst>
            <pc:docMk/>
            <pc:sldMk cId="588134585" sldId="10479"/>
            <ac:spMk id="50" creationId="{3D11D9AD-56B2-4FD0-998A-C3C17321490E}"/>
          </ac:spMkLst>
        </pc:spChg>
        <pc:spChg chg="mod">
          <ac:chgData name="Ugo MANTEL" userId="2d5b7065-31bb-4181-a7f8-a73bf0c30211" providerId="ADAL" clId="{9344D105-636D-4857-BD0F-AFC44A54BCCF}" dt="2021-05-25T09:29:11.774" v="12662" actId="14100"/>
          <ac:spMkLst>
            <pc:docMk/>
            <pc:sldMk cId="588134585" sldId="10479"/>
            <ac:spMk id="51" creationId="{ABA09096-B3E8-4754-A77D-65D350688B5B}"/>
          </ac:spMkLst>
        </pc:spChg>
        <pc:spChg chg="del mod">
          <ac:chgData name="Ugo MANTEL" userId="2d5b7065-31bb-4181-a7f8-a73bf0c30211" providerId="ADAL" clId="{9344D105-636D-4857-BD0F-AFC44A54BCCF}" dt="2021-05-25T09:34:02.951" v="13134" actId="478"/>
          <ac:spMkLst>
            <pc:docMk/>
            <pc:sldMk cId="588134585" sldId="10479"/>
            <ac:spMk id="52" creationId="{269DE5CB-BABB-4CE5-BFC8-CA5EE268E23C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54" creationId="{A1ED7959-6972-4CA1-87DE-4A9E265D1EE1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61" creationId="{0CCFF1A2-CE09-4311-BD82-2FC01C7F8607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68" creationId="{A5346155-53F6-4492-8069-514F081C33B9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73" creationId="{98DD9878-7EFD-4EE3-8563-0AB6CA847BCD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78" creationId="{5112757C-9BF4-4BA1-9498-541BF2906FB2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79" creationId="{03A27743-6F0C-44CB-A476-520C8741EAE9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80" creationId="{E399A358-1215-4FA3-8339-9689B70175BF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81" creationId="{60F8FC4C-7305-426C-8523-F98FB2B728B2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82" creationId="{378DC2D4-4EBE-4118-8C40-86863555C037}"/>
          </ac:spMkLst>
        </pc:spChg>
        <pc:spChg chg="mod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84" creationId="{3C53EFB8-8D77-4743-B5E2-D02A8132C2B0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86" creationId="{5426AF42-AB87-4AFB-94AB-DD1D8EF561A6}"/>
          </ac:spMkLst>
        </pc:spChg>
        <pc:spChg chg="mod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92" creationId="{58B5811A-7C8F-45CF-9D3B-9676978FB9CF}"/>
          </ac:spMkLst>
        </pc:spChg>
        <pc:spChg chg="mod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98" creationId="{E7E824A9-0075-4DB7-94CB-07C41244E4EF}"/>
          </ac:spMkLst>
        </pc:spChg>
        <pc:spChg chg="mod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99" creationId="{9F13D4F4-DACE-4D56-AD46-7369D3A8494C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04" creationId="{84D904D1-6FD7-411F-9055-7BDDD6F8D510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07" creationId="{E4B14101-5119-4FB2-BCD9-4C0E7BEAF957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09" creationId="{E8BE3BCE-A832-4D22-9958-D819266EA290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14" creationId="{EF7E7272-A5E8-48AE-AF6F-C99EB6336D02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15" creationId="{E4406749-7A4A-41F0-A850-CE3465C20F17}"/>
          </ac:spMkLst>
        </pc:spChg>
        <pc:spChg chg="mod topLvl">
          <ac:chgData name="Ugo MANTEL" userId="2d5b7065-31bb-4181-a7f8-a73bf0c30211" providerId="ADAL" clId="{9344D105-636D-4857-BD0F-AFC44A54BCCF}" dt="2021-05-25T09:30:16.579" v="12676" actId="165"/>
          <ac:spMkLst>
            <pc:docMk/>
            <pc:sldMk cId="588134585" sldId="10479"/>
            <ac:spMk id="116" creationId="{2806627C-A398-4592-B3EB-4C56D0420050}"/>
          </ac:spMkLst>
        </pc:spChg>
        <pc:spChg chg="del">
          <ac:chgData name="Ugo MANTEL" userId="2d5b7065-31bb-4181-a7f8-a73bf0c30211" providerId="ADAL" clId="{9344D105-636D-4857-BD0F-AFC44A54BCCF}" dt="2021-05-25T09:31:22.426" v="12680" actId="478"/>
          <ac:spMkLst>
            <pc:docMk/>
            <pc:sldMk cId="588134585" sldId="10479"/>
            <ac:spMk id="152" creationId="{FD7ED2BD-3A04-423A-8563-A638727F3B40}"/>
          </ac:spMkLst>
        </pc:spChg>
        <pc:grpChg chg="add del mod">
          <ac:chgData name="Ugo MANTEL" userId="2d5b7065-31bb-4181-a7f8-a73bf0c30211" providerId="ADAL" clId="{9344D105-636D-4857-BD0F-AFC44A54BCCF}" dt="2021-05-25T09:30:16.579" v="12676" actId="165"/>
          <ac:grpSpMkLst>
            <pc:docMk/>
            <pc:sldMk cId="588134585" sldId="10479"/>
            <ac:grpSpMk id="3" creationId="{306E4F82-5551-421E-AA1F-ACAA429F81FD}"/>
          </ac:grpSpMkLst>
        </pc:grpChg>
        <pc:grpChg chg="mod topLvl">
          <ac:chgData name="Ugo MANTEL" userId="2d5b7065-31bb-4181-a7f8-a73bf0c30211" providerId="ADAL" clId="{9344D105-636D-4857-BD0F-AFC44A54BCCF}" dt="2021-05-25T09:30:16.579" v="12676" actId="165"/>
          <ac:grpSpMkLst>
            <pc:docMk/>
            <pc:sldMk cId="588134585" sldId="10479"/>
            <ac:grpSpMk id="45" creationId="{014FDE40-AF87-4398-AF77-3BDA3430198D}"/>
          </ac:grpSpMkLst>
        </pc:grpChg>
        <pc:picChg chg="mod topLvl">
          <ac:chgData name="Ugo MANTEL" userId="2d5b7065-31bb-4181-a7f8-a73bf0c30211" providerId="ADAL" clId="{9344D105-636D-4857-BD0F-AFC44A54BCCF}" dt="2021-05-25T09:30:16.579" v="12676" actId="165"/>
          <ac:picMkLst>
            <pc:docMk/>
            <pc:sldMk cId="588134585" sldId="10479"/>
            <ac:picMk id="15" creationId="{935E79BD-263C-469E-9BC7-F35F98D47CCF}"/>
          </ac:picMkLst>
        </pc:picChg>
        <pc:picChg chg="mod topLvl">
          <ac:chgData name="Ugo MANTEL" userId="2d5b7065-31bb-4181-a7f8-a73bf0c30211" providerId="ADAL" clId="{9344D105-636D-4857-BD0F-AFC44A54BCCF}" dt="2021-05-25T09:30:16.579" v="12676" actId="165"/>
          <ac:picMkLst>
            <pc:docMk/>
            <pc:sldMk cId="588134585" sldId="10479"/>
            <ac:picMk id="29" creationId="{BED356B1-5299-4B02-9B34-333246151A62}"/>
          </ac:picMkLst>
        </pc:picChg>
        <pc:picChg chg="mod topLvl">
          <ac:chgData name="Ugo MANTEL" userId="2d5b7065-31bb-4181-a7f8-a73bf0c30211" providerId="ADAL" clId="{9344D105-636D-4857-BD0F-AFC44A54BCCF}" dt="2021-05-25T09:30:16.579" v="12676" actId="165"/>
          <ac:picMkLst>
            <pc:docMk/>
            <pc:sldMk cId="588134585" sldId="10479"/>
            <ac:picMk id="47" creationId="{A8AD543B-38C9-44F4-BE59-CEE06D9FC367}"/>
          </ac:picMkLst>
        </pc:picChg>
        <pc:picChg chg="mod">
          <ac:chgData name="Ugo MANTEL" userId="2d5b7065-31bb-4181-a7f8-a73bf0c30211" providerId="ADAL" clId="{9344D105-636D-4857-BD0F-AFC44A54BCCF}" dt="2021-05-25T09:30:16.579" v="12676" actId="165"/>
          <ac:picMkLst>
            <pc:docMk/>
            <pc:sldMk cId="588134585" sldId="10479"/>
            <ac:picMk id="85" creationId="{35965997-C020-4AF1-B4C3-0235EDB19652}"/>
          </ac:picMkLst>
        </pc:picChg>
        <pc:picChg chg="mod">
          <ac:chgData name="Ugo MANTEL" userId="2d5b7065-31bb-4181-a7f8-a73bf0c30211" providerId="ADAL" clId="{9344D105-636D-4857-BD0F-AFC44A54BCCF}" dt="2021-05-25T09:30:16.579" v="12676" actId="165"/>
          <ac:picMkLst>
            <pc:docMk/>
            <pc:sldMk cId="588134585" sldId="10479"/>
            <ac:picMk id="100" creationId="{5D5E7F3F-7B4B-4CD7-9FC1-026A2940C5BD}"/>
          </ac:picMkLst>
        </pc:picChg>
        <pc:cxnChg chg="mod">
          <ac:chgData name="Ugo MANTEL" userId="2d5b7065-31bb-4181-a7f8-a73bf0c30211" providerId="ADAL" clId="{9344D105-636D-4857-BD0F-AFC44A54BCCF}" dt="2021-05-25T09:30:16.579" v="12676" actId="165"/>
          <ac:cxnSpMkLst>
            <pc:docMk/>
            <pc:sldMk cId="588134585" sldId="10479"/>
            <ac:cxnSpMk id="101" creationId="{AA90C460-6CF1-4DB5-8C11-E122F31BD388}"/>
          </ac:cxnSpMkLst>
        </pc:cxnChg>
        <pc:cxnChg chg="mod">
          <ac:chgData name="Ugo MANTEL" userId="2d5b7065-31bb-4181-a7f8-a73bf0c30211" providerId="ADAL" clId="{9344D105-636D-4857-BD0F-AFC44A54BCCF}" dt="2021-05-25T09:30:16.579" v="12676" actId="165"/>
          <ac:cxnSpMkLst>
            <pc:docMk/>
            <pc:sldMk cId="588134585" sldId="10479"/>
            <ac:cxnSpMk id="102" creationId="{1199AD81-7087-4482-8DDE-CE8EA7086463}"/>
          </ac:cxnSpMkLst>
        </pc:cxnChg>
        <pc:cxnChg chg="mod">
          <ac:chgData name="Ugo MANTEL" userId="2d5b7065-31bb-4181-a7f8-a73bf0c30211" providerId="ADAL" clId="{9344D105-636D-4857-BD0F-AFC44A54BCCF}" dt="2021-05-25T09:30:16.579" v="12676" actId="165"/>
          <ac:cxnSpMkLst>
            <pc:docMk/>
            <pc:sldMk cId="588134585" sldId="10479"/>
            <ac:cxnSpMk id="103" creationId="{97BB649C-848C-44F9-BF97-A33A71CB7403}"/>
          </ac:cxnSpMkLst>
        </pc:cxnChg>
      </pc:sldChg>
      <pc:sldChg chg="addSp delSp modSp del mod">
        <pc:chgData name="Ugo MANTEL" userId="2d5b7065-31bb-4181-a7f8-a73bf0c30211" providerId="ADAL" clId="{9344D105-636D-4857-BD0F-AFC44A54BCCF}" dt="2021-05-25T13:07:29.297" v="19141" actId="47"/>
        <pc:sldMkLst>
          <pc:docMk/>
          <pc:sldMk cId="4202809596" sldId="10480"/>
        </pc:sldMkLst>
        <pc:spChg chg="mod">
          <ac:chgData name="Ugo MANTEL" userId="2d5b7065-31bb-4181-a7f8-a73bf0c30211" providerId="ADAL" clId="{9344D105-636D-4857-BD0F-AFC44A54BCCF}" dt="2021-05-25T09:41:44.872" v="15462" actId="948"/>
          <ac:spMkLst>
            <pc:docMk/>
            <pc:sldMk cId="4202809596" sldId="10480"/>
            <ac:spMk id="2" creationId="{BA3E4240-1B8B-4AAA-9DCA-9FE236464846}"/>
          </ac:spMkLst>
        </pc:spChg>
        <pc:spChg chg="add del mod modVis">
          <ac:chgData name="Ugo MANTEL" userId="2d5b7065-31bb-4181-a7f8-a73bf0c30211" providerId="ADAL" clId="{9344D105-636D-4857-BD0F-AFC44A54BCCF}" dt="2021-05-25T09:41:44.903" v="15502"/>
          <ac:spMkLst>
            <pc:docMk/>
            <pc:sldMk cId="4202809596" sldId="10480"/>
            <ac:spMk id="7" creationId="{F59EF8C9-CD4C-40DD-8F85-1D6C8C633BDA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0" creationId="{8B80541E-0CB8-4F46-AA31-1D2CE8ECE50F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" creationId="{5632CA9B-96AD-46F9-9A8A-B6E6800443DD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54" creationId="{A1ED7959-6972-4CA1-87DE-4A9E265D1EE1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61" creationId="{0CCFF1A2-CE09-4311-BD82-2FC01C7F8607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65" creationId="{621ABA10-DB52-4BB0-BAFC-8BE5CFD23B9F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66" creationId="{A3EC114C-5251-4558-8979-7A09B9BD87E8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67" creationId="{44209A18-064E-4D98-A20A-566CF9E8375A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68" creationId="{A5346155-53F6-4492-8069-514F081C33B9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72" creationId="{C5BAE9F3-F0CE-4E5D-A59F-809FDD7B37E5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73" creationId="{98DD9878-7EFD-4EE3-8563-0AB6CA847BCD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74" creationId="{E5DAF6B5-73B5-4F99-AC68-3AF9C1E72B1A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75" creationId="{FC4FB322-02D4-4E5C-B006-A484E3CA441A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76" creationId="{38973F65-37ED-4CDC-9A45-5183BBDA5DB7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77" creationId="{C58DFF13-F614-467C-A649-5174336B1430}"/>
          </ac:spMkLst>
        </pc:spChg>
        <pc:spChg chg="add mod">
          <ac:chgData name="Ugo MANTEL" userId="2d5b7065-31bb-4181-a7f8-a73bf0c30211" providerId="ADAL" clId="{9344D105-636D-4857-BD0F-AFC44A54BCCF}" dt="2021-05-25T09:30:25.579" v="12679"/>
          <ac:spMkLst>
            <pc:docMk/>
            <pc:sldMk cId="4202809596" sldId="10480"/>
            <ac:spMk id="78" creationId="{87CA8D7D-E375-4385-9971-A89F9B41F9E6}"/>
          </ac:spMkLst>
        </pc:spChg>
        <pc:spChg chg="add mod">
          <ac:chgData name="Ugo MANTEL" userId="2d5b7065-31bb-4181-a7f8-a73bf0c30211" providerId="ADAL" clId="{9344D105-636D-4857-BD0F-AFC44A54BCCF}" dt="2021-05-25T09:30:25.579" v="12679"/>
          <ac:spMkLst>
            <pc:docMk/>
            <pc:sldMk cId="4202809596" sldId="10480"/>
            <ac:spMk id="80" creationId="{9317AC01-1DCC-465A-A5B3-1B69D33460D6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83" creationId="{F3D9AFF7-1D4F-497C-9EBC-5196256BD28B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87" creationId="{7BB8F9F8-E10F-4E64-9187-C6D2D1422ACE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88" creationId="{4B4F6905-C203-4AF4-8BA5-3B49C36D9584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89" creationId="{174F4EA3-8084-4B2D-89A4-CCE7AE249383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04" creationId="{849ECA68-F6D3-4283-B6B3-B59566FC1F6D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05" creationId="{EEE2C96C-B2B1-48D8-9332-E30827E4B0D0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06" creationId="{0CE85CB8-7C7A-49B2-A57F-88CBBDC8A596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07" creationId="{E85C8784-F071-4729-9033-22C4CE869084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08" creationId="{718E7AB5-E818-4750-AA50-CF34925A2446}"/>
          </ac:spMkLst>
        </pc:spChg>
        <pc:spChg chg="del mod topLvl">
          <ac:chgData name="Ugo MANTEL" userId="2d5b7065-31bb-4181-a7f8-a73bf0c30211" providerId="ADAL" clId="{9344D105-636D-4857-BD0F-AFC44A54BCCF}" dt="2021-05-25T09:30:24.960" v="12678" actId="478"/>
          <ac:spMkLst>
            <pc:docMk/>
            <pc:sldMk cId="4202809596" sldId="10480"/>
            <ac:spMk id="110" creationId="{F5CF73F8-DE8B-4531-8E6F-66A5B1437B68}"/>
          </ac:spMkLst>
        </pc:spChg>
        <pc:spChg chg="del mod topLvl">
          <ac:chgData name="Ugo MANTEL" userId="2d5b7065-31bb-4181-a7f8-a73bf0c30211" providerId="ADAL" clId="{9344D105-636D-4857-BD0F-AFC44A54BCCF}" dt="2021-05-25T09:30:24.960" v="12678" actId="478"/>
          <ac:spMkLst>
            <pc:docMk/>
            <pc:sldMk cId="4202809596" sldId="10480"/>
            <ac:spMk id="112" creationId="{F1E7BD5C-F003-4784-B812-A952EED452E0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13" creationId="{34780B37-667B-46AD-A90A-2E9A04B51827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18" creationId="{FE0472EE-49C3-4CE2-A375-6C6AE74F0C1C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19" creationId="{64762B4E-7948-41DE-9CFB-D9645965441E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1" creationId="{B3D74C9A-F9FC-4552-B06E-DB2622B4F2A2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2" creationId="{79C67B36-70F9-4CAC-853D-F2E50C96F1C7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4" creationId="{1F0BA65E-ABAB-4F7D-A1C9-036AEF81130A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5" creationId="{957142BE-40DE-408C-AE23-2738DCAD96A0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7" creationId="{7C98CE62-68ED-4EF5-B29F-BB791918EB46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8" creationId="{3347CFEF-C1B7-4BA6-B6D0-B6771946B65E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29" creationId="{D71975E8-6EB4-4EA3-B34C-4F9196C4ABBE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31" creationId="{F3F20DED-087B-461D-94FE-62841E6C87A8}"/>
          </ac:spMkLst>
        </pc:spChg>
        <pc:spChg chg="mod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32" creationId="{FB5274ED-8255-417D-AE12-A8E6AEC2841C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33" creationId="{A342E216-A2F2-4FE4-89F9-E0010C3D7924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34" creationId="{70FE3725-42CC-4172-9F8D-F2B05517B173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35" creationId="{E9E47757-74E5-4C3A-8349-4DF9BC11DA26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36" creationId="{F5655A12-1321-41AD-A021-A3F6072E401C}"/>
          </ac:spMkLst>
        </pc:spChg>
        <pc:spChg chg="mod topLvl">
          <ac:chgData name="Ugo MANTEL" userId="2d5b7065-31bb-4181-a7f8-a73bf0c30211" providerId="ADAL" clId="{9344D105-636D-4857-BD0F-AFC44A54BCCF}" dt="2021-05-25T09:30:22.742" v="12677" actId="165"/>
          <ac:spMkLst>
            <pc:docMk/>
            <pc:sldMk cId="4202809596" sldId="10480"/>
            <ac:spMk id="137" creationId="{06AB971E-2F11-4688-B19E-8FA8645680CD}"/>
          </ac:spMkLst>
        </pc:spChg>
        <pc:grpChg chg="add del mod">
          <ac:chgData name="Ugo MANTEL" userId="2d5b7065-31bb-4181-a7f8-a73bf0c30211" providerId="ADAL" clId="{9344D105-636D-4857-BD0F-AFC44A54BCCF}" dt="2021-05-25T09:30:22.742" v="12677" actId="165"/>
          <ac:grpSpMkLst>
            <pc:docMk/>
            <pc:sldMk cId="4202809596" sldId="10480"/>
            <ac:grpSpMk id="3" creationId="{93A69308-5893-4529-9D3F-2240D7B3B1F7}"/>
          </ac:grpSpMkLst>
        </pc:grpChg>
        <pc:grpChg chg="mod topLvl">
          <ac:chgData name="Ugo MANTEL" userId="2d5b7065-31bb-4181-a7f8-a73bf0c30211" providerId="ADAL" clId="{9344D105-636D-4857-BD0F-AFC44A54BCCF}" dt="2021-05-25T09:30:22.742" v="12677" actId="165"/>
          <ac:grpSpMkLst>
            <pc:docMk/>
            <pc:sldMk cId="4202809596" sldId="10480"/>
            <ac:grpSpMk id="86" creationId="{7C8D18A9-E702-488F-8E08-5768A3F3652C}"/>
          </ac:grpSpMkLst>
        </pc:grpChg>
        <pc:grpChg chg="mod topLvl">
          <ac:chgData name="Ugo MANTEL" userId="2d5b7065-31bb-4181-a7f8-a73bf0c30211" providerId="ADAL" clId="{9344D105-636D-4857-BD0F-AFC44A54BCCF}" dt="2021-05-25T09:30:22.742" v="12677" actId="165"/>
          <ac:grpSpMkLst>
            <pc:docMk/>
            <pc:sldMk cId="4202809596" sldId="10480"/>
            <ac:grpSpMk id="117" creationId="{C1A6053F-1EE1-478D-B8D5-E37BD970B069}"/>
          </ac:grpSpMkLst>
        </pc:grpChg>
        <pc:grpChg chg="mod topLvl">
          <ac:chgData name="Ugo MANTEL" userId="2d5b7065-31bb-4181-a7f8-a73bf0c30211" providerId="ADAL" clId="{9344D105-636D-4857-BD0F-AFC44A54BCCF}" dt="2021-05-25T09:30:22.742" v="12677" actId="165"/>
          <ac:grpSpMkLst>
            <pc:docMk/>
            <pc:sldMk cId="4202809596" sldId="10480"/>
            <ac:grpSpMk id="120" creationId="{836067BF-A926-4C0B-AB18-2D08FCA9200A}"/>
          </ac:grpSpMkLst>
        </pc:grpChg>
        <pc:grpChg chg="mod topLvl">
          <ac:chgData name="Ugo MANTEL" userId="2d5b7065-31bb-4181-a7f8-a73bf0c30211" providerId="ADAL" clId="{9344D105-636D-4857-BD0F-AFC44A54BCCF}" dt="2021-05-25T09:30:22.742" v="12677" actId="165"/>
          <ac:grpSpMkLst>
            <pc:docMk/>
            <pc:sldMk cId="4202809596" sldId="10480"/>
            <ac:grpSpMk id="123" creationId="{7D8E6618-2876-4C35-932F-43E19ED46C1E}"/>
          </ac:grpSpMkLst>
        </pc:grpChg>
        <pc:grpChg chg="mod topLvl">
          <ac:chgData name="Ugo MANTEL" userId="2d5b7065-31bb-4181-a7f8-a73bf0c30211" providerId="ADAL" clId="{9344D105-636D-4857-BD0F-AFC44A54BCCF}" dt="2021-05-25T09:30:22.742" v="12677" actId="165"/>
          <ac:grpSpMkLst>
            <pc:docMk/>
            <pc:sldMk cId="4202809596" sldId="10480"/>
            <ac:grpSpMk id="126" creationId="{A6B80790-D3E4-48E1-9CE6-2C2ABD766657}"/>
          </ac:grpSpMkLst>
        </pc:grpChg>
        <pc:grpChg chg="mod topLvl">
          <ac:chgData name="Ugo MANTEL" userId="2d5b7065-31bb-4181-a7f8-a73bf0c30211" providerId="ADAL" clId="{9344D105-636D-4857-BD0F-AFC44A54BCCF}" dt="2021-05-25T09:30:22.742" v="12677" actId="165"/>
          <ac:grpSpMkLst>
            <pc:docMk/>
            <pc:sldMk cId="4202809596" sldId="10480"/>
            <ac:grpSpMk id="130" creationId="{75179E26-F910-4980-8F76-E1AB885C1BA1}"/>
          </ac:grpSpMkLst>
        </pc:grpChg>
        <pc:graphicFrameChg chg="mod">
          <ac:chgData name="Ugo MANTEL" userId="2d5b7065-31bb-4181-a7f8-a73bf0c30211" providerId="ADAL" clId="{9344D105-636D-4857-BD0F-AFC44A54BCCF}" dt="2021-05-25T09:41:44.903" v="15504"/>
          <ac:graphicFrameMkLst>
            <pc:docMk/>
            <pc:sldMk cId="4202809596" sldId="10480"/>
            <ac:graphicFrameMk id="18" creationId="{597710FC-936F-4224-8A0A-F67D6B18BBF7}"/>
          </ac:graphicFrameMkLst>
        </pc:graphicFrameChg>
        <pc:picChg chg="mod topLvl">
          <ac:chgData name="Ugo MANTEL" userId="2d5b7065-31bb-4181-a7f8-a73bf0c30211" providerId="ADAL" clId="{9344D105-636D-4857-BD0F-AFC44A54BCCF}" dt="2021-05-25T09:30:22.742" v="12677" actId="165"/>
          <ac:picMkLst>
            <pc:docMk/>
            <pc:sldMk cId="4202809596" sldId="10480"/>
            <ac:picMk id="69" creationId="{4E738C09-39D3-4E6E-9EEA-BA8828CB11DA}"/>
          </ac:picMkLst>
        </pc:picChg>
        <pc:picChg chg="mod topLvl">
          <ac:chgData name="Ugo MANTEL" userId="2d5b7065-31bb-4181-a7f8-a73bf0c30211" providerId="ADAL" clId="{9344D105-636D-4857-BD0F-AFC44A54BCCF}" dt="2021-05-25T09:30:22.742" v="12677" actId="165"/>
          <ac:picMkLst>
            <pc:docMk/>
            <pc:sldMk cId="4202809596" sldId="10480"/>
            <ac:picMk id="70" creationId="{AAC5393B-BE2C-4077-89C2-3AEDA0020F41}"/>
          </ac:picMkLst>
        </pc:picChg>
        <pc:picChg chg="mod topLvl">
          <ac:chgData name="Ugo MANTEL" userId="2d5b7065-31bb-4181-a7f8-a73bf0c30211" providerId="ADAL" clId="{9344D105-636D-4857-BD0F-AFC44A54BCCF}" dt="2021-05-25T09:30:22.742" v="12677" actId="165"/>
          <ac:picMkLst>
            <pc:docMk/>
            <pc:sldMk cId="4202809596" sldId="10480"/>
            <ac:picMk id="71" creationId="{60D5A66A-AADF-4F9A-876E-DFE4685862BC}"/>
          </ac:picMkLst>
        </pc:picChg>
        <pc:picChg chg="add mod">
          <ac:chgData name="Ugo MANTEL" userId="2d5b7065-31bb-4181-a7f8-a73bf0c30211" providerId="ADAL" clId="{9344D105-636D-4857-BD0F-AFC44A54BCCF}" dt="2021-05-25T09:30:25.579" v="12679"/>
          <ac:picMkLst>
            <pc:docMk/>
            <pc:sldMk cId="4202809596" sldId="10480"/>
            <ac:picMk id="79" creationId="{8441BE2E-4056-4577-9086-AE6E583C7A5A}"/>
          </ac:picMkLst>
        </pc:picChg>
        <pc:picChg chg="del mod topLvl">
          <ac:chgData name="Ugo MANTEL" userId="2d5b7065-31bb-4181-a7f8-a73bf0c30211" providerId="ADAL" clId="{9344D105-636D-4857-BD0F-AFC44A54BCCF}" dt="2021-05-25T09:30:24.960" v="12678" actId="478"/>
          <ac:picMkLst>
            <pc:docMk/>
            <pc:sldMk cId="4202809596" sldId="10480"/>
            <ac:picMk id="111" creationId="{AC861DF0-7E2D-4B78-BB3E-D4CD11EB6BC7}"/>
          </ac:picMkLst>
        </pc:picChg>
      </pc:sldChg>
      <pc:sldChg chg="modSp mod">
        <pc:chgData name="Ugo MANTEL" userId="2d5b7065-31bb-4181-a7f8-a73bf0c30211" providerId="ADAL" clId="{9344D105-636D-4857-BD0F-AFC44A54BCCF}" dt="2021-05-25T14:20:11.711" v="28406" actId="790"/>
        <pc:sldMkLst>
          <pc:docMk/>
          <pc:sldMk cId="1314566602" sldId="10481"/>
        </pc:sldMkLst>
        <pc:spChg chg="mod">
          <ac:chgData name="Ugo MANTEL" userId="2d5b7065-31bb-4181-a7f8-a73bf0c30211" providerId="ADAL" clId="{9344D105-636D-4857-BD0F-AFC44A54BCCF}" dt="2021-05-25T14:20:11.660" v="28346" actId="790"/>
          <ac:spMkLst>
            <pc:docMk/>
            <pc:sldMk cId="1314566602" sldId="10481"/>
            <ac:spMk id="2" creationId="{6141F854-3009-40D7-9038-56590105A49E}"/>
          </ac:spMkLst>
        </pc:spChg>
        <pc:spChg chg="mod">
          <ac:chgData name="Ugo MANTEL" userId="2d5b7065-31bb-4181-a7f8-a73bf0c30211" providerId="ADAL" clId="{9344D105-636D-4857-BD0F-AFC44A54BCCF}" dt="2021-05-25T14:20:11.660" v="28347" actId="790"/>
          <ac:spMkLst>
            <pc:docMk/>
            <pc:sldMk cId="1314566602" sldId="10481"/>
            <ac:spMk id="14" creationId="{BF99168B-58D2-49E3-9128-C54D5771CCAF}"/>
          </ac:spMkLst>
        </pc:spChg>
        <pc:spChg chg="mod">
          <ac:chgData name="Ugo MANTEL" userId="2d5b7065-31bb-4181-a7f8-a73bf0c30211" providerId="ADAL" clId="{9344D105-636D-4857-BD0F-AFC44A54BCCF}" dt="2021-05-25T14:20:11.661" v="28348" actId="790"/>
          <ac:spMkLst>
            <pc:docMk/>
            <pc:sldMk cId="1314566602" sldId="10481"/>
            <ac:spMk id="49" creationId="{D81D2065-13CD-4420-A58C-E72AE87D1A42}"/>
          </ac:spMkLst>
        </pc:spChg>
        <pc:spChg chg="mod">
          <ac:chgData name="Ugo MANTEL" userId="2d5b7065-31bb-4181-a7f8-a73bf0c30211" providerId="ADAL" clId="{9344D105-636D-4857-BD0F-AFC44A54BCCF}" dt="2021-05-25T14:20:11.662" v="28349" actId="790"/>
          <ac:spMkLst>
            <pc:docMk/>
            <pc:sldMk cId="1314566602" sldId="10481"/>
            <ac:spMk id="50" creationId="{ACAAB4F1-8D2B-4B8D-A0C1-3794501DF384}"/>
          </ac:spMkLst>
        </pc:spChg>
        <pc:spChg chg="mod">
          <ac:chgData name="Ugo MANTEL" userId="2d5b7065-31bb-4181-a7f8-a73bf0c30211" providerId="ADAL" clId="{9344D105-636D-4857-BD0F-AFC44A54BCCF}" dt="2021-05-25T14:20:11.663" v="28350" actId="790"/>
          <ac:spMkLst>
            <pc:docMk/>
            <pc:sldMk cId="1314566602" sldId="10481"/>
            <ac:spMk id="51" creationId="{CCA5A507-9498-412A-8734-37E9A0CAFBC2}"/>
          </ac:spMkLst>
        </pc:spChg>
        <pc:spChg chg="mod">
          <ac:chgData name="Ugo MANTEL" userId="2d5b7065-31bb-4181-a7f8-a73bf0c30211" providerId="ADAL" clId="{9344D105-636D-4857-BD0F-AFC44A54BCCF}" dt="2021-05-25T14:20:11.664" v="28351" actId="790"/>
          <ac:spMkLst>
            <pc:docMk/>
            <pc:sldMk cId="1314566602" sldId="10481"/>
            <ac:spMk id="52" creationId="{9926A3AA-BF17-44D4-8DE7-9339CF1BE6FD}"/>
          </ac:spMkLst>
        </pc:spChg>
        <pc:spChg chg="mod">
          <ac:chgData name="Ugo MANTEL" userId="2d5b7065-31bb-4181-a7f8-a73bf0c30211" providerId="ADAL" clId="{9344D105-636D-4857-BD0F-AFC44A54BCCF}" dt="2021-05-25T14:20:11.664" v="28352" actId="790"/>
          <ac:spMkLst>
            <pc:docMk/>
            <pc:sldMk cId="1314566602" sldId="10481"/>
            <ac:spMk id="83" creationId="{B022D544-F72E-4747-A8CA-168E2A57EA0D}"/>
          </ac:spMkLst>
        </pc:spChg>
        <pc:spChg chg="mod">
          <ac:chgData name="Ugo MANTEL" userId="2d5b7065-31bb-4181-a7f8-a73bf0c30211" providerId="ADAL" clId="{9344D105-636D-4857-BD0F-AFC44A54BCCF}" dt="2021-05-25T14:20:11.665" v="28353" actId="790"/>
          <ac:spMkLst>
            <pc:docMk/>
            <pc:sldMk cId="1314566602" sldId="10481"/>
            <ac:spMk id="90" creationId="{77F48DB9-7925-4FD7-8D0B-8F07F8491523}"/>
          </ac:spMkLst>
        </pc:spChg>
        <pc:spChg chg="mod">
          <ac:chgData name="Ugo MANTEL" userId="2d5b7065-31bb-4181-a7f8-a73bf0c30211" providerId="ADAL" clId="{9344D105-636D-4857-BD0F-AFC44A54BCCF}" dt="2021-05-25T14:20:11.666" v="28354" actId="790"/>
          <ac:spMkLst>
            <pc:docMk/>
            <pc:sldMk cId="1314566602" sldId="10481"/>
            <ac:spMk id="94" creationId="{0F4F10F5-977E-4EB0-91A1-B96246179616}"/>
          </ac:spMkLst>
        </pc:spChg>
        <pc:spChg chg="mod">
          <ac:chgData name="Ugo MANTEL" userId="2d5b7065-31bb-4181-a7f8-a73bf0c30211" providerId="ADAL" clId="{9344D105-636D-4857-BD0F-AFC44A54BCCF}" dt="2021-05-25T14:20:11.667" v="28355" actId="790"/>
          <ac:spMkLst>
            <pc:docMk/>
            <pc:sldMk cId="1314566602" sldId="10481"/>
            <ac:spMk id="111" creationId="{AAE2193E-2CF1-466B-885D-77842A9A9102}"/>
          </ac:spMkLst>
        </pc:spChg>
        <pc:spChg chg="mod">
          <ac:chgData name="Ugo MANTEL" userId="2d5b7065-31bb-4181-a7f8-a73bf0c30211" providerId="ADAL" clId="{9344D105-636D-4857-BD0F-AFC44A54BCCF}" dt="2021-05-25T14:20:11.667" v="28356" actId="790"/>
          <ac:spMkLst>
            <pc:docMk/>
            <pc:sldMk cId="1314566602" sldId="10481"/>
            <ac:spMk id="115" creationId="{4C8FA9C8-0FBF-4037-96F3-8EFAF86EDF43}"/>
          </ac:spMkLst>
        </pc:spChg>
        <pc:spChg chg="mod">
          <ac:chgData name="Ugo MANTEL" userId="2d5b7065-31bb-4181-a7f8-a73bf0c30211" providerId="ADAL" clId="{9344D105-636D-4857-BD0F-AFC44A54BCCF}" dt="2021-05-25T14:20:11.668" v="28357" actId="790"/>
          <ac:spMkLst>
            <pc:docMk/>
            <pc:sldMk cId="1314566602" sldId="10481"/>
            <ac:spMk id="160" creationId="{4520D56D-3B79-43CB-B84B-E057C5EA703B}"/>
          </ac:spMkLst>
        </pc:spChg>
        <pc:spChg chg="mod">
          <ac:chgData name="Ugo MANTEL" userId="2d5b7065-31bb-4181-a7f8-a73bf0c30211" providerId="ADAL" clId="{9344D105-636D-4857-BD0F-AFC44A54BCCF}" dt="2021-05-25T14:20:11.669" v="28358" actId="790"/>
          <ac:spMkLst>
            <pc:docMk/>
            <pc:sldMk cId="1314566602" sldId="10481"/>
            <ac:spMk id="275" creationId="{FD9BF8F0-D809-4A11-A391-DB0DCEBD126D}"/>
          </ac:spMkLst>
        </pc:spChg>
        <pc:spChg chg="mod">
          <ac:chgData name="Ugo MANTEL" userId="2d5b7065-31bb-4181-a7f8-a73bf0c30211" providerId="ADAL" clId="{9344D105-636D-4857-BD0F-AFC44A54BCCF}" dt="2021-05-25T14:20:11.670" v="28359" actId="790"/>
          <ac:spMkLst>
            <pc:docMk/>
            <pc:sldMk cId="1314566602" sldId="10481"/>
            <ac:spMk id="276" creationId="{4581A1AA-BB5F-4AE3-BDEF-6CB8B57F141A}"/>
          </ac:spMkLst>
        </pc:spChg>
        <pc:spChg chg="mod">
          <ac:chgData name="Ugo MANTEL" userId="2d5b7065-31bb-4181-a7f8-a73bf0c30211" providerId="ADAL" clId="{9344D105-636D-4857-BD0F-AFC44A54BCCF}" dt="2021-05-25T14:20:11.671" v="28360" actId="790"/>
          <ac:spMkLst>
            <pc:docMk/>
            <pc:sldMk cId="1314566602" sldId="10481"/>
            <ac:spMk id="277" creationId="{AE4CC329-DE12-4CA2-8E98-5F380F47ADF9}"/>
          </ac:spMkLst>
        </pc:spChg>
        <pc:spChg chg="mod">
          <ac:chgData name="Ugo MANTEL" userId="2d5b7065-31bb-4181-a7f8-a73bf0c30211" providerId="ADAL" clId="{9344D105-636D-4857-BD0F-AFC44A54BCCF}" dt="2021-05-25T14:20:11.672" v="28361" actId="790"/>
          <ac:spMkLst>
            <pc:docMk/>
            <pc:sldMk cId="1314566602" sldId="10481"/>
            <ac:spMk id="278" creationId="{080FE173-EAE4-4EAD-9D69-A84C54DE81F3}"/>
          </ac:spMkLst>
        </pc:spChg>
        <pc:spChg chg="mod">
          <ac:chgData name="Ugo MANTEL" userId="2d5b7065-31bb-4181-a7f8-a73bf0c30211" providerId="ADAL" clId="{9344D105-636D-4857-BD0F-AFC44A54BCCF}" dt="2021-05-25T14:20:11.673" v="28362" actId="790"/>
          <ac:spMkLst>
            <pc:docMk/>
            <pc:sldMk cId="1314566602" sldId="10481"/>
            <ac:spMk id="279" creationId="{07D1BC48-0BAD-4607-BA5B-6598EC5C3DCE}"/>
          </ac:spMkLst>
        </pc:spChg>
        <pc:spChg chg="mod">
          <ac:chgData name="Ugo MANTEL" userId="2d5b7065-31bb-4181-a7f8-a73bf0c30211" providerId="ADAL" clId="{9344D105-636D-4857-BD0F-AFC44A54BCCF}" dt="2021-05-25T14:20:11.674" v="28363" actId="790"/>
          <ac:spMkLst>
            <pc:docMk/>
            <pc:sldMk cId="1314566602" sldId="10481"/>
            <ac:spMk id="280" creationId="{0F1684B6-6CFF-434C-9FC6-B4B51B130522}"/>
          </ac:spMkLst>
        </pc:spChg>
        <pc:spChg chg="mod">
          <ac:chgData name="Ugo MANTEL" userId="2d5b7065-31bb-4181-a7f8-a73bf0c30211" providerId="ADAL" clId="{9344D105-636D-4857-BD0F-AFC44A54BCCF}" dt="2021-05-25T14:20:11.675" v="28364" actId="790"/>
          <ac:spMkLst>
            <pc:docMk/>
            <pc:sldMk cId="1314566602" sldId="10481"/>
            <ac:spMk id="281" creationId="{6D299742-8801-4CF4-AEBC-B62B64C07488}"/>
          </ac:spMkLst>
        </pc:spChg>
        <pc:spChg chg="mod">
          <ac:chgData name="Ugo MANTEL" userId="2d5b7065-31bb-4181-a7f8-a73bf0c30211" providerId="ADAL" clId="{9344D105-636D-4857-BD0F-AFC44A54BCCF}" dt="2021-05-25T14:20:11.675" v="28365" actId="790"/>
          <ac:spMkLst>
            <pc:docMk/>
            <pc:sldMk cId="1314566602" sldId="10481"/>
            <ac:spMk id="282" creationId="{FF6CEE9B-8393-46F6-BB6B-696BEEAB110C}"/>
          </ac:spMkLst>
        </pc:spChg>
        <pc:spChg chg="mod">
          <ac:chgData name="Ugo MANTEL" userId="2d5b7065-31bb-4181-a7f8-a73bf0c30211" providerId="ADAL" clId="{9344D105-636D-4857-BD0F-AFC44A54BCCF}" dt="2021-05-25T14:20:11.676" v="28366" actId="790"/>
          <ac:spMkLst>
            <pc:docMk/>
            <pc:sldMk cId="1314566602" sldId="10481"/>
            <ac:spMk id="283" creationId="{F6B5B61D-1965-4BCA-BE28-900040680AF7}"/>
          </ac:spMkLst>
        </pc:spChg>
        <pc:spChg chg="mod">
          <ac:chgData name="Ugo MANTEL" userId="2d5b7065-31bb-4181-a7f8-a73bf0c30211" providerId="ADAL" clId="{9344D105-636D-4857-BD0F-AFC44A54BCCF}" dt="2021-05-25T14:20:11.677" v="28367" actId="790"/>
          <ac:spMkLst>
            <pc:docMk/>
            <pc:sldMk cId="1314566602" sldId="10481"/>
            <ac:spMk id="284" creationId="{4DE9C0EC-0BB6-45CC-AE3C-CE2B1BD3D492}"/>
          </ac:spMkLst>
        </pc:spChg>
        <pc:spChg chg="mod">
          <ac:chgData name="Ugo MANTEL" userId="2d5b7065-31bb-4181-a7f8-a73bf0c30211" providerId="ADAL" clId="{9344D105-636D-4857-BD0F-AFC44A54BCCF}" dt="2021-05-25T14:20:11.678" v="28368" actId="790"/>
          <ac:spMkLst>
            <pc:docMk/>
            <pc:sldMk cId="1314566602" sldId="10481"/>
            <ac:spMk id="285" creationId="{DB9CB582-8DE6-4BB5-95E3-4BEA0319D339}"/>
          </ac:spMkLst>
        </pc:spChg>
        <pc:spChg chg="mod">
          <ac:chgData name="Ugo MANTEL" userId="2d5b7065-31bb-4181-a7f8-a73bf0c30211" providerId="ADAL" clId="{9344D105-636D-4857-BD0F-AFC44A54BCCF}" dt="2021-05-25T14:20:11.679" v="28369" actId="790"/>
          <ac:spMkLst>
            <pc:docMk/>
            <pc:sldMk cId="1314566602" sldId="10481"/>
            <ac:spMk id="286" creationId="{EBFC3B77-40FC-4403-A10D-25981B35CB71}"/>
          </ac:spMkLst>
        </pc:spChg>
        <pc:spChg chg="mod">
          <ac:chgData name="Ugo MANTEL" userId="2d5b7065-31bb-4181-a7f8-a73bf0c30211" providerId="ADAL" clId="{9344D105-636D-4857-BD0F-AFC44A54BCCF}" dt="2021-05-25T14:20:11.680" v="28370" actId="790"/>
          <ac:spMkLst>
            <pc:docMk/>
            <pc:sldMk cId="1314566602" sldId="10481"/>
            <ac:spMk id="287" creationId="{EEF106E6-E0FD-41BC-A9D9-3808B7E0C3F1}"/>
          </ac:spMkLst>
        </pc:spChg>
        <pc:spChg chg="mod">
          <ac:chgData name="Ugo MANTEL" userId="2d5b7065-31bb-4181-a7f8-a73bf0c30211" providerId="ADAL" clId="{9344D105-636D-4857-BD0F-AFC44A54BCCF}" dt="2021-05-25T14:20:11.681" v="28371" actId="790"/>
          <ac:spMkLst>
            <pc:docMk/>
            <pc:sldMk cId="1314566602" sldId="10481"/>
            <ac:spMk id="288" creationId="{A4950CE2-9D38-484A-B256-CBB6434A6A30}"/>
          </ac:spMkLst>
        </pc:spChg>
        <pc:spChg chg="mod">
          <ac:chgData name="Ugo MANTEL" userId="2d5b7065-31bb-4181-a7f8-a73bf0c30211" providerId="ADAL" clId="{9344D105-636D-4857-BD0F-AFC44A54BCCF}" dt="2021-05-25T14:20:11.682" v="28372" actId="790"/>
          <ac:spMkLst>
            <pc:docMk/>
            <pc:sldMk cId="1314566602" sldId="10481"/>
            <ac:spMk id="289" creationId="{A75668D4-B7A3-467D-A331-ACDF8179EB86}"/>
          </ac:spMkLst>
        </pc:spChg>
        <pc:spChg chg="mod">
          <ac:chgData name="Ugo MANTEL" userId="2d5b7065-31bb-4181-a7f8-a73bf0c30211" providerId="ADAL" clId="{9344D105-636D-4857-BD0F-AFC44A54BCCF}" dt="2021-05-25T14:20:11.683" v="28373" actId="790"/>
          <ac:spMkLst>
            <pc:docMk/>
            <pc:sldMk cId="1314566602" sldId="10481"/>
            <ac:spMk id="290" creationId="{D86D6B79-51F9-4028-8225-69A96231B298}"/>
          </ac:spMkLst>
        </pc:spChg>
        <pc:spChg chg="mod">
          <ac:chgData name="Ugo MANTEL" userId="2d5b7065-31bb-4181-a7f8-a73bf0c30211" providerId="ADAL" clId="{9344D105-636D-4857-BD0F-AFC44A54BCCF}" dt="2021-05-25T14:20:11.684" v="28374" actId="790"/>
          <ac:spMkLst>
            <pc:docMk/>
            <pc:sldMk cId="1314566602" sldId="10481"/>
            <ac:spMk id="291" creationId="{35738E99-33BD-4328-BF24-B2473864A7AC}"/>
          </ac:spMkLst>
        </pc:spChg>
        <pc:spChg chg="mod">
          <ac:chgData name="Ugo MANTEL" userId="2d5b7065-31bb-4181-a7f8-a73bf0c30211" providerId="ADAL" clId="{9344D105-636D-4857-BD0F-AFC44A54BCCF}" dt="2021-05-25T14:20:11.685" v="28375" actId="790"/>
          <ac:spMkLst>
            <pc:docMk/>
            <pc:sldMk cId="1314566602" sldId="10481"/>
            <ac:spMk id="292" creationId="{5CF1079B-2B57-4D5E-A9AA-084BE755C891}"/>
          </ac:spMkLst>
        </pc:spChg>
        <pc:spChg chg="mod">
          <ac:chgData name="Ugo MANTEL" userId="2d5b7065-31bb-4181-a7f8-a73bf0c30211" providerId="ADAL" clId="{9344D105-636D-4857-BD0F-AFC44A54BCCF}" dt="2021-05-25T14:20:11.686" v="28376" actId="790"/>
          <ac:spMkLst>
            <pc:docMk/>
            <pc:sldMk cId="1314566602" sldId="10481"/>
            <ac:spMk id="293" creationId="{0F7A6D2F-15F2-4C00-B486-35DCBAD4AC3D}"/>
          </ac:spMkLst>
        </pc:spChg>
        <pc:spChg chg="mod">
          <ac:chgData name="Ugo MANTEL" userId="2d5b7065-31bb-4181-a7f8-a73bf0c30211" providerId="ADAL" clId="{9344D105-636D-4857-BD0F-AFC44A54BCCF}" dt="2021-05-25T14:20:11.687" v="28377" actId="790"/>
          <ac:spMkLst>
            <pc:docMk/>
            <pc:sldMk cId="1314566602" sldId="10481"/>
            <ac:spMk id="294" creationId="{C484BD7D-4B0C-4736-8E4E-DDCA983C9352}"/>
          </ac:spMkLst>
        </pc:spChg>
        <pc:spChg chg="mod">
          <ac:chgData name="Ugo MANTEL" userId="2d5b7065-31bb-4181-a7f8-a73bf0c30211" providerId="ADAL" clId="{9344D105-636D-4857-BD0F-AFC44A54BCCF}" dt="2021-05-25T14:20:11.688" v="28378" actId="790"/>
          <ac:spMkLst>
            <pc:docMk/>
            <pc:sldMk cId="1314566602" sldId="10481"/>
            <ac:spMk id="295" creationId="{6D1ADF19-A682-40E2-9547-B6E657AF48C8}"/>
          </ac:spMkLst>
        </pc:spChg>
        <pc:spChg chg="mod">
          <ac:chgData name="Ugo MANTEL" userId="2d5b7065-31bb-4181-a7f8-a73bf0c30211" providerId="ADAL" clId="{9344D105-636D-4857-BD0F-AFC44A54BCCF}" dt="2021-05-25T14:20:11.688" v="28379" actId="790"/>
          <ac:spMkLst>
            <pc:docMk/>
            <pc:sldMk cId="1314566602" sldId="10481"/>
            <ac:spMk id="296" creationId="{8203A510-58F7-4FCB-9BA0-6D333BB9FEE4}"/>
          </ac:spMkLst>
        </pc:spChg>
        <pc:spChg chg="mod">
          <ac:chgData name="Ugo MANTEL" userId="2d5b7065-31bb-4181-a7f8-a73bf0c30211" providerId="ADAL" clId="{9344D105-636D-4857-BD0F-AFC44A54BCCF}" dt="2021-05-25T14:20:11.689" v="28380" actId="790"/>
          <ac:spMkLst>
            <pc:docMk/>
            <pc:sldMk cId="1314566602" sldId="10481"/>
            <ac:spMk id="297" creationId="{4B41C860-1A5D-491E-832B-09FC27E0BADB}"/>
          </ac:spMkLst>
        </pc:spChg>
        <pc:spChg chg="mod">
          <ac:chgData name="Ugo MANTEL" userId="2d5b7065-31bb-4181-a7f8-a73bf0c30211" providerId="ADAL" clId="{9344D105-636D-4857-BD0F-AFC44A54BCCF}" dt="2021-05-25T14:20:11.690" v="28381" actId="790"/>
          <ac:spMkLst>
            <pc:docMk/>
            <pc:sldMk cId="1314566602" sldId="10481"/>
            <ac:spMk id="298" creationId="{5C26F740-E7E3-4ADF-8D43-74253085F6C0}"/>
          </ac:spMkLst>
        </pc:spChg>
        <pc:spChg chg="mod">
          <ac:chgData name="Ugo MANTEL" userId="2d5b7065-31bb-4181-a7f8-a73bf0c30211" providerId="ADAL" clId="{9344D105-636D-4857-BD0F-AFC44A54BCCF}" dt="2021-05-25T14:20:11.691" v="28382" actId="790"/>
          <ac:spMkLst>
            <pc:docMk/>
            <pc:sldMk cId="1314566602" sldId="10481"/>
            <ac:spMk id="299" creationId="{5C623E5F-8C15-4923-8B9D-FE28FE40FA9C}"/>
          </ac:spMkLst>
        </pc:spChg>
        <pc:spChg chg="mod">
          <ac:chgData name="Ugo MANTEL" userId="2d5b7065-31bb-4181-a7f8-a73bf0c30211" providerId="ADAL" clId="{9344D105-636D-4857-BD0F-AFC44A54BCCF}" dt="2021-05-25T14:20:11.691" v="28383" actId="790"/>
          <ac:spMkLst>
            <pc:docMk/>
            <pc:sldMk cId="1314566602" sldId="10481"/>
            <ac:spMk id="300" creationId="{4D53F02D-9EE7-4E3B-A2DB-C64C2DFF136D}"/>
          </ac:spMkLst>
        </pc:spChg>
        <pc:spChg chg="mod">
          <ac:chgData name="Ugo MANTEL" userId="2d5b7065-31bb-4181-a7f8-a73bf0c30211" providerId="ADAL" clId="{9344D105-636D-4857-BD0F-AFC44A54BCCF}" dt="2021-05-25T14:20:11.692" v="28384" actId="790"/>
          <ac:spMkLst>
            <pc:docMk/>
            <pc:sldMk cId="1314566602" sldId="10481"/>
            <ac:spMk id="301" creationId="{E31435EA-9A31-49AF-A03E-4946D27F426C}"/>
          </ac:spMkLst>
        </pc:spChg>
        <pc:spChg chg="mod">
          <ac:chgData name="Ugo MANTEL" userId="2d5b7065-31bb-4181-a7f8-a73bf0c30211" providerId="ADAL" clId="{9344D105-636D-4857-BD0F-AFC44A54BCCF}" dt="2021-05-25T14:20:11.693" v="28385" actId="790"/>
          <ac:spMkLst>
            <pc:docMk/>
            <pc:sldMk cId="1314566602" sldId="10481"/>
            <ac:spMk id="302" creationId="{D22F21A4-4D70-4CA1-9316-95F70BEA8389}"/>
          </ac:spMkLst>
        </pc:spChg>
        <pc:spChg chg="mod">
          <ac:chgData name="Ugo MANTEL" userId="2d5b7065-31bb-4181-a7f8-a73bf0c30211" providerId="ADAL" clId="{9344D105-636D-4857-BD0F-AFC44A54BCCF}" dt="2021-05-25T14:20:11.693" v="28386" actId="790"/>
          <ac:spMkLst>
            <pc:docMk/>
            <pc:sldMk cId="1314566602" sldId="10481"/>
            <ac:spMk id="303" creationId="{3E8A9F57-7224-4A95-B17D-CBB32BB502BA}"/>
          </ac:spMkLst>
        </pc:spChg>
        <pc:spChg chg="mod">
          <ac:chgData name="Ugo MANTEL" userId="2d5b7065-31bb-4181-a7f8-a73bf0c30211" providerId="ADAL" clId="{9344D105-636D-4857-BD0F-AFC44A54BCCF}" dt="2021-05-25T14:20:11.694" v="28387" actId="790"/>
          <ac:spMkLst>
            <pc:docMk/>
            <pc:sldMk cId="1314566602" sldId="10481"/>
            <ac:spMk id="304" creationId="{2B2521DF-E028-4266-AE4A-DE243649B43E}"/>
          </ac:spMkLst>
        </pc:spChg>
        <pc:spChg chg="mod">
          <ac:chgData name="Ugo MANTEL" userId="2d5b7065-31bb-4181-a7f8-a73bf0c30211" providerId="ADAL" clId="{9344D105-636D-4857-BD0F-AFC44A54BCCF}" dt="2021-05-25T14:20:11.695" v="28388" actId="790"/>
          <ac:spMkLst>
            <pc:docMk/>
            <pc:sldMk cId="1314566602" sldId="10481"/>
            <ac:spMk id="305" creationId="{57DA589C-5FCA-470A-ABFD-B0D7787C8788}"/>
          </ac:spMkLst>
        </pc:spChg>
        <pc:spChg chg="mod">
          <ac:chgData name="Ugo MANTEL" userId="2d5b7065-31bb-4181-a7f8-a73bf0c30211" providerId="ADAL" clId="{9344D105-636D-4857-BD0F-AFC44A54BCCF}" dt="2021-05-25T14:20:11.697" v="28389" actId="790"/>
          <ac:spMkLst>
            <pc:docMk/>
            <pc:sldMk cId="1314566602" sldId="10481"/>
            <ac:spMk id="306" creationId="{CF73EF0A-D8D6-4653-A904-F2B923B2E797}"/>
          </ac:spMkLst>
        </pc:spChg>
        <pc:spChg chg="mod">
          <ac:chgData name="Ugo MANTEL" userId="2d5b7065-31bb-4181-a7f8-a73bf0c30211" providerId="ADAL" clId="{9344D105-636D-4857-BD0F-AFC44A54BCCF}" dt="2021-05-25T14:20:11.698" v="28390" actId="790"/>
          <ac:spMkLst>
            <pc:docMk/>
            <pc:sldMk cId="1314566602" sldId="10481"/>
            <ac:spMk id="307" creationId="{B9142784-9999-496A-9EEA-1C2F5577CE2C}"/>
          </ac:spMkLst>
        </pc:spChg>
        <pc:spChg chg="mod">
          <ac:chgData name="Ugo MANTEL" userId="2d5b7065-31bb-4181-a7f8-a73bf0c30211" providerId="ADAL" clId="{9344D105-636D-4857-BD0F-AFC44A54BCCF}" dt="2021-05-25T14:20:11.698" v="28391" actId="790"/>
          <ac:spMkLst>
            <pc:docMk/>
            <pc:sldMk cId="1314566602" sldId="10481"/>
            <ac:spMk id="308" creationId="{A436F680-6FE6-43B7-B18A-73BDF051D322}"/>
          </ac:spMkLst>
        </pc:spChg>
        <pc:spChg chg="mod">
          <ac:chgData name="Ugo MANTEL" userId="2d5b7065-31bb-4181-a7f8-a73bf0c30211" providerId="ADAL" clId="{9344D105-636D-4857-BD0F-AFC44A54BCCF}" dt="2021-05-25T14:20:11.699" v="28392" actId="790"/>
          <ac:spMkLst>
            <pc:docMk/>
            <pc:sldMk cId="1314566602" sldId="10481"/>
            <ac:spMk id="309" creationId="{3382437C-A425-47CA-A86E-47D91A821FE3}"/>
          </ac:spMkLst>
        </pc:spChg>
        <pc:spChg chg="mod">
          <ac:chgData name="Ugo MANTEL" userId="2d5b7065-31bb-4181-a7f8-a73bf0c30211" providerId="ADAL" clId="{9344D105-636D-4857-BD0F-AFC44A54BCCF}" dt="2021-05-25T14:20:11.700" v="28393" actId="790"/>
          <ac:spMkLst>
            <pc:docMk/>
            <pc:sldMk cId="1314566602" sldId="10481"/>
            <ac:spMk id="310" creationId="{656AD013-0B06-4C9B-96E0-5CD1AD682950}"/>
          </ac:spMkLst>
        </pc:spChg>
        <pc:spChg chg="mod">
          <ac:chgData name="Ugo MANTEL" userId="2d5b7065-31bb-4181-a7f8-a73bf0c30211" providerId="ADAL" clId="{9344D105-636D-4857-BD0F-AFC44A54BCCF}" dt="2021-05-25T14:20:11.701" v="28394" actId="790"/>
          <ac:spMkLst>
            <pc:docMk/>
            <pc:sldMk cId="1314566602" sldId="10481"/>
            <ac:spMk id="311" creationId="{C74F8C39-AD27-4E1F-B268-794981BC35AB}"/>
          </ac:spMkLst>
        </pc:spChg>
        <pc:spChg chg="mod">
          <ac:chgData name="Ugo MANTEL" userId="2d5b7065-31bb-4181-a7f8-a73bf0c30211" providerId="ADAL" clId="{9344D105-636D-4857-BD0F-AFC44A54BCCF}" dt="2021-05-25T14:20:11.702" v="28395" actId="790"/>
          <ac:spMkLst>
            <pc:docMk/>
            <pc:sldMk cId="1314566602" sldId="10481"/>
            <ac:spMk id="312" creationId="{F5C063E5-C8EB-41AB-A764-FF92DC17B94A}"/>
          </ac:spMkLst>
        </pc:spChg>
        <pc:spChg chg="mod">
          <ac:chgData name="Ugo MANTEL" userId="2d5b7065-31bb-4181-a7f8-a73bf0c30211" providerId="ADAL" clId="{9344D105-636D-4857-BD0F-AFC44A54BCCF}" dt="2021-05-25T14:20:11.702" v="28396" actId="790"/>
          <ac:spMkLst>
            <pc:docMk/>
            <pc:sldMk cId="1314566602" sldId="10481"/>
            <ac:spMk id="313" creationId="{8BADA9B7-42C7-4B68-8A90-6BF9A5DFE021}"/>
          </ac:spMkLst>
        </pc:spChg>
        <pc:spChg chg="mod">
          <ac:chgData name="Ugo MANTEL" userId="2d5b7065-31bb-4181-a7f8-a73bf0c30211" providerId="ADAL" clId="{9344D105-636D-4857-BD0F-AFC44A54BCCF}" dt="2021-05-25T14:20:11.703" v="28397" actId="790"/>
          <ac:spMkLst>
            <pc:docMk/>
            <pc:sldMk cId="1314566602" sldId="10481"/>
            <ac:spMk id="314" creationId="{1F1F5B35-80A6-4278-A337-A61375A9DC1C}"/>
          </ac:spMkLst>
        </pc:spChg>
        <pc:spChg chg="mod">
          <ac:chgData name="Ugo MANTEL" userId="2d5b7065-31bb-4181-a7f8-a73bf0c30211" providerId="ADAL" clId="{9344D105-636D-4857-BD0F-AFC44A54BCCF}" dt="2021-05-25T14:20:11.704" v="28398" actId="790"/>
          <ac:spMkLst>
            <pc:docMk/>
            <pc:sldMk cId="1314566602" sldId="10481"/>
            <ac:spMk id="315" creationId="{8E00E735-8DFD-4AD1-B064-8AE96348A3FC}"/>
          </ac:spMkLst>
        </pc:spChg>
        <pc:spChg chg="mod">
          <ac:chgData name="Ugo MANTEL" userId="2d5b7065-31bb-4181-a7f8-a73bf0c30211" providerId="ADAL" clId="{9344D105-636D-4857-BD0F-AFC44A54BCCF}" dt="2021-05-25T14:20:11.704" v="28399" actId="790"/>
          <ac:spMkLst>
            <pc:docMk/>
            <pc:sldMk cId="1314566602" sldId="10481"/>
            <ac:spMk id="316" creationId="{92DCA149-59B4-4307-872F-4A7B468A0D8A}"/>
          </ac:spMkLst>
        </pc:spChg>
        <pc:spChg chg="mod">
          <ac:chgData name="Ugo MANTEL" userId="2d5b7065-31bb-4181-a7f8-a73bf0c30211" providerId="ADAL" clId="{9344D105-636D-4857-BD0F-AFC44A54BCCF}" dt="2021-05-25T14:20:11.705" v="28400" actId="790"/>
          <ac:spMkLst>
            <pc:docMk/>
            <pc:sldMk cId="1314566602" sldId="10481"/>
            <ac:spMk id="317" creationId="{6F53F34D-B131-41FE-A896-D7BED807C3DC}"/>
          </ac:spMkLst>
        </pc:spChg>
        <pc:spChg chg="mod">
          <ac:chgData name="Ugo MANTEL" userId="2d5b7065-31bb-4181-a7f8-a73bf0c30211" providerId="ADAL" clId="{9344D105-636D-4857-BD0F-AFC44A54BCCF}" dt="2021-05-25T14:20:11.706" v="28401" actId="790"/>
          <ac:spMkLst>
            <pc:docMk/>
            <pc:sldMk cId="1314566602" sldId="10481"/>
            <ac:spMk id="318" creationId="{65D92844-99B0-4BC4-9B12-86B2B2E22B6D}"/>
          </ac:spMkLst>
        </pc:spChg>
        <pc:spChg chg="mod">
          <ac:chgData name="Ugo MANTEL" userId="2d5b7065-31bb-4181-a7f8-a73bf0c30211" providerId="ADAL" clId="{9344D105-636D-4857-BD0F-AFC44A54BCCF}" dt="2021-05-25T14:20:11.707" v="28402" actId="790"/>
          <ac:spMkLst>
            <pc:docMk/>
            <pc:sldMk cId="1314566602" sldId="10481"/>
            <ac:spMk id="319" creationId="{3FEFF01A-AFD8-4A2C-80FB-422102ADE7D9}"/>
          </ac:spMkLst>
        </pc:spChg>
        <pc:spChg chg="mod">
          <ac:chgData name="Ugo MANTEL" userId="2d5b7065-31bb-4181-a7f8-a73bf0c30211" providerId="ADAL" clId="{9344D105-636D-4857-BD0F-AFC44A54BCCF}" dt="2021-05-25T14:20:11.708" v="28403" actId="790"/>
          <ac:spMkLst>
            <pc:docMk/>
            <pc:sldMk cId="1314566602" sldId="10481"/>
            <ac:spMk id="320" creationId="{F2423A02-2C69-4DE0-B334-E222CE977383}"/>
          </ac:spMkLst>
        </pc:spChg>
        <pc:spChg chg="mod">
          <ac:chgData name="Ugo MANTEL" userId="2d5b7065-31bb-4181-a7f8-a73bf0c30211" providerId="ADAL" clId="{9344D105-636D-4857-BD0F-AFC44A54BCCF}" dt="2021-05-25T14:20:11.709" v="28404" actId="790"/>
          <ac:spMkLst>
            <pc:docMk/>
            <pc:sldMk cId="1314566602" sldId="10481"/>
            <ac:spMk id="324" creationId="{31D5E117-F90C-49BB-9C46-529E3AE94807}"/>
          </ac:spMkLst>
        </pc:spChg>
        <pc:spChg chg="mod">
          <ac:chgData name="Ugo MANTEL" userId="2d5b7065-31bb-4181-a7f8-a73bf0c30211" providerId="ADAL" clId="{9344D105-636D-4857-BD0F-AFC44A54BCCF}" dt="2021-05-25T14:20:11.710" v="28405" actId="790"/>
          <ac:spMkLst>
            <pc:docMk/>
            <pc:sldMk cId="1314566602" sldId="10481"/>
            <ac:spMk id="361" creationId="{242ECC0D-CB66-430F-AB2E-A9E6237E4671}"/>
          </ac:spMkLst>
        </pc:spChg>
        <pc:spChg chg="mod">
          <ac:chgData name="Ugo MANTEL" userId="2d5b7065-31bb-4181-a7f8-a73bf0c30211" providerId="ADAL" clId="{9344D105-636D-4857-BD0F-AFC44A54BCCF}" dt="2021-05-25T14:20:11.711" v="28406" actId="790"/>
          <ac:spMkLst>
            <pc:docMk/>
            <pc:sldMk cId="1314566602" sldId="10481"/>
            <ac:spMk id="362" creationId="{4CFCFD6C-739B-4CAE-BDA3-FCC4DB97E885}"/>
          </ac:spMkLst>
        </pc:spChg>
      </pc:sldChg>
      <pc:sldChg chg="delSp modSp mod">
        <pc:chgData name="Ugo MANTEL" userId="2d5b7065-31bb-4181-a7f8-a73bf0c30211" providerId="ADAL" clId="{9344D105-636D-4857-BD0F-AFC44A54BCCF}" dt="2021-05-25T14:20:12.429" v="29191" actId="790"/>
        <pc:sldMkLst>
          <pc:docMk/>
          <pc:sldMk cId="1763597230" sldId="10482"/>
        </pc:sldMkLst>
        <pc:spChg chg="mod">
          <ac:chgData name="Ugo MANTEL" userId="2d5b7065-31bb-4181-a7f8-a73bf0c30211" providerId="ADAL" clId="{9344D105-636D-4857-BD0F-AFC44A54BCCF}" dt="2021-05-25T14:20:12.397" v="29152" actId="790"/>
          <ac:spMkLst>
            <pc:docMk/>
            <pc:sldMk cId="1763597230" sldId="10482"/>
            <ac:spMk id="2" creationId="{873006D4-BF82-4F00-B534-5D28B2DDCEF5}"/>
          </ac:spMkLst>
        </pc:spChg>
        <pc:spChg chg="mod">
          <ac:chgData name="Ugo MANTEL" userId="2d5b7065-31bb-4181-a7f8-a73bf0c30211" providerId="ADAL" clId="{9344D105-636D-4857-BD0F-AFC44A54BCCF}" dt="2021-05-25T14:20:12.398" v="29153" actId="790"/>
          <ac:spMkLst>
            <pc:docMk/>
            <pc:sldMk cId="1763597230" sldId="10482"/>
            <ac:spMk id="3" creationId="{79D8092C-AC66-484C-9645-EEB08D4A59C6}"/>
          </ac:spMkLst>
        </pc:spChg>
        <pc:spChg chg="mod">
          <ac:chgData name="Ugo MANTEL" userId="2d5b7065-31bb-4181-a7f8-a73bf0c30211" providerId="ADAL" clId="{9344D105-636D-4857-BD0F-AFC44A54BCCF}" dt="2021-05-25T14:20:12.400" v="29154" actId="790"/>
          <ac:spMkLst>
            <pc:docMk/>
            <pc:sldMk cId="1763597230" sldId="10482"/>
            <ac:spMk id="4" creationId="{02BD46C9-B279-482D-89B3-4956B609E15C}"/>
          </ac:spMkLst>
        </pc:spChg>
        <pc:spChg chg="mod">
          <ac:chgData name="Ugo MANTEL" userId="2d5b7065-31bb-4181-a7f8-a73bf0c30211" providerId="ADAL" clId="{9344D105-636D-4857-BD0F-AFC44A54BCCF}" dt="2021-05-25T14:20:12.401" v="29155" actId="790"/>
          <ac:spMkLst>
            <pc:docMk/>
            <pc:sldMk cId="1763597230" sldId="10482"/>
            <ac:spMk id="5" creationId="{661F72E1-48F0-44F4-A92A-E722B8B95227}"/>
          </ac:spMkLst>
        </pc:spChg>
        <pc:spChg chg="mod">
          <ac:chgData name="Ugo MANTEL" userId="2d5b7065-31bb-4181-a7f8-a73bf0c30211" providerId="ADAL" clId="{9344D105-636D-4857-BD0F-AFC44A54BCCF}" dt="2021-05-25T14:20:12.403" v="29157" actId="790"/>
          <ac:spMkLst>
            <pc:docMk/>
            <pc:sldMk cId="1763597230" sldId="10482"/>
            <ac:spMk id="6" creationId="{70B52D0E-DC9C-4722-916E-D6FDF79A7420}"/>
          </ac:spMkLst>
        </pc:spChg>
        <pc:spChg chg="mod">
          <ac:chgData name="Ugo MANTEL" userId="2d5b7065-31bb-4181-a7f8-a73bf0c30211" providerId="ADAL" clId="{9344D105-636D-4857-BD0F-AFC44A54BCCF}" dt="2021-05-25T14:20:12.429" v="29190" actId="790"/>
          <ac:spMkLst>
            <pc:docMk/>
            <pc:sldMk cId="1763597230" sldId="10482"/>
            <ac:spMk id="12" creationId="{1B96CF0D-1D9C-428E-BF87-D9A580AE991C}"/>
          </ac:spMkLst>
        </pc:spChg>
        <pc:spChg chg="mod">
          <ac:chgData name="Ugo MANTEL" userId="2d5b7065-31bb-4181-a7f8-a73bf0c30211" providerId="ADAL" clId="{9344D105-636D-4857-BD0F-AFC44A54BCCF}" dt="2021-05-25T14:20:12.406" v="29162" actId="790"/>
          <ac:spMkLst>
            <pc:docMk/>
            <pc:sldMk cId="1763597230" sldId="10482"/>
            <ac:spMk id="15" creationId="{371FD0C6-BD25-4B85-8EAD-0502F14E088E}"/>
          </ac:spMkLst>
        </pc:spChg>
        <pc:spChg chg="mod">
          <ac:chgData name="Ugo MANTEL" userId="2d5b7065-31bb-4181-a7f8-a73bf0c30211" providerId="ADAL" clId="{9344D105-636D-4857-BD0F-AFC44A54BCCF}" dt="2021-05-25T14:20:12.409" v="29167" actId="790"/>
          <ac:spMkLst>
            <pc:docMk/>
            <pc:sldMk cId="1763597230" sldId="10482"/>
            <ac:spMk id="17" creationId="{A9119019-F679-42BB-B49F-4E0DCA81AB7E}"/>
          </ac:spMkLst>
        </pc:spChg>
        <pc:spChg chg="mod">
          <ac:chgData name="Ugo MANTEL" userId="2d5b7065-31bb-4181-a7f8-a73bf0c30211" providerId="ADAL" clId="{9344D105-636D-4857-BD0F-AFC44A54BCCF}" dt="2021-05-25T14:20:12.429" v="29191" actId="790"/>
          <ac:spMkLst>
            <pc:docMk/>
            <pc:sldMk cId="1763597230" sldId="10482"/>
            <ac:spMk id="20" creationId="{8E9A3326-3694-454B-B327-B03B4A415605}"/>
          </ac:spMkLst>
        </pc:spChg>
        <pc:spChg chg="mod">
          <ac:chgData name="Ugo MANTEL" userId="2d5b7065-31bb-4181-a7f8-a73bf0c30211" providerId="ADAL" clId="{9344D105-636D-4857-BD0F-AFC44A54BCCF}" dt="2021-05-25T14:20:12.410" v="29168" actId="790"/>
          <ac:spMkLst>
            <pc:docMk/>
            <pc:sldMk cId="1763597230" sldId="10482"/>
            <ac:spMk id="26" creationId="{D02F1702-75A2-41D0-81F2-2BFAC3621779}"/>
          </ac:spMkLst>
        </pc:spChg>
        <pc:spChg chg="mod">
          <ac:chgData name="Ugo MANTEL" userId="2d5b7065-31bb-4181-a7f8-a73bf0c30211" providerId="ADAL" clId="{9344D105-636D-4857-BD0F-AFC44A54BCCF}" dt="2021-05-25T14:20:12.408" v="29166" actId="790"/>
          <ac:spMkLst>
            <pc:docMk/>
            <pc:sldMk cId="1763597230" sldId="10482"/>
            <ac:spMk id="29" creationId="{89FB3B56-79F8-4EBD-967A-A373F7652C6A}"/>
          </ac:spMkLst>
        </pc:spChg>
        <pc:spChg chg="mod">
          <ac:chgData name="Ugo MANTEL" userId="2d5b7065-31bb-4181-a7f8-a73bf0c30211" providerId="ADAL" clId="{9344D105-636D-4857-BD0F-AFC44A54BCCF}" dt="2021-05-25T14:20:12.411" v="29169" actId="790"/>
          <ac:spMkLst>
            <pc:docMk/>
            <pc:sldMk cId="1763597230" sldId="10482"/>
            <ac:spMk id="31" creationId="{A8ABB57D-9FC1-44C5-8530-23D192F77D78}"/>
          </ac:spMkLst>
        </pc:spChg>
        <pc:spChg chg="mod">
          <ac:chgData name="Ugo MANTEL" userId="2d5b7065-31bb-4181-a7f8-a73bf0c30211" providerId="ADAL" clId="{9344D105-636D-4857-BD0F-AFC44A54BCCF}" dt="2021-05-25T14:20:12.408" v="29165" actId="790"/>
          <ac:spMkLst>
            <pc:docMk/>
            <pc:sldMk cId="1763597230" sldId="10482"/>
            <ac:spMk id="32" creationId="{9D4D3A71-F2C6-47DF-BD49-C3D7BFBF9438}"/>
          </ac:spMkLst>
        </pc:spChg>
        <pc:spChg chg="mod">
          <ac:chgData name="Ugo MANTEL" userId="2d5b7065-31bb-4181-a7f8-a73bf0c30211" providerId="ADAL" clId="{9344D105-636D-4857-BD0F-AFC44A54BCCF}" dt="2021-05-25T14:20:12.407" v="29164" actId="790"/>
          <ac:spMkLst>
            <pc:docMk/>
            <pc:sldMk cId="1763597230" sldId="10482"/>
            <ac:spMk id="35" creationId="{6458FF84-438E-4544-91C9-92CD6839FCA3}"/>
          </ac:spMkLst>
        </pc:spChg>
        <pc:spChg chg="mod">
          <ac:chgData name="Ugo MANTEL" userId="2d5b7065-31bb-4181-a7f8-a73bf0c30211" providerId="ADAL" clId="{9344D105-636D-4857-BD0F-AFC44A54BCCF}" dt="2021-05-25T14:20:12.402" v="29156" actId="790"/>
          <ac:spMkLst>
            <pc:docMk/>
            <pc:sldMk cId="1763597230" sldId="10482"/>
            <ac:spMk id="36" creationId="{20444DA5-5894-4095-8895-C57452F8E45B}"/>
          </ac:spMkLst>
        </pc:spChg>
        <pc:spChg chg="mod">
          <ac:chgData name="Ugo MANTEL" userId="2d5b7065-31bb-4181-a7f8-a73bf0c30211" providerId="ADAL" clId="{9344D105-636D-4857-BD0F-AFC44A54BCCF}" dt="2021-05-25T14:20:12.412" v="29170" actId="790"/>
          <ac:spMkLst>
            <pc:docMk/>
            <pc:sldMk cId="1763597230" sldId="10482"/>
            <ac:spMk id="37" creationId="{6503BBF8-FED4-48DE-A886-460FB05439F0}"/>
          </ac:spMkLst>
        </pc:spChg>
        <pc:spChg chg="mod">
          <ac:chgData name="Ugo MANTEL" userId="2d5b7065-31bb-4181-a7f8-a73bf0c30211" providerId="ADAL" clId="{9344D105-636D-4857-BD0F-AFC44A54BCCF}" dt="2021-05-25T14:20:12.413" v="29171" actId="790"/>
          <ac:spMkLst>
            <pc:docMk/>
            <pc:sldMk cId="1763597230" sldId="10482"/>
            <ac:spMk id="38" creationId="{3F11B4ED-9D89-44C6-97B5-84A9B88A28A0}"/>
          </ac:spMkLst>
        </pc:spChg>
        <pc:spChg chg="mod">
          <ac:chgData name="Ugo MANTEL" userId="2d5b7065-31bb-4181-a7f8-a73bf0c30211" providerId="ADAL" clId="{9344D105-636D-4857-BD0F-AFC44A54BCCF}" dt="2021-05-25T14:20:12.414" v="29172" actId="790"/>
          <ac:spMkLst>
            <pc:docMk/>
            <pc:sldMk cId="1763597230" sldId="10482"/>
            <ac:spMk id="39" creationId="{8D6F807D-093C-4031-8B72-64CF391C111D}"/>
          </ac:spMkLst>
        </pc:spChg>
        <pc:spChg chg="mod">
          <ac:chgData name="Ugo MANTEL" userId="2d5b7065-31bb-4181-a7f8-a73bf0c30211" providerId="ADAL" clId="{9344D105-636D-4857-BD0F-AFC44A54BCCF}" dt="2021-05-25T14:20:12.414" v="29173" actId="790"/>
          <ac:spMkLst>
            <pc:docMk/>
            <pc:sldMk cId="1763597230" sldId="10482"/>
            <ac:spMk id="40" creationId="{E671D48A-B1A4-4B26-B60F-65E19EB4D45B}"/>
          </ac:spMkLst>
        </pc:spChg>
        <pc:spChg chg="mod">
          <ac:chgData name="Ugo MANTEL" userId="2d5b7065-31bb-4181-a7f8-a73bf0c30211" providerId="ADAL" clId="{9344D105-636D-4857-BD0F-AFC44A54BCCF}" dt="2021-05-25T14:20:12.403" v="29158" actId="790"/>
          <ac:spMkLst>
            <pc:docMk/>
            <pc:sldMk cId="1763597230" sldId="10482"/>
            <ac:spMk id="42" creationId="{1247795D-0072-40BA-AF93-9C1D019692A8}"/>
          </ac:spMkLst>
        </pc:spChg>
        <pc:spChg chg="mod">
          <ac:chgData name="Ugo MANTEL" userId="2d5b7065-31bb-4181-a7f8-a73bf0c30211" providerId="ADAL" clId="{9344D105-636D-4857-BD0F-AFC44A54BCCF}" dt="2021-05-25T14:20:12.404" v="29159" actId="790"/>
          <ac:spMkLst>
            <pc:docMk/>
            <pc:sldMk cId="1763597230" sldId="10482"/>
            <ac:spMk id="43" creationId="{36DDE4C0-A9E6-441D-96A4-45A7DBB77394}"/>
          </ac:spMkLst>
        </pc:spChg>
        <pc:spChg chg="mod">
          <ac:chgData name="Ugo MANTEL" userId="2d5b7065-31bb-4181-a7f8-a73bf0c30211" providerId="ADAL" clId="{9344D105-636D-4857-BD0F-AFC44A54BCCF}" dt="2021-05-25T14:20:12.404" v="29160" actId="790"/>
          <ac:spMkLst>
            <pc:docMk/>
            <pc:sldMk cId="1763597230" sldId="10482"/>
            <ac:spMk id="44" creationId="{2F8E33B2-FF7C-48A6-A801-E93B48683090}"/>
          </ac:spMkLst>
        </pc:spChg>
        <pc:spChg chg="mod">
          <ac:chgData name="Ugo MANTEL" userId="2d5b7065-31bb-4181-a7f8-a73bf0c30211" providerId="ADAL" clId="{9344D105-636D-4857-BD0F-AFC44A54BCCF}" dt="2021-05-25T14:20:12.405" v="29161" actId="790"/>
          <ac:spMkLst>
            <pc:docMk/>
            <pc:sldMk cId="1763597230" sldId="10482"/>
            <ac:spMk id="51" creationId="{30907CB5-2327-4812-BF4E-80ADB62C119C}"/>
          </ac:spMkLst>
        </pc:spChg>
        <pc:spChg chg="mod">
          <ac:chgData name="Ugo MANTEL" userId="2d5b7065-31bb-4181-a7f8-a73bf0c30211" providerId="ADAL" clId="{9344D105-636D-4857-BD0F-AFC44A54BCCF}" dt="2021-05-25T14:20:12.415" v="29175" actId="790"/>
          <ac:spMkLst>
            <pc:docMk/>
            <pc:sldMk cId="1763597230" sldId="10482"/>
            <ac:spMk id="61" creationId="{6AD76FA3-6E7D-4573-94F3-B77C5EE0163C}"/>
          </ac:spMkLst>
        </pc:spChg>
        <pc:spChg chg="mod">
          <ac:chgData name="Ugo MANTEL" userId="2d5b7065-31bb-4181-a7f8-a73bf0c30211" providerId="ADAL" clId="{9344D105-636D-4857-BD0F-AFC44A54BCCF}" dt="2021-05-25T14:20:12.422" v="29182" actId="790"/>
          <ac:spMkLst>
            <pc:docMk/>
            <pc:sldMk cId="1763597230" sldId="10482"/>
            <ac:spMk id="63" creationId="{68579EF2-D9C9-42A6-9EFA-D329BA498B2D}"/>
          </ac:spMkLst>
        </pc:spChg>
        <pc:spChg chg="mod">
          <ac:chgData name="Ugo MANTEL" userId="2d5b7065-31bb-4181-a7f8-a73bf0c30211" providerId="ADAL" clId="{9344D105-636D-4857-BD0F-AFC44A54BCCF}" dt="2021-05-25T14:20:12.422" v="29183" actId="790"/>
          <ac:spMkLst>
            <pc:docMk/>
            <pc:sldMk cId="1763597230" sldId="10482"/>
            <ac:spMk id="64" creationId="{CD0E5380-6872-484D-BA30-8815C6D13DCE}"/>
          </ac:spMkLst>
        </pc:spChg>
        <pc:spChg chg="mod">
          <ac:chgData name="Ugo MANTEL" userId="2d5b7065-31bb-4181-a7f8-a73bf0c30211" providerId="ADAL" clId="{9344D105-636D-4857-BD0F-AFC44A54BCCF}" dt="2021-05-25T14:20:12.423" v="29184" actId="790"/>
          <ac:spMkLst>
            <pc:docMk/>
            <pc:sldMk cId="1763597230" sldId="10482"/>
            <ac:spMk id="65" creationId="{69CDFEDF-A03C-473A-A597-D74E4B7BB63A}"/>
          </ac:spMkLst>
        </pc:spChg>
        <pc:spChg chg="mod">
          <ac:chgData name="Ugo MANTEL" userId="2d5b7065-31bb-4181-a7f8-a73bf0c30211" providerId="ADAL" clId="{9344D105-636D-4857-BD0F-AFC44A54BCCF}" dt="2021-05-25T14:20:12.424" v="29185" actId="790"/>
          <ac:spMkLst>
            <pc:docMk/>
            <pc:sldMk cId="1763597230" sldId="10482"/>
            <ac:spMk id="66" creationId="{A13FBB25-422B-4052-810F-DC13981F936C}"/>
          </ac:spMkLst>
        </pc:spChg>
        <pc:spChg chg="mod">
          <ac:chgData name="Ugo MANTEL" userId="2d5b7065-31bb-4181-a7f8-a73bf0c30211" providerId="ADAL" clId="{9344D105-636D-4857-BD0F-AFC44A54BCCF}" dt="2021-05-25T14:20:12.421" v="29181" actId="790"/>
          <ac:spMkLst>
            <pc:docMk/>
            <pc:sldMk cId="1763597230" sldId="10482"/>
            <ac:spMk id="69" creationId="{01D1152F-DC04-47F3-B3E6-FE427477534B}"/>
          </ac:spMkLst>
        </pc:spChg>
        <pc:spChg chg="mod">
          <ac:chgData name="Ugo MANTEL" userId="2d5b7065-31bb-4181-a7f8-a73bf0c30211" providerId="ADAL" clId="{9344D105-636D-4857-BD0F-AFC44A54BCCF}" dt="2021-05-25T14:20:12.425" v="29186" actId="790"/>
          <ac:spMkLst>
            <pc:docMk/>
            <pc:sldMk cId="1763597230" sldId="10482"/>
            <ac:spMk id="73" creationId="{CF0BA0C8-C53D-4F2F-AD70-AD21F84AE095}"/>
          </ac:spMkLst>
        </pc:spChg>
        <pc:spChg chg="mod">
          <ac:chgData name="Ugo MANTEL" userId="2d5b7065-31bb-4181-a7f8-a73bf0c30211" providerId="ADAL" clId="{9344D105-636D-4857-BD0F-AFC44A54BCCF}" dt="2021-05-25T14:20:12.406" v="29163" actId="790"/>
          <ac:spMkLst>
            <pc:docMk/>
            <pc:sldMk cId="1763597230" sldId="10482"/>
            <ac:spMk id="77" creationId="{34FF3F00-6BF4-4528-85CB-44C6EF344C99}"/>
          </ac:spMkLst>
        </pc:spChg>
        <pc:spChg chg="mod">
          <ac:chgData name="Ugo MANTEL" userId="2d5b7065-31bb-4181-a7f8-a73bf0c30211" providerId="ADAL" clId="{9344D105-636D-4857-BD0F-AFC44A54BCCF}" dt="2021-05-25T14:20:12.426" v="29187" actId="790"/>
          <ac:spMkLst>
            <pc:docMk/>
            <pc:sldMk cId="1763597230" sldId="10482"/>
            <ac:spMk id="86" creationId="{0FF6B5E6-5945-4627-AA85-55C2CBA42A6A}"/>
          </ac:spMkLst>
        </pc:spChg>
        <pc:spChg chg="mod">
          <ac:chgData name="Ugo MANTEL" userId="2d5b7065-31bb-4181-a7f8-a73bf0c30211" providerId="ADAL" clId="{9344D105-636D-4857-BD0F-AFC44A54BCCF}" dt="2021-05-25T14:20:12.415" v="29174" actId="790"/>
          <ac:spMkLst>
            <pc:docMk/>
            <pc:sldMk cId="1763597230" sldId="10482"/>
            <ac:spMk id="87" creationId="{969B0457-9AFB-478C-83F9-279061671C83}"/>
          </ac:spMkLst>
        </pc:spChg>
        <pc:spChg chg="mod">
          <ac:chgData name="Ugo MANTEL" userId="2d5b7065-31bb-4181-a7f8-a73bf0c30211" providerId="ADAL" clId="{9344D105-636D-4857-BD0F-AFC44A54BCCF}" dt="2021-05-25T14:20:12.427" v="29188" actId="790"/>
          <ac:spMkLst>
            <pc:docMk/>
            <pc:sldMk cId="1763597230" sldId="10482"/>
            <ac:spMk id="90" creationId="{02DA40C7-1137-4188-B485-4E022ACCB267}"/>
          </ac:spMkLst>
        </pc:spChg>
        <pc:spChg chg="mod">
          <ac:chgData name="Ugo MANTEL" userId="2d5b7065-31bb-4181-a7f8-a73bf0c30211" providerId="ADAL" clId="{9344D105-636D-4857-BD0F-AFC44A54BCCF}" dt="2021-05-25T14:20:12.428" v="29189" actId="790"/>
          <ac:spMkLst>
            <pc:docMk/>
            <pc:sldMk cId="1763597230" sldId="10482"/>
            <ac:spMk id="93" creationId="{CE4C6AB6-9D3C-4D37-B7B6-46807A759A82}"/>
          </ac:spMkLst>
        </pc:spChg>
        <pc:spChg chg="mod">
          <ac:chgData name="Ugo MANTEL" userId="2d5b7065-31bb-4181-a7f8-a73bf0c30211" providerId="ADAL" clId="{9344D105-636D-4857-BD0F-AFC44A54BCCF}" dt="2021-05-25T14:20:12.416" v="29176" actId="790"/>
          <ac:spMkLst>
            <pc:docMk/>
            <pc:sldMk cId="1763597230" sldId="10482"/>
            <ac:spMk id="102" creationId="{E0A3228D-D7F4-4A30-B4B2-A7E4D2315ACB}"/>
          </ac:spMkLst>
        </pc:spChg>
        <pc:spChg chg="mod">
          <ac:chgData name="Ugo MANTEL" userId="2d5b7065-31bb-4181-a7f8-a73bf0c30211" providerId="ADAL" clId="{9344D105-636D-4857-BD0F-AFC44A54BCCF}" dt="2021-05-25T14:20:12.417" v="29177" actId="790"/>
          <ac:spMkLst>
            <pc:docMk/>
            <pc:sldMk cId="1763597230" sldId="10482"/>
            <ac:spMk id="103" creationId="{60955DD5-4169-4F04-B2BF-2D2A64980A04}"/>
          </ac:spMkLst>
        </pc:spChg>
        <pc:spChg chg="mod">
          <ac:chgData name="Ugo MANTEL" userId="2d5b7065-31bb-4181-a7f8-a73bf0c30211" providerId="ADAL" clId="{9344D105-636D-4857-BD0F-AFC44A54BCCF}" dt="2021-05-25T14:20:12.418" v="29178" actId="790"/>
          <ac:spMkLst>
            <pc:docMk/>
            <pc:sldMk cId="1763597230" sldId="10482"/>
            <ac:spMk id="104" creationId="{4A968F88-0BEE-4D26-A5E9-83CB21CDAC4E}"/>
          </ac:spMkLst>
        </pc:spChg>
        <pc:spChg chg="mod">
          <ac:chgData name="Ugo MANTEL" userId="2d5b7065-31bb-4181-a7f8-a73bf0c30211" providerId="ADAL" clId="{9344D105-636D-4857-BD0F-AFC44A54BCCF}" dt="2021-05-25T14:20:12.419" v="29179" actId="790"/>
          <ac:spMkLst>
            <pc:docMk/>
            <pc:sldMk cId="1763597230" sldId="10482"/>
            <ac:spMk id="105" creationId="{8CE0D118-0AFC-408B-A2A2-0061AEB48222}"/>
          </ac:spMkLst>
        </pc:spChg>
        <pc:spChg chg="mod">
          <ac:chgData name="Ugo MANTEL" userId="2d5b7065-31bb-4181-a7f8-a73bf0c30211" providerId="ADAL" clId="{9344D105-636D-4857-BD0F-AFC44A54BCCF}" dt="2021-05-25T14:20:12.420" v="29180" actId="790"/>
          <ac:spMkLst>
            <pc:docMk/>
            <pc:sldMk cId="1763597230" sldId="10482"/>
            <ac:spMk id="120" creationId="{C57198B3-D8BE-4D70-B9B4-2277FF73857B}"/>
          </ac:spMkLst>
        </pc:spChg>
        <pc:picChg chg="del">
          <ac:chgData name="Ugo MANTEL" userId="2d5b7065-31bb-4181-a7f8-a73bf0c30211" providerId="ADAL" clId="{9344D105-636D-4857-BD0F-AFC44A54BCCF}" dt="2021-05-25T09:06:08.890" v="12291" actId="478"/>
          <ac:picMkLst>
            <pc:docMk/>
            <pc:sldMk cId="1763597230" sldId="10482"/>
            <ac:picMk id="78" creationId="{320ECDFC-0DEB-4C2C-8A0E-84447713719B}"/>
          </ac:picMkLst>
        </pc:picChg>
      </pc:sldChg>
      <pc:sldChg chg="modSp mod">
        <pc:chgData name="Ugo MANTEL" userId="2d5b7065-31bb-4181-a7f8-a73bf0c30211" providerId="ADAL" clId="{9344D105-636D-4857-BD0F-AFC44A54BCCF}" dt="2021-05-25T14:20:11.303" v="28013" actId="790"/>
        <pc:sldMkLst>
          <pc:docMk/>
          <pc:sldMk cId="787967275" sldId="10483"/>
        </pc:sldMkLst>
        <pc:spChg chg="mod">
          <ac:chgData name="Ugo MANTEL" userId="2d5b7065-31bb-4181-a7f8-a73bf0c30211" providerId="ADAL" clId="{9344D105-636D-4857-BD0F-AFC44A54BCCF}" dt="2021-05-25T14:20:11.278" v="27982" actId="790"/>
          <ac:spMkLst>
            <pc:docMk/>
            <pc:sldMk cId="787967275" sldId="10483"/>
            <ac:spMk id="2" creationId="{F603210B-1675-4AF7-9A14-5F2A22C81270}"/>
          </ac:spMkLst>
        </pc:spChg>
        <pc:spChg chg="mod">
          <ac:chgData name="Ugo MANTEL" userId="2d5b7065-31bb-4181-a7f8-a73bf0c30211" providerId="ADAL" clId="{9344D105-636D-4857-BD0F-AFC44A54BCCF}" dt="2021-05-25T14:20:11.279" v="27983" actId="790"/>
          <ac:spMkLst>
            <pc:docMk/>
            <pc:sldMk cId="787967275" sldId="10483"/>
            <ac:spMk id="4" creationId="{74ADDBE6-49E4-4049-B7BF-EE415633C5F5}"/>
          </ac:spMkLst>
        </pc:spChg>
        <pc:spChg chg="mod">
          <ac:chgData name="Ugo MANTEL" userId="2d5b7065-31bb-4181-a7f8-a73bf0c30211" providerId="ADAL" clId="{9344D105-636D-4857-BD0F-AFC44A54BCCF}" dt="2021-05-25T14:20:11.281" v="27984" actId="790"/>
          <ac:spMkLst>
            <pc:docMk/>
            <pc:sldMk cId="787967275" sldId="10483"/>
            <ac:spMk id="5" creationId="{B0DA252B-E0E1-4EDA-AD43-C3699C200482}"/>
          </ac:spMkLst>
        </pc:spChg>
        <pc:spChg chg="mod">
          <ac:chgData name="Ugo MANTEL" userId="2d5b7065-31bb-4181-a7f8-a73bf0c30211" providerId="ADAL" clId="{9344D105-636D-4857-BD0F-AFC44A54BCCF}" dt="2021-05-25T14:20:11.282" v="27985" actId="790"/>
          <ac:spMkLst>
            <pc:docMk/>
            <pc:sldMk cId="787967275" sldId="10483"/>
            <ac:spMk id="6" creationId="{459DE8FF-F3A0-454B-89BD-EA7D3F0085F4}"/>
          </ac:spMkLst>
        </pc:spChg>
        <pc:spChg chg="mod">
          <ac:chgData name="Ugo MANTEL" userId="2d5b7065-31bb-4181-a7f8-a73bf0c30211" providerId="ADAL" clId="{9344D105-636D-4857-BD0F-AFC44A54BCCF}" dt="2021-05-25T14:20:11.282" v="27986" actId="790"/>
          <ac:spMkLst>
            <pc:docMk/>
            <pc:sldMk cId="787967275" sldId="10483"/>
            <ac:spMk id="8" creationId="{A6584CFE-199B-42FA-9B02-35D30052E24D}"/>
          </ac:spMkLst>
        </pc:spChg>
        <pc:spChg chg="mod">
          <ac:chgData name="Ugo MANTEL" userId="2d5b7065-31bb-4181-a7f8-a73bf0c30211" providerId="ADAL" clId="{9344D105-636D-4857-BD0F-AFC44A54BCCF}" dt="2021-05-25T14:20:11.283" v="27987" actId="790"/>
          <ac:spMkLst>
            <pc:docMk/>
            <pc:sldMk cId="787967275" sldId="10483"/>
            <ac:spMk id="9" creationId="{5513411E-B0D4-4A2B-B16E-9DD5102ED097}"/>
          </ac:spMkLst>
        </pc:spChg>
        <pc:spChg chg="mod">
          <ac:chgData name="Ugo MANTEL" userId="2d5b7065-31bb-4181-a7f8-a73bf0c30211" providerId="ADAL" clId="{9344D105-636D-4857-BD0F-AFC44A54BCCF}" dt="2021-05-25T14:20:11.297" v="28003" actId="790"/>
          <ac:spMkLst>
            <pc:docMk/>
            <pc:sldMk cId="787967275" sldId="10483"/>
            <ac:spMk id="11" creationId="{E7BC247D-1E44-429A-AF83-8E39E9FFE026}"/>
          </ac:spMkLst>
        </pc:spChg>
        <pc:spChg chg="mod">
          <ac:chgData name="Ugo MANTEL" userId="2d5b7065-31bb-4181-a7f8-a73bf0c30211" providerId="ADAL" clId="{9344D105-636D-4857-BD0F-AFC44A54BCCF}" dt="2021-05-25T14:20:11.296" v="28002" actId="790"/>
          <ac:spMkLst>
            <pc:docMk/>
            <pc:sldMk cId="787967275" sldId="10483"/>
            <ac:spMk id="12" creationId="{C7013414-76D7-4268-AAD2-A87055DAACA5}"/>
          </ac:spMkLst>
        </pc:spChg>
        <pc:spChg chg="mod">
          <ac:chgData name="Ugo MANTEL" userId="2d5b7065-31bb-4181-a7f8-a73bf0c30211" providerId="ADAL" clId="{9344D105-636D-4857-BD0F-AFC44A54BCCF}" dt="2021-05-25T14:20:11.297" v="28004" actId="790"/>
          <ac:spMkLst>
            <pc:docMk/>
            <pc:sldMk cId="787967275" sldId="10483"/>
            <ac:spMk id="31" creationId="{97E5D4A5-0DD4-47F0-90BC-7FD43285E269}"/>
          </ac:spMkLst>
        </pc:spChg>
        <pc:spChg chg="mod">
          <ac:chgData name="Ugo MANTEL" userId="2d5b7065-31bb-4181-a7f8-a73bf0c30211" providerId="ADAL" clId="{9344D105-636D-4857-BD0F-AFC44A54BCCF}" dt="2021-05-25T14:20:11.284" v="27988" actId="790"/>
          <ac:spMkLst>
            <pc:docMk/>
            <pc:sldMk cId="787967275" sldId="10483"/>
            <ac:spMk id="32" creationId="{72E4FA22-5F72-4B8A-966C-5EAB2962F5DE}"/>
          </ac:spMkLst>
        </pc:spChg>
        <pc:spChg chg="mod">
          <ac:chgData name="Ugo MANTEL" userId="2d5b7065-31bb-4181-a7f8-a73bf0c30211" providerId="ADAL" clId="{9344D105-636D-4857-BD0F-AFC44A54BCCF}" dt="2021-05-25T14:20:11.286" v="27989" actId="790"/>
          <ac:spMkLst>
            <pc:docMk/>
            <pc:sldMk cId="787967275" sldId="10483"/>
            <ac:spMk id="33" creationId="{BC847A98-E385-4268-A8B8-68418B0916EB}"/>
          </ac:spMkLst>
        </pc:spChg>
        <pc:spChg chg="mod">
          <ac:chgData name="Ugo MANTEL" userId="2d5b7065-31bb-4181-a7f8-a73bf0c30211" providerId="ADAL" clId="{9344D105-636D-4857-BD0F-AFC44A54BCCF}" dt="2021-05-25T14:20:11.286" v="27990" actId="790"/>
          <ac:spMkLst>
            <pc:docMk/>
            <pc:sldMk cId="787967275" sldId="10483"/>
            <ac:spMk id="34" creationId="{98055D65-32A6-4AE6-AA0E-584E4895BE34}"/>
          </ac:spMkLst>
        </pc:spChg>
        <pc:spChg chg="mod">
          <ac:chgData name="Ugo MANTEL" userId="2d5b7065-31bb-4181-a7f8-a73bf0c30211" providerId="ADAL" clId="{9344D105-636D-4857-BD0F-AFC44A54BCCF}" dt="2021-05-25T14:20:11.289" v="27991" actId="790"/>
          <ac:spMkLst>
            <pc:docMk/>
            <pc:sldMk cId="787967275" sldId="10483"/>
            <ac:spMk id="35" creationId="{81BD3286-79C1-4AD5-827B-F5E96A7F940D}"/>
          </ac:spMkLst>
        </pc:spChg>
        <pc:spChg chg="mod">
          <ac:chgData name="Ugo MANTEL" userId="2d5b7065-31bb-4181-a7f8-a73bf0c30211" providerId="ADAL" clId="{9344D105-636D-4857-BD0F-AFC44A54BCCF}" dt="2021-05-25T14:20:11.290" v="27992" actId="790"/>
          <ac:spMkLst>
            <pc:docMk/>
            <pc:sldMk cId="787967275" sldId="10483"/>
            <ac:spMk id="36" creationId="{9D0D108D-E040-46E8-9D27-8421B7B8A6B6}"/>
          </ac:spMkLst>
        </pc:spChg>
        <pc:spChg chg="mod">
          <ac:chgData name="Ugo MANTEL" userId="2d5b7065-31bb-4181-a7f8-a73bf0c30211" providerId="ADAL" clId="{9344D105-636D-4857-BD0F-AFC44A54BCCF}" dt="2021-05-25T14:20:11.290" v="27993" actId="790"/>
          <ac:spMkLst>
            <pc:docMk/>
            <pc:sldMk cId="787967275" sldId="10483"/>
            <ac:spMk id="37" creationId="{685DD430-D135-4898-B681-DADA54449406}"/>
          </ac:spMkLst>
        </pc:spChg>
        <pc:spChg chg="mod">
          <ac:chgData name="Ugo MANTEL" userId="2d5b7065-31bb-4181-a7f8-a73bf0c30211" providerId="ADAL" clId="{9344D105-636D-4857-BD0F-AFC44A54BCCF}" dt="2021-05-25T14:20:11.291" v="27994" actId="790"/>
          <ac:spMkLst>
            <pc:docMk/>
            <pc:sldMk cId="787967275" sldId="10483"/>
            <ac:spMk id="38" creationId="{33227BCF-594C-48FC-A668-E9496B25076E}"/>
          </ac:spMkLst>
        </pc:spChg>
        <pc:spChg chg="mod">
          <ac:chgData name="Ugo MANTEL" userId="2d5b7065-31bb-4181-a7f8-a73bf0c30211" providerId="ADAL" clId="{9344D105-636D-4857-BD0F-AFC44A54BCCF}" dt="2021-05-25T14:20:11.292" v="27995" actId="790"/>
          <ac:spMkLst>
            <pc:docMk/>
            <pc:sldMk cId="787967275" sldId="10483"/>
            <ac:spMk id="42" creationId="{FB53C860-4349-483B-9A2E-4EA3FEEC44A4}"/>
          </ac:spMkLst>
        </pc:spChg>
        <pc:spChg chg="mod">
          <ac:chgData name="Ugo MANTEL" userId="2d5b7065-31bb-4181-a7f8-a73bf0c30211" providerId="ADAL" clId="{9344D105-636D-4857-BD0F-AFC44A54BCCF}" dt="2021-05-25T14:20:11.292" v="27996" actId="790"/>
          <ac:spMkLst>
            <pc:docMk/>
            <pc:sldMk cId="787967275" sldId="10483"/>
            <ac:spMk id="43" creationId="{9BAD9349-B578-4C93-89B0-5E143458F95D}"/>
          </ac:spMkLst>
        </pc:spChg>
        <pc:spChg chg="mod">
          <ac:chgData name="Ugo MANTEL" userId="2d5b7065-31bb-4181-a7f8-a73bf0c30211" providerId="ADAL" clId="{9344D105-636D-4857-BD0F-AFC44A54BCCF}" dt="2021-05-25T14:20:11.300" v="28009" actId="790"/>
          <ac:spMkLst>
            <pc:docMk/>
            <pc:sldMk cId="787967275" sldId="10483"/>
            <ac:spMk id="44" creationId="{E5EF6BB7-12AD-4BED-BE01-7621431FB3E1}"/>
          </ac:spMkLst>
        </pc:spChg>
        <pc:spChg chg="mod">
          <ac:chgData name="Ugo MANTEL" userId="2d5b7065-31bb-4181-a7f8-a73bf0c30211" providerId="ADAL" clId="{9344D105-636D-4857-BD0F-AFC44A54BCCF}" dt="2021-05-25T14:20:11.301" v="28010" actId="790"/>
          <ac:spMkLst>
            <pc:docMk/>
            <pc:sldMk cId="787967275" sldId="10483"/>
            <ac:spMk id="45" creationId="{B755D15D-2E07-447A-958B-8658277D8637}"/>
          </ac:spMkLst>
        </pc:spChg>
        <pc:spChg chg="mod">
          <ac:chgData name="Ugo MANTEL" userId="2d5b7065-31bb-4181-a7f8-a73bf0c30211" providerId="ADAL" clId="{9344D105-636D-4857-BD0F-AFC44A54BCCF}" dt="2021-05-25T14:20:11.293" v="27997" actId="790"/>
          <ac:spMkLst>
            <pc:docMk/>
            <pc:sldMk cId="787967275" sldId="10483"/>
            <ac:spMk id="58" creationId="{F3BBC108-E3A8-4285-8482-6573BB5A9BFA}"/>
          </ac:spMkLst>
        </pc:spChg>
        <pc:spChg chg="mod">
          <ac:chgData name="Ugo MANTEL" userId="2d5b7065-31bb-4181-a7f8-a73bf0c30211" providerId="ADAL" clId="{9344D105-636D-4857-BD0F-AFC44A54BCCF}" dt="2021-05-25T14:20:11.302" v="28011" actId="790"/>
          <ac:spMkLst>
            <pc:docMk/>
            <pc:sldMk cId="787967275" sldId="10483"/>
            <ac:spMk id="59" creationId="{920D7B0A-7E23-4237-9E9D-A6715DEB7288}"/>
          </ac:spMkLst>
        </pc:spChg>
        <pc:spChg chg="mod">
          <ac:chgData name="Ugo MANTEL" userId="2d5b7065-31bb-4181-a7f8-a73bf0c30211" providerId="ADAL" clId="{9344D105-636D-4857-BD0F-AFC44A54BCCF}" dt="2021-05-25T14:20:11.294" v="27998" actId="790"/>
          <ac:spMkLst>
            <pc:docMk/>
            <pc:sldMk cId="787967275" sldId="10483"/>
            <ac:spMk id="60" creationId="{502A1A2A-5BE4-4CEC-87C8-F81B82FE17A0}"/>
          </ac:spMkLst>
        </pc:spChg>
        <pc:spChg chg="mod">
          <ac:chgData name="Ugo MANTEL" userId="2d5b7065-31bb-4181-a7f8-a73bf0c30211" providerId="ADAL" clId="{9344D105-636D-4857-BD0F-AFC44A54BCCF}" dt="2021-05-25T14:20:11.303" v="28012" actId="790"/>
          <ac:spMkLst>
            <pc:docMk/>
            <pc:sldMk cId="787967275" sldId="10483"/>
            <ac:spMk id="61" creationId="{5AB5BCB0-E886-44CB-8E18-F97060661843}"/>
          </ac:spMkLst>
        </pc:spChg>
        <pc:spChg chg="mod">
          <ac:chgData name="Ugo MANTEL" userId="2d5b7065-31bb-4181-a7f8-a73bf0c30211" providerId="ADAL" clId="{9344D105-636D-4857-BD0F-AFC44A54BCCF}" dt="2021-05-25T14:20:11.303" v="28013" actId="790"/>
          <ac:spMkLst>
            <pc:docMk/>
            <pc:sldMk cId="787967275" sldId="10483"/>
            <ac:spMk id="62" creationId="{9C67B2AF-E78A-4D15-B5A0-ACE957480B8F}"/>
          </ac:spMkLst>
        </pc:spChg>
        <pc:spChg chg="mod">
          <ac:chgData name="Ugo MANTEL" userId="2d5b7065-31bb-4181-a7f8-a73bf0c30211" providerId="ADAL" clId="{9344D105-636D-4857-BD0F-AFC44A54BCCF}" dt="2021-05-25T14:20:11.294" v="27999" actId="790"/>
          <ac:spMkLst>
            <pc:docMk/>
            <pc:sldMk cId="787967275" sldId="10483"/>
            <ac:spMk id="69" creationId="{19F48430-90DF-40FF-A00A-84E93A59C005}"/>
          </ac:spMkLst>
        </pc:spChg>
        <pc:spChg chg="mod">
          <ac:chgData name="Ugo MANTEL" userId="2d5b7065-31bb-4181-a7f8-a73bf0c30211" providerId="ADAL" clId="{9344D105-636D-4857-BD0F-AFC44A54BCCF}" dt="2021-05-25T14:20:11.295" v="28000" actId="790"/>
          <ac:spMkLst>
            <pc:docMk/>
            <pc:sldMk cId="787967275" sldId="10483"/>
            <ac:spMk id="70" creationId="{712AF8AD-F5B4-45E9-AA35-3836D1A918F9}"/>
          </ac:spMkLst>
        </pc:spChg>
        <pc:spChg chg="mod">
          <ac:chgData name="Ugo MANTEL" userId="2d5b7065-31bb-4181-a7f8-a73bf0c30211" providerId="ADAL" clId="{9344D105-636D-4857-BD0F-AFC44A54BCCF}" dt="2021-05-25T14:20:11.295" v="28001" actId="790"/>
          <ac:spMkLst>
            <pc:docMk/>
            <pc:sldMk cId="787967275" sldId="10483"/>
            <ac:spMk id="73" creationId="{37CE42CA-0196-4A12-823E-1A27C547E4D3}"/>
          </ac:spMkLst>
        </pc:spChg>
        <pc:spChg chg="mod">
          <ac:chgData name="Ugo MANTEL" userId="2d5b7065-31bb-4181-a7f8-a73bf0c30211" providerId="ADAL" clId="{9344D105-636D-4857-BD0F-AFC44A54BCCF}" dt="2021-05-25T14:20:11.298" v="28005" actId="790"/>
          <ac:spMkLst>
            <pc:docMk/>
            <pc:sldMk cId="787967275" sldId="10483"/>
            <ac:spMk id="78" creationId="{9A9481B5-737E-45DE-81D8-2F715985CC57}"/>
          </ac:spMkLst>
        </pc:spChg>
        <pc:spChg chg="mod">
          <ac:chgData name="Ugo MANTEL" userId="2d5b7065-31bb-4181-a7f8-a73bf0c30211" providerId="ADAL" clId="{9344D105-636D-4857-BD0F-AFC44A54BCCF}" dt="2021-05-25T14:20:11.299" v="28006" actId="790"/>
          <ac:spMkLst>
            <pc:docMk/>
            <pc:sldMk cId="787967275" sldId="10483"/>
            <ac:spMk id="80" creationId="{53EEF4E9-317D-4996-82F1-5D806F6EA3E2}"/>
          </ac:spMkLst>
        </pc:spChg>
        <pc:spChg chg="mod">
          <ac:chgData name="Ugo MANTEL" userId="2d5b7065-31bb-4181-a7f8-a73bf0c30211" providerId="ADAL" clId="{9344D105-636D-4857-BD0F-AFC44A54BCCF}" dt="2021-05-25T14:20:11.299" v="28007" actId="790"/>
          <ac:spMkLst>
            <pc:docMk/>
            <pc:sldMk cId="787967275" sldId="10483"/>
            <ac:spMk id="84" creationId="{4A5E7AB0-2297-4CD5-A92F-B96EE98B1D1A}"/>
          </ac:spMkLst>
        </pc:spChg>
        <pc:spChg chg="mod">
          <ac:chgData name="Ugo MANTEL" userId="2d5b7065-31bb-4181-a7f8-a73bf0c30211" providerId="ADAL" clId="{9344D105-636D-4857-BD0F-AFC44A54BCCF}" dt="2021-05-25T14:20:11.300" v="28008" actId="790"/>
          <ac:spMkLst>
            <pc:docMk/>
            <pc:sldMk cId="787967275" sldId="10483"/>
            <ac:spMk id="85" creationId="{1A835908-83BB-404C-AE36-6D07AE32C2A9}"/>
          </ac:spMkLst>
        </pc:spChg>
      </pc:sldChg>
      <pc:sldChg chg="addSp delSp modSp add mod ord">
        <pc:chgData name="Ugo MANTEL" userId="2d5b7065-31bb-4181-a7f8-a73bf0c30211" providerId="ADAL" clId="{9344D105-636D-4857-BD0F-AFC44A54BCCF}" dt="2021-05-25T14:20:11.597" v="28289" actId="790"/>
        <pc:sldMkLst>
          <pc:docMk/>
          <pc:sldMk cId="759424876" sldId="10484"/>
        </pc:sldMkLst>
        <pc:spChg chg="mod ord">
          <ac:chgData name="Ugo MANTEL" userId="2d5b7065-31bb-4181-a7f8-a73bf0c30211" providerId="ADAL" clId="{9344D105-636D-4857-BD0F-AFC44A54BCCF}" dt="2021-05-25T14:20:11.567" v="28254" actId="790"/>
          <ac:spMkLst>
            <pc:docMk/>
            <pc:sldMk cId="759424876" sldId="10484"/>
            <ac:spMk id="2" creationId="{BA3E4240-1B8B-4AAA-9DCA-9FE236464846}"/>
          </ac:spMkLst>
        </pc:spChg>
        <pc:spChg chg="add del mod modVis">
          <ac:chgData name="Ugo MANTEL" userId="2d5b7065-31bb-4181-a7f8-a73bf0c30211" providerId="ADAL" clId="{9344D105-636D-4857-BD0F-AFC44A54BCCF}" dt="2021-05-25T09:31:56.650" v="12798"/>
          <ac:spMkLst>
            <pc:docMk/>
            <pc:sldMk cId="759424876" sldId="10484"/>
            <ac:spMk id="3" creationId="{DDC949ED-CAB0-46F8-A49B-B61B2DDE2E7A}"/>
          </ac:spMkLst>
        </pc:spChg>
        <pc:spChg chg="del mod ord">
          <ac:chgData name="Ugo MANTEL" userId="2d5b7065-31bb-4181-a7f8-a73bf0c30211" providerId="ADAL" clId="{9344D105-636D-4857-BD0F-AFC44A54BCCF}" dt="2021-05-25T13:02:53.155" v="18938" actId="478"/>
          <ac:spMkLst>
            <pc:docMk/>
            <pc:sldMk cId="759424876" sldId="10484"/>
            <ac:spMk id="3" creationId="{FDDE71E8-8199-4DCE-A27D-6D3FE25C6BBB}"/>
          </ac:spMkLst>
        </pc:spChg>
        <pc:spChg chg="del mod ord">
          <ac:chgData name="Ugo MANTEL" userId="2d5b7065-31bb-4181-a7f8-a73bf0c30211" providerId="ADAL" clId="{9344D105-636D-4857-BD0F-AFC44A54BCCF}" dt="2021-05-25T12:13:06.094" v="17947" actId="478"/>
          <ac:spMkLst>
            <pc:docMk/>
            <pc:sldMk cId="759424876" sldId="10484"/>
            <ac:spMk id="4" creationId="{77FF5214-2A97-4273-BCE7-1883F9269986}"/>
          </ac:spMkLst>
        </pc:spChg>
        <pc:spChg chg="add del mod ord">
          <ac:chgData name="Ugo MANTEL" userId="2d5b7065-31bb-4181-a7f8-a73bf0c30211" providerId="ADAL" clId="{9344D105-636D-4857-BD0F-AFC44A54BCCF}" dt="2021-05-25T13:02:53.155" v="18938" actId="478"/>
          <ac:spMkLst>
            <pc:docMk/>
            <pc:sldMk cId="759424876" sldId="10484"/>
            <ac:spMk id="7" creationId="{FD814CC9-E452-47EC-8D37-2766482721DD}"/>
          </ac:spMkLst>
        </pc:spChg>
        <pc:spChg chg="add del mod modVis">
          <ac:chgData name="Ugo MANTEL" userId="2d5b7065-31bb-4181-a7f8-a73bf0c30211" providerId="ADAL" clId="{9344D105-636D-4857-BD0F-AFC44A54BCCF}" dt="2021-05-25T12:05:21.985" v="17822"/>
          <ac:spMkLst>
            <pc:docMk/>
            <pc:sldMk cId="759424876" sldId="10484"/>
            <ac:spMk id="8" creationId="{48FD950D-C660-4E07-9A27-64F5FE832B1D}"/>
          </ac:spMkLst>
        </pc:spChg>
        <pc:spChg chg="mod ord">
          <ac:chgData name="Ugo MANTEL" userId="2d5b7065-31bb-4181-a7f8-a73bf0c30211" providerId="ADAL" clId="{9344D105-636D-4857-BD0F-AFC44A54BCCF}" dt="2021-05-25T14:20:11.572" v="28260" actId="790"/>
          <ac:spMkLst>
            <pc:docMk/>
            <pc:sldMk cId="759424876" sldId="10484"/>
            <ac:spMk id="10" creationId="{8B80541E-0CB8-4F46-AA31-1D2CE8ECE50F}"/>
          </ac:spMkLst>
        </pc:spChg>
        <pc:spChg chg="mod ord">
          <ac:chgData name="Ugo MANTEL" userId="2d5b7065-31bb-4181-a7f8-a73bf0c30211" providerId="ADAL" clId="{9344D105-636D-4857-BD0F-AFC44A54BCCF}" dt="2021-05-25T14:20:11.565" v="28253" actId="790"/>
          <ac:spMkLst>
            <pc:docMk/>
            <pc:sldMk cId="759424876" sldId="10484"/>
            <ac:spMk id="12" creationId="{5632CA9B-96AD-46F9-9A8A-B6E6800443DD}"/>
          </ac:spMkLst>
        </pc:spChg>
        <pc:spChg chg="mod ord">
          <ac:chgData name="Ugo MANTEL" userId="2d5b7065-31bb-4181-a7f8-a73bf0c30211" providerId="ADAL" clId="{9344D105-636D-4857-BD0F-AFC44A54BCCF}" dt="2021-05-25T14:20:11.571" v="28258" actId="790"/>
          <ac:spMkLst>
            <pc:docMk/>
            <pc:sldMk cId="759424876" sldId="10484"/>
            <ac:spMk id="13" creationId="{8A47A578-76B7-48A6-B910-8A54E9BC3C53}"/>
          </ac:spMkLst>
        </pc:spChg>
        <pc:spChg chg="mod ord">
          <ac:chgData name="Ugo MANTEL" userId="2d5b7065-31bb-4181-a7f8-a73bf0c30211" providerId="ADAL" clId="{9344D105-636D-4857-BD0F-AFC44A54BCCF}" dt="2021-05-25T14:20:11.571" v="28259" actId="790"/>
          <ac:spMkLst>
            <pc:docMk/>
            <pc:sldMk cId="759424876" sldId="10484"/>
            <ac:spMk id="16" creationId="{4FCCDEAF-F1D6-472C-8877-BCF7D817DF4C}"/>
          </ac:spMkLst>
        </pc:spChg>
        <pc:spChg chg="mod ord">
          <ac:chgData name="Ugo MANTEL" userId="2d5b7065-31bb-4181-a7f8-a73bf0c30211" providerId="ADAL" clId="{9344D105-636D-4857-BD0F-AFC44A54BCCF}" dt="2021-05-25T14:20:11.583" v="28270" actId="790"/>
          <ac:spMkLst>
            <pc:docMk/>
            <pc:sldMk cId="759424876" sldId="10484"/>
            <ac:spMk id="21" creationId="{58337BA2-B7F0-4432-B9BF-C085B3E8B7D0}"/>
          </ac:spMkLst>
        </pc:spChg>
        <pc:spChg chg="mod ord">
          <ac:chgData name="Ugo MANTEL" userId="2d5b7065-31bb-4181-a7f8-a73bf0c30211" providerId="ADAL" clId="{9344D105-636D-4857-BD0F-AFC44A54BCCF}" dt="2021-05-25T14:20:11.583" v="28271" actId="790"/>
          <ac:spMkLst>
            <pc:docMk/>
            <pc:sldMk cId="759424876" sldId="10484"/>
            <ac:spMk id="23" creationId="{CAB7DE97-987C-4E1B-AC28-72D620F2E2AC}"/>
          </ac:spMkLst>
        </pc:spChg>
        <pc:spChg chg="add del mod ord">
          <ac:chgData name="Ugo MANTEL" userId="2d5b7065-31bb-4181-a7f8-a73bf0c30211" providerId="ADAL" clId="{9344D105-636D-4857-BD0F-AFC44A54BCCF}" dt="2021-05-25T12:51:27.133" v="18511" actId="478"/>
          <ac:spMkLst>
            <pc:docMk/>
            <pc:sldMk cId="759424876" sldId="10484"/>
            <ac:spMk id="43" creationId="{BB9586A4-6BCE-4366-AD57-C5F6C122677B}"/>
          </ac:spMkLst>
        </pc:spChg>
        <pc:spChg chg="add mod ord">
          <ac:chgData name="Ugo MANTEL" userId="2d5b7065-31bb-4181-a7f8-a73bf0c30211" providerId="ADAL" clId="{9344D105-636D-4857-BD0F-AFC44A54BCCF}" dt="2021-05-25T09:32:24.097" v="13103"/>
          <ac:spMkLst>
            <pc:docMk/>
            <pc:sldMk cId="759424876" sldId="10484"/>
            <ac:spMk id="44" creationId="{F38886BD-3EA8-4C8C-B8A7-A3EE27C99E95}"/>
          </ac:spMkLst>
        </pc:spChg>
        <pc:spChg chg="add mod ord">
          <ac:chgData name="Ugo MANTEL" userId="2d5b7065-31bb-4181-a7f8-a73bf0c30211" providerId="ADAL" clId="{9344D105-636D-4857-BD0F-AFC44A54BCCF}" dt="2021-05-25T09:32:24.097" v="13105"/>
          <ac:spMkLst>
            <pc:docMk/>
            <pc:sldMk cId="759424876" sldId="10484"/>
            <ac:spMk id="46" creationId="{613854C0-41FB-4793-A926-013116906F74}"/>
          </ac:spMkLst>
        </pc:spChg>
        <pc:spChg chg="add mod ord">
          <ac:chgData name="Ugo MANTEL" userId="2d5b7065-31bb-4181-a7f8-a73bf0c30211" providerId="ADAL" clId="{9344D105-636D-4857-BD0F-AFC44A54BCCF}" dt="2021-05-25T09:32:24.097" v="13107"/>
          <ac:spMkLst>
            <pc:docMk/>
            <pc:sldMk cId="759424876" sldId="10484"/>
            <ac:spMk id="48" creationId="{861DED23-BE9B-46D1-9533-3FCD9429D651}"/>
          </ac:spMkLst>
        </pc:spChg>
        <pc:spChg chg="add mod ord">
          <ac:chgData name="Ugo MANTEL" userId="2d5b7065-31bb-4181-a7f8-a73bf0c30211" providerId="ADAL" clId="{9344D105-636D-4857-BD0F-AFC44A54BCCF}" dt="2021-05-25T09:32:24.097" v="13109"/>
          <ac:spMkLst>
            <pc:docMk/>
            <pc:sldMk cId="759424876" sldId="10484"/>
            <ac:spMk id="49" creationId="{928EFC8E-B0F8-4EF7-9019-657647200466}"/>
          </ac:spMkLst>
        </pc:spChg>
        <pc:spChg chg="mod ord">
          <ac:chgData name="Ugo MANTEL" userId="2d5b7065-31bb-4181-a7f8-a73bf0c30211" providerId="ADAL" clId="{9344D105-636D-4857-BD0F-AFC44A54BCCF}" dt="2021-05-25T14:20:11.567" v="28255" actId="790"/>
          <ac:spMkLst>
            <pc:docMk/>
            <pc:sldMk cId="759424876" sldId="10484"/>
            <ac:spMk id="50" creationId="{3D11D9AD-56B2-4FD0-998A-C3C17321490E}"/>
          </ac:spMkLst>
        </pc:spChg>
        <pc:spChg chg="mod ord">
          <ac:chgData name="Ugo MANTEL" userId="2d5b7065-31bb-4181-a7f8-a73bf0c30211" providerId="ADAL" clId="{9344D105-636D-4857-BD0F-AFC44A54BCCF}" dt="2021-05-25T14:20:11.568" v="28256" actId="790"/>
          <ac:spMkLst>
            <pc:docMk/>
            <pc:sldMk cId="759424876" sldId="10484"/>
            <ac:spMk id="51" creationId="{ABA09096-B3E8-4754-A77D-65D350688B5B}"/>
          </ac:spMkLst>
        </pc:spChg>
        <pc:spChg chg="mod ord">
          <ac:chgData name="Ugo MANTEL" userId="2d5b7065-31bb-4181-a7f8-a73bf0c30211" providerId="ADAL" clId="{9344D105-636D-4857-BD0F-AFC44A54BCCF}" dt="2021-05-25T14:20:11.570" v="28257" actId="790"/>
          <ac:spMkLst>
            <pc:docMk/>
            <pc:sldMk cId="759424876" sldId="10484"/>
            <ac:spMk id="52" creationId="{269DE5CB-BABB-4CE5-BFC8-CA5EE268E23C}"/>
          </ac:spMkLst>
        </pc:spChg>
        <pc:spChg chg="mod ord">
          <ac:chgData name="Ugo MANTEL" userId="2d5b7065-31bb-4181-a7f8-a73bf0c30211" providerId="ADAL" clId="{9344D105-636D-4857-BD0F-AFC44A54BCCF}" dt="2021-05-25T14:20:11.589" v="28279" actId="790"/>
          <ac:spMkLst>
            <pc:docMk/>
            <pc:sldMk cId="759424876" sldId="10484"/>
            <ac:spMk id="53" creationId="{E78B608F-6BB5-42D9-B674-E79A1AA2E5CC}"/>
          </ac:spMkLst>
        </pc:spChg>
        <pc:spChg chg="mod ord">
          <ac:chgData name="Ugo MANTEL" userId="2d5b7065-31bb-4181-a7f8-a73bf0c30211" providerId="ADAL" clId="{9344D105-636D-4857-BD0F-AFC44A54BCCF}" dt="2021-05-25T14:20:11.573" v="28261" actId="790"/>
          <ac:spMkLst>
            <pc:docMk/>
            <pc:sldMk cId="759424876" sldId="10484"/>
            <ac:spMk id="54" creationId="{A1ED7959-6972-4CA1-87DE-4A9E265D1EE1}"/>
          </ac:spMkLst>
        </pc:spChg>
        <pc:spChg chg="add mod ord">
          <ac:chgData name="Ugo MANTEL" userId="2d5b7065-31bb-4181-a7f8-a73bf0c30211" providerId="ADAL" clId="{9344D105-636D-4857-BD0F-AFC44A54BCCF}" dt="2021-05-25T09:32:24.097" v="13111"/>
          <ac:spMkLst>
            <pc:docMk/>
            <pc:sldMk cId="759424876" sldId="10484"/>
            <ac:spMk id="55" creationId="{454FD832-86EA-4FB5-BCE0-40BE6035FBB7}"/>
          </ac:spMkLst>
        </pc:spChg>
        <pc:spChg chg="add mod ord">
          <ac:chgData name="Ugo MANTEL" userId="2d5b7065-31bb-4181-a7f8-a73bf0c30211" providerId="ADAL" clId="{9344D105-636D-4857-BD0F-AFC44A54BCCF}" dt="2021-05-25T14:20:11.590" v="28280" actId="790"/>
          <ac:spMkLst>
            <pc:docMk/>
            <pc:sldMk cId="759424876" sldId="10484"/>
            <ac:spMk id="56" creationId="{AE85852A-DB47-48AD-B7A5-3CBDC3B312F9}"/>
          </ac:spMkLst>
        </pc:spChg>
        <pc:spChg chg="del mod ord">
          <ac:chgData name="Ugo MANTEL" userId="2d5b7065-31bb-4181-a7f8-a73bf0c30211" providerId="ADAL" clId="{9344D105-636D-4857-BD0F-AFC44A54BCCF}" dt="2021-05-25T12:13:06.094" v="17947" actId="478"/>
          <ac:spMkLst>
            <pc:docMk/>
            <pc:sldMk cId="759424876" sldId="10484"/>
            <ac:spMk id="57" creationId="{D30E4BB8-C603-4557-971A-35F504DB7076}"/>
          </ac:spMkLst>
        </pc:spChg>
        <pc:spChg chg="add del mod ord">
          <ac:chgData name="Ugo MANTEL" userId="2d5b7065-31bb-4181-a7f8-a73bf0c30211" providerId="ADAL" clId="{9344D105-636D-4857-BD0F-AFC44A54BCCF}" dt="2021-05-25T13:02:53.155" v="18938" actId="478"/>
          <ac:spMkLst>
            <pc:docMk/>
            <pc:sldMk cId="759424876" sldId="10484"/>
            <ac:spMk id="58" creationId="{2174EDDC-5441-40F7-895F-4A63613B1975}"/>
          </ac:spMkLst>
        </pc:spChg>
        <pc:spChg chg="mod ord">
          <ac:chgData name="Ugo MANTEL" userId="2d5b7065-31bb-4181-a7f8-a73bf0c30211" providerId="ADAL" clId="{9344D105-636D-4857-BD0F-AFC44A54BCCF}" dt="2021-05-25T14:20:11.590" v="28281" actId="790"/>
          <ac:spMkLst>
            <pc:docMk/>
            <pc:sldMk cId="759424876" sldId="10484"/>
            <ac:spMk id="59" creationId="{3FF372DA-3A4F-4D30-9647-F68EBA31134B}"/>
          </ac:spMkLst>
        </pc:spChg>
        <pc:spChg chg="mod ord">
          <ac:chgData name="Ugo MANTEL" userId="2d5b7065-31bb-4181-a7f8-a73bf0c30211" providerId="ADAL" clId="{9344D105-636D-4857-BD0F-AFC44A54BCCF}" dt="2021-05-25T14:20:11.591" v="28282" actId="790"/>
          <ac:spMkLst>
            <pc:docMk/>
            <pc:sldMk cId="759424876" sldId="10484"/>
            <ac:spMk id="60" creationId="{8C771C11-3CE4-467E-A789-0F72C6CF98E2}"/>
          </ac:spMkLst>
        </pc:spChg>
        <pc:spChg chg="mod ord">
          <ac:chgData name="Ugo MANTEL" userId="2d5b7065-31bb-4181-a7f8-a73bf0c30211" providerId="ADAL" clId="{9344D105-636D-4857-BD0F-AFC44A54BCCF}" dt="2021-05-25T14:20:11.574" v="28262" actId="790"/>
          <ac:spMkLst>
            <pc:docMk/>
            <pc:sldMk cId="759424876" sldId="10484"/>
            <ac:spMk id="61" creationId="{0CCFF1A2-CE09-4311-BD82-2FC01C7F8607}"/>
          </ac:spMkLst>
        </pc:spChg>
        <pc:spChg chg="add del mod ord">
          <ac:chgData name="Ugo MANTEL" userId="2d5b7065-31bb-4181-a7f8-a73bf0c30211" providerId="ADAL" clId="{9344D105-636D-4857-BD0F-AFC44A54BCCF}" dt="2021-05-25T13:02:53.155" v="18938" actId="478"/>
          <ac:spMkLst>
            <pc:docMk/>
            <pc:sldMk cId="759424876" sldId="10484"/>
            <ac:spMk id="62" creationId="{2C8FE6D1-23E3-4CB8-B27C-196331966A0B}"/>
          </ac:spMkLst>
        </pc:spChg>
        <pc:spChg chg="add del mod ord">
          <ac:chgData name="Ugo MANTEL" userId="2d5b7065-31bb-4181-a7f8-a73bf0c30211" providerId="ADAL" clId="{9344D105-636D-4857-BD0F-AFC44A54BCCF}" dt="2021-05-25T13:02:53.155" v="18938" actId="478"/>
          <ac:spMkLst>
            <pc:docMk/>
            <pc:sldMk cId="759424876" sldId="10484"/>
            <ac:spMk id="63" creationId="{DAA8F103-AE66-40F9-A421-7CC4FB825DC2}"/>
          </ac:spMkLst>
        </pc:spChg>
        <pc:spChg chg="add mod">
          <ac:chgData name="Ugo MANTEL" userId="2d5b7065-31bb-4181-a7f8-a73bf0c30211" providerId="ADAL" clId="{9344D105-636D-4857-BD0F-AFC44A54BCCF}" dt="2021-05-25T11:33:07.255" v="17650" actId="20577"/>
          <ac:spMkLst>
            <pc:docMk/>
            <pc:sldMk cId="759424876" sldId="10484"/>
            <ac:spMk id="64" creationId="{77FF5214-2A97-4273-BCE7-1883F9269986}"/>
          </ac:spMkLst>
        </pc:spChg>
        <pc:spChg chg="mod ord">
          <ac:chgData name="Ugo MANTEL" userId="2d5b7065-31bb-4181-a7f8-a73bf0c30211" providerId="ADAL" clId="{9344D105-636D-4857-BD0F-AFC44A54BCCF}" dt="2021-05-25T14:20:11.594" v="28286" actId="790"/>
          <ac:spMkLst>
            <pc:docMk/>
            <pc:sldMk cId="759424876" sldId="10484"/>
            <ac:spMk id="64" creationId="{C95674C3-8BB6-44D2-98D4-0AF094FC0371}"/>
          </ac:spMkLst>
        </pc:spChg>
        <pc:spChg chg="mod ord">
          <ac:chgData name="Ugo MANTEL" userId="2d5b7065-31bb-4181-a7f8-a73bf0c30211" providerId="ADAL" clId="{9344D105-636D-4857-BD0F-AFC44A54BCCF}" dt="2021-05-25T14:20:11.596" v="28288" actId="790"/>
          <ac:spMkLst>
            <pc:docMk/>
            <pc:sldMk cId="759424876" sldId="10484"/>
            <ac:spMk id="65" creationId="{D2A60E99-738E-48FF-B6C6-2F6E2F2271DE}"/>
          </ac:spMkLst>
        </pc:spChg>
        <pc:spChg chg="mod ord">
          <ac:chgData name="Ugo MANTEL" userId="2d5b7065-31bb-4181-a7f8-a73bf0c30211" providerId="ADAL" clId="{9344D105-636D-4857-BD0F-AFC44A54BCCF}" dt="2021-05-25T14:20:11.595" v="28287" actId="790"/>
          <ac:spMkLst>
            <pc:docMk/>
            <pc:sldMk cId="759424876" sldId="10484"/>
            <ac:spMk id="66" creationId="{EA497D45-3836-486D-AC95-55683BED412E}"/>
          </ac:spMkLst>
        </pc:spChg>
        <pc:spChg chg="add mod ord">
          <ac:chgData name="Ugo MANTEL" userId="2d5b7065-31bb-4181-a7f8-a73bf0c30211" providerId="ADAL" clId="{9344D105-636D-4857-BD0F-AFC44A54BCCF}" dt="2021-05-25T14:20:11.592" v="28283" actId="790"/>
          <ac:spMkLst>
            <pc:docMk/>
            <pc:sldMk cId="759424876" sldId="10484"/>
            <ac:spMk id="67" creationId="{1C4E990E-8E89-45A0-AC76-02D2BCF8FE7D}"/>
          </ac:spMkLst>
        </pc:spChg>
        <pc:spChg chg="mod ord">
          <ac:chgData name="Ugo MANTEL" userId="2d5b7065-31bb-4181-a7f8-a73bf0c30211" providerId="ADAL" clId="{9344D105-636D-4857-BD0F-AFC44A54BCCF}" dt="2021-05-25T14:20:11.575" v="28263" actId="790"/>
          <ac:spMkLst>
            <pc:docMk/>
            <pc:sldMk cId="759424876" sldId="10484"/>
            <ac:spMk id="68" creationId="{A5346155-53F6-4492-8069-514F081C33B9}"/>
          </ac:spMkLst>
        </pc:spChg>
        <pc:spChg chg="add mod ord">
          <ac:chgData name="Ugo MANTEL" userId="2d5b7065-31bb-4181-a7f8-a73bf0c30211" providerId="ADAL" clId="{9344D105-636D-4857-BD0F-AFC44A54BCCF}" dt="2021-05-25T14:20:11.593" v="28284" actId="790"/>
          <ac:spMkLst>
            <pc:docMk/>
            <pc:sldMk cId="759424876" sldId="10484"/>
            <ac:spMk id="69" creationId="{5A30C23A-C7FE-49B2-BC9B-2CAFEF1C8565}"/>
          </ac:spMkLst>
        </pc:spChg>
        <pc:spChg chg="add mod ord">
          <ac:chgData name="Ugo MANTEL" userId="2d5b7065-31bb-4181-a7f8-a73bf0c30211" providerId="ADAL" clId="{9344D105-636D-4857-BD0F-AFC44A54BCCF}" dt="2021-05-25T14:20:11.594" v="28285" actId="790"/>
          <ac:spMkLst>
            <pc:docMk/>
            <pc:sldMk cId="759424876" sldId="10484"/>
            <ac:spMk id="70" creationId="{AFE2124A-B375-42E6-858E-25A0046656BC}"/>
          </ac:spMkLst>
        </pc:spChg>
        <pc:spChg chg="add mod">
          <ac:chgData name="Ugo MANTEL" userId="2d5b7065-31bb-4181-a7f8-a73bf0c30211" providerId="ADAL" clId="{9344D105-636D-4857-BD0F-AFC44A54BCCF}" dt="2021-05-25T12:16:19.091" v="18061" actId="571"/>
          <ac:spMkLst>
            <pc:docMk/>
            <pc:sldMk cId="759424876" sldId="10484"/>
            <ac:spMk id="71" creationId="{42F295D8-2F97-4CB7-A256-3ADB5B940D47}"/>
          </ac:spMkLst>
        </pc:spChg>
        <pc:spChg chg="add mod">
          <ac:chgData name="Ugo MANTEL" userId="2d5b7065-31bb-4181-a7f8-a73bf0c30211" providerId="ADAL" clId="{9344D105-636D-4857-BD0F-AFC44A54BCCF}" dt="2021-05-25T12:16:19.091" v="18061" actId="571"/>
          <ac:spMkLst>
            <pc:docMk/>
            <pc:sldMk cId="759424876" sldId="10484"/>
            <ac:spMk id="72" creationId="{0FDCCC5C-18EB-4EEF-99E1-20355980BFAF}"/>
          </ac:spMkLst>
        </pc:spChg>
        <pc:spChg chg="mod ord">
          <ac:chgData name="Ugo MANTEL" userId="2d5b7065-31bb-4181-a7f8-a73bf0c30211" providerId="ADAL" clId="{9344D105-636D-4857-BD0F-AFC44A54BCCF}" dt="2021-05-25T14:20:11.575" v="28264" actId="790"/>
          <ac:spMkLst>
            <pc:docMk/>
            <pc:sldMk cId="759424876" sldId="10484"/>
            <ac:spMk id="73" creationId="{98DD9878-7EFD-4EE3-8563-0AB6CA847BCD}"/>
          </ac:spMkLst>
        </pc:spChg>
        <pc:spChg chg="add mod">
          <ac:chgData name="Ugo MANTEL" userId="2d5b7065-31bb-4181-a7f8-a73bf0c30211" providerId="ADAL" clId="{9344D105-636D-4857-BD0F-AFC44A54BCCF}" dt="2021-05-25T14:20:11.597" v="28289" actId="790"/>
          <ac:spMkLst>
            <pc:docMk/>
            <pc:sldMk cId="759424876" sldId="10484"/>
            <ac:spMk id="74" creationId="{1AD49906-0481-409A-9D9E-AA75C6109471}"/>
          </ac:spMkLst>
        </pc:spChg>
        <pc:spChg chg="mod ord">
          <ac:chgData name="Ugo MANTEL" userId="2d5b7065-31bb-4181-a7f8-a73bf0c30211" providerId="ADAL" clId="{9344D105-636D-4857-BD0F-AFC44A54BCCF}" dt="2021-05-25T14:20:11.578" v="28265" actId="790"/>
          <ac:spMkLst>
            <pc:docMk/>
            <pc:sldMk cId="759424876" sldId="10484"/>
            <ac:spMk id="78" creationId="{5112757C-9BF4-4BA1-9498-541BF2906FB2}"/>
          </ac:spMkLst>
        </pc:spChg>
        <pc:spChg chg="mod ord">
          <ac:chgData name="Ugo MANTEL" userId="2d5b7065-31bb-4181-a7f8-a73bf0c30211" providerId="ADAL" clId="{9344D105-636D-4857-BD0F-AFC44A54BCCF}" dt="2021-05-25T14:20:11.579" v="28266" actId="790"/>
          <ac:spMkLst>
            <pc:docMk/>
            <pc:sldMk cId="759424876" sldId="10484"/>
            <ac:spMk id="79" creationId="{03A27743-6F0C-44CB-A476-520C8741EAE9}"/>
          </ac:spMkLst>
        </pc:spChg>
        <pc:spChg chg="mod ord">
          <ac:chgData name="Ugo MANTEL" userId="2d5b7065-31bb-4181-a7f8-a73bf0c30211" providerId="ADAL" clId="{9344D105-636D-4857-BD0F-AFC44A54BCCF}" dt="2021-05-25T14:20:11.580" v="28267" actId="790"/>
          <ac:spMkLst>
            <pc:docMk/>
            <pc:sldMk cId="759424876" sldId="10484"/>
            <ac:spMk id="80" creationId="{E399A358-1215-4FA3-8339-9689B70175BF}"/>
          </ac:spMkLst>
        </pc:spChg>
        <pc:spChg chg="mod ord">
          <ac:chgData name="Ugo MANTEL" userId="2d5b7065-31bb-4181-a7f8-a73bf0c30211" providerId="ADAL" clId="{9344D105-636D-4857-BD0F-AFC44A54BCCF}" dt="2021-05-25T14:20:11.584" v="28272" actId="790"/>
          <ac:spMkLst>
            <pc:docMk/>
            <pc:sldMk cId="759424876" sldId="10484"/>
            <ac:spMk id="81" creationId="{60F8FC4C-7305-426C-8523-F98FB2B728B2}"/>
          </ac:spMkLst>
        </pc:spChg>
        <pc:spChg chg="mod ord">
          <ac:chgData name="Ugo MANTEL" userId="2d5b7065-31bb-4181-a7f8-a73bf0c30211" providerId="ADAL" clId="{9344D105-636D-4857-BD0F-AFC44A54BCCF}" dt="2021-05-25T14:20:11.581" v="28268" actId="790"/>
          <ac:spMkLst>
            <pc:docMk/>
            <pc:sldMk cId="759424876" sldId="10484"/>
            <ac:spMk id="82" creationId="{378DC2D4-4EBE-4118-8C40-86863555C037}"/>
          </ac:spMkLst>
        </pc:spChg>
        <pc:spChg chg="mod">
          <ac:chgData name="Ugo MANTEL" userId="2d5b7065-31bb-4181-a7f8-a73bf0c30211" providerId="ADAL" clId="{9344D105-636D-4857-BD0F-AFC44A54BCCF}" dt="2021-05-25T11:19:12.119" v="17439" actId="1076"/>
          <ac:spMkLst>
            <pc:docMk/>
            <pc:sldMk cId="759424876" sldId="10484"/>
            <ac:spMk id="84" creationId="{3C53EFB8-8D77-4743-B5E2-D02A8132C2B0}"/>
          </ac:spMkLst>
        </pc:spChg>
        <pc:spChg chg="mod ord">
          <ac:chgData name="Ugo MANTEL" userId="2d5b7065-31bb-4181-a7f8-a73bf0c30211" providerId="ADAL" clId="{9344D105-636D-4857-BD0F-AFC44A54BCCF}" dt="2021-05-25T14:20:11.585" v="28273" actId="790"/>
          <ac:spMkLst>
            <pc:docMk/>
            <pc:sldMk cId="759424876" sldId="10484"/>
            <ac:spMk id="86" creationId="{5426AF42-AB87-4AFB-94AB-DD1D8EF561A6}"/>
          </ac:spMkLst>
        </pc:spChg>
        <pc:spChg chg="mod ord">
          <ac:chgData name="Ugo MANTEL" userId="2d5b7065-31bb-4181-a7f8-a73bf0c30211" providerId="ADAL" clId="{9344D105-636D-4857-BD0F-AFC44A54BCCF}" dt="2021-05-25T14:20:11.588" v="28277" actId="790"/>
          <ac:spMkLst>
            <pc:docMk/>
            <pc:sldMk cId="759424876" sldId="10484"/>
            <ac:spMk id="104" creationId="{84D904D1-6FD7-411F-9055-7BDDD6F8D510}"/>
          </ac:spMkLst>
        </pc:spChg>
        <pc:spChg chg="mod ord">
          <ac:chgData name="Ugo MANTEL" userId="2d5b7065-31bb-4181-a7f8-a73bf0c30211" providerId="ADAL" clId="{9344D105-636D-4857-BD0F-AFC44A54BCCF}" dt="2021-05-25T14:20:11.589" v="28278" actId="790"/>
          <ac:spMkLst>
            <pc:docMk/>
            <pc:sldMk cId="759424876" sldId="10484"/>
            <ac:spMk id="107" creationId="{E4B14101-5119-4FB2-BCD9-4C0E7BEAF957}"/>
          </ac:spMkLst>
        </pc:spChg>
        <pc:spChg chg="mod ord">
          <ac:chgData name="Ugo MANTEL" userId="2d5b7065-31bb-4181-a7f8-a73bf0c30211" providerId="ADAL" clId="{9344D105-636D-4857-BD0F-AFC44A54BCCF}" dt="2021-05-25T14:20:11.582" v="28269" actId="790"/>
          <ac:spMkLst>
            <pc:docMk/>
            <pc:sldMk cId="759424876" sldId="10484"/>
            <ac:spMk id="109" creationId="{E8BE3BCE-A832-4D22-9958-D819266EA290}"/>
          </ac:spMkLst>
        </pc:spChg>
        <pc:spChg chg="mod ord">
          <ac:chgData name="Ugo MANTEL" userId="2d5b7065-31bb-4181-a7f8-a73bf0c30211" providerId="ADAL" clId="{9344D105-636D-4857-BD0F-AFC44A54BCCF}" dt="2021-05-25T14:20:11.586" v="28274" actId="790"/>
          <ac:spMkLst>
            <pc:docMk/>
            <pc:sldMk cId="759424876" sldId="10484"/>
            <ac:spMk id="114" creationId="{EF7E7272-A5E8-48AE-AF6F-C99EB6336D02}"/>
          </ac:spMkLst>
        </pc:spChg>
        <pc:spChg chg="mod ord">
          <ac:chgData name="Ugo MANTEL" userId="2d5b7065-31bb-4181-a7f8-a73bf0c30211" providerId="ADAL" clId="{9344D105-636D-4857-BD0F-AFC44A54BCCF}" dt="2021-05-25T14:20:11.587" v="28275" actId="790"/>
          <ac:spMkLst>
            <pc:docMk/>
            <pc:sldMk cId="759424876" sldId="10484"/>
            <ac:spMk id="115" creationId="{E4406749-7A4A-41F0-A850-CE3465C20F17}"/>
          </ac:spMkLst>
        </pc:spChg>
        <pc:spChg chg="mod ord">
          <ac:chgData name="Ugo MANTEL" userId="2d5b7065-31bb-4181-a7f8-a73bf0c30211" providerId="ADAL" clId="{9344D105-636D-4857-BD0F-AFC44A54BCCF}" dt="2021-05-25T14:20:11.587" v="28276" actId="790"/>
          <ac:spMkLst>
            <pc:docMk/>
            <pc:sldMk cId="759424876" sldId="10484"/>
            <ac:spMk id="116" creationId="{2806627C-A398-4592-B3EB-4C56D0420050}"/>
          </ac:spMkLst>
        </pc:spChg>
        <pc:grpChg chg="del mod">
          <ac:chgData name="Ugo MANTEL" userId="2d5b7065-31bb-4181-a7f8-a73bf0c30211" providerId="ADAL" clId="{9344D105-636D-4857-BD0F-AFC44A54BCCF}" dt="2021-05-25T12:06:35.208" v="17852" actId="478"/>
          <ac:grpSpMkLst>
            <pc:docMk/>
            <pc:sldMk cId="759424876" sldId="10484"/>
            <ac:grpSpMk id="45" creationId="{014FDE40-AF87-4398-AF77-3BDA3430198D}"/>
          </ac:grpSpMkLst>
        </pc:grpChg>
        <pc:graphicFrameChg chg="mod">
          <ac:chgData name="Ugo MANTEL" userId="2d5b7065-31bb-4181-a7f8-a73bf0c30211" providerId="ADAL" clId="{9344D105-636D-4857-BD0F-AFC44A54BCCF}" dt="2021-05-25T12:15:59.014" v="18057"/>
          <ac:graphicFrameMkLst>
            <pc:docMk/>
            <pc:sldMk cId="759424876" sldId="10484"/>
            <ac:graphicFrameMk id="18" creationId="{597710FC-936F-4224-8A0A-F67D6B18BBF7}"/>
          </ac:graphicFrameMkLst>
        </pc:graphicFrameChg>
        <pc:picChg chg="mod ord">
          <ac:chgData name="Ugo MANTEL" userId="2d5b7065-31bb-4181-a7f8-a73bf0c30211" providerId="ADAL" clId="{9344D105-636D-4857-BD0F-AFC44A54BCCF}" dt="2021-05-25T12:15:59.004" v="17981"/>
          <ac:picMkLst>
            <pc:docMk/>
            <pc:sldMk cId="759424876" sldId="10484"/>
            <ac:picMk id="15" creationId="{935E79BD-263C-469E-9BC7-F35F98D47CCF}"/>
          </ac:picMkLst>
        </pc:picChg>
        <pc:picChg chg="mod ord">
          <ac:chgData name="Ugo MANTEL" userId="2d5b7065-31bb-4181-a7f8-a73bf0c30211" providerId="ADAL" clId="{9344D105-636D-4857-BD0F-AFC44A54BCCF}" dt="2021-05-25T12:15:59.014" v="18009"/>
          <ac:picMkLst>
            <pc:docMk/>
            <pc:sldMk cId="759424876" sldId="10484"/>
            <ac:picMk id="29" creationId="{BED356B1-5299-4B02-9B34-333246151A62}"/>
          </ac:picMkLst>
        </pc:picChg>
        <pc:picChg chg="mod ord">
          <ac:chgData name="Ugo MANTEL" userId="2d5b7065-31bb-4181-a7f8-a73bf0c30211" providerId="ADAL" clId="{9344D105-636D-4857-BD0F-AFC44A54BCCF}" dt="2021-05-25T12:15:59.014" v="18015"/>
          <ac:picMkLst>
            <pc:docMk/>
            <pc:sldMk cId="759424876" sldId="10484"/>
            <ac:picMk id="47" creationId="{A8AD543B-38C9-44F4-BE59-CEE06D9FC367}"/>
          </ac:picMkLst>
        </pc:picChg>
        <pc:cxnChg chg="mod">
          <ac:chgData name="Ugo MANTEL" userId="2d5b7065-31bb-4181-a7f8-a73bf0c30211" providerId="ADAL" clId="{9344D105-636D-4857-BD0F-AFC44A54BCCF}" dt="2021-05-25T11:19:12.119" v="17439" actId="1076"/>
          <ac:cxnSpMkLst>
            <pc:docMk/>
            <pc:sldMk cId="759424876" sldId="10484"/>
            <ac:cxnSpMk id="101" creationId="{AA90C460-6CF1-4DB5-8C11-E122F31BD388}"/>
          </ac:cxnSpMkLst>
        </pc:cxnChg>
        <pc:cxnChg chg="mod">
          <ac:chgData name="Ugo MANTEL" userId="2d5b7065-31bb-4181-a7f8-a73bf0c30211" providerId="ADAL" clId="{9344D105-636D-4857-BD0F-AFC44A54BCCF}" dt="2021-05-25T11:19:12.119" v="17439" actId="1076"/>
          <ac:cxnSpMkLst>
            <pc:docMk/>
            <pc:sldMk cId="759424876" sldId="10484"/>
            <ac:cxnSpMk id="102" creationId="{1199AD81-7087-4482-8DDE-CE8EA7086463}"/>
          </ac:cxnSpMkLst>
        </pc:cxnChg>
        <pc:cxnChg chg="mod">
          <ac:chgData name="Ugo MANTEL" userId="2d5b7065-31bb-4181-a7f8-a73bf0c30211" providerId="ADAL" clId="{9344D105-636D-4857-BD0F-AFC44A54BCCF}" dt="2021-05-25T11:19:12.119" v="17439" actId="1076"/>
          <ac:cxnSpMkLst>
            <pc:docMk/>
            <pc:sldMk cId="759424876" sldId="10484"/>
            <ac:cxnSpMk id="103" creationId="{97BB649C-848C-44F9-BF97-A33A71CB7403}"/>
          </ac:cxnSpMkLst>
        </pc:cxnChg>
      </pc:sldChg>
      <pc:sldChg chg="addSp delSp modSp add mod">
        <pc:chgData name="Ugo MANTEL" userId="2d5b7065-31bb-4181-a7f8-a73bf0c30211" providerId="ADAL" clId="{9344D105-636D-4857-BD0F-AFC44A54BCCF}" dt="2021-05-25T14:20:11.649" v="28336" actId="790"/>
        <pc:sldMkLst>
          <pc:docMk/>
          <pc:sldMk cId="85178067" sldId="10485"/>
        </pc:sldMkLst>
        <pc:spChg chg="mod ord">
          <ac:chgData name="Ugo MANTEL" userId="2d5b7065-31bb-4181-a7f8-a73bf0c30211" providerId="ADAL" clId="{9344D105-636D-4857-BD0F-AFC44A54BCCF}" dt="2021-05-25T14:20:11.599" v="28291" actId="790"/>
          <ac:spMkLst>
            <pc:docMk/>
            <pc:sldMk cId="85178067" sldId="10485"/>
            <ac:spMk id="2" creationId="{BA3E4240-1B8B-4AAA-9DCA-9FE236464846}"/>
          </ac:spMkLst>
        </pc:spChg>
        <pc:spChg chg="add del mod modVis">
          <ac:chgData name="Ugo MANTEL" userId="2d5b7065-31bb-4181-a7f8-a73bf0c30211" providerId="ADAL" clId="{9344D105-636D-4857-BD0F-AFC44A54BCCF}" dt="2021-05-25T09:32:08.875" v="12937"/>
          <ac:spMkLst>
            <pc:docMk/>
            <pc:sldMk cId="85178067" sldId="10485"/>
            <ac:spMk id="3" creationId="{961B10D2-7C40-4BBC-ADCE-70BC2D43313D}"/>
          </ac:spMkLst>
        </pc:spChg>
        <pc:spChg chg="del mod">
          <ac:chgData name="Ugo MANTEL" userId="2d5b7065-31bb-4181-a7f8-a73bf0c30211" providerId="ADAL" clId="{9344D105-636D-4857-BD0F-AFC44A54BCCF}" dt="2021-05-25T12:58:05.577" v="18835" actId="478"/>
          <ac:spMkLst>
            <pc:docMk/>
            <pc:sldMk cId="85178067" sldId="10485"/>
            <ac:spMk id="3" creationId="{A8ADBFB1-D171-4D07-85A1-A99867969B78}"/>
          </ac:spMkLst>
        </pc:spChg>
        <pc:spChg chg="add del mod modVis">
          <ac:chgData name="Ugo MANTEL" userId="2d5b7065-31bb-4181-a7f8-a73bf0c30211" providerId="ADAL" clId="{9344D105-636D-4857-BD0F-AFC44A54BCCF}" dt="2021-05-25T09:35:27.764" v="13185"/>
          <ac:spMkLst>
            <pc:docMk/>
            <pc:sldMk cId="85178067" sldId="10485"/>
            <ac:spMk id="7" creationId="{D4C5E36E-3AED-44F8-AE5B-E39CAD831208}"/>
          </ac:spMkLst>
        </pc:spChg>
        <pc:spChg chg="add del mod modVis">
          <ac:chgData name="Ugo MANTEL" userId="2d5b7065-31bb-4181-a7f8-a73bf0c30211" providerId="ADAL" clId="{9344D105-636D-4857-BD0F-AFC44A54BCCF}" dt="2021-05-25T09:35:31.247" v="13242"/>
          <ac:spMkLst>
            <pc:docMk/>
            <pc:sldMk cId="85178067" sldId="10485"/>
            <ac:spMk id="8" creationId="{6C59DFAF-AF77-4F05-901B-08D9606B1A16}"/>
          </ac:spMkLst>
        </pc:spChg>
        <pc:spChg chg="add del mod modVis">
          <ac:chgData name="Ugo MANTEL" userId="2d5b7065-31bb-4181-a7f8-a73bf0c30211" providerId="ADAL" clId="{9344D105-636D-4857-BD0F-AFC44A54BCCF}" dt="2021-05-25T09:35:34.122" v="13286"/>
          <ac:spMkLst>
            <pc:docMk/>
            <pc:sldMk cId="85178067" sldId="10485"/>
            <ac:spMk id="9" creationId="{32ACF19E-3DBE-433F-9F3C-376A8E1515C8}"/>
          </ac:spMkLst>
        </pc:spChg>
        <pc:spChg chg="del mod or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0" creationId="{8B80541E-0CB8-4F46-AA31-1D2CE8ECE50F}"/>
          </ac:spMkLst>
        </pc:spChg>
        <pc:spChg chg="add del mod modVis">
          <ac:chgData name="Ugo MANTEL" userId="2d5b7065-31bb-4181-a7f8-a73bf0c30211" providerId="ADAL" clId="{9344D105-636D-4857-BD0F-AFC44A54BCCF}" dt="2021-05-25T09:35:38.025" v="13343"/>
          <ac:spMkLst>
            <pc:docMk/>
            <pc:sldMk cId="85178067" sldId="10485"/>
            <ac:spMk id="11" creationId="{4AB4EE46-0730-49A5-A302-B85BA6DA7C4A}"/>
          </ac:spMkLst>
        </pc:spChg>
        <pc:spChg chg="del mod or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2" creationId="{5632CA9B-96AD-46F9-9A8A-B6E6800443DD}"/>
          </ac:spMkLst>
        </pc:spChg>
        <pc:spChg chg="add del mod modVis">
          <ac:chgData name="Ugo MANTEL" userId="2d5b7065-31bb-4181-a7f8-a73bf0c30211" providerId="ADAL" clId="{9344D105-636D-4857-BD0F-AFC44A54BCCF}" dt="2021-05-25T09:35:39.347" v="13391"/>
          <ac:spMkLst>
            <pc:docMk/>
            <pc:sldMk cId="85178067" sldId="10485"/>
            <ac:spMk id="13" creationId="{5A29C1ED-288A-48B8-8465-68D136FB4CBA}"/>
          </ac:spMkLst>
        </pc:spChg>
        <pc:spChg chg="add del mod modVis">
          <ac:chgData name="Ugo MANTEL" userId="2d5b7065-31bb-4181-a7f8-a73bf0c30211" providerId="ADAL" clId="{9344D105-636D-4857-BD0F-AFC44A54BCCF}" dt="2021-05-25T09:35:48.188" v="13441"/>
          <ac:spMkLst>
            <pc:docMk/>
            <pc:sldMk cId="85178067" sldId="10485"/>
            <ac:spMk id="14" creationId="{845DD0AA-A7DA-4543-834A-C50D45CC7479}"/>
          </ac:spMkLst>
        </pc:spChg>
        <pc:spChg chg="add del mod modVis">
          <ac:chgData name="Ugo MANTEL" userId="2d5b7065-31bb-4181-a7f8-a73bf0c30211" providerId="ADAL" clId="{9344D105-636D-4857-BD0F-AFC44A54BCCF}" dt="2021-05-25T09:35:50.222" v="13506"/>
          <ac:spMkLst>
            <pc:docMk/>
            <pc:sldMk cId="85178067" sldId="10485"/>
            <ac:spMk id="15" creationId="{0A14AD11-1D38-40C0-87AF-F6EF5C186660}"/>
          </ac:spMkLst>
        </pc:spChg>
        <pc:spChg chg="add del mod modVis">
          <ac:chgData name="Ugo MANTEL" userId="2d5b7065-31bb-4181-a7f8-a73bf0c30211" providerId="ADAL" clId="{9344D105-636D-4857-BD0F-AFC44A54BCCF}" dt="2021-05-25T09:35:54.272" v="13573"/>
          <ac:spMkLst>
            <pc:docMk/>
            <pc:sldMk cId="85178067" sldId="10485"/>
            <ac:spMk id="16" creationId="{AF599C66-B5A0-4AE3-B04F-6B069AACE4CD}"/>
          </ac:spMkLst>
        </pc:spChg>
        <pc:spChg chg="add del mod modVis">
          <ac:chgData name="Ugo MANTEL" userId="2d5b7065-31bb-4181-a7f8-a73bf0c30211" providerId="ADAL" clId="{9344D105-636D-4857-BD0F-AFC44A54BCCF}" dt="2021-05-25T09:36:39.707" v="13647"/>
          <ac:spMkLst>
            <pc:docMk/>
            <pc:sldMk cId="85178067" sldId="10485"/>
            <ac:spMk id="17" creationId="{88B2B938-7CA2-4A92-9DB3-0CEA8F710EAA}"/>
          </ac:spMkLst>
        </pc:spChg>
        <pc:spChg chg="add del mod modVis">
          <ac:chgData name="Ugo MANTEL" userId="2d5b7065-31bb-4181-a7f8-a73bf0c30211" providerId="ADAL" clId="{9344D105-636D-4857-BD0F-AFC44A54BCCF}" dt="2021-05-25T09:36:47.381" v="13732"/>
          <ac:spMkLst>
            <pc:docMk/>
            <pc:sldMk cId="85178067" sldId="10485"/>
            <ac:spMk id="19" creationId="{09620C82-E136-4205-946C-2F3919F65FD1}"/>
          </ac:spMkLst>
        </pc:spChg>
        <pc:spChg chg="add del mod modVis">
          <ac:chgData name="Ugo MANTEL" userId="2d5b7065-31bb-4181-a7f8-a73bf0c30211" providerId="ADAL" clId="{9344D105-636D-4857-BD0F-AFC44A54BCCF}" dt="2021-05-25T09:36:49.274" v="13779"/>
          <ac:spMkLst>
            <pc:docMk/>
            <pc:sldMk cId="85178067" sldId="10485"/>
            <ac:spMk id="20" creationId="{00B48CCE-5E95-4EC6-90BD-B3ADC160BD8E}"/>
          </ac:spMkLst>
        </pc:spChg>
        <pc:spChg chg="add del mod modVis">
          <ac:chgData name="Ugo MANTEL" userId="2d5b7065-31bb-4181-a7f8-a73bf0c30211" providerId="ADAL" clId="{9344D105-636D-4857-BD0F-AFC44A54BCCF}" dt="2021-05-25T09:36:50.756" v="13826"/>
          <ac:spMkLst>
            <pc:docMk/>
            <pc:sldMk cId="85178067" sldId="10485"/>
            <ac:spMk id="21" creationId="{F8AF2A16-9BB0-4E72-AF1E-824B5DED9EC6}"/>
          </ac:spMkLst>
        </pc:spChg>
        <pc:spChg chg="add del mod modVis">
          <ac:chgData name="Ugo MANTEL" userId="2d5b7065-31bb-4181-a7f8-a73bf0c30211" providerId="ADAL" clId="{9344D105-636D-4857-BD0F-AFC44A54BCCF}" dt="2021-05-25T09:36:54.648" v="13882"/>
          <ac:spMkLst>
            <pc:docMk/>
            <pc:sldMk cId="85178067" sldId="10485"/>
            <ac:spMk id="22" creationId="{5C404665-E622-49AA-8303-894633165EBE}"/>
          </ac:spMkLst>
        </pc:spChg>
        <pc:spChg chg="add del mod modVis">
          <ac:chgData name="Ugo MANTEL" userId="2d5b7065-31bb-4181-a7f8-a73bf0c30211" providerId="ADAL" clId="{9344D105-636D-4857-BD0F-AFC44A54BCCF}" dt="2021-05-25T09:36:55.845" v="13927"/>
          <ac:spMkLst>
            <pc:docMk/>
            <pc:sldMk cId="85178067" sldId="10485"/>
            <ac:spMk id="23" creationId="{19B059F8-29FA-4E33-A94B-F1C1D066D044}"/>
          </ac:spMkLst>
        </pc:spChg>
        <pc:spChg chg="add del mod modVis">
          <ac:chgData name="Ugo MANTEL" userId="2d5b7065-31bb-4181-a7f8-a73bf0c30211" providerId="ADAL" clId="{9344D105-636D-4857-BD0F-AFC44A54BCCF}" dt="2021-05-25T09:36:57.155" v="13975"/>
          <ac:spMkLst>
            <pc:docMk/>
            <pc:sldMk cId="85178067" sldId="10485"/>
            <ac:spMk id="24" creationId="{4AB602E2-A99D-4106-BDA4-5C72E398CDFA}"/>
          </ac:spMkLst>
        </pc:spChg>
        <pc:spChg chg="add del mod modVis">
          <ac:chgData name="Ugo MANTEL" userId="2d5b7065-31bb-4181-a7f8-a73bf0c30211" providerId="ADAL" clId="{9344D105-636D-4857-BD0F-AFC44A54BCCF}" dt="2021-05-25T09:36:58.071" v="14022"/>
          <ac:spMkLst>
            <pc:docMk/>
            <pc:sldMk cId="85178067" sldId="10485"/>
            <ac:spMk id="25" creationId="{18CCCD7F-35A4-4878-9024-E3DE42A2F8D3}"/>
          </ac:spMkLst>
        </pc:spChg>
        <pc:spChg chg="add del mod modVis">
          <ac:chgData name="Ugo MANTEL" userId="2d5b7065-31bb-4181-a7f8-a73bf0c30211" providerId="ADAL" clId="{9344D105-636D-4857-BD0F-AFC44A54BCCF}" dt="2021-05-25T09:37:00.519" v="14076"/>
          <ac:spMkLst>
            <pc:docMk/>
            <pc:sldMk cId="85178067" sldId="10485"/>
            <ac:spMk id="26" creationId="{E07AE816-E4B9-4C52-A9F9-C49D046B1BA3}"/>
          </ac:spMkLst>
        </pc:spChg>
        <pc:spChg chg="add del mod modVis">
          <ac:chgData name="Ugo MANTEL" userId="2d5b7065-31bb-4181-a7f8-a73bf0c30211" providerId="ADAL" clId="{9344D105-636D-4857-BD0F-AFC44A54BCCF}" dt="2021-05-25T09:37:02.762" v="14130"/>
          <ac:spMkLst>
            <pc:docMk/>
            <pc:sldMk cId="85178067" sldId="10485"/>
            <ac:spMk id="27" creationId="{6D271BBD-8162-4E28-BF46-88D56A674451}"/>
          </ac:spMkLst>
        </pc:spChg>
        <pc:spChg chg="add del mod modVis">
          <ac:chgData name="Ugo MANTEL" userId="2d5b7065-31bb-4181-a7f8-a73bf0c30211" providerId="ADAL" clId="{9344D105-636D-4857-BD0F-AFC44A54BCCF}" dt="2021-05-25T09:37:06.088" v="14175"/>
          <ac:spMkLst>
            <pc:docMk/>
            <pc:sldMk cId="85178067" sldId="10485"/>
            <ac:spMk id="28" creationId="{A8C478C3-87AA-4003-A238-75F8B74B1B93}"/>
          </ac:spMkLst>
        </pc:spChg>
        <pc:spChg chg="add del mod modVis">
          <ac:chgData name="Ugo MANTEL" userId="2d5b7065-31bb-4181-a7f8-a73bf0c30211" providerId="ADAL" clId="{9344D105-636D-4857-BD0F-AFC44A54BCCF}" dt="2021-05-25T09:37:09.570" v="14223"/>
          <ac:spMkLst>
            <pc:docMk/>
            <pc:sldMk cId="85178067" sldId="10485"/>
            <ac:spMk id="29" creationId="{A40CAFC1-2007-4C06-8761-2BC41C32E8EA}"/>
          </ac:spMkLst>
        </pc:spChg>
        <pc:spChg chg="add del mod modVis">
          <ac:chgData name="Ugo MANTEL" userId="2d5b7065-31bb-4181-a7f8-a73bf0c30211" providerId="ADAL" clId="{9344D105-636D-4857-BD0F-AFC44A54BCCF}" dt="2021-05-25T09:37:10.987" v="14273"/>
          <ac:spMkLst>
            <pc:docMk/>
            <pc:sldMk cId="85178067" sldId="10485"/>
            <ac:spMk id="30" creationId="{EEB65EC3-46CA-45B0-9853-9E2089D9EBEF}"/>
          </ac:spMkLst>
        </pc:spChg>
        <pc:spChg chg="add del mod modVis">
          <ac:chgData name="Ugo MANTEL" userId="2d5b7065-31bb-4181-a7f8-a73bf0c30211" providerId="ADAL" clId="{9344D105-636D-4857-BD0F-AFC44A54BCCF}" dt="2021-05-25T09:37:14.181" v="14329"/>
          <ac:spMkLst>
            <pc:docMk/>
            <pc:sldMk cId="85178067" sldId="10485"/>
            <ac:spMk id="31" creationId="{4A968DDA-8742-49FF-8ACC-B9BC4E802B7F}"/>
          </ac:spMkLst>
        </pc:spChg>
        <pc:spChg chg="add del mod modVis">
          <ac:chgData name="Ugo MANTEL" userId="2d5b7065-31bb-4181-a7f8-a73bf0c30211" providerId="ADAL" clId="{9344D105-636D-4857-BD0F-AFC44A54BCCF}" dt="2021-05-25T09:37:16.033" v="14380"/>
          <ac:spMkLst>
            <pc:docMk/>
            <pc:sldMk cId="85178067" sldId="10485"/>
            <ac:spMk id="32" creationId="{3A45DBB3-DA8E-40C8-86C6-C778F17735D9}"/>
          </ac:spMkLst>
        </pc:spChg>
        <pc:spChg chg="add del mod modVis">
          <ac:chgData name="Ugo MANTEL" userId="2d5b7065-31bb-4181-a7f8-a73bf0c30211" providerId="ADAL" clId="{9344D105-636D-4857-BD0F-AFC44A54BCCF}" dt="2021-05-25T09:37:18.512" v="14429"/>
          <ac:spMkLst>
            <pc:docMk/>
            <pc:sldMk cId="85178067" sldId="10485"/>
            <ac:spMk id="33" creationId="{4420A3E2-CE8F-4BE6-998A-60D050B48870}"/>
          </ac:spMkLst>
        </pc:spChg>
        <pc:spChg chg="add del mod modVis">
          <ac:chgData name="Ugo MANTEL" userId="2d5b7065-31bb-4181-a7f8-a73bf0c30211" providerId="ADAL" clId="{9344D105-636D-4857-BD0F-AFC44A54BCCF}" dt="2021-05-25T09:37:40.754" v="14473"/>
          <ac:spMkLst>
            <pc:docMk/>
            <pc:sldMk cId="85178067" sldId="10485"/>
            <ac:spMk id="34" creationId="{12EEE2C9-A8A5-4F33-81C3-31A5CEB68E4E}"/>
          </ac:spMkLst>
        </pc:spChg>
        <pc:spChg chg="add del mod modVis">
          <ac:chgData name="Ugo MANTEL" userId="2d5b7065-31bb-4181-a7f8-a73bf0c30211" providerId="ADAL" clId="{9344D105-636D-4857-BD0F-AFC44A54BCCF}" dt="2021-05-25T09:37:41.672" v="14519"/>
          <ac:spMkLst>
            <pc:docMk/>
            <pc:sldMk cId="85178067" sldId="10485"/>
            <ac:spMk id="35" creationId="{7406A1BF-861A-40F2-933E-BAFEF70B52C6}"/>
          </ac:spMkLst>
        </pc:spChg>
        <pc:spChg chg="add del mod modVis">
          <ac:chgData name="Ugo MANTEL" userId="2d5b7065-31bb-4181-a7f8-a73bf0c30211" providerId="ADAL" clId="{9344D105-636D-4857-BD0F-AFC44A54BCCF}" dt="2021-05-25T09:37:45.509" v="14583"/>
          <ac:spMkLst>
            <pc:docMk/>
            <pc:sldMk cId="85178067" sldId="10485"/>
            <ac:spMk id="36" creationId="{10B8DB06-52AC-4E88-AD4A-242CB9485E04}"/>
          </ac:spMkLst>
        </pc:spChg>
        <pc:spChg chg="add del mod modVis">
          <ac:chgData name="Ugo MANTEL" userId="2d5b7065-31bb-4181-a7f8-a73bf0c30211" providerId="ADAL" clId="{9344D105-636D-4857-BD0F-AFC44A54BCCF}" dt="2021-05-25T09:37:55.870" v="14633"/>
          <ac:spMkLst>
            <pc:docMk/>
            <pc:sldMk cId="85178067" sldId="10485"/>
            <ac:spMk id="37" creationId="{58645274-D2CB-4D93-9B37-4AA48E5653B4}"/>
          </ac:spMkLst>
        </pc:spChg>
        <pc:spChg chg="add del mod modVis">
          <ac:chgData name="Ugo MANTEL" userId="2d5b7065-31bb-4181-a7f8-a73bf0c30211" providerId="ADAL" clId="{9344D105-636D-4857-BD0F-AFC44A54BCCF}" dt="2021-05-25T09:38:03.111" v="14711"/>
          <ac:spMkLst>
            <pc:docMk/>
            <pc:sldMk cId="85178067" sldId="10485"/>
            <ac:spMk id="38" creationId="{34BFE569-73B3-4B57-BF00-5DB90A82EFD1}"/>
          </ac:spMkLst>
        </pc:spChg>
        <pc:spChg chg="add del mod modVis">
          <ac:chgData name="Ugo MANTEL" userId="2d5b7065-31bb-4181-a7f8-a73bf0c30211" providerId="ADAL" clId="{9344D105-636D-4857-BD0F-AFC44A54BCCF}" dt="2021-05-25T09:38:04.473" v="14757"/>
          <ac:spMkLst>
            <pc:docMk/>
            <pc:sldMk cId="85178067" sldId="10485"/>
            <ac:spMk id="39" creationId="{E231163E-1E48-4672-85C8-DF752FB97631}"/>
          </ac:spMkLst>
        </pc:spChg>
        <pc:spChg chg="add del mod modVis">
          <ac:chgData name="Ugo MANTEL" userId="2d5b7065-31bb-4181-a7f8-a73bf0c30211" providerId="ADAL" clId="{9344D105-636D-4857-BD0F-AFC44A54BCCF}" dt="2021-05-25T09:38:13.463" v="14804"/>
          <ac:spMkLst>
            <pc:docMk/>
            <pc:sldMk cId="85178067" sldId="10485"/>
            <ac:spMk id="40" creationId="{4AEF4B84-06C9-4C95-83B4-4C767CECB38F}"/>
          </ac:spMkLst>
        </pc:spChg>
        <pc:spChg chg="add del mod modVis">
          <ac:chgData name="Ugo MANTEL" userId="2d5b7065-31bb-4181-a7f8-a73bf0c30211" providerId="ADAL" clId="{9344D105-636D-4857-BD0F-AFC44A54BCCF}" dt="2021-05-25T09:38:15.438" v="14850"/>
          <ac:spMkLst>
            <pc:docMk/>
            <pc:sldMk cId="85178067" sldId="10485"/>
            <ac:spMk id="41" creationId="{3F3027B1-F8BE-4B38-99F4-9D9F0571D2A6}"/>
          </ac:spMkLst>
        </pc:spChg>
        <pc:spChg chg="add del mod modVis">
          <ac:chgData name="Ugo MANTEL" userId="2d5b7065-31bb-4181-a7f8-a73bf0c30211" providerId="ADAL" clId="{9344D105-636D-4857-BD0F-AFC44A54BCCF}" dt="2021-05-25T09:38:16.131" v="14894"/>
          <ac:spMkLst>
            <pc:docMk/>
            <pc:sldMk cId="85178067" sldId="10485"/>
            <ac:spMk id="42" creationId="{E2526E1F-E3BC-4CC3-BD98-D1B3012EA3C0}"/>
          </ac:spMkLst>
        </pc:spChg>
        <pc:spChg chg="add del mod modVis">
          <ac:chgData name="Ugo MANTEL" userId="2d5b7065-31bb-4181-a7f8-a73bf0c30211" providerId="ADAL" clId="{9344D105-636D-4857-BD0F-AFC44A54BCCF}" dt="2021-05-25T09:38:19.924" v="14940"/>
          <ac:spMkLst>
            <pc:docMk/>
            <pc:sldMk cId="85178067" sldId="10485"/>
            <ac:spMk id="43" creationId="{61ADF853-CEFE-4DA7-A7FF-475D9358CEC8}"/>
          </ac:spMkLst>
        </pc:spChg>
        <pc:spChg chg="add del mod modVis">
          <ac:chgData name="Ugo MANTEL" userId="2d5b7065-31bb-4181-a7f8-a73bf0c30211" providerId="ADAL" clId="{9344D105-636D-4857-BD0F-AFC44A54BCCF}" dt="2021-05-25T09:38:21.142" v="14988"/>
          <ac:spMkLst>
            <pc:docMk/>
            <pc:sldMk cId="85178067" sldId="10485"/>
            <ac:spMk id="44" creationId="{0BA7F7F5-8050-474B-A631-B1059D68E529}"/>
          </ac:spMkLst>
        </pc:spChg>
        <pc:spChg chg="add del mod modVis">
          <ac:chgData name="Ugo MANTEL" userId="2d5b7065-31bb-4181-a7f8-a73bf0c30211" providerId="ADAL" clId="{9344D105-636D-4857-BD0F-AFC44A54BCCF}" dt="2021-05-25T09:38:28.471" v="15053"/>
          <ac:spMkLst>
            <pc:docMk/>
            <pc:sldMk cId="85178067" sldId="10485"/>
            <ac:spMk id="45" creationId="{B15FDC54-965B-4F11-8E91-61D3938A0F96}"/>
          </ac:spMkLst>
        </pc:spChg>
        <pc:spChg chg="add del mod modVis">
          <ac:chgData name="Ugo MANTEL" userId="2d5b7065-31bb-4181-a7f8-a73bf0c30211" providerId="ADAL" clId="{9344D105-636D-4857-BD0F-AFC44A54BCCF}" dt="2021-05-25T09:38:30.873" v="15097"/>
          <ac:spMkLst>
            <pc:docMk/>
            <pc:sldMk cId="85178067" sldId="10485"/>
            <ac:spMk id="46" creationId="{EB90AF46-A442-491F-B5BD-4BE22977F851}"/>
          </ac:spMkLst>
        </pc:spChg>
        <pc:spChg chg="add del mod modVis">
          <ac:chgData name="Ugo MANTEL" userId="2d5b7065-31bb-4181-a7f8-a73bf0c30211" providerId="ADAL" clId="{9344D105-636D-4857-BD0F-AFC44A54BCCF}" dt="2021-05-25T09:38:35.049" v="15145"/>
          <ac:spMkLst>
            <pc:docMk/>
            <pc:sldMk cId="85178067" sldId="10485"/>
            <ac:spMk id="47" creationId="{624D17FD-0DFD-4972-9096-14B3F2440159}"/>
          </ac:spMkLst>
        </pc:spChg>
        <pc:spChg chg="add del mod modVis">
          <ac:chgData name="Ugo MANTEL" userId="2d5b7065-31bb-4181-a7f8-a73bf0c30211" providerId="ADAL" clId="{9344D105-636D-4857-BD0F-AFC44A54BCCF}" dt="2021-05-25T09:38:47.797" v="15194"/>
          <ac:spMkLst>
            <pc:docMk/>
            <pc:sldMk cId="85178067" sldId="10485"/>
            <ac:spMk id="48" creationId="{CD751DCC-F23C-44CC-9727-4BA46FEEC1F2}"/>
          </ac:spMkLst>
        </pc:spChg>
        <pc:spChg chg="add del mod modVis">
          <ac:chgData name="Ugo MANTEL" userId="2d5b7065-31bb-4181-a7f8-a73bf0c30211" providerId="ADAL" clId="{9344D105-636D-4857-BD0F-AFC44A54BCCF}" dt="2021-05-25T09:38:48.715" v="15238"/>
          <ac:spMkLst>
            <pc:docMk/>
            <pc:sldMk cId="85178067" sldId="10485"/>
            <ac:spMk id="49" creationId="{185DAE77-4DCC-4EAB-ABD4-6963F1620D14}"/>
          </ac:spMkLst>
        </pc:spChg>
        <pc:spChg chg="add del mod modVis">
          <ac:chgData name="Ugo MANTEL" userId="2d5b7065-31bb-4181-a7f8-a73bf0c30211" providerId="ADAL" clId="{9344D105-636D-4857-BD0F-AFC44A54BCCF}" dt="2021-05-25T09:38:54.129" v="15282"/>
          <ac:spMkLst>
            <pc:docMk/>
            <pc:sldMk cId="85178067" sldId="10485"/>
            <ac:spMk id="50" creationId="{500C2A9B-1CC0-4A6C-84C2-82A1EA3770C5}"/>
          </ac:spMkLst>
        </pc:spChg>
        <pc:spChg chg="add del mod modVis">
          <ac:chgData name="Ugo MANTEL" userId="2d5b7065-31bb-4181-a7f8-a73bf0c30211" providerId="ADAL" clId="{9344D105-636D-4857-BD0F-AFC44A54BCCF}" dt="2021-05-25T09:39:02.514" v="15326"/>
          <ac:spMkLst>
            <pc:docMk/>
            <pc:sldMk cId="85178067" sldId="10485"/>
            <ac:spMk id="51" creationId="{7360EA70-B123-4D9C-903E-017EE8D07798}"/>
          </ac:spMkLst>
        </pc:spChg>
        <pc:spChg chg="add del mod modVis">
          <ac:chgData name="Ugo MANTEL" userId="2d5b7065-31bb-4181-a7f8-a73bf0c30211" providerId="ADAL" clId="{9344D105-636D-4857-BD0F-AFC44A54BCCF}" dt="2021-05-25T09:39:06.702" v="15370"/>
          <ac:spMkLst>
            <pc:docMk/>
            <pc:sldMk cId="85178067" sldId="10485"/>
            <ac:spMk id="52" creationId="{D2A84EFC-1FE5-4994-A33E-35CC0B6DE93A}"/>
          </ac:spMkLst>
        </pc:spChg>
        <pc:spChg chg="add del mod modVis">
          <ac:chgData name="Ugo MANTEL" userId="2d5b7065-31bb-4181-a7f8-a73bf0c30211" providerId="ADAL" clId="{9344D105-636D-4857-BD0F-AFC44A54BCCF}" dt="2021-05-25T09:39:09.297" v="15414"/>
          <ac:spMkLst>
            <pc:docMk/>
            <pc:sldMk cId="85178067" sldId="10485"/>
            <ac:spMk id="53" creationId="{2EBAFB66-6A86-436C-9BFC-1E3EEEABD8BE}"/>
          </ac:spMkLst>
        </pc:spChg>
        <pc:spChg chg="del mod or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54" creationId="{A1ED7959-6972-4CA1-87DE-4A9E265D1EE1}"/>
          </ac:spMkLst>
        </pc:spChg>
        <pc:spChg chg="add del mod modVis">
          <ac:chgData name="Ugo MANTEL" userId="2d5b7065-31bb-4181-a7f8-a73bf0c30211" providerId="ADAL" clId="{9344D105-636D-4857-BD0F-AFC44A54BCCF}" dt="2021-05-25T09:39:12.377" v="15458"/>
          <ac:spMkLst>
            <pc:docMk/>
            <pc:sldMk cId="85178067" sldId="10485"/>
            <ac:spMk id="55" creationId="{4DD990D3-5EDC-4172-8F14-61D01C54D342}"/>
          </ac:spMkLst>
        </pc:spChg>
        <pc:spChg chg="del mod ord">
          <ac:chgData name="Ugo MANTEL" userId="2d5b7065-31bb-4181-a7f8-a73bf0c30211" providerId="ADAL" clId="{9344D105-636D-4857-BD0F-AFC44A54BCCF}" dt="2021-05-25T12:29:46.910" v="18155" actId="478"/>
          <ac:spMkLst>
            <pc:docMk/>
            <pc:sldMk cId="85178067" sldId="10485"/>
            <ac:spMk id="61" creationId="{0CCFF1A2-CE09-4311-BD82-2FC01C7F8607}"/>
          </ac:spMkLst>
        </pc:spChg>
        <pc:spChg chg="mod ord">
          <ac:chgData name="Ugo MANTEL" userId="2d5b7065-31bb-4181-a7f8-a73bf0c30211" providerId="ADAL" clId="{9344D105-636D-4857-BD0F-AFC44A54BCCF}" dt="2021-05-25T14:20:11.600" v="28292" actId="790"/>
          <ac:spMkLst>
            <pc:docMk/>
            <pc:sldMk cId="85178067" sldId="10485"/>
            <ac:spMk id="64" creationId="{715DCA8A-86D5-45FB-9BFD-4D1110B6C7FB}"/>
          </ac:spMkLst>
        </pc:spChg>
        <pc:spChg chg="mod ord">
          <ac:chgData name="Ugo MANTEL" userId="2d5b7065-31bb-4181-a7f8-a73bf0c30211" providerId="ADAL" clId="{9344D105-636D-4857-BD0F-AFC44A54BCCF}" dt="2021-05-25T14:20:11.607" v="28298" actId="790"/>
          <ac:spMkLst>
            <pc:docMk/>
            <pc:sldMk cId="85178067" sldId="10485"/>
            <ac:spMk id="65" creationId="{621ABA10-DB52-4BB0-BAFC-8BE5CFD23B9F}"/>
          </ac:spMkLst>
        </pc:spChg>
        <pc:spChg chg="mod ord">
          <ac:chgData name="Ugo MANTEL" userId="2d5b7065-31bb-4181-a7f8-a73bf0c30211" providerId="ADAL" clId="{9344D105-636D-4857-BD0F-AFC44A54BCCF}" dt="2021-05-25T14:20:11.607" v="28299" actId="790"/>
          <ac:spMkLst>
            <pc:docMk/>
            <pc:sldMk cId="85178067" sldId="10485"/>
            <ac:spMk id="66" creationId="{A3EC114C-5251-4558-8979-7A09B9BD87E8}"/>
          </ac:spMkLst>
        </pc:spChg>
        <pc:spChg chg="mod ord">
          <ac:chgData name="Ugo MANTEL" userId="2d5b7065-31bb-4181-a7f8-a73bf0c30211" providerId="ADAL" clId="{9344D105-636D-4857-BD0F-AFC44A54BCCF}" dt="2021-05-25T14:20:11.608" v="28300" actId="790"/>
          <ac:spMkLst>
            <pc:docMk/>
            <pc:sldMk cId="85178067" sldId="10485"/>
            <ac:spMk id="67" creationId="{44209A18-064E-4D98-A20A-566CF9E8375A}"/>
          </ac:spMkLst>
        </pc:spChg>
        <pc:spChg chg="del mod ord">
          <ac:chgData name="Ugo MANTEL" userId="2d5b7065-31bb-4181-a7f8-a73bf0c30211" providerId="ADAL" clId="{9344D105-636D-4857-BD0F-AFC44A54BCCF}" dt="2021-05-25T12:23:49.191" v="18115" actId="478"/>
          <ac:spMkLst>
            <pc:docMk/>
            <pc:sldMk cId="85178067" sldId="10485"/>
            <ac:spMk id="68" creationId="{A5346155-53F6-4492-8069-514F081C33B9}"/>
          </ac:spMkLst>
        </pc:spChg>
        <pc:spChg chg="mod ord">
          <ac:chgData name="Ugo MANTEL" userId="2d5b7065-31bb-4181-a7f8-a73bf0c30211" providerId="ADAL" clId="{9344D105-636D-4857-BD0F-AFC44A54BCCF}" dt="2021-05-25T14:20:11.609" v="28301" actId="790"/>
          <ac:spMkLst>
            <pc:docMk/>
            <pc:sldMk cId="85178067" sldId="10485"/>
            <ac:spMk id="72" creationId="{C5BAE9F3-F0CE-4E5D-A59F-809FDD7B37E5}"/>
          </ac:spMkLst>
        </pc:spChg>
        <pc:spChg chg="del mod ord">
          <ac:chgData name="Ugo MANTEL" userId="2d5b7065-31bb-4181-a7f8-a73bf0c30211" providerId="ADAL" clId="{9344D105-636D-4857-BD0F-AFC44A54BCCF}" dt="2021-05-25T12:23:49.191" v="18115" actId="478"/>
          <ac:spMkLst>
            <pc:docMk/>
            <pc:sldMk cId="85178067" sldId="10485"/>
            <ac:spMk id="73" creationId="{98DD9878-7EFD-4EE3-8563-0AB6CA847BCD}"/>
          </ac:spMkLst>
        </pc:spChg>
        <pc:spChg chg="mod ord">
          <ac:chgData name="Ugo MANTEL" userId="2d5b7065-31bb-4181-a7f8-a73bf0c30211" providerId="ADAL" clId="{9344D105-636D-4857-BD0F-AFC44A54BCCF}" dt="2021-05-25T14:20:11.611" v="28302" actId="790"/>
          <ac:spMkLst>
            <pc:docMk/>
            <pc:sldMk cId="85178067" sldId="10485"/>
            <ac:spMk id="74" creationId="{E5DAF6B5-73B5-4F99-AC68-3AF9C1E72B1A}"/>
          </ac:spMkLst>
        </pc:spChg>
        <pc:spChg chg="del mod ord">
          <ac:chgData name="Ugo MANTEL" userId="2d5b7065-31bb-4181-a7f8-a73bf0c30211" providerId="ADAL" clId="{9344D105-636D-4857-BD0F-AFC44A54BCCF}" dt="2021-05-25T12:48:59.082" v="18442" actId="478"/>
          <ac:spMkLst>
            <pc:docMk/>
            <pc:sldMk cId="85178067" sldId="10485"/>
            <ac:spMk id="75" creationId="{FC4FB322-02D4-4E5C-B006-A484E3CA441A}"/>
          </ac:spMkLst>
        </pc:spChg>
        <pc:spChg chg="del mod ord">
          <ac:chgData name="Ugo MANTEL" userId="2d5b7065-31bb-4181-a7f8-a73bf0c30211" providerId="ADAL" clId="{9344D105-636D-4857-BD0F-AFC44A54BCCF}" dt="2021-05-25T12:48:59.082" v="18442" actId="478"/>
          <ac:spMkLst>
            <pc:docMk/>
            <pc:sldMk cId="85178067" sldId="10485"/>
            <ac:spMk id="76" creationId="{38973F65-37ED-4CDC-9A45-5183BBDA5DB7}"/>
          </ac:spMkLst>
        </pc:spChg>
        <pc:spChg chg="mod ord">
          <ac:chgData name="Ugo MANTEL" userId="2d5b7065-31bb-4181-a7f8-a73bf0c30211" providerId="ADAL" clId="{9344D105-636D-4857-BD0F-AFC44A54BCCF}" dt="2021-05-25T14:20:11.613" v="28303" actId="790"/>
          <ac:spMkLst>
            <pc:docMk/>
            <pc:sldMk cId="85178067" sldId="10485"/>
            <ac:spMk id="77" creationId="{C58DFF13-F614-467C-A649-5174336B1430}"/>
          </ac:spMkLst>
        </pc:spChg>
        <pc:spChg chg="del mod or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78" creationId="{87CA8D7D-E375-4385-9971-A89F9B41F9E6}"/>
          </ac:spMkLst>
        </pc:spChg>
        <pc:spChg chg="del mod or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80" creationId="{9317AC01-1DCC-465A-A5B3-1B69D33460D6}"/>
          </ac:spMkLst>
        </pc:spChg>
        <pc:spChg chg="add mod ord">
          <ac:chgData name="Ugo MANTEL" userId="2d5b7065-31bb-4181-a7f8-a73bf0c30211" providerId="ADAL" clId="{9344D105-636D-4857-BD0F-AFC44A54BCCF}" dt="2021-05-25T14:20:11.598" v="28290" actId="790"/>
          <ac:spMkLst>
            <pc:docMk/>
            <pc:sldMk cId="85178067" sldId="10485"/>
            <ac:spMk id="81" creationId="{402ED435-7EA5-48C5-BB45-E998D1C41E83}"/>
          </ac:spMkLst>
        </pc:spChg>
        <pc:spChg chg="add mod ord">
          <ac:chgData name="Ugo MANTEL" userId="2d5b7065-31bb-4181-a7f8-a73bf0c30211" providerId="ADAL" clId="{9344D105-636D-4857-BD0F-AFC44A54BCCF}" dt="2021-05-25T09:32:18.395" v="13025"/>
          <ac:spMkLst>
            <pc:docMk/>
            <pc:sldMk cId="85178067" sldId="10485"/>
            <ac:spMk id="82" creationId="{CC03B4D3-1E52-4828-9407-4E1E87EF1D08}"/>
          </ac:spMkLst>
        </pc:spChg>
        <pc:spChg chg="mod ord">
          <ac:chgData name="Ugo MANTEL" userId="2d5b7065-31bb-4181-a7f8-a73bf0c30211" providerId="ADAL" clId="{9344D105-636D-4857-BD0F-AFC44A54BCCF}" dt="2021-05-25T14:20:11.615" v="28304" actId="790"/>
          <ac:spMkLst>
            <pc:docMk/>
            <pc:sldMk cId="85178067" sldId="10485"/>
            <ac:spMk id="83" creationId="{F3D9AFF7-1D4F-497C-9EBC-5196256BD28B}"/>
          </ac:spMkLst>
        </pc:spChg>
        <pc:spChg chg="add mod ord">
          <ac:chgData name="Ugo MANTEL" userId="2d5b7065-31bb-4181-a7f8-a73bf0c30211" providerId="ADAL" clId="{9344D105-636D-4857-BD0F-AFC44A54BCCF}" dt="2021-05-25T09:32:18.395" v="13027"/>
          <ac:spMkLst>
            <pc:docMk/>
            <pc:sldMk cId="85178067" sldId="10485"/>
            <ac:spMk id="84" creationId="{DDFECD8E-E45B-453B-B5E0-CB24177D2C2A}"/>
          </ac:spMkLst>
        </pc:spChg>
        <pc:spChg chg="add del mod">
          <ac:chgData name="Ugo MANTEL" userId="2d5b7065-31bb-4181-a7f8-a73bf0c30211" providerId="ADAL" clId="{9344D105-636D-4857-BD0F-AFC44A54BCCF}" dt="2021-05-25T12:44:53.720" v="18427" actId="478"/>
          <ac:spMkLst>
            <pc:docMk/>
            <pc:sldMk cId="85178067" sldId="10485"/>
            <ac:spMk id="84" creationId="{FEE2A830-4D84-4287-B8D6-AD10B729FAC1}"/>
          </ac:spMkLst>
        </pc:spChg>
        <pc:spChg chg="add mod ord">
          <ac:chgData name="Ugo MANTEL" userId="2d5b7065-31bb-4181-a7f8-a73bf0c30211" providerId="ADAL" clId="{9344D105-636D-4857-BD0F-AFC44A54BCCF}" dt="2021-05-25T09:32:18.395" v="13029"/>
          <ac:spMkLst>
            <pc:docMk/>
            <pc:sldMk cId="85178067" sldId="10485"/>
            <ac:spMk id="85" creationId="{7DDFC2EC-36D5-4C0D-BB42-C3EF228F0949}"/>
          </ac:spMkLst>
        </pc:spChg>
        <pc:spChg chg="add del mod">
          <ac:chgData name="Ugo MANTEL" userId="2d5b7065-31bb-4181-a7f8-a73bf0c30211" providerId="ADAL" clId="{9344D105-636D-4857-BD0F-AFC44A54BCCF}" dt="2021-05-25T12:44:55.936" v="18428" actId="478"/>
          <ac:spMkLst>
            <pc:docMk/>
            <pc:sldMk cId="85178067" sldId="10485"/>
            <ac:spMk id="85" creationId="{D09C1ED0-D370-4ACD-9D22-6D39929E1489}"/>
          </ac:spMkLst>
        </pc:spChg>
        <pc:spChg chg="del mod ord">
          <ac:chgData name="Ugo MANTEL" userId="2d5b7065-31bb-4181-a7f8-a73bf0c30211" providerId="ADAL" clId="{9344D105-636D-4857-BD0F-AFC44A54BCCF}" dt="2021-05-25T12:48:31.087" v="18435" actId="478"/>
          <ac:spMkLst>
            <pc:docMk/>
            <pc:sldMk cId="85178067" sldId="10485"/>
            <ac:spMk id="87" creationId="{7BB8F9F8-E10F-4E64-9187-C6D2D1422ACE}"/>
          </ac:spMkLst>
        </pc:spChg>
        <pc:spChg chg="add mod ord">
          <ac:chgData name="Ugo MANTEL" userId="2d5b7065-31bb-4181-a7f8-a73bf0c30211" providerId="ADAL" clId="{9344D105-636D-4857-BD0F-AFC44A54BCCF}" dt="2021-05-25T09:32:18.395" v="13031"/>
          <ac:spMkLst>
            <pc:docMk/>
            <pc:sldMk cId="85178067" sldId="10485"/>
            <ac:spMk id="90" creationId="{0A6E21C6-B617-458A-BF66-828B0ECB90B1}"/>
          </ac:spMkLst>
        </pc:spChg>
        <pc:spChg chg="add del mod">
          <ac:chgData name="Ugo MANTEL" userId="2d5b7065-31bb-4181-a7f8-a73bf0c30211" providerId="ADAL" clId="{9344D105-636D-4857-BD0F-AFC44A54BCCF}" dt="2021-05-25T12:44:55.936" v="18428" actId="478"/>
          <ac:spMkLst>
            <pc:docMk/>
            <pc:sldMk cId="85178067" sldId="10485"/>
            <ac:spMk id="90" creationId="{E092AC73-2449-43E9-9CD5-AF2EEDD36A98}"/>
          </ac:spMkLst>
        </pc:spChg>
        <pc:spChg chg="add del mod">
          <ac:chgData name="Ugo MANTEL" userId="2d5b7065-31bb-4181-a7f8-a73bf0c30211" providerId="ADAL" clId="{9344D105-636D-4857-BD0F-AFC44A54BCCF}" dt="2021-05-25T12:44:55.936" v="18428" actId="478"/>
          <ac:spMkLst>
            <pc:docMk/>
            <pc:sldMk cId="85178067" sldId="10485"/>
            <ac:spMk id="91" creationId="{2A87E113-6282-42C9-BB4B-65FEDF90936C}"/>
          </ac:spMkLst>
        </pc:spChg>
        <pc:spChg chg="add mod ord">
          <ac:chgData name="Ugo MANTEL" userId="2d5b7065-31bb-4181-a7f8-a73bf0c30211" providerId="ADAL" clId="{9344D105-636D-4857-BD0F-AFC44A54BCCF}" dt="2021-05-25T09:32:18.395" v="13033"/>
          <ac:spMkLst>
            <pc:docMk/>
            <pc:sldMk cId="85178067" sldId="10485"/>
            <ac:spMk id="91" creationId="{65C5E412-690D-41FE-B97E-7FE32AD2022E}"/>
          </ac:spMkLst>
        </pc:spChg>
        <pc:spChg chg="add mod ord">
          <ac:chgData name="Ugo MANTEL" userId="2d5b7065-31bb-4181-a7f8-a73bf0c30211" providerId="ADAL" clId="{9344D105-636D-4857-BD0F-AFC44A54BCCF}" dt="2021-05-25T09:32:18.395" v="13035"/>
          <ac:spMkLst>
            <pc:docMk/>
            <pc:sldMk cId="85178067" sldId="10485"/>
            <ac:spMk id="93" creationId="{13040E49-45B6-4F8F-B262-BD291F0C3CEF}"/>
          </ac:spMkLst>
        </pc:spChg>
        <pc:spChg chg="add del mod">
          <ac:chgData name="Ugo MANTEL" userId="2d5b7065-31bb-4181-a7f8-a73bf0c30211" providerId="ADAL" clId="{9344D105-636D-4857-BD0F-AFC44A54BCCF}" dt="2021-05-25T12:44:57.403" v="18429" actId="478"/>
          <ac:spMkLst>
            <pc:docMk/>
            <pc:sldMk cId="85178067" sldId="10485"/>
            <ac:spMk id="93" creationId="{F650A4A6-2B56-4CEF-8077-5511F723ACF6}"/>
          </ac:spMkLst>
        </pc:spChg>
        <pc:spChg chg="del">
          <ac:chgData name="Ugo MANTEL" userId="2d5b7065-31bb-4181-a7f8-a73bf0c30211" providerId="ADAL" clId="{9344D105-636D-4857-BD0F-AFC44A54BCCF}" dt="2021-05-25T12:37:51.695" v="18249" actId="478"/>
          <ac:spMkLst>
            <pc:docMk/>
            <pc:sldMk cId="85178067" sldId="10485"/>
            <ac:spMk id="94" creationId="{2064E1D4-D896-4762-BC12-C2CFA45096B3}"/>
          </ac:spMkLst>
        </pc:spChg>
        <pc:spChg chg="mod">
          <ac:chgData name="Ugo MANTEL" userId="2d5b7065-31bb-4181-a7f8-a73bf0c30211" providerId="ADAL" clId="{9344D105-636D-4857-BD0F-AFC44A54BCCF}" dt="2021-05-25T14:20:11.623" v="28308" actId="790"/>
          <ac:spMkLst>
            <pc:docMk/>
            <pc:sldMk cId="85178067" sldId="10485"/>
            <ac:spMk id="95" creationId="{1D12A4B1-C526-4ABC-9EBE-F18A9499546F}"/>
          </ac:spMkLst>
        </pc:spChg>
        <pc:spChg chg="mod">
          <ac:chgData name="Ugo MANTEL" userId="2d5b7065-31bb-4181-a7f8-a73bf0c30211" providerId="ADAL" clId="{9344D105-636D-4857-BD0F-AFC44A54BCCF}" dt="2021-05-25T14:20:11.623" v="28309" actId="790"/>
          <ac:spMkLst>
            <pc:docMk/>
            <pc:sldMk cId="85178067" sldId="10485"/>
            <ac:spMk id="96" creationId="{4489A216-621D-46B4-A741-BFDE4F480185}"/>
          </ac:spMkLst>
        </pc:spChg>
        <pc:spChg chg="mod">
          <ac:chgData name="Ugo MANTEL" userId="2d5b7065-31bb-4181-a7f8-a73bf0c30211" providerId="ADAL" clId="{9344D105-636D-4857-BD0F-AFC44A54BCCF}" dt="2021-05-25T14:20:11.624" v="28310" actId="790"/>
          <ac:spMkLst>
            <pc:docMk/>
            <pc:sldMk cId="85178067" sldId="10485"/>
            <ac:spMk id="97" creationId="{B5347C34-5BE6-46FD-89AF-BBA2F72C5D9E}"/>
          </ac:spMkLst>
        </pc:spChg>
        <pc:spChg chg="mod">
          <ac:chgData name="Ugo MANTEL" userId="2d5b7065-31bb-4181-a7f8-a73bf0c30211" providerId="ADAL" clId="{9344D105-636D-4857-BD0F-AFC44A54BCCF}" dt="2021-05-25T12:49:53.382" v="18458" actId="12789"/>
          <ac:spMkLst>
            <pc:docMk/>
            <pc:sldMk cId="85178067" sldId="10485"/>
            <ac:spMk id="98" creationId="{155E4236-CAB2-4935-A41B-5827B290D7AF}"/>
          </ac:spMkLst>
        </pc:spChg>
        <pc:spChg chg="mod">
          <ac:chgData name="Ugo MANTEL" userId="2d5b7065-31bb-4181-a7f8-a73bf0c30211" providerId="ADAL" clId="{9344D105-636D-4857-BD0F-AFC44A54BCCF}" dt="2021-05-25T12:49:53.382" v="18458" actId="12789"/>
          <ac:spMkLst>
            <pc:docMk/>
            <pc:sldMk cId="85178067" sldId="10485"/>
            <ac:spMk id="99" creationId="{E826E758-16D4-41A9-B213-8CD96CCD28E1}"/>
          </ac:spMkLst>
        </pc:spChg>
        <pc:spChg chg="mod">
          <ac:chgData name="Ugo MANTEL" userId="2d5b7065-31bb-4181-a7f8-a73bf0c30211" providerId="ADAL" clId="{9344D105-636D-4857-BD0F-AFC44A54BCCF}" dt="2021-05-25T12:50:04.531" v="18461" actId="408"/>
          <ac:spMkLst>
            <pc:docMk/>
            <pc:sldMk cId="85178067" sldId="10485"/>
            <ac:spMk id="101" creationId="{5C486219-021C-4931-8CB3-BC338DFED7AD}"/>
          </ac:spMkLst>
        </pc:spChg>
        <pc:spChg chg="mod">
          <ac:chgData name="Ugo MANTEL" userId="2d5b7065-31bb-4181-a7f8-a73bf0c30211" providerId="ADAL" clId="{9344D105-636D-4857-BD0F-AFC44A54BCCF}" dt="2021-05-25T12:50:04.531" v="18461" actId="408"/>
          <ac:spMkLst>
            <pc:docMk/>
            <pc:sldMk cId="85178067" sldId="10485"/>
            <ac:spMk id="102" creationId="{337BA1E6-E57A-42B2-8587-4126F7EDF557}"/>
          </ac:spMkLst>
        </pc:spChg>
        <pc:spChg chg="mod">
          <ac:chgData name="Ugo MANTEL" userId="2d5b7065-31bb-4181-a7f8-a73bf0c30211" providerId="ADAL" clId="{9344D105-636D-4857-BD0F-AFC44A54BCCF}" dt="2021-05-25T14:20:11.602" v="28293" actId="790"/>
          <ac:spMkLst>
            <pc:docMk/>
            <pc:sldMk cId="85178067" sldId="10485"/>
            <ac:spMk id="103" creationId="{D1ADF058-49F0-46BE-A5B0-D41C2897BE51}"/>
          </ac:spMkLst>
        </pc:spChg>
        <pc:spChg chg="del mod ord">
          <ac:chgData name="Ugo MANTEL" userId="2d5b7065-31bb-4181-a7f8-a73bf0c30211" providerId="ADAL" clId="{9344D105-636D-4857-BD0F-AFC44A54BCCF}" dt="2021-05-25T12:48:47.838" v="18438" actId="478"/>
          <ac:spMkLst>
            <pc:docMk/>
            <pc:sldMk cId="85178067" sldId="10485"/>
            <ac:spMk id="104" creationId="{849ECA68-F6D3-4283-B6B3-B59566FC1F6D}"/>
          </ac:spMkLst>
        </pc:spChg>
        <pc:spChg chg="mod ord">
          <ac:chgData name="Ugo MANTEL" userId="2d5b7065-31bb-4181-a7f8-a73bf0c30211" providerId="ADAL" clId="{9344D105-636D-4857-BD0F-AFC44A54BCCF}" dt="2021-05-25T14:20:11.616" v="28305" actId="790"/>
          <ac:spMkLst>
            <pc:docMk/>
            <pc:sldMk cId="85178067" sldId="10485"/>
            <ac:spMk id="105" creationId="{EEE2C96C-B2B1-48D8-9332-E30827E4B0D0}"/>
          </ac:spMkLst>
        </pc:spChg>
        <pc:spChg chg="mod ord">
          <ac:chgData name="Ugo MANTEL" userId="2d5b7065-31bb-4181-a7f8-a73bf0c30211" providerId="ADAL" clId="{9344D105-636D-4857-BD0F-AFC44A54BCCF}" dt="2021-05-25T14:20:11.617" v="28306" actId="790"/>
          <ac:spMkLst>
            <pc:docMk/>
            <pc:sldMk cId="85178067" sldId="10485"/>
            <ac:spMk id="106" creationId="{0CE85CB8-7C7A-49B2-A57F-88CBBDC8A596}"/>
          </ac:spMkLst>
        </pc:spChg>
        <pc:spChg chg="del mod ord">
          <ac:chgData name="Ugo MANTEL" userId="2d5b7065-31bb-4181-a7f8-a73bf0c30211" providerId="ADAL" clId="{9344D105-636D-4857-BD0F-AFC44A54BCCF}" dt="2021-05-25T12:48:47.838" v="18438" actId="478"/>
          <ac:spMkLst>
            <pc:docMk/>
            <pc:sldMk cId="85178067" sldId="10485"/>
            <ac:spMk id="107" creationId="{E85C8784-F071-4729-9033-22C4CE869084}"/>
          </ac:spMkLst>
        </pc:spChg>
        <pc:spChg chg="del mod ord">
          <ac:chgData name="Ugo MANTEL" userId="2d5b7065-31bb-4181-a7f8-a73bf0c30211" providerId="ADAL" clId="{9344D105-636D-4857-BD0F-AFC44A54BCCF}" dt="2021-05-25T12:48:59.082" v="18442" actId="478"/>
          <ac:spMkLst>
            <pc:docMk/>
            <pc:sldMk cId="85178067" sldId="10485"/>
            <ac:spMk id="108" creationId="{718E7AB5-E818-4750-AA50-CF34925A2446}"/>
          </ac:spMkLst>
        </pc:spChg>
        <pc:spChg chg="mod">
          <ac:chgData name="Ugo MANTEL" userId="2d5b7065-31bb-4181-a7f8-a73bf0c30211" providerId="ADAL" clId="{9344D105-636D-4857-BD0F-AFC44A54BCCF}" dt="2021-05-25T14:20:11.603" v="28294" actId="790"/>
          <ac:spMkLst>
            <pc:docMk/>
            <pc:sldMk cId="85178067" sldId="10485"/>
            <ac:spMk id="109" creationId="{BBAA2621-CEE3-45B9-A27A-5E3B01CCE547}"/>
          </ac:spMkLst>
        </pc:spChg>
        <pc:spChg chg="mod ord">
          <ac:chgData name="Ugo MANTEL" userId="2d5b7065-31bb-4181-a7f8-a73bf0c30211" providerId="ADAL" clId="{9344D105-636D-4857-BD0F-AFC44A54BCCF}" dt="2021-05-25T14:20:11.618" v="28307" actId="790"/>
          <ac:spMkLst>
            <pc:docMk/>
            <pc:sldMk cId="85178067" sldId="10485"/>
            <ac:spMk id="113" creationId="{34780B37-667B-46AD-A90A-2E9A04B51827}"/>
          </ac:spMkLst>
        </pc:spChg>
        <pc:spChg chg="mod">
          <ac:chgData name="Ugo MANTEL" userId="2d5b7065-31bb-4181-a7f8-a73bf0c30211" providerId="ADAL" clId="{9344D105-636D-4857-BD0F-AFC44A54BCCF}" dt="2021-05-25T12:50:04.531" v="18461" actId="408"/>
          <ac:spMkLst>
            <pc:docMk/>
            <pc:sldMk cId="85178067" sldId="10485"/>
            <ac:spMk id="115" creationId="{6A4C58FE-5AEA-4FD2-9A97-403D8B58FA6D}"/>
          </ac:spMkLst>
        </pc:spChg>
        <pc:spChg chg="mod">
          <ac:chgData name="Ugo MANTEL" userId="2d5b7065-31bb-4181-a7f8-a73bf0c30211" providerId="ADAL" clId="{9344D105-636D-4857-BD0F-AFC44A54BCCF}" dt="2021-05-25T12:50:04.531" v="18461" actId="408"/>
          <ac:spMkLst>
            <pc:docMk/>
            <pc:sldMk cId="85178067" sldId="10485"/>
            <ac:spMk id="116" creationId="{8726275F-B4E8-4763-BB8A-6ECAFC4537F9}"/>
          </ac:spMkLst>
        </pc:spChg>
        <pc:spChg chg="mod">
          <ac:chgData name="Ugo MANTEL" userId="2d5b7065-31bb-4181-a7f8-a73bf0c30211" providerId="ADAL" clId="{9344D105-636D-4857-BD0F-AFC44A54BCCF}" dt="2021-05-25T12:24:51.875" v="18127" actId="1076"/>
          <ac:spMkLst>
            <pc:docMk/>
            <pc:sldMk cId="85178067" sldId="10485"/>
            <ac:spMk id="121" creationId="{B3D74C9A-F9FC-4552-B06E-DB2622B4F2A2}"/>
          </ac:spMkLst>
        </pc:spChg>
        <pc:spChg chg="mod">
          <ac:chgData name="Ugo MANTEL" userId="2d5b7065-31bb-4181-a7f8-a73bf0c30211" providerId="ADAL" clId="{9344D105-636D-4857-BD0F-AFC44A54BCCF}" dt="2021-05-25T12:24:51.875" v="18127" actId="1076"/>
          <ac:spMkLst>
            <pc:docMk/>
            <pc:sldMk cId="85178067" sldId="10485"/>
            <ac:spMk id="122" creationId="{79C67B36-70F9-4CAC-853D-F2E50C96F1C7}"/>
          </ac:spMkLst>
        </pc:spChg>
        <pc:spChg chg="mod">
          <ac:chgData name="Ugo MANTEL" userId="2d5b7065-31bb-4181-a7f8-a73bf0c30211" providerId="ADAL" clId="{9344D105-636D-4857-BD0F-AFC44A54BCCF}" dt="2021-05-25T12:23:36.075" v="18114" actId="1076"/>
          <ac:spMkLst>
            <pc:docMk/>
            <pc:sldMk cId="85178067" sldId="10485"/>
            <ac:spMk id="124" creationId="{1F0BA65E-ABAB-4F7D-A1C9-036AEF81130A}"/>
          </ac:spMkLst>
        </pc:spChg>
        <pc:spChg chg="mod">
          <ac:chgData name="Ugo MANTEL" userId="2d5b7065-31bb-4181-a7f8-a73bf0c30211" providerId="ADAL" clId="{9344D105-636D-4857-BD0F-AFC44A54BCCF}" dt="2021-05-25T12:23:36.075" v="18114" actId="1076"/>
          <ac:spMkLst>
            <pc:docMk/>
            <pc:sldMk cId="85178067" sldId="10485"/>
            <ac:spMk id="125" creationId="{957142BE-40DE-408C-AE23-2738DCAD96A0}"/>
          </ac:spMkLst>
        </pc:spChg>
        <pc:spChg chg="mod">
          <ac:chgData name="Ugo MANTEL" userId="2d5b7065-31bb-4181-a7f8-a73bf0c30211" providerId="ADAL" clId="{9344D105-636D-4857-BD0F-AFC44A54BCCF}" dt="2021-05-25T12:23:36.075" v="18114" actId="1076"/>
          <ac:spMkLst>
            <pc:docMk/>
            <pc:sldMk cId="85178067" sldId="10485"/>
            <ac:spMk id="127" creationId="{7C98CE62-68ED-4EF5-B29F-BB791918EB46}"/>
          </ac:spMkLst>
        </pc:spChg>
        <pc:spChg chg="mod">
          <ac:chgData name="Ugo MANTEL" userId="2d5b7065-31bb-4181-a7f8-a73bf0c30211" providerId="ADAL" clId="{9344D105-636D-4857-BD0F-AFC44A54BCCF}" dt="2021-05-25T12:23:36.075" v="18114" actId="1076"/>
          <ac:spMkLst>
            <pc:docMk/>
            <pc:sldMk cId="85178067" sldId="10485"/>
            <ac:spMk id="128" creationId="{3347CFEF-C1B7-4BA6-B6D0-B6771946B65E}"/>
          </ac:spMkLst>
        </pc:spChg>
        <pc:spChg chg="mod ord">
          <ac:chgData name="Ugo MANTEL" userId="2d5b7065-31bb-4181-a7f8-a73bf0c30211" providerId="ADAL" clId="{9344D105-636D-4857-BD0F-AFC44A54BCCF}" dt="2021-05-25T14:20:11.606" v="28296" actId="790"/>
          <ac:spMkLst>
            <pc:docMk/>
            <pc:sldMk cId="85178067" sldId="10485"/>
            <ac:spMk id="129" creationId="{D71975E8-6EB4-4EA3-B34C-4F9196C4ABBE}"/>
          </ac:spMkLst>
        </pc:spChg>
        <pc:spChg chg="mod ord">
          <ac:chgData name="Ugo MANTEL" userId="2d5b7065-31bb-4181-a7f8-a73bf0c30211" providerId="ADAL" clId="{9344D105-636D-4857-BD0F-AFC44A54BCCF}" dt="2021-05-25T14:20:11.606" v="28297" actId="790"/>
          <ac:spMkLst>
            <pc:docMk/>
            <pc:sldMk cId="85178067" sldId="10485"/>
            <ac:spMk id="133" creationId="{A342E216-A2F2-4FE4-89F9-E0010C3D7924}"/>
          </ac:spMkLst>
        </pc:spChg>
        <pc:spChg chg="del mod ord">
          <ac:chgData name="Ugo MANTEL" userId="2d5b7065-31bb-4181-a7f8-a73bf0c30211" providerId="ADAL" clId="{9344D105-636D-4857-BD0F-AFC44A54BCCF}" dt="2021-05-25T12:48:47.838" v="18438" actId="478"/>
          <ac:spMkLst>
            <pc:docMk/>
            <pc:sldMk cId="85178067" sldId="10485"/>
            <ac:spMk id="134" creationId="{70FE3725-42CC-4172-9F8D-F2B05517B173}"/>
          </ac:spMkLst>
        </pc:spChg>
        <pc:spChg chg="del mod ord">
          <ac:chgData name="Ugo MANTEL" userId="2d5b7065-31bb-4181-a7f8-a73bf0c30211" providerId="ADAL" clId="{9344D105-636D-4857-BD0F-AFC44A54BCCF}" dt="2021-05-25T12:48:31.087" v="18435" actId="478"/>
          <ac:spMkLst>
            <pc:docMk/>
            <pc:sldMk cId="85178067" sldId="10485"/>
            <ac:spMk id="135" creationId="{E9E47757-74E5-4C3A-8349-4DF9BC11DA26}"/>
          </ac:spMkLst>
        </pc:spChg>
        <pc:spChg chg="del mod ord">
          <ac:chgData name="Ugo MANTEL" userId="2d5b7065-31bb-4181-a7f8-a73bf0c30211" providerId="ADAL" clId="{9344D105-636D-4857-BD0F-AFC44A54BCCF}" dt="2021-05-25T12:26:25.538" v="18150" actId="478"/>
          <ac:spMkLst>
            <pc:docMk/>
            <pc:sldMk cId="85178067" sldId="10485"/>
            <ac:spMk id="136" creationId="{F5655A12-1321-41AD-A021-A3F6072E401C}"/>
          </ac:spMkLst>
        </pc:spChg>
        <pc:spChg chg="del mod ord">
          <ac:chgData name="Ugo MANTEL" userId="2d5b7065-31bb-4181-a7f8-a73bf0c30211" providerId="ADAL" clId="{9344D105-636D-4857-BD0F-AFC44A54BCCF}" dt="2021-05-25T12:26:25.538" v="18150" actId="478"/>
          <ac:spMkLst>
            <pc:docMk/>
            <pc:sldMk cId="85178067" sldId="10485"/>
            <ac:spMk id="137" creationId="{06AB971E-2F11-4688-B19E-8FA8645680CD}"/>
          </ac:spMkLst>
        </pc:spChg>
        <pc:spChg chg="del mod">
          <ac:chgData name="Ugo MANTEL" userId="2d5b7065-31bb-4181-a7f8-a73bf0c30211" providerId="ADAL" clId="{9344D105-636D-4857-BD0F-AFC44A54BCCF}" dt="2021-05-25T12:58:05.577" v="18835" actId="478"/>
          <ac:spMkLst>
            <pc:docMk/>
            <pc:sldMk cId="85178067" sldId="10485"/>
            <ac:spMk id="138" creationId="{683FE8D8-E48B-4F3C-ABFC-A1C90A49C024}"/>
          </ac:spMkLst>
        </pc:spChg>
        <pc:spChg chg="mod topLvl">
          <ac:chgData name="Ugo MANTEL" userId="2d5b7065-31bb-4181-a7f8-a73bf0c30211" providerId="ADAL" clId="{9344D105-636D-4857-BD0F-AFC44A54BCCF}" dt="2021-05-25T14:20:11.605" v="28295" actId="790"/>
          <ac:spMkLst>
            <pc:docMk/>
            <pc:sldMk cId="85178067" sldId="10485"/>
            <ac:spMk id="139" creationId="{8DA1D49F-7219-4276-AD3C-AD0D21AF958D}"/>
          </ac:spMkLst>
        </pc:spChg>
        <pc:spChg chg="del mod">
          <ac:chgData name="Ugo MANTEL" userId="2d5b7065-31bb-4181-a7f8-a73bf0c30211" providerId="ADAL" clId="{9344D105-636D-4857-BD0F-AFC44A54BCCF}" dt="2021-05-25T12:58:05.577" v="18835" actId="478"/>
          <ac:spMkLst>
            <pc:docMk/>
            <pc:sldMk cId="85178067" sldId="10485"/>
            <ac:spMk id="140" creationId="{3EC6C763-EE7F-43CF-B48A-26BF985BDAEF}"/>
          </ac:spMkLst>
        </pc:spChg>
        <pc:spChg chg="del mod">
          <ac:chgData name="Ugo MANTEL" userId="2d5b7065-31bb-4181-a7f8-a73bf0c30211" providerId="ADAL" clId="{9344D105-636D-4857-BD0F-AFC44A54BCCF}" dt="2021-05-25T12:44:51.933" v="18426" actId="478"/>
          <ac:spMkLst>
            <pc:docMk/>
            <pc:sldMk cId="85178067" sldId="10485"/>
            <ac:spMk id="141" creationId="{DF1533BA-45C1-4D01-98BB-FABB3D60EEBB}"/>
          </ac:spMkLst>
        </pc:spChg>
        <pc:spChg chg="add del mod">
          <ac:chgData name="Ugo MANTEL" userId="2d5b7065-31bb-4181-a7f8-a73bf0c30211" providerId="ADAL" clId="{9344D105-636D-4857-BD0F-AFC44A54BCCF}" dt="2021-05-25T12:49:11.904" v="18444" actId="478"/>
          <ac:spMkLst>
            <pc:docMk/>
            <pc:sldMk cId="85178067" sldId="10485"/>
            <ac:spMk id="142" creationId="{182AF1C0-2764-45EE-846A-90CB4673E24C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43" creationId="{2761A5C3-2A71-4BAF-9F08-35C7631E342A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44" creationId="{4E357F56-AFA2-43E5-8C00-04990F28E9D6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45" creationId="{D06304FF-C58F-4762-B1C9-DEFEDB0C6CBA}"/>
          </ac:spMkLst>
        </pc:spChg>
        <pc:spChg chg="add del mod">
          <ac:chgData name="Ugo MANTEL" userId="2d5b7065-31bb-4181-a7f8-a73bf0c30211" providerId="ADAL" clId="{9344D105-636D-4857-BD0F-AFC44A54BCCF}" dt="2021-05-25T12:29:48.919" v="18156" actId="478"/>
          <ac:spMkLst>
            <pc:docMk/>
            <pc:sldMk cId="85178067" sldId="10485"/>
            <ac:spMk id="146" creationId="{BEA0153E-5C98-45FA-BC5E-4307D5374F79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47" creationId="{A5A092D3-E447-448D-B3D2-DE30E7B55F3B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48" creationId="{F8BE7CB7-36E4-4B7E-8B97-F1088F8D7C19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49" creationId="{C423DDCE-1781-4CE8-8E6B-78C3D59BC1C5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50" creationId="{A6DA3B07-DC4E-4CF5-BC19-DEE681EF3B97}"/>
          </ac:spMkLst>
        </pc:spChg>
        <pc:spChg chg="add mod">
          <ac:chgData name="Ugo MANTEL" userId="2d5b7065-31bb-4181-a7f8-a73bf0c30211" providerId="ADAL" clId="{9344D105-636D-4857-BD0F-AFC44A54BCCF}" dt="2021-05-25T14:20:11.625" v="28311" actId="790"/>
          <ac:spMkLst>
            <pc:docMk/>
            <pc:sldMk cId="85178067" sldId="10485"/>
            <ac:spMk id="151" creationId="{AADD0AE8-89E7-4B0A-927A-4F917A013BC7}"/>
          </ac:spMkLst>
        </pc:spChg>
        <pc:spChg chg="add mod">
          <ac:chgData name="Ugo MANTEL" userId="2d5b7065-31bb-4181-a7f8-a73bf0c30211" providerId="ADAL" clId="{9344D105-636D-4857-BD0F-AFC44A54BCCF}" dt="2021-05-25T14:20:11.625" v="28312" actId="790"/>
          <ac:spMkLst>
            <pc:docMk/>
            <pc:sldMk cId="85178067" sldId="10485"/>
            <ac:spMk id="152" creationId="{FB0F78FA-AD20-409A-809B-1391FE11FCF6}"/>
          </ac:spMkLst>
        </pc:spChg>
        <pc:spChg chg="add mod">
          <ac:chgData name="Ugo MANTEL" userId="2d5b7065-31bb-4181-a7f8-a73bf0c30211" providerId="ADAL" clId="{9344D105-636D-4857-BD0F-AFC44A54BCCF}" dt="2021-05-25T14:20:11.626" v="28313" actId="790"/>
          <ac:spMkLst>
            <pc:docMk/>
            <pc:sldMk cId="85178067" sldId="10485"/>
            <ac:spMk id="153" creationId="{DFF887D5-93D9-43FD-A9EA-A8A5FF21C470}"/>
          </ac:spMkLst>
        </pc:spChg>
        <pc:spChg chg="add mod">
          <ac:chgData name="Ugo MANTEL" userId="2d5b7065-31bb-4181-a7f8-a73bf0c30211" providerId="ADAL" clId="{9344D105-636D-4857-BD0F-AFC44A54BCCF}" dt="2021-05-25T14:20:11.627" v="28314" actId="790"/>
          <ac:spMkLst>
            <pc:docMk/>
            <pc:sldMk cId="85178067" sldId="10485"/>
            <ac:spMk id="154" creationId="{11F0F952-C845-4C87-85C1-A79CE4CC86A8}"/>
          </ac:spMkLst>
        </pc:spChg>
        <pc:spChg chg="add mod">
          <ac:chgData name="Ugo MANTEL" userId="2d5b7065-31bb-4181-a7f8-a73bf0c30211" providerId="ADAL" clId="{9344D105-636D-4857-BD0F-AFC44A54BCCF}" dt="2021-05-25T14:20:11.629" v="28315" actId="790"/>
          <ac:spMkLst>
            <pc:docMk/>
            <pc:sldMk cId="85178067" sldId="10485"/>
            <ac:spMk id="155" creationId="{BFF0C264-EA7C-40EF-9800-6EBCBBD38827}"/>
          </ac:spMkLst>
        </pc:spChg>
        <pc:spChg chg="add mod">
          <ac:chgData name="Ugo MANTEL" userId="2d5b7065-31bb-4181-a7f8-a73bf0c30211" providerId="ADAL" clId="{9344D105-636D-4857-BD0F-AFC44A54BCCF}" dt="2021-05-25T14:20:11.631" v="28316" actId="790"/>
          <ac:spMkLst>
            <pc:docMk/>
            <pc:sldMk cId="85178067" sldId="10485"/>
            <ac:spMk id="156" creationId="{EA825694-5D20-44CA-90AC-3E6CCBEC36C1}"/>
          </ac:spMkLst>
        </pc:spChg>
        <pc:spChg chg="add mod">
          <ac:chgData name="Ugo MANTEL" userId="2d5b7065-31bb-4181-a7f8-a73bf0c30211" providerId="ADAL" clId="{9344D105-636D-4857-BD0F-AFC44A54BCCF}" dt="2021-05-25T14:20:11.632" v="28317" actId="790"/>
          <ac:spMkLst>
            <pc:docMk/>
            <pc:sldMk cId="85178067" sldId="10485"/>
            <ac:spMk id="157" creationId="{04A883BF-EE1E-4A89-AD00-5F8B5D99C836}"/>
          </ac:spMkLst>
        </pc:spChg>
        <pc:spChg chg="add mod">
          <ac:chgData name="Ugo MANTEL" userId="2d5b7065-31bb-4181-a7f8-a73bf0c30211" providerId="ADAL" clId="{9344D105-636D-4857-BD0F-AFC44A54BCCF}" dt="2021-05-25T14:20:11.633" v="28318" actId="790"/>
          <ac:spMkLst>
            <pc:docMk/>
            <pc:sldMk cId="85178067" sldId="10485"/>
            <ac:spMk id="158" creationId="{01F1F93B-54C2-41B4-8622-8E3F49F5FEBE}"/>
          </ac:spMkLst>
        </pc:spChg>
        <pc:spChg chg="add del mod">
          <ac:chgData name="Ugo MANTEL" userId="2d5b7065-31bb-4181-a7f8-a73bf0c30211" providerId="ADAL" clId="{9344D105-636D-4857-BD0F-AFC44A54BCCF}" dt="2021-05-25T12:37:17.454" v="18243" actId="478"/>
          <ac:spMkLst>
            <pc:docMk/>
            <pc:sldMk cId="85178067" sldId="10485"/>
            <ac:spMk id="159" creationId="{7B0956A4-177C-44A9-82DF-B6E2E218FAF5}"/>
          </ac:spMkLst>
        </pc:spChg>
        <pc:spChg chg="add mod">
          <ac:chgData name="Ugo MANTEL" userId="2d5b7065-31bb-4181-a7f8-a73bf0c30211" providerId="ADAL" clId="{9344D105-636D-4857-BD0F-AFC44A54BCCF}" dt="2021-05-25T14:20:11.635" v="28319" actId="790"/>
          <ac:spMkLst>
            <pc:docMk/>
            <pc:sldMk cId="85178067" sldId="10485"/>
            <ac:spMk id="160" creationId="{062AAC79-5C4A-4D39-8AB2-33268E5F0369}"/>
          </ac:spMkLst>
        </pc:spChg>
        <pc:spChg chg="add mod">
          <ac:chgData name="Ugo MANTEL" userId="2d5b7065-31bb-4181-a7f8-a73bf0c30211" providerId="ADAL" clId="{9344D105-636D-4857-BD0F-AFC44A54BCCF}" dt="2021-05-25T14:20:11.636" v="28320" actId="790"/>
          <ac:spMkLst>
            <pc:docMk/>
            <pc:sldMk cId="85178067" sldId="10485"/>
            <ac:spMk id="161" creationId="{C0E1501D-908E-42D2-90EC-E3FD87C98AE0}"/>
          </ac:spMkLst>
        </pc:spChg>
        <pc:spChg chg="add mod">
          <ac:chgData name="Ugo MANTEL" userId="2d5b7065-31bb-4181-a7f8-a73bf0c30211" providerId="ADAL" clId="{9344D105-636D-4857-BD0F-AFC44A54BCCF}" dt="2021-05-25T14:20:11.637" v="28321" actId="790"/>
          <ac:spMkLst>
            <pc:docMk/>
            <pc:sldMk cId="85178067" sldId="10485"/>
            <ac:spMk id="162" creationId="{638F9AF0-97B6-478B-A735-4FE0E2537C37}"/>
          </ac:spMkLst>
        </pc:spChg>
        <pc:spChg chg="mod">
          <ac:chgData name="Ugo MANTEL" userId="2d5b7065-31bb-4181-a7f8-a73bf0c30211" providerId="ADAL" clId="{9344D105-636D-4857-BD0F-AFC44A54BCCF}" dt="2021-05-25T12:25:08.341" v="18130" actId="12788"/>
          <ac:spMkLst>
            <pc:docMk/>
            <pc:sldMk cId="85178067" sldId="10485"/>
            <ac:spMk id="164" creationId="{6E854613-FB1A-4B2A-95F2-BE0FBE9416AA}"/>
          </ac:spMkLst>
        </pc:spChg>
        <pc:spChg chg="mod">
          <ac:chgData name="Ugo MANTEL" userId="2d5b7065-31bb-4181-a7f8-a73bf0c30211" providerId="ADAL" clId="{9344D105-636D-4857-BD0F-AFC44A54BCCF}" dt="2021-05-25T12:25:08.341" v="18130" actId="12788"/>
          <ac:spMkLst>
            <pc:docMk/>
            <pc:sldMk cId="85178067" sldId="10485"/>
            <ac:spMk id="165" creationId="{1DF8E79F-27DA-4F41-B86E-E3FFAAB23A2D}"/>
          </ac:spMkLst>
        </pc:spChg>
        <pc:spChg chg="mod">
          <ac:chgData name="Ugo MANTEL" userId="2d5b7065-31bb-4181-a7f8-a73bf0c30211" providerId="ADAL" clId="{9344D105-636D-4857-BD0F-AFC44A54BCCF}" dt="2021-05-25T12:26:05.803" v="18149" actId="12788"/>
          <ac:spMkLst>
            <pc:docMk/>
            <pc:sldMk cId="85178067" sldId="10485"/>
            <ac:spMk id="167" creationId="{5ED6894D-232F-47CE-8FBE-78CF2743C50D}"/>
          </ac:spMkLst>
        </pc:spChg>
        <pc:spChg chg="mod">
          <ac:chgData name="Ugo MANTEL" userId="2d5b7065-31bb-4181-a7f8-a73bf0c30211" providerId="ADAL" clId="{9344D105-636D-4857-BD0F-AFC44A54BCCF}" dt="2021-05-25T12:26:05.803" v="18149" actId="12788"/>
          <ac:spMkLst>
            <pc:docMk/>
            <pc:sldMk cId="85178067" sldId="10485"/>
            <ac:spMk id="168" creationId="{739CD144-03F0-4A61-A888-030294F219E9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69" creationId="{C045E306-59DE-485F-9CE0-5E33ABC1CD55}"/>
          </ac:spMkLst>
        </pc:spChg>
        <pc:spChg chg="add del mod">
          <ac:chgData name="Ugo MANTEL" userId="2d5b7065-31bb-4181-a7f8-a73bf0c30211" providerId="ADAL" clId="{9344D105-636D-4857-BD0F-AFC44A54BCCF}" dt="2021-05-25T13:03:12.772" v="18939" actId="478"/>
          <ac:spMkLst>
            <pc:docMk/>
            <pc:sldMk cId="85178067" sldId="10485"/>
            <ac:spMk id="170" creationId="{3A7C1B18-F8FA-447B-A729-316050AF994E}"/>
          </ac:spMkLst>
        </pc:spChg>
        <pc:spChg chg="add del mod">
          <ac:chgData name="Ugo MANTEL" userId="2d5b7065-31bb-4181-a7f8-a73bf0c30211" providerId="ADAL" clId="{9344D105-636D-4857-BD0F-AFC44A54BCCF}" dt="2021-05-25T12:42:43.364" v="18387" actId="478"/>
          <ac:spMkLst>
            <pc:docMk/>
            <pc:sldMk cId="85178067" sldId="10485"/>
            <ac:spMk id="171" creationId="{96426A6A-9B8E-4DAB-ADA7-3BFF0DD3DFDC}"/>
          </ac:spMkLst>
        </pc:spChg>
        <pc:spChg chg="add mod topLvl">
          <ac:chgData name="Ugo MANTEL" userId="2d5b7065-31bb-4181-a7f8-a73bf0c30211" providerId="ADAL" clId="{9344D105-636D-4857-BD0F-AFC44A54BCCF}" dt="2021-05-25T14:20:11.639" v="28322" actId="790"/>
          <ac:spMkLst>
            <pc:docMk/>
            <pc:sldMk cId="85178067" sldId="10485"/>
            <ac:spMk id="173" creationId="{30AA6C82-45D8-4BBA-8A37-31199045546A}"/>
          </ac:spMkLst>
        </pc:spChg>
        <pc:spChg chg="add mod">
          <ac:chgData name="Ugo MANTEL" userId="2d5b7065-31bb-4181-a7f8-a73bf0c30211" providerId="ADAL" clId="{9344D105-636D-4857-BD0F-AFC44A54BCCF}" dt="2021-05-25T14:20:11.640" v="28323" actId="790"/>
          <ac:spMkLst>
            <pc:docMk/>
            <pc:sldMk cId="85178067" sldId="10485"/>
            <ac:spMk id="177" creationId="{48441A43-43B3-4736-A4B9-E56FDF58DE3C}"/>
          </ac:spMkLst>
        </pc:spChg>
        <pc:spChg chg="add mod">
          <ac:chgData name="Ugo MANTEL" userId="2d5b7065-31bb-4181-a7f8-a73bf0c30211" providerId="ADAL" clId="{9344D105-636D-4857-BD0F-AFC44A54BCCF}" dt="2021-05-25T14:20:11.641" v="28324" actId="790"/>
          <ac:spMkLst>
            <pc:docMk/>
            <pc:sldMk cId="85178067" sldId="10485"/>
            <ac:spMk id="178" creationId="{AB22E7A1-3CF5-4C88-B06E-2496E9D33731}"/>
          </ac:spMkLst>
        </pc:spChg>
        <pc:spChg chg="add mod">
          <ac:chgData name="Ugo MANTEL" userId="2d5b7065-31bb-4181-a7f8-a73bf0c30211" providerId="ADAL" clId="{9344D105-636D-4857-BD0F-AFC44A54BCCF}" dt="2021-05-25T14:20:11.641" v="28325" actId="790"/>
          <ac:spMkLst>
            <pc:docMk/>
            <pc:sldMk cId="85178067" sldId="10485"/>
            <ac:spMk id="180" creationId="{8602A287-DA13-4D40-9968-4789E99A79E6}"/>
          </ac:spMkLst>
        </pc:spChg>
        <pc:spChg chg="add mod">
          <ac:chgData name="Ugo MANTEL" userId="2d5b7065-31bb-4181-a7f8-a73bf0c30211" providerId="ADAL" clId="{9344D105-636D-4857-BD0F-AFC44A54BCCF}" dt="2021-05-25T14:20:11.642" v="28326" actId="790"/>
          <ac:spMkLst>
            <pc:docMk/>
            <pc:sldMk cId="85178067" sldId="10485"/>
            <ac:spMk id="181" creationId="{94F7F19B-D578-4323-BA63-07D202BC998A}"/>
          </ac:spMkLst>
        </pc:spChg>
        <pc:spChg chg="add mod">
          <ac:chgData name="Ugo MANTEL" userId="2d5b7065-31bb-4181-a7f8-a73bf0c30211" providerId="ADAL" clId="{9344D105-636D-4857-BD0F-AFC44A54BCCF}" dt="2021-05-25T14:20:11.643" v="28327" actId="790"/>
          <ac:spMkLst>
            <pc:docMk/>
            <pc:sldMk cId="85178067" sldId="10485"/>
            <ac:spMk id="182" creationId="{E8D862A1-71AC-4F1E-85BB-FD93CA8F71F5}"/>
          </ac:spMkLst>
        </pc:spChg>
        <pc:spChg chg="add mod">
          <ac:chgData name="Ugo MANTEL" userId="2d5b7065-31bb-4181-a7f8-a73bf0c30211" providerId="ADAL" clId="{9344D105-636D-4857-BD0F-AFC44A54BCCF}" dt="2021-05-25T14:20:11.643" v="28328" actId="790"/>
          <ac:spMkLst>
            <pc:docMk/>
            <pc:sldMk cId="85178067" sldId="10485"/>
            <ac:spMk id="183" creationId="{1EF79789-4F09-40A9-8662-024DBC905D8F}"/>
          </ac:spMkLst>
        </pc:spChg>
        <pc:spChg chg="add mod">
          <ac:chgData name="Ugo MANTEL" userId="2d5b7065-31bb-4181-a7f8-a73bf0c30211" providerId="ADAL" clId="{9344D105-636D-4857-BD0F-AFC44A54BCCF}" dt="2021-05-25T14:20:11.644" v="28329" actId="790"/>
          <ac:spMkLst>
            <pc:docMk/>
            <pc:sldMk cId="85178067" sldId="10485"/>
            <ac:spMk id="184" creationId="{6B69893E-36F2-47E0-AE32-6A4236006FD0}"/>
          </ac:spMkLst>
        </pc:spChg>
        <pc:spChg chg="add mod">
          <ac:chgData name="Ugo MANTEL" userId="2d5b7065-31bb-4181-a7f8-a73bf0c30211" providerId="ADAL" clId="{9344D105-636D-4857-BD0F-AFC44A54BCCF}" dt="2021-05-25T14:20:11.645" v="28330" actId="790"/>
          <ac:spMkLst>
            <pc:docMk/>
            <pc:sldMk cId="85178067" sldId="10485"/>
            <ac:spMk id="185" creationId="{0D5B6030-D455-4327-BF54-46D225B7D5B4}"/>
          </ac:spMkLst>
        </pc:spChg>
        <pc:spChg chg="add mod">
          <ac:chgData name="Ugo MANTEL" userId="2d5b7065-31bb-4181-a7f8-a73bf0c30211" providerId="ADAL" clId="{9344D105-636D-4857-BD0F-AFC44A54BCCF}" dt="2021-05-25T14:20:11.646" v="28331" actId="790"/>
          <ac:spMkLst>
            <pc:docMk/>
            <pc:sldMk cId="85178067" sldId="10485"/>
            <ac:spMk id="186" creationId="{4F70A64C-D54F-4D4F-947B-E1D9F2C3FAD5}"/>
          </ac:spMkLst>
        </pc:spChg>
        <pc:spChg chg="add mod">
          <ac:chgData name="Ugo MANTEL" userId="2d5b7065-31bb-4181-a7f8-a73bf0c30211" providerId="ADAL" clId="{9344D105-636D-4857-BD0F-AFC44A54BCCF}" dt="2021-05-25T14:20:11.647" v="28332" actId="790"/>
          <ac:spMkLst>
            <pc:docMk/>
            <pc:sldMk cId="85178067" sldId="10485"/>
            <ac:spMk id="187" creationId="{AA5AE0C7-0A95-425C-A721-482BD3CCD46C}"/>
          </ac:spMkLst>
        </pc:spChg>
        <pc:spChg chg="add mod">
          <ac:chgData name="Ugo MANTEL" userId="2d5b7065-31bb-4181-a7f8-a73bf0c30211" providerId="ADAL" clId="{9344D105-636D-4857-BD0F-AFC44A54BCCF}" dt="2021-05-25T14:20:11.647" v="28333" actId="790"/>
          <ac:spMkLst>
            <pc:docMk/>
            <pc:sldMk cId="85178067" sldId="10485"/>
            <ac:spMk id="188" creationId="{6F0979D6-9108-40BF-AB8E-B1E58DE7E9F0}"/>
          </ac:spMkLst>
        </pc:spChg>
        <pc:spChg chg="add mod">
          <ac:chgData name="Ugo MANTEL" userId="2d5b7065-31bb-4181-a7f8-a73bf0c30211" providerId="ADAL" clId="{9344D105-636D-4857-BD0F-AFC44A54BCCF}" dt="2021-05-25T14:20:11.648" v="28334" actId="790"/>
          <ac:spMkLst>
            <pc:docMk/>
            <pc:sldMk cId="85178067" sldId="10485"/>
            <ac:spMk id="189" creationId="{FCBD90EE-E6C9-4612-8BDC-9B17D16B9AB9}"/>
          </ac:spMkLst>
        </pc:spChg>
        <pc:spChg chg="add mod">
          <ac:chgData name="Ugo MANTEL" userId="2d5b7065-31bb-4181-a7f8-a73bf0c30211" providerId="ADAL" clId="{9344D105-636D-4857-BD0F-AFC44A54BCCF}" dt="2021-05-25T14:20:11.648" v="28335" actId="790"/>
          <ac:spMkLst>
            <pc:docMk/>
            <pc:sldMk cId="85178067" sldId="10485"/>
            <ac:spMk id="190" creationId="{1CF0CFB0-0DDB-4C47-839E-B617A8CC8E43}"/>
          </ac:spMkLst>
        </pc:spChg>
        <pc:spChg chg="add mod">
          <ac:chgData name="Ugo MANTEL" userId="2d5b7065-31bb-4181-a7f8-a73bf0c30211" providerId="ADAL" clId="{9344D105-636D-4857-BD0F-AFC44A54BCCF}" dt="2021-05-25T14:20:11.649" v="28336" actId="790"/>
          <ac:spMkLst>
            <pc:docMk/>
            <pc:sldMk cId="85178067" sldId="10485"/>
            <ac:spMk id="191" creationId="{8F4A4BF7-40A0-4796-B413-4C4C619D5DB7}"/>
          </ac:spMkLst>
        </pc:spChg>
        <pc:grpChg chg="del mod">
          <ac:chgData name="Ugo MANTEL" userId="2d5b7065-31bb-4181-a7f8-a73bf0c30211" providerId="ADAL" clId="{9344D105-636D-4857-BD0F-AFC44A54BCCF}" dt="2021-05-25T12:49:44.355" v="18457" actId="165"/>
          <ac:grpSpMkLst>
            <pc:docMk/>
            <pc:sldMk cId="85178067" sldId="10485"/>
            <ac:grpSpMk id="4" creationId="{D2751CD2-283F-4565-A56B-C94C4DDF9D9B}"/>
          </ac:grpSpMkLst>
        </pc:grpChg>
        <pc:grpChg chg="mod">
          <ac:chgData name="Ugo MANTEL" userId="2d5b7065-31bb-4181-a7f8-a73bf0c30211" providerId="ADAL" clId="{9344D105-636D-4857-BD0F-AFC44A54BCCF}" dt="2021-05-25T12:50:04.531" v="18461" actId="408"/>
          <ac:grpSpMkLst>
            <pc:docMk/>
            <pc:sldMk cId="85178067" sldId="10485"/>
            <ac:grpSpMk id="5" creationId="{C2F84A0B-2FB6-4ECF-8DBA-898ACC3D08C5}"/>
          </ac:grpSpMkLst>
        </pc:grpChg>
        <pc:grpChg chg="mod">
          <ac:chgData name="Ugo MANTEL" userId="2d5b7065-31bb-4181-a7f8-a73bf0c30211" providerId="ADAL" clId="{9344D105-636D-4857-BD0F-AFC44A54BCCF}" dt="2021-05-25T12:50:04.531" v="18461" actId="408"/>
          <ac:grpSpMkLst>
            <pc:docMk/>
            <pc:sldMk cId="85178067" sldId="10485"/>
            <ac:grpSpMk id="6" creationId="{37076D58-9404-4D57-A55B-DAC900B83417}"/>
          </ac:grpSpMkLst>
        </pc:grpChg>
        <pc:grpChg chg="add mod">
          <ac:chgData name="Ugo MANTEL" userId="2d5b7065-31bb-4181-a7f8-a73bf0c30211" providerId="ADAL" clId="{9344D105-636D-4857-BD0F-AFC44A54BCCF}" dt="2021-05-25T12:50:04.531" v="18461" actId="408"/>
          <ac:grpSpMkLst>
            <pc:docMk/>
            <pc:sldMk cId="85178067" sldId="10485"/>
            <ac:grpSpMk id="11" creationId="{75676345-7638-4DD0-8FB6-8B0BE35420ED}"/>
          </ac:grpSpMkLst>
        </pc:grpChg>
        <pc:grpChg chg="add mod">
          <ac:chgData name="Ugo MANTEL" userId="2d5b7065-31bb-4181-a7f8-a73bf0c30211" providerId="ADAL" clId="{9344D105-636D-4857-BD0F-AFC44A54BCCF}" dt="2021-05-25T12:50:04.531" v="18461" actId="408"/>
          <ac:grpSpMkLst>
            <pc:docMk/>
            <pc:sldMk cId="85178067" sldId="10485"/>
            <ac:grpSpMk id="13" creationId="{D6D06ABA-8C10-48BA-90F6-592965702DB6}"/>
          </ac:grpSpMkLst>
        </pc:grpChg>
        <pc:grpChg chg="add del mod">
          <ac:chgData name="Ugo MANTEL" userId="2d5b7065-31bb-4181-a7f8-a73bf0c30211" providerId="ADAL" clId="{9344D105-636D-4857-BD0F-AFC44A54BCCF}" dt="2021-05-25T12:53:44.112" v="18531" actId="478"/>
          <ac:grpSpMkLst>
            <pc:docMk/>
            <pc:sldMk cId="85178067" sldId="10485"/>
            <ac:grpSpMk id="86" creationId="{7C8D18A9-E702-488F-8E08-5768A3F3652C}"/>
          </ac:grpSpMkLst>
        </pc:grpChg>
        <pc:grpChg chg="mod">
          <ac:chgData name="Ugo MANTEL" userId="2d5b7065-31bb-4181-a7f8-a73bf0c30211" providerId="ADAL" clId="{9344D105-636D-4857-BD0F-AFC44A54BCCF}" dt="2021-05-25T12:49:53.382" v="18458" actId="12789"/>
          <ac:grpSpMkLst>
            <pc:docMk/>
            <pc:sldMk cId="85178067" sldId="10485"/>
            <ac:grpSpMk id="92" creationId="{080151CE-2118-4CA4-BE36-D41509DAAA67}"/>
          </ac:grpSpMkLst>
        </pc:grpChg>
        <pc:grpChg chg="mod">
          <ac:chgData name="Ugo MANTEL" userId="2d5b7065-31bb-4181-a7f8-a73bf0c30211" providerId="ADAL" clId="{9344D105-636D-4857-BD0F-AFC44A54BCCF}" dt="2021-05-25T12:50:04.531" v="18461" actId="408"/>
          <ac:grpSpMkLst>
            <pc:docMk/>
            <pc:sldMk cId="85178067" sldId="10485"/>
            <ac:grpSpMk id="100" creationId="{FBCF54A0-A61A-421C-8BCD-2795A7CCBAF3}"/>
          </ac:grpSpMkLst>
        </pc:grpChg>
        <pc:grpChg chg="mod topLvl">
          <ac:chgData name="Ugo MANTEL" userId="2d5b7065-31bb-4181-a7f8-a73bf0c30211" providerId="ADAL" clId="{9344D105-636D-4857-BD0F-AFC44A54BCCF}" dt="2021-05-25T12:50:04.531" v="18461" actId="408"/>
          <ac:grpSpMkLst>
            <pc:docMk/>
            <pc:sldMk cId="85178067" sldId="10485"/>
            <ac:grpSpMk id="114" creationId="{04D37A1A-67C9-47A6-B3A9-A53C671C124B}"/>
          </ac:grpSpMkLst>
        </pc:grpChg>
        <pc:grpChg chg="mod">
          <ac:chgData name="Ugo MANTEL" userId="2d5b7065-31bb-4181-a7f8-a73bf0c30211" providerId="ADAL" clId="{9344D105-636D-4857-BD0F-AFC44A54BCCF}" dt="2021-05-25T09:32:18.390" v="13008"/>
          <ac:grpSpMkLst>
            <pc:docMk/>
            <pc:sldMk cId="85178067" sldId="10485"/>
            <ac:grpSpMk id="117" creationId="{C1A6053F-1EE1-478D-B8D5-E37BD970B069}"/>
          </ac:grpSpMkLst>
        </pc:grpChg>
        <pc:grpChg chg="add del mod">
          <ac:chgData name="Ugo MANTEL" userId="2d5b7065-31bb-4181-a7f8-a73bf0c30211" providerId="ADAL" clId="{9344D105-636D-4857-BD0F-AFC44A54BCCF}" dt="2021-05-25T12:53:43.644" v="18530" actId="478"/>
          <ac:grpSpMkLst>
            <pc:docMk/>
            <pc:sldMk cId="85178067" sldId="10485"/>
            <ac:grpSpMk id="120" creationId="{836067BF-A926-4C0B-AB18-2D08FCA9200A}"/>
          </ac:grpSpMkLst>
        </pc:grpChg>
        <pc:grpChg chg="del mod">
          <ac:chgData name="Ugo MANTEL" userId="2d5b7065-31bb-4181-a7f8-a73bf0c30211" providerId="ADAL" clId="{9344D105-636D-4857-BD0F-AFC44A54BCCF}" dt="2021-05-25T12:49:02.137" v="18443" actId="478"/>
          <ac:grpSpMkLst>
            <pc:docMk/>
            <pc:sldMk cId="85178067" sldId="10485"/>
            <ac:grpSpMk id="123" creationId="{7D8E6618-2876-4C35-932F-43E19ED46C1E}"/>
          </ac:grpSpMkLst>
        </pc:grpChg>
        <pc:grpChg chg="del mod">
          <ac:chgData name="Ugo MANTEL" userId="2d5b7065-31bb-4181-a7f8-a73bf0c30211" providerId="ADAL" clId="{9344D105-636D-4857-BD0F-AFC44A54BCCF}" dt="2021-05-25T12:48:49.374" v="18439" actId="478"/>
          <ac:grpSpMkLst>
            <pc:docMk/>
            <pc:sldMk cId="85178067" sldId="10485"/>
            <ac:grpSpMk id="126" creationId="{A6B80790-D3E4-48E1-9CE6-2C2ABD766657}"/>
          </ac:grpSpMkLst>
        </pc:grpChg>
        <pc:grpChg chg="mod">
          <ac:chgData name="Ugo MANTEL" userId="2d5b7065-31bb-4181-a7f8-a73bf0c30211" providerId="ADAL" clId="{9344D105-636D-4857-BD0F-AFC44A54BCCF}" dt="2021-05-25T09:32:18.392" v="13012"/>
          <ac:grpSpMkLst>
            <pc:docMk/>
            <pc:sldMk cId="85178067" sldId="10485"/>
            <ac:grpSpMk id="130" creationId="{75179E26-F910-4980-8F76-E1AB885C1BA1}"/>
          </ac:grpSpMkLst>
        </pc:grpChg>
        <pc:grpChg chg="add mod">
          <ac:chgData name="Ugo MANTEL" userId="2d5b7065-31bb-4181-a7f8-a73bf0c30211" providerId="ADAL" clId="{9344D105-636D-4857-BD0F-AFC44A54BCCF}" dt="2021-05-25T12:25:08.341" v="18130" actId="12788"/>
          <ac:grpSpMkLst>
            <pc:docMk/>
            <pc:sldMk cId="85178067" sldId="10485"/>
            <ac:grpSpMk id="163" creationId="{706828F6-B6DB-4A6E-BDBB-A8C1C7DB7339}"/>
          </ac:grpSpMkLst>
        </pc:grpChg>
        <pc:grpChg chg="add mod">
          <ac:chgData name="Ugo MANTEL" userId="2d5b7065-31bb-4181-a7f8-a73bf0c30211" providerId="ADAL" clId="{9344D105-636D-4857-BD0F-AFC44A54BCCF}" dt="2021-05-25T12:26:05.803" v="18149" actId="12788"/>
          <ac:grpSpMkLst>
            <pc:docMk/>
            <pc:sldMk cId="85178067" sldId="10485"/>
            <ac:grpSpMk id="166" creationId="{FE7CEE03-76DF-4FF2-90C4-6538D452D043}"/>
          </ac:grpSpMkLst>
        </pc:grpChg>
        <pc:grpChg chg="add del mod">
          <ac:chgData name="Ugo MANTEL" userId="2d5b7065-31bb-4181-a7f8-a73bf0c30211" providerId="ADAL" clId="{9344D105-636D-4857-BD0F-AFC44A54BCCF}" dt="2021-05-25T12:53:42.853" v="18529"/>
          <ac:grpSpMkLst>
            <pc:docMk/>
            <pc:sldMk cId="85178067" sldId="10485"/>
            <ac:grpSpMk id="174" creationId="{A1CD0AEC-A9D2-4AB0-9056-C2FF6CC66252}"/>
          </ac:grpSpMkLst>
        </pc:grpChg>
        <pc:graphicFrameChg chg="mod">
          <ac:chgData name="Ugo MANTEL" userId="2d5b7065-31bb-4181-a7f8-a73bf0c30211" providerId="ADAL" clId="{9344D105-636D-4857-BD0F-AFC44A54BCCF}" dt="2021-05-25T09:39:12.377" v="15460"/>
          <ac:graphicFrameMkLst>
            <pc:docMk/>
            <pc:sldMk cId="85178067" sldId="10485"/>
            <ac:graphicFrameMk id="18" creationId="{597710FC-936F-4224-8A0A-F67D6B18BBF7}"/>
          </ac:graphicFrameMkLst>
        </pc:graphicFrameChg>
        <pc:picChg chg="add mod">
          <ac:chgData name="Ugo MANTEL" userId="2d5b7065-31bb-4181-a7f8-a73bf0c30211" providerId="ADAL" clId="{9344D105-636D-4857-BD0F-AFC44A54BCCF}" dt="2021-05-25T12:25:51.163" v="18147" actId="207"/>
          <ac:picMkLst>
            <pc:docMk/>
            <pc:sldMk cId="85178067" sldId="10485"/>
            <ac:picMk id="8" creationId="{0962FFF0-BBCC-4CA8-A1AD-5D8A61D892D2}"/>
          </ac:picMkLst>
        </pc:picChg>
        <pc:picChg chg="mod ord">
          <ac:chgData name="Ugo MANTEL" userId="2d5b7065-31bb-4181-a7f8-a73bf0c30211" providerId="ADAL" clId="{9344D105-636D-4857-BD0F-AFC44A54BCCF}" dt="2021-05-25T12:36:39.666" v="18238" actId="1076"/>
          <ac:picMkLst>
            <pc:docMk/>
            <pc:sldMk cId="85178067" sldId="10485"/>
            <ac:picMk id="69" creationId="{4E738C09-39D3-4E6E-9EEA-BA8828CB11DA}"/>
          </ac:picMkLst>
        </pc:picChg>
        <pc:picChg chg="mod ord">
          <ac:chgData name="Ugo MANTEL" userId="2d5b7065-31bb-4181-a7f8-a73bf0c30211" providerId="ADAL" clId="{9344D105-636D-4857-BD0F-AFC44A54BCCF}" dt="2021-05-25T13:01:52.190" v="18937" actId="1076"/>
          <ac:picMkLst>
            <pc:docMk/>
            <pc:sldMk cId="85178067" sldId="10485"/>
            <ac:picMk id="70" creationId="{AAC5393B-BE2C-4077-89C2-3AEDA0020F41}"/>
          </ac:picMkLst>
        </pc:picChg>
        <pc:picChg chg="mod ord">
          <ac:chgData name="Ugo MANTEL" userId="2d5b7065-31bb-4181-a7f8-a73bf0c30211" providerId="ADAL" clId="{9344D105-636D-4857-BD0F-AFC44A54BCCF}" dt="2021-05-25T12:56:21.707" v="18834" actId="1076"/>
          <ac:picMkLst>
            <pc:docMk/>
            <pc:sldMk cId="85178067" sldId="10485"/>
            <ac:picMk id="71" creationId="{60D5A66A-AADF-4F9A-876E-DFE4685862BC}"/>
          </ac:picMkLst>
        </pc:picChg>
        <pc:picChg chg="del mod ord">
          <ac:chgData name="Ugo MANTEL" userId="2d5b7065-31bb-4181-a7f8-a73bf0c30211" providerId="ADAL" clId="{9344D105-636D-4857-BD0F-AFC44A54BCCF}" dt="2021-05-25T13:03:12.772" v="18939" actId="478"/>
          <ac:picMkLst>
            <pc:docMk/>
            <pc:sldMk cId="85178067" sldId="10485"/>
            <ac:picMk id="79" creationId="{8441BE2E-4056-4577-9086-AE6E583C7A5A}"/>
          </ac:picMkLst>
        </pc:picChg>
        <pc:picChg chg="add mod">
          <ac:chgData name="Ugo MANTEL" userId="2d5b7065-31bb-4181-a7f8-a73bf0c30211" providerId="ADAL" clId="{9344D105-636D-4857-BD0F-AFC44A54BCCF}" dt="2021-05-25T12:49:56.772" v="18459" actId="164"/>
          <ac:picMkLst>
            <pc:docMk/>
            <pc:sldMk cId="85178067" sldId="10485"/>
            <ac:picMk id="172" creationId="{4907DED3-B1CA-41F9-9636-B9E116DBBC65}"/>
          </ac:picMkLst>
        </pc:picChg>
        <pc:picChg chg="mod">
          <ac:chgData name="Ugo MANTEL" userId="2d5b7065-31bb-4181-a7f8-a73bf0c30211" providerId="ADAL" clId="{9344D105-636D-4857-BD0F-AFC44A54BCCF}" dt="2021-05-25T12:53:36.727" v="18524"/>
          <ac:picMkLst>
            <pc:docMk/>
            <pc:sldMk cId="85178067" sldId="10485"/>
            <ac:picMk id="175" creationId="{E0D1078C-30DF-4D9F-9BCA-AEB51AEF13A4}"/>
          </ac:picMkLst>
        </pc:picChg>
        <pc:picChg chg="mod">
          <ac:chgData name="Ugo MANTEL" userId="2d5b7065-31bb-4181-a7f8-a73bf0c30211" providerId="ADAL" clId="{9344D105-636D-4857-BD0F-AFC44A54BCCF}" dt="2021-05-25T12:53:36.727" v="18524"/>
          <ac:picMkLst>
            <pc:docMk/>
            <pc:sldMk cId="85178067" sldId="10485"/>
            <ac:picMk id="176" creationId="{E3BE803F-69A1-442E-97C2-FDB6DE7E9575}"/>
          </ac:picMkLst>
        </pc:picChg>
        <pc:picChg chg="add mod">
          <ac:chgData name="Ugo MANTEL" userId="2d5b7065-31bb-4181-a7f8-a73bf0c30211" providerId="ADAL" clId="{9344D105-636D-4857-BD0F-AFC44A54BCCF}" dt="2021-05-25T13:03:13.249" v="18940"/>
          <ac:picMkLst>
            <pc:docMk/>
            <pc:sldMk cId="85178067" sldId="10485"/>
            <ac:picMk id="179" creationId="{50677FBF-C740-4DA1-A98E-85BF7FB1AC84}"/>
          </ac:picMkLst>
        </pc:picChg>
      </pc:sldChg>
      <pc:sldChg chg="modSp del mod">
        <pc:chgData name="Ugo MANTEL" userId="2d5b7065-31bb-4181-a7f8-a73bf0c30211" providerId="ADAL" clId="{9344D105-636D-4857-BD0F-AFC44A54BCCF}" dt="2021-05-25T15:08:48.111" v="37733" actId="18676"/>
        <pc:sldMkLst>
          <pc:docMk/>
          <pc:sldMk cId="2970783801" sldId="10486"/>
        </pc:sldMkLst>
        <pc:spChg chg="mod">
          <ac:chgData name="Ugo MANTEL" userId="2d5b7065-31bb-4181-a7f8-a73bf0c30211" providerId="ADAL" clId="{9344D105-636D-4857-BD0F-AFC44A54BCCF}" dt="2021-05-25T14:20:13.674" v="30384" actId="790"/>
          <ac:spMkLst>
            <pc:docMk/>
            <pc:sldMk cId="2970783801" sldId="10486"/>
            <ac:spMk id="2" creationId="{5D79E977-AA1E-485B-8A01-E93F32111B97}"/>
          </ac:spMkLst>
        </pc:spChg>
        <pc:spChg chg="mod">
          <ac:chgData name="Ugo MANTEL" userId="2d5b7065-31bb-4181-a7f8-a73bf0c30211" providerId="ADAL" clId="{9344D105-636D-4857-BD0F-AFC44A54BCCF}" dt="2021-05-25T14:20:13.686" v="30393" actId="790"/>
          <ac:spMkLst>
            <pc:docMk/>
            <pc:sldMk cId="2970783801" sldId="10486"/>
            <ac:spMk id="8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80" v="30390" actId="790"/>
          <ac:spMkLst>
            <pc:docMk/>
            <pc:sldMk cId="2970783801" sldId="10486"/>
            <ac:spMk id="9" creationId="{02B09B86-63EB-478A-A1B9-73EB0B102213}"/>
          </ac:spMkLst>
        </pc:spChg>
        <pc:spChg chg="mod">
          <ac:chgData name="Ugo MANTEL" userId="2d5b7065-31bb-4181-a7f8-a73bf0c30211" providerId="ADAL" clId="{9344D105-636D-4857-BD0F-AFC44A54BCCF}" dt="2021-05-25T14:20:13.675" v="30385" actId="790"/>
          <ac:spMkLst>
            <pc:docMk/>
            <pc:sldMk cId="2970783801" sldId="10486"/>
            <ac:spMk id="10" creationId="{35E020ED-F5CE-43BF-B644-9BAA4063B2A4}"/>
          </ac:spMkLst>
        </pc:spChg>
        <pc:spChg chg="mod">
          <ac:chgData name="Ugo MANTEL" userId="2d5b7065-31bb-4181-a7f8-a73bf0c30211" providerId="ADAL" clId="{9344D105-636D-4857-BD0F-AFC44A54BCCF}" dt="2021-05-25T14:20:13.676" v="30386" actId="790"/>
          <ac:spMkLst>
            <pc:docMk/>
            <pc:sldMk cId="2970783801" sldId="10486"/>
            <ac:spMk id="12" creationId="{17ACB834-4B29-46A1-8305-C573136B1B39}"/>
          </ac:spMkLst>
        </pc:spChg>
        <pc:spChg chg="mod">
          <ac:chgData name="Ugo MANTEL" userId="2d5b7065-31bb-4181-a7f8-a73bf0c30211" providerId="ADAL" clId="{9344D105-636D-4857-BD0F-AFC44A54BCCF}" dt="2021-05-25T14:20:13.687" v="30394" actId="790"/>
          <ac:spMkLst>
            <pc:docMk/>
            <pc:sldMk cId="2970783801" sldId="10486"/>
            <ac:spMk id="13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77" v="30387" actId="790"/>
          <ac:spMkLst>
            <pc:docMk/>
            <pc:sldMk cId="2970783801" sldId="10486"/>
            <ac:spMk id="14" creationId="{1033C433-7522-4EDA-9187-702F506345A0}"/>
          </ac:spMkLst>
        </pc:spChg>
        <pc:spChg chg="mod">
          <ac:chgData name="Ugo MANTEL" userId="2d5b7065-31bb-4181-a7f8-a73bf0c30211" providerId="ADAL" clId="{9344D105-636D-4857-BD0F-AFC44A54BCCF}" dt="2021-05-25T14:20:13.678" v="30388" actId="790"/>
          <ac:spMkLst>
            <pc:docMk/>
            <pc:sldMk cId="2970783801" sldId="10486"/>
            <ac:spMk id="15" creationId="{CEFA4725-CB21-4B2C-A186-C70732A4705C}"/>
          </ac:spMkLst>
        </pc:spChg>
        <pc:spChg chg="mod">
          <ac:chgData name="Ugo MANTEL" userId="2d5b7065-31bb-4181-a7f8-a73bf0c30211" providerId="ADAL" clId="{9344D105-636D-4857-BD0F-AFC44A54BCCF}" dt="2021-05-25T14:20:13.679" v="30389" actId="790"/>
          <ac:spMkLst>
            <pc:docMk/>
            <pc:sldMk cId="2970783801" sldId="10486"/>
            <ac:spMk id="16" creationId="{6546156D-9B65-4AC1-8D80-88505BD08537}"/>
          </ac:spMkLst>
        </pc:spChg>
        <pc:spChg chg="mod">
          <ac:chgData name="Ugo MANTEL" userId="2d5b7065-31bb-4181-a7f8-a73bf0c30211" providerId="ADAL" clId="{9344D105-636D-4857-BD0F-AFC44A54BCCF}" dt="2021-05-25T14:20:13.669" v="30382" actId="790"/>
          <ac:spMkLst>
            <pc:docMk/>
            <pc:sldMk cId="2970783801" sldId="10486"/>
            <ac:spMk id="17" creationId="{93C43DF0-5B80-4873-976E-9DCC9459DEE9}"/>
          </ac:spMkLst>
        </pc:spChg>
        <pc:spChg chg="mod">
          <ac:chgData name="Ugo MANTEL" userId="2d5b7065-31bb-4181-a7f8-a73bf0c30211" providerId="ADAL" clId="{9344D105-636D-4857-BD0F-AFC44A54BCCF}" dt="2021-05-25T14:20:13.673" v="30383" actId="790"/>
          <ac:spMkLst>
            <pc:docMk/>
            <pc:sldMk cId="2970783801" sldId="10486"/>
            <ac:spMk id="19" creationId="{34792A96-E177-45FE-8A1C-54080EF644FD}"/>
          </ac:spMkLst>
        </pc:spChg>
        <pc:spChg chg="mod">
          <ac:chgData name="Ugo MANTEL" userId="2d5b7065-31bb-4181-a7f8-a73bf0c30211" providerId="ADAL" clId="{9344D105-636D-4857-BD0F-AFC44A54BCCF}" dt="2021-05-25T14:20:13.696" v="30402" actId="790"/>
          <ac:spMkLst>
            <pc:docMk/>
            <pc:sldMk cId="2970783801" sldId="10486"/>
            <ac:spMk id="20" creationId="{CF43FFDF-1514-417B-8DD3-055802931621}"/>
          </ac:spMkLst>
        </pc:spChg>
        <pc:spChg chg="mod">
          <ac:chgData name="Ugo MANTEL" userId="2d5b7065-31bb-4181-a7f8-a73bf0c30211" providerId="ADAL" clId="{9344D105-636D-4857-BD0F-AFC44A54BCCF}" dt="2021-05-25T14:20:13.701" v="30403" actId="790"/>
          <ac:spMkLst>
            <pc:docMk/>
            <pc:sldMk cId="2970783801" sldId="10486"/>
            <ac:spMk id="21" creationId="{3CBA4C50-DBB5-4C5E-A8E6-B2C4564C2D94}"/>
          </ac:spMkLst>
        </pc:spChg>
        <pc:spChg chg="mod">
          <ac:chgData name="Ugo MANTEL" userId="2d5b7065-31bb-4181-a7f8-a73bf0c30211" providerId="ADAL" clId="{9344D105-636D-4857-BD0F-AFC44A54BCCF}" dt="2021-05-25T14:20:13.702" v="30404" actId="790"/>
          <ac:spMkLst>
            <pc:docMk/>
            <pc:sldMk cId="2970783801" sldId="10486"/>
            <ac:spMk id="22" creationId="{43822D74-25F7-4476-8B1E-2346DA56E4D6}"/>
          </ac:spMkLst>
        </pc:spChg>
        <pc:spChg chg="mod">
          <ac:chgData name="Ugo MANTEL" userId="2d5b7065-31bb-4181-a7f8-a73bf0c30211" providerId="ADAL" clId="{9344D105-636D-4857-BD0F-AFC44A54BCCF}" dt="2021-05-25T14:20:13.681" v="30391" actId="790"/>
          <ac:spMkLst>
            <pc:docMk/>
            <pc:sldMk cId="2970783801" sldId="10486"/>
            <ac:spMk id="25" creationId="{5146D732-EFA5-477C-B0A6-85AD09BD0B4D}"/>
          </ac:spMkLst>
        </pc:spChg>
        <pc:spChg chg="mod">
          <ac:chgData name="Ugo MANTEL" userId="2d5b7065-31bb-4181-a7f8-a73bf0c30211" providerId="ADAL" clId="{9344D105-636D-4857-BD0F-AFC44A54BCCF}" dt="2021-05-25T14:20:13.666" v="30381" actId="790"/>
          <ac:spMkLst>
            <pc:docMk/>
            <pc:sldMk cId="2970783801" sldId="10486"/>
            <ac:spMk id="26" creationId="{141BDBD6-FC39-484B-80B4-A5A00C8A001E}"/>
          </ac:spMkLst>
        </pc:spChg>
        <pc:spChg chg="mod">
          <ac:chgData name="Ugo MANTEL" userId="2d5b7065-31bb-4181-a7f8-a73bf0c30211" providerId="ADAL" clId="{9344D105-636D-4857-BD0F-AFC44A54BCCF}" dt="2021-05-25T14:20:13.688" v="30395" actId="790"/>
          <ac:spMkLst>
            <pc:docMk/>
            <pc:sldMk cId="2970783801" sldId="10486"/>
            <ac:spMk id="27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88" v="30396" actId="790"/>
          <ac:spMkLst>
            <pc:docMk/>
            <pc:sldMk cId="2970783801" sldId="10486"/>
            <ac:spMk id="28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85" v="30392" actId="790"/>
          <ac:spMkLst>
            <pc:docMk/>
            <pc:sldMk cId="2970783801" sldId="10486"/>
            <ac:spMk id="34" creationId="{504918DD-5AAF-4442-83FD-97BE3D7438E6}"/>
          </ac:spMkLst>
        </pc:spChg>
        <pc:spChg chg="mod">
          <ac:chgData name="Ugo MANTEL" userId="2d5b7065-31bb-4181-a7f8-a73bf0c30211" providerId="ADAL" clId="{9344D105-636D-4857-BD0F-AFC44A54BCCF}" dt="2021-05-25T14:20:13.689" v="30397" actId="790"/>
          <ac:spMkLst>
            <pc:docMk/>
            <pc:sldMk cId="2970783801" sldId="10486"/>
            <ac:spMk id="36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90" v="30398" actId="790"/>
          <ac:spMkLst>
            <pc:docMk/>
            <pc:sldMk cId="2970783801" sldId="10486"/>
            <ac:spMk id="37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91" v="30399" actId="790"/>
          <ac:spMkLst>
            <pc:docMk/>
            <pc:sldMk cId="2970783801" sldId="10486"/>
            <ac:spMk id="38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91" v="30400" actId="790"/>
          <ac:spMkLst>
            <pc:docMk/>
            <pc:sldMk cId="2970783801" sldId="10486"/>
            <ac:spMk id="39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692" v="30401" actId="790"/>
          <ac:spMkLst>
            <pc:docMk/>
            <pc:sldMk cId="2970783801" sldId="10486"/>
            <ac:spMk id="40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3.703" v="30406" actId="790"/>
          <ac:spMkLst>
            <pc:docMk/>
            <pc:sldMk cId="2970783801" sldId="10486"/>
            <ac:spMk id="42" creationId="{2C60EBBA-A0F7-4759-9F4A-CC4D15F0DBFD}"/>
          </ac:spMkLst>
        </pc:spChg>
        <pc:spChg chg="mod">
          <ac:chgData name="Ugo MANTEL" userId="2d5b7065-31bb-4181-a7f8-a73bf0c30211" providerId="ADAL" clId="{9344D105-636D-4857-BD0F-AFC44A54BCCF}" dt="2021-05-25T14:20:13.705" v="30408" actId="790"/>
          <ac:spMkLst>
            <pc:docMk/>
            <pc:sldMk cId="2970783801" sldId="10486"/>
            <ac:spMk id="44" creationId="{0E1F57BE-6DCD-4097-91F1-E07EBEDB6060}"/>
          </ac:spMkLst>
        </pc:spChg>
        <pc:spChg chg="mod">
          <ac:chgData name="Ugo MANTEL" userId="2d5b7065-31bb-4181-a7f8-a73bf0c30211" providerId="ADAL" clId="{9344D105-636D-4857-BD0F-AFC44A54BCCF}" dt="2021-05-25T14:20:13.703" v="30405" actId="790"/>
          <ac:spMkLst>
            <pc:docMk/>
            <pc:sldMk cId="2970783801" sldId="10486"/>
            <ac:spMk id="46" creationId="{9A1AD0E4-A534-4497-962F-4FBC4ED2C72B}"/>
          </ac:spMkLst>
        </pc:spChg>
        <pc:spChg chg="mod">
          <ac:chgData name="Ugo MANTEL" userId="2d5b7065-31bb-4181-a7f8-a73bf0c30211" providerId="ADAL" clId="{9344D105-636D-4857-BD0F-AFC44A54BCCF}" dt="2021-05-25T14:20:13.704" v="30407" actId="790"/>
          <ac:spMkLst>
            <pc:docMk/>
            <pc:sldMk cId="2970783801" sldId="10486"/>
            <ac:spMk id="52" creationId="{81CED96B-F5F9-4745-A09C-2949BD177A48}"/>
          </ac:spMkLst>
        </pc:spChg>
      </pc:sldChg>
      <pc:sldChg chg="addSp delSp modSp add mod">
        <pc:chgData name="Ugo MANTEL" userId="2d5b7065-31bb-4181-a7f8-a73bf0c30211" providerId="ADAL" clId="{9344D105-636D-4857-BD0F-AFC44A54BCCF}" dt="2021-05-25T14:20:11.012" v="27637" actId="790"/>
        <pc:sldMkLst>
          <pc:docMk/>
          <pc:sldMk cId="1662158175" sldId="10487"/>
        </pc:sldMkLst>
        <pc:spChg chg="mod ord">
          <ac:chgData name="Ugo MANTEL" userId="2d5b7065-31bb-4181-a7f8-a73bf0c30211" providerId="ADAL" clId="{9344D105-636D-4857-BD0F-AFC44A54BCCF}" dt="2021-05-25T14:20:10.986" v="27614" actId="790"/>
          <ac:spMkLst>
            <pc:docMk/>
            <pc:sldMk cId="1662158175" sldId="10487"/>
            <ac:spMk id="2" creationId="{5D79E977-AA1E-485B-8A01-E93F32111B97}"/>
          </ac:spMkLst>
        </pc:spChg>
        <pc:spChg chg="add del mod modVis">
          <ac:chgData name="Ugo MANTEL" userId="2d5b7065-31bb-4181-a7f8-a73bf0c30211" providerId="ADAL" clId="{9344D105-636D-4857-BD0F-AFC44A54BCCF}" dt="2021-05-25T09:50:30.559" v="15706"/>
          <ac:spMkLst>
            <pc:docMk/>
            <pc:sldMk cId="1662158175" sldId="10487"/>
            <ac:spMk id="3" creationId="{C649C0CF-AC41-4221-9D3F-06568DB318F8}"/>
          </ac:spMkLst>
        </pc:spChg>
        <pc:spChg chg="mod">
          <ac:chgData name="Ugo MANTEL" userId="2d5b7065-31bb-4181-a7f8-a73bf0c30211" providerId="ADAL" clId="{9344D105-636D-4857-BD0F-AFC44A54BCCF}" dt="2021-05-25T14:20:11.003" v="27625" actId="790"/>
          <ac:spMkLst>
            <pc:docMk/>
            <pc:sldMk cId="1662158175" sldId="10487"/>
            <ac:spMk id="8" creationId="{724BFDF7-9689-4C00-8E86-336E333DE596}"/>
          </ac:spMkLst>
        </pc:spChg>
        <pc:spChg chg="mod ord">
          <ac:chgData name="Ugo MANTEL" userId="2d5b7065-31bb-4181-a7f8-a73bf0c30211" providerId="ADAL" clId="{9344D105-636D-4857-BD0F-AFC44A54BCCF}" dt="2021-05-25T14:20:10.990" v="27619" actId="790"/>
          <ac:spMkLst>
            <pc:docMk/>
            <pc:sldMk cId="1662158175" sldId="10487"/>
            <ac:spMk id="9" creationId="{02B09B86-63EB-478A-A1B9-73EB0B102213}"/>
          </ac:spMkLst>
        </pc:spChg>
        <pc:spChg chg="mod ord">
          <ac:chgData name="Ugo MANTEL" userId="2d5b7065-31bb-4181-a7f8-a73bf0c30211" providerId="ADAL" clId="{9344D105-636D-4857-BD0F-AFC44A54BCCF}" dt="2021-05-25T14:20:10.987" v="27615" actId="790"/>
          <ac:spMkLst>
            <pc:docMk/>
            <pc:sldMk cId="1662158175" sldId="10487"/>
            <ac:spMk id="10" creationId="{35E020ED-F5CE-43BF-B644-9BAA4063B2A4}"/>
          </ac:spMkLst>
        </pc:spChg>
        <pc:spChg chg="mod ord">
          <ac:chgData name="Ugo MANTEL" userId="2d5b7065-31bb-4181-a7f8-a73bf0c30211" providerId="ADAL" clId="{9344D105-636D-4857-BD0F-AFC44A54BCCF}" dt="2021-05-25T14:20:10.988" v="27616" actId="790"/>
          <ac:spMkLst>
            <pc:docMk/>
            <pc:sldMk cId="1662158175" sldId="10487"/>
            <ac:spMk id="12" creationId="{17ACB834-4B29-46A1-8305-C573136B1B39}"/>
          </ac:spMkLst>
        </pc:spChg>
        <pc:spChg chg="mod">
          <ac:chgData name="Ugo MANTEL" userId="2d5b7065-31bb-4181-a7f8-a73bf0c30211" providerId="ADAL" clId="{9344D105-636D-4857-BD0F-AFC44A54BCCF}" dt="2021-05-25T14:20:11.004" v="27626" actId="790"/>
          <ac:spMkLst>
            <pc:docMk/>
            <pc:sldMk cId="1662158175" sldId="10487"/>
            <ac:spMk id="13" creationId="{724BFDF7-9689-4C00-8E86-336E333DE596}"/>
          </ac:spMkLst>
        </pc:spChg>
        <pc:spChg chg="mod ord">
          <ac:chgData name="Ugo MANTEL" userId="2d5b7065-31bb-4181-a7f8-a73bf0c30211" providerId="ADAL" clId="{9344D105-636D-4857-BD0F-AFC44A54BCCF}" dt="2021-05-25T14:20:10.988" v="27617" actId="790"/>
          <ac:spMkLst>
            <pc:docMk/>
            <pc:sldMk cId="1662158175" sldId="10487"/>
            <ac:spMk id="14" creationId="{1033C433-7522-4EDA-9187-702F506345A0}"/>
          </ac:spMkLst>
        </pc:spChg>
        <pc:spChg chg="mod ord">
          <ac:chgData name="Ugo MANTEL" userId="2d5b7065-31bb-4181-a7f8-a73bf0c30211" providerId="ADAL" clId="{9344D105-636D-4857-BD0F-AFC44A54BCCF}" dt="2021-05-25T14:20:10.989" v="27618" actId="790"/>
          <ac:spMkLst>
            <pc:docMk/>
            <pc:sldMk cId="1662158175" sldId="10487"/>
            <ac:spMk id="15" creationId="{CEFA4725-CB21-4B2C-A186-C70732A4705C}"/>
          </ac:spMkLst>
        </pc:spChg>
        <pc:spChg chg="del mod ord">
          <ac:chgData name="Ugo MANTEL" userId="2d5b7065-31bb-4181-a7f8-a73bf0c30211" providerId="ADAL" clId="{9344D105-636D-4857-BD0F-AFC44A54BCCF}" dt="2021-05-25T09:52:42.077" v="15795" actId="478"/>
          <ac:spMkLst>
            <pc:docMk/>
            <pc:sldMk cId="1662158175" sldId="10487"/>
            <ac:spMk id="16" creationId="{6546156D-9B65-4AC1-8D80-88505BD08537}"/>
          </ac:spMkLst>
        </pc:spChg>
        <pc:spChg chg="mod ord">
          <ac:chgData name="Ugo MANTEL" userId="2d5b7065-31bb-4181-a7f8-a73bf0c30211" providerId="ADAL" clId="{9344D105-636D-4857-BD0F-AFC44A54BCCF}" dt="2021-05-25T14:20:10.985" v="27613" actId="790"/>
          <ac:spMkLst>
            <pc:docMk/>
            <pc:sldMk cId="1662158175" sldId="10487"/>
            <ac:spMk id="17" creationId="{93C43DF0-5B80-4873-976E-9DCC9459DEE9}"/>
          </ac:spMkLst>
        </pc:spChg>
        <pc:spChg chg="del mod ord">
          <ac:chgData name="Ugo MANTEL" userId="2d5b7065-31bb-4181-a7f8-a73bf0c30211" providerId="ADAL" clId="{9344D105-636D-4857-BD0F-AFC44A54BCCF}" dt="2021-05-25T09:52:42.077" v="15795" actId="478"/>
          <ac:spMkLst>
            <pc:docMk/>
            <pc:sldMk cId="1662158175" sldId="10487"/>
            <ac:spMk id="19" creationId="{34792A96-E177-45FE-8A1C-54080EF644FD}"/>
          </ac:spMkLst>
        </pc:spChg>
        <pc:spChg chg="mod ord">
          <ac:chgData name="Ugo MANTEL" userId="2d5b7065-31bb-4181-a7f8-a73bf0c30211" providerId="ADAL" clId="{9344D105-636D-4857-BD0F-AFC44A54BCCF}" dt="2021-05-25T14:20:10.994" v="27620" actId="790"/>
          <ac:spMkLst>
            <pc:docMk/>
            <pc:sldMk cId="1662158175" sldId="10487"/>
            <ac:spMk id="20" creationId="{CF43FFDF-1514-417B-8DD3-055802931621}"/>
          </ac:spMkLst>
        </pc:spChg>
        <pc:spChg chg="del mod ord">
          <ac:chgData name="Ugo MANTEL" userId="2d5b7065-31bb-4181-a7f8-a73bf0c30211" providerId="ADAL" clId="{9344D105-636D-4857-BD0F-AFC44A54BCCF}" dt="2021-05-25T09:52:42.077" v="15795" actId="478"/>
          <ac:spMkLst>
            <pc:docMk/>
            <pc:sldMk cId="1662158175" sldId="10487"/>
            <ac:spMk id="21" creationId="{3CBA4C50-DBB5-4C5E-A8E6-B2C4564C2D94}"/>
          </ac:spMkLst>
        </pc:spChg>
        <pc:spChg chg="mod ord">
          <ac:chgData name="Ugo MANTEL" userId="2d5b7065-31bb-4181-a7f8-a73bf0c30211" providerId="ADAL" clId="{9344D105-636D-4857-BD0F-AFC44A54BCCF}" dt="2021-05-25T14:20:10.994" v="27621" actId="790"/>
          <ac:spMkLst>
            <pc:docMk/>
            <pc:sldMk cId="1662158175" sldId="10487"/>
            <ac:spMk id="22" creationId="{43822D74-25F7-4476-8B1E-2346DA56E4D6}"/>
          </ac:spMkLst>
        </pc:spChg>
        <pc:spChg chg="mod ord">
          <ac:chgData name="Ugo MANTEL" userId="2d5b7065-31bb-4181-a7f8-a73bf0c30211" providerId="ADAL" clId="{9344D105-636D-4857-BD0F-AFC44A54BCCF}" dt="2021-05-25T14:20:11.003" v="27624" actId="790"/>
          <ac:spMkLst>
            <pc:docMk/>
            <pc:sldMk cId="1662158175" sldId="10487"/>
            <ac:spMk id="25" creationId="{5146D732-EFA5-477C-B0A6-85AD09BD0B4D}"/>
          </ac:spMkLst>
        </pc:spChg>
        <pc:spChg chg="mod ord">
          <ac:chgData name="Ugo MANTEL" userId="2d5b7065-31bb-4181-a7f8-a73bf0c30211" providerId="ADAL" clId="{9344D105-636D-4857-BD0F-AFC44A54BCCF}" dt="2021-05-25T14:20:11.002" v="27623" actId="790"/>
          <ac:spMkLst>
            <pc:docMk/>
            <pc:sldMk cId="1662158175" sldId="10487"/>
            <ac:spMk id="26" creationId="{141BDBD6-FC39-484B-80B4-A5A00C8A001E}"/>
          </ac:spMkLst>
        </pc:spChg>
        <pc:spChg chg="mod">
          <ac:chgData name="Ugo MANTEL" userId="2d5b7065-31bb-4181-a7f8-a73bf0c30211" providerId="ADAL" clId="{9344D105-636D-4857-BD0F-AFC44A54BCCF}" dt="2021-05-25T14:20:11.004" v="27627" actId="790"/>
          <ac:spMkLst>
            <pc:docMk/>
            <pc:sldMk cId="1662158175" sldId="10487"/>
            <ac:spMk id="27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1.005" v="27628" actId="790"/>
          <ac:spMkLst>
            <pc:docMk/>
            <pc:sldMk cId="1662158175" sldId="10487"/>
            <ac:spMk id="28" creationId="{724BFDF7-9689-4C00-8E86-336E333DE596}"/>
          </ac:spMkLst>
        </pc:spChg>
        <pc:spChg chg="del mod ord">
          <ac:chgData name="Ugo MANTEL" userId="2d5b7065-31bb-4181-a7f8-a73bf0c30211" providerId="ADAL" clId="{9344D105-636D-4857-BD0F-AFC44A54BCCF}" dt="2021-05-25T09:52:42.077" v="15795" actId="478"/>
          <ac:spMkLst>
            <pc:docMk/>
            <pc:sldMk cId="1662158175" sldId="10487"/>
            <ac:spMk id="34" creationId="{504918DD-5AAF-4442-83FD-97BE3D7438E6}"/>
          </ac:spMkLst>
        </pc:spChg>
        <pc:spChg chg="mod">
          <ac:chgData name="Ugo MANTEL" userId="2d5b7065-31bb-4181-a7f8-a73bf0c30211" providerId="ADAL" clId="{9344D105-636D-4857-BD0F-AFC44A54BCCF}" dt="2021-05-25T14:20:11.005" v="27629" actId="790"/>
          <ac:spMkLst>
            <pc:docMk/>
            <pc:sldMk cId="1662158175" sldId="10487"/>
            <ac:spMk id="36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1.006" v="27630" actId="790"/>
          <ac:spMkLst>
            <pc:docMk/>
            <pc:sldMk cId="1662158175" sldId="10487"/>
            <ac:spMk id="37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1.006" v="27631" actId="790"/>
          <ac:spMkLst>
            <pc:docMk/>
            <pc:sldMk cId="1662158175" sldId="10487"/>
            <ac:spMk id="38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1.007" v="27632" actId="790"/>
          <ac:spMkLst>
            <pc:docMk/>
            <pc:sldMk cId="1662158175" sldId="10487"/>
            <ac:spMk id="39" creationId="{724BFDF7-9689-4C00-8E86-336E333DE596}"/>
          </ac:spMkLst>
        </pc:spChg>
        <pc:spChg chg="mod">
          <ac:chgData name="Ugo MANTEL" userId="2d5b7065-31bb-4181-a7f8-a73bf0c30211" providerId="ADAL" clId="{9344D105-636D-4857-BD0F-AFC44A54BCCF}" dt="2021-05-25T14:20:11.007" v="27633" actId="790"/>
          <ac:spMkLst>
            <pc:docMk/>
            <pc:sldMk cId="1662158175" sldId="10487"/>
            <ac:spMk id="40" creationId="{724BFDF7-9689-4C00-8E86-336E333DE596}"/>
          </ac:spMkLst>
        </pc:spChg>
        <pc:spChg chg="del mod ord">
          <ac:chgData name="Ugo MANTEL" userId="2d5b7065-31bb-4181-a7f8-a73bf0c30211" providerId="ADAL" clId="{9344D105-636D-4857-BD0F-AFC44A54BCCF}" dt="2021-05-25T09:55:24.250" v="15798" actId="478"/>
          <ac:spMkLst>
            <pc:docMk/>
            <pc:sldMk cId="1662158175" sldId="10487"/>
            <ac:spMk id="42" creationId="{2C60EBBA-A0F7-4759-9F4A-CC4D15F0DBFD}"/>
          </ac:spMkLst>
        </pc:spChg>
        <pc:spChg chg="del mod">
          <ac:chgData name="Ugo MANTEL" userId="2d5b7065-31bb-4181-a7f8-a73bf0c30211" providerId="ADAL" clId="{9344D105-636D-4857-BD0F-AFC44A54BCCF}" dt="2021-05-25T09:48:04.417" v="15550" actId="478"/>
          <ac:spMkLst>
            <pc:docMk/>
            <pc:sldMk cId="1662158175" sldId="10487"/>
            <ac:spMk id="44" creationId="{0E1F57BE-6DCD-4097-91F1-E07EBEDB6060}"/>
          </ac:spMkLst>
        </pc:spChg>
        <pc:spChg chg="mod ord">
          <ac:chgData name="Ugo MANTEL" userId="2d5b7065-31bb-4181-a7f8-a73bf0c30211" providerId="ADAL" clId="{9344D105-636D-4857-BD0F-AFC44A54BCCF}" dt="2021-05-25T14:20:10.995" v="27622" actId="790"/>
          <ac:spMkLst>
            <pc:docMk/>
            <pc:sldMk cId="1662158175" sldId="10487"/>
            <ac:spMk id="46" creationId="{9A1AD0E4-A534-4497-962F-4FBC4ED2C72B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47" creationId="{9918764C-F7A8-46A7-8545-CE3AF890305C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48" creationId="{A26B6077-1A5E-4648-96C3-C8333E111215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49" creationId="{8619E0C7-8F90-4515-B525-DD446EEC4A64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51" creationId="{E0129A41-AF53-47C1-A372-E55E23D563BA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53" creationId="{1C6B1EE3-6C63-4708-9162-CE3803833781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54" creationId="{5A75E022-1457-49A1-90F3-B514E42189FF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56" creationId="{9FDE1389-CAC2-4F35-98F5-CE60212B690D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57" creationId="{3574F118-2D3D-490A-B1A1-9111A197EB78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63" creationId="{F243652A-434F-4830-91E1-13FD6281467B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64" creationId="{3F7FEADE-855A-4D49-882D-9BB3D9FE2640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66" creationId="{F12B56F6-33C7-4CE0-8B7B-458B9E0DA627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67" creationId="{38F8D046-A1F9-4100-8122-783A15909D2A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69" creationId="{3E00CB5B-2D67-4464-B9D2-56B2E6DAD481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0" creationId="{7FB05BE2-4F5F-4636-8A95-3A8223666296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1" creationId="{EA95183D-FFC6-4098-B219-9D7768CC0F89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2" creationId="{681B3ACC-FD93-49B1-8FAC-0A64BDEB7F5A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3" creationId="{3527CD9C-35B0-49B7-AA77-C663F45A5C3E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4" creationId="{2CCC0394-D051-42B5-98F0-AB6071AA4AB9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5" creationId="{0280CA49-DC20-4EE3-9CFA-B78E5E4328DB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6" creationId="{356E0587-9785-4F7B-8936-DF4B474F28BB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8" creationId="{1F863486-AEE3-459F-A3F1-434705098511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79" creationId="{A0D0AD89-1CEB-4D8B-B9E3-EB32AC90FC21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2" creationId="{2C2572E6-3B7E-4F52-BF34-2052180DE86A}"/>
          </ac:spMkLst>
        </pc:spChg>
        <pc:spChg chg="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3" creationId="{E5B1C14F-3FD2-4A81-AD38-FEFF50014C9A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4" creationId="{6C697D2E-0661-4DC8-85BC-BF337858D9AB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5" creationId="{33222ABF-A265-4BF2-B906-50CF42C396A3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6" creationId="{02B11AED-EBF2-4C32-8529-88C139310053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7" creationId="{D675500C-EC02-40E7-BA97-5AB3D65C1F11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8" creationId="{F107BF1E-C478-4D28-B342-3CD5700E2EF7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89" creationId="{9E418338-9D56-42E8-968D-8965A8F7D57F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90" creationId="{25792BBD-0B6F-41DD-B2F9-27CCB365BDB1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91" creationId="{6B5335E3-DD1A-42AF-B21E-FBA0747B0767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92" creationId="{776594E0-F97E-4C9E-A5C5-432A4925AB56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93" creationId="{933B6D01-EB4C-491D-AA31-3A612C7A0FF0}"/>
          </ac:spMkLst>
        </pc:spChg>
        <pc:spChg chg="add mod">
          <ac:chgData name="Ugo MANTEL" userId="2d5b7065-31bb-4181-a7f8-a73bf0c30211" providerId="ADAL" clId="{9344D105-636D-4857-BD0F-AFC44A54BCCF}" dt="2021-05-25T13:13:07.845" v="19167" actId="1076"/>
          <ac:spMkLst>
            <pc:docMk/>
            <pc:sldMk cId="1662158175" sldId="10487"/>
            <ac:spMk id="94" creationId="{197B2E15-A90F-4A13-B0F3-3CE7F7EC8621}"/>
          </ac:spMkLst>
        </pc:spChg>
        <pc:spChg chg="add del mod">
          <ac:chgData name="Ugo MANTEL" userId="2d5b7065-31bb-4181-a7f8-a73bf0c30211" providerId="ADAL" clId="{9344D105-636D-4857-BD0F-AFC44A54BCCF}" dt="2021-05-25T13:23:10.357" v="19715" actId="478"/>
          <ac:spMkLst>
            <pc:docMk/>
            <pc:sldMk cId="1662158175" sldId="10487"/>
            <ac:spMk id="98" creationId="{C60D7FAF-1330-4B43-A637-37382D670F1C}"/>
          </ac:spMkLst>
        </pc:spChg>
        <pc:spChg chg="add del mod">
          <ac:chgData name="Ugo MANTEL" userId="2d5b7065-31bb-4181-a7f8-a73bf0c30211" providerId="ADAL" clId="{9344D105-636D-4857-BD0F-AFC44A54BCCF}" dt="2021-05-25T13:23:10.357" v="19715" actId="478"/>
          <ac:spMkLst>
            <pc:docMk/>
            <pc:sldMk cId="1662158175" sldId="10487"/>
            <ac:spMk id="99" creationId="{DFB1251D-8220-45C1-A762-9247D4EC305B}"/>
          </ac:spMkLst>
        </pc:spChg>
        <pc:spChg chg="add del mod">
          <ac:chgData name="Ugo MANTEL" userId="2d5b7065-31bb-4181-a7f8-a73bf0c30211" providerId="ADAL" clId="{9344D105-636D-4857-BD0F-AFC44A54BCCF}" dt="2021-05-25T13:23:10.357" v="19715" actId="478"/>
          <ac:spMkLst>
            <pc:docMk/>
            <pc:sldMk cId="1662158175" sldId="10487"/>
            <ac:spMk id="100" creationId="{02F7AAE7-AE69-42CC-97A2-874025393C29}"/>
          </ac:spMkLst>
        </pc:spChg>
        <pc:spChg chg="add del mod">
          <ac:chgData name="Ugo MANTEL" userId="2d5b7065-31bb-4181-a7f8-a73bf0c30211" providerId="ADAL" clId="{9344D105-636D-4857-BD0F-AFC44A54BCCF}" dt="2021-05-25T13:23:10.357" v="19715" actId="478"/>
          <ac:spMkLst>
            <pc:docMk/>
            <pc:sldMk cId="1662158175" sldId="10487"/>
            <ac:spMk id="101" creationId="{28C10090-7693-4418-804B-DDDA9358B3D1}"/>
          </ac:spMkLst>
        </pc:spChg>
        <pc:spChg chg="add del mod">
          <ac:chgData name="Ugo MANTEL" userId="2d5b7065-31bb-4181-a7f8-a73bf0c30211" providerId="ADAL" clId="{9344D105-636D-4857-BD0F-AFC44A54BCCF}" dt="2021-05-25T13:23:10.357" v="19715" actId="478"/>
          <ac:spMkLst>
            <pc:docMk/>
            <pc:sldMk cId="1662158175" sldId="10487"/>
            <ac:spMk id="102" creationId="{B3EA73DC-4732-487E-97DE-9F53E53975E4}"/>
          </ac:spMkLst>
        </pc:spChg>
        <pc:spChg chg="mod topLvl">
          <ac:chgData name="Ugo MANTEL" userId="2d5b7065-31bb-4181-a7f8-a73bf0c30211" providerId="ADAL" clId="{9344D105-636D-4857-BD0F-AFC44A54BCCF}" dt="2021-05-25T14:20:11.009" v="27634" actId="790"/>
          <ac:spMkLst>
            <pc:docMk/>
            <pc:sldMk cId="1662158175" sldId="10487"/>
            <ac:spMk id="106" creationId="{4BD5DDD4-2A47-4174-A927-BA62D83C7325}"/>
          </ac:spMkLst>
        </pc:spChg>
        <pc:spChg chg="mod">
          <ac:chgData name="Ugo MANTEL" userId="2d5b7065-31bb-4181-a7f8-a73bf0c30211" providerId="ADAL" clId="{9344D105-636D-4857-BD0F-AFC44A54BCCF}" dt="2021-05-25T13:25:45.603" v="19744" actId="165"/>
          <ac:spMkLst>
            <pc:docMk/>
            <pc:sldMk cId="1662158175" sldId="10487"/>
            <ac:spMk id="107" creationId="{BF53C0AF-E50D-4726-A260-DD4133671990}"/>
          </ac:spMkLst>
        </pc:spChg>
        <pc:spChg chg="mod">
          <ac:chgData name="Ugo MANTEL" userId="2d5b7065-31bb-4181-a7f8-a73bf0c30211" providerId="ADAL" clId="{9344D105-636D-4857-BD0F-AFC44A54BCCF}" dt="2021-05-25T13:25:45.603" v="19744" actId="165"/>
          <ac:spMkLst>
            <pc:docMk/>
            <pc:sldMk cId="1662158175" sldId="10487"/>
            <ac:spMk id="108" creationId="{FC094436-A0FF-4A14-A6DB-8E7B28A4FDCA}"/>
          </ac:spMkLst>
        </pc:spChg>
        <pc:spChg chg="mod topLvl">
          <ac:chgData name="Ugo MANTEL" userId="2d5b7065-31bb-4181-a7f8-a73bf0c30211" providerId="ADAL" clId="{9344D105-636D-4857-BD0F-AFC44A54BCCF}" dt="2021-05-25T14:20:11.010" v="27635" actId="790"/>
          <ac:spMkLst>
            <pc:docMk/>
            <pc:sldMk cId="1662158175" sldId="10487"/>
            <ac:spMk id="111" creationId="{5683109A-8439-4E9B-9165-DA2F145BA33F}"/>
          </ac:spMkLst>
        </pc:spChg>
        <pc:spChg chg="mod">
          <ac:chgData name="Ugo MANTEL" userId="2d5b7065-31bb-4181-a7f8-a73bf0c30211" providerId="ADAL" clId="{9344D105-636D-4857-BD0F-AFC44A54BCCF}" dt="2021-05-25T13:25:45.603" v="19744" actId="165"/>
          <ac:spMkLst>
            <pc:docMk/>
            <pc:sldMk cId="1662158175" sldId="10487"/>
            <ac:spMk id="112" creationId="{462E7A1F-B8D1-4E25-BAB7-455A2D25FA9C}"/>
          </ac:spMkLst>
        </pc:spChg>
        <pc:spChg chg="mod">
          <ac:chgData name="Ugo MANTEL" userId="2d5b7065-31bb-4181-a7f8-a73bf0c30211" providerId="ADAL" clId="{9344D105-636D-4857-BD0F-AFC44A54BCCF}" dt="2021-05-25T13:25:45.603" v="19744" actId="165"/>
          <ac:spMkLst>
            <pc:docMk/>
            <pc:sldMk cId="1662158175" sldId="10487"/>
            <ac:spMk id="113" creationId="{9AD8DD3D-7982-4B80-89F7-83F93DEF6969}"/>
          </ac:spMkLst>
        </pc:spChg>
        <pc:spChg chg="mod topLvl">
          <ac:chgData name="Ugo MANTEL" userId="2d5b7065-31bb-4181-a7f8-a73bf0c30211" providerId="ADAL" clId="{9344D105-636D-4857-BD0F-AFC44A54BCCF}" dt="2021-05-25T14:20:11.012" v="27636" actId="790"/>
          <ac:spMkLst>
            <pc:docMk/>
            <pc:sldMk cId="1662158175" sldId="10487"/>
            <ac:spMk id="116" creationId="{A62B8CD1-0B37-4C87-8549-404776D61434}"/>
          </ac:spMkLst>
        </pc:spChg>
        <pc:spChg chg="mod">
          <ac:chgData name="Ugo MANTEL" userId="2d5b7065-31bb-4181-a7f8-a73bf0c30211" providerId="ADAL" clId="{9344D105-636D-4857-BD0F-AFC44A54BCCF}" dt="2021-05-25T13:25:45.603" v="19744" actId="165"/>
          <ac:spMkLst>
            <pc:docMk/>
            <pc:sldMk cId="1662158175" sldId="10487"/>
            <ac:spMk id="117" creationId="{CCCAFB38-BEC9-4D38-86E5-151AD0BF8641}"/>
          </ac:spMkLst>
        </pc:spChg>
        <pc:spChg chg="mod">
          <ac:chgData name="Ugo MANTEL" userId="2d5b7065-31bb-4181-a7f8-a73bf0c30211" providerId="ADAL" clId="{9344D105-636D-4857-BD0F-AFC44A54BCCF}" dt="2021-05-25T13:25:45.603" v="19744" actId="165"/>
          <ac:spMkLst>
            <pc:docMk/>
            <pc:sldMk cId="1662158175" sldId="10487"/>
            <ac:spMk id="118" creationId="{6C581892-B981-4168-A219-4F54643D2666}"/>
          </ac:spMkLst>
        </pc:spChg>
        <pc:spChg chg="mod">
          <ac:chgData name="Ugo MANTEL" userId="2d5b7065-31bb-4181-a7f8-a73bf0c30211" providerId="ADAL" clId="{9344D105-636D-4857-BD0F-AFC44A54BCCF}" dt="2021-05-25T14:20:11.012" v="27637" actId="790"/>
          <ac:spMkLst>
            <pc:docMk/>
            <pc:sldMk cId="1662158175" sldId="10487"/>
            <ac:spMk id="120" creationId="{CAED8972-B533-406F-84B5-09EBA5FAFB7E}"/>
          </ac:spMkLst>
        </pc:spChg>
        <pc:grpChg chg="add mod">
          <ac:chgData name="Ugo MANTEL" userId="2d5b7065-31bb-4181-a7f8-a73bf0c30211" providerId="ADAL" clId="{9344D105-636D-4857-BD0F-AFC44A54BCCF}" dt="2021-05-25T13:23:05.464" v="19714" actId="12788"/>
          <ac:grpSpMkLst>
            <pc:docMk/>
            <pc:sldMk cId="1662158175" sldId="10487"/>
            <ac:grpSpMk id="4" creationId="{9E17E9C5-80F5-49AA-A8CA-05F3894C819A}"/>
          </ac:grpSpMkLst>
        </pc:grpChg>
        <pc:grpChg chg="add del mod">
          <ac:chgData name="Ugo MANTEL" userId="2d5b7065-31bb-4181-a7f8-a73bf0c30211" providerId="ADAL" clId="{9344D105-636D-4857-BD0F-AFC44A54BCCF}" dt="2021-05-25T13:23:10.357" v="19715" actId="478"/>
          <ac:grpSpMkLst>
            <pc:docMk/>
            <pc:sldMk cId="1662158175" sldId="10487"/>
            <ac:grpSpMk id="6" creationId="{D6DDCCF9-80BA-44D7-95FE-1F31BD26BD30}"/>
          </ac:grpSpMkLst>
        </pc:grpChg>
        <pc:grpChg chg="mod ord">
          <ac:chgData name="Ugo MANTEL" userId="2d5b7065-31bb-4181-a7f8-a73bf0c30211" providerId="ADAL" clId="{9344D105-636D-4857-BD0F-AFC44A54BCCF}" dt="2021-05-25T09:50:30.559" v="15704"/>
          <ac:grpSpMkLst>
            <pc:docMk/>
            <pc:sldMk cId="1662158175" sldId="10487"/>
            <ac:grpSpMk id="43" creationId="{87142682-EBDC-4233-B669-414B88DD87B8}"/>
          </ac:grpSpMkLst>
        </pc:grpChg>
        <pc:grpChg chg="add mod">
          <ac:chgData name="Ugo MANTEL" userId="2d5b7065-31bb-4181-a7f8-a73bf0c30211" providerId="ADAL" clId="{9344D105-636D-4857-BD0F-AFC44A54BCCF}" dt="2021-05-25T13:13:07.845" v="19167" actId="1076"/>
          <ac:grpSpMkLst>
            <pc:docMk/>
            <pc:sldMk cId="1662158175" sldId="10487"/>
            <ac:grpSpMk id="55" creationId="{9F49ACBA-7FF7-402E-B151-5F32F4EBC2FD}"/>
          </ac:grpSpMkLst>
        </pc:grpChg>
        <pc:grpChg chg="add mod">
          <ac:chgData name="Ugo MANTEL" userId="2d5b7065-31bb-4181-a7f8-a73bf0c30211" providerId="ADAL" clId="{9344D105-636D-4857-BD0F-AFC44A54BCCF}" dt="2021-05-25T13:13:07.845" v="19167" actId="1076"/>
          <ac:grpSpMkLst>
            <pc:docMk/>
            <pc:sldMk cId="1662158175" sldId="10487"/>
            <ac:grpSpMk id="62" creationId="{C99CE89F-1A60-40B7-8166-E49FC1CBD29D}"/>
          </ac:grpSpMkLst>
        </pc:grpChg>
        <pc:grpChg chg="add mod">
          <ac:chgData name="Ugo MANTEL" userId="2d5b7065-31bb-4181-a7f8-a73bf0c30211" providerId="ADAL" clId="{9344D105-636D-4857-BD0F-AFC44A54BCCF}" dt="2021-05-25T13:13:07.845" v="19167" actId="1076"/>
          <ac:grpSpMkLst>
            <pc:docMk/>
            <pc:sldMk cId="1662158175" sldId="10487"/>
            <ac:grpSpMk id="65" creationId="{5B179B45-1A35-4A12-A3E1-FA5A0C16B038}"/>
          </ac:grpSpMkLst>
        </pc:grpChg>
        <pc:grpChg chg="add mod">
          <ac:chgData name="Ugo MANTEL" userId="2d5b7065-31bb-4181-a7f8-a73bf0c30211" providerId="ADAL" clId="{9344D105-636D-4857-BD0F-AFC44A54BCCF}" dt="2021-05-25T13:13:07.845" v="19167" actId="1076"/>
          <ac:grpSpMkLst>
            <pc:docMk/>
            <pc:sldMk cId="1662158175" sldId="10487"/>
            <ac:grpSpMk id="68" creationId="{BE5E05E0-BA72-4B15-AA0A-68775720DEEB}"/>
          </ac:grpSpMkLst>
        </pc:grpChg>
        <pc:grpChg chg="add mod">
          <ac:chgData name="Ugo MANTEL" userId="2d5b7065-31bb-4181-a7f8-a73bf0c30211" providerId="ADAL" clId="{9344D105-636D-4857-BD0F-AFC44A54BCCF}" dt="2021-05-25T13:13:07.845" v="19167" actId="1076"/>
          <ac:grpSpMkLst>
            <pc:docMk/>
            <pc:sldMk cId="1662158175" sldId="10487"/>
            <ac:grpSpMk id="77" creationId="{0A204705-BEB3-42C2-ACCB-667048AFD389}"/>
          </ac:grpSpMkLst>
        </pc:grpChg>
        <pc:grpChg chg="add mod">
          <ac:chgData name="Ugo MANTEL" userId="2d5b7065-31bb-4181-a7f8-a73bf0c30211" providerId="ADAL" clId="{9344D105-636D-4857-BD0F-AFC44A54BCCF}" dt="2021-05-25T13:13:07.845" v="19167" actId="1076"/>
          <ac:grpSpMkLst>
            <pc:docMk/>
            <pc:sldMk cId="1662158175" sldId="10487"/>
            <ac:grpSpMk id="81" creationId="{1C73E0FD-A450-4C73-A8DE-DC9A18BB6A64}"/>
          </ac:grpSpMkLst>
        </pc:grpChg>
        <pc:grpChg chg="add mod">
          <ac:chgData name="Ugo MANTEL" userId="2d5b7065-31bb-4181-a7f8-a73bf0c30211" providerId="ADAL" clId="{9344D105-636D-4857-BD0F-AFC44A54BCCF}" dt="2021-05-25T13:23:05.464" v="19714" actId="12788"/>
          <ac:grpSpMkLst>
            <pc:docMk/>
            <pc:sldMk cId="1662158175" sldId="10487"/>
            <ac:grpSpMk id="95" creationId="{4940A677-AE32-44AF-98E0-469C95238B4F}"/>
          </ac:grpSpMkLst>
        </pc:grpChg>
        <pc:grpChg chg="add del mod">
          <ac:chgData name="Ugo MANTEL" userId="2d5b7065-31bb-4181-a7f8-a73bf0c30211" providerId="ADAL" clId="{9344D105-636D-4857-BD0F-AFC44A54BCCF}" dt="2021-05-25T13:25:45.603" v="19744" actId="165"/>
          <ac:grpSpMkLst>
            <pc:docMk/>
            <pc:sldMk cId="1662158175" sldId="10487"/>
            <ac:grpSpMk id="104" creationId="{BBD70161-C546-4A03-92F9-185AF3262E2F}"/>
          </ac:grpSpMkLst>
        </pc:grpChg>
        <pc:grpChg chg="mod topLvl">
          <ac:chgData name="Ugo MANTEL" userId="2d5b7065-31bb-4181-a7f8-a73bf0c30211" providerId="ADAL" clId="{9344D105-636D-4857-BD0F-AFC44A54BCCF}" dt="2021-05-25T13:25:45.603" v="19744" actId="165"/>
          <ac:grpSpMkLst>
            <pc:docMk/>
            <pc:sldMk cId="1662158175" sldId="10487"/>
            <ac:grpSpMk id="105" creationId="{0D4F1EFF-7C94-48DC-8AC0-F6A5312ABECB}"/>
          </ac:grpSpMkLst>
        </pc:grpChg>
        <pc:grpChg chg="add del mod">
          <ac:chgData name="Ugo MANTEL" userId="2d5b7065-31bb-4181-a7f8-a73bf0c30211" providerId="ADAL" clId="{9344D105-636D-4857-BD0F-AFC44A54BCCF}" dt="2021-05-25T13:25:45.603" v="19744" actId="165"/>
          <ac:grpSpMkLst>
            <pc:docMk/>
            <pc:sldMk cId="1662158175" sldId="10487"/>
            <ac:grpSpMk id="109" creationId="{5871A355-0B0D-4E4E-AD3A-C3EE43C06F43}"/>
          </ac:grpSpMkLst>
        </pc:grpChg>
        <pc:grpChg chg="mod topLvl">
          <ac:chgData name="Ugo MANTEL" userId="2d5b7065-31bb-4181-a7f8-a73bf0c30211" providerId="ADAL" clId="{9344D105-636D-4857-BD0F-AFC44A54BCCF}" dt="2021-05-25T13:25:45.603" v="19744" actId="165"/>
          <ac:grpSpMkLst>
            <pc:docMk/>
            <pc:sldMk cId="1662158175" sldId="10487"/>
            <ac:grpSpMk id="110" creationId="{095ADC0A-DD50-4CB5-8D72-545729CB98B6}"/>
          </ac:grpSpMkLst>
        </pc:grpChg>
        <pc:grpChg chg="add del mod">
          <ac:chgData name="Ugo MANTEL" userId="2d5b7065-31bb-4181-a7f8-a73bf0c30211" providerId="ADAL" clId="{9344D105-636D-4857-BD0F-AFC44A54BCCF}" dt="2021-05-25T13:25:45.603" v="19744" actId="165"/>
          <ac:grpSpMkLst>
            <pc:docMk/>
            <pc:sldMk cId="1662158175" sldId="10487"/>
            <ac:grpSpMk id="114" creationId="{69B3534C-C2E9-4A34-818C-6BA615593602}"/>
          </ac:grpSpMkLst>
        </pc:grpChg>
        <pc:grpChg chg="mod topLvl">
          <ac:chgData name="Ugo MANTEL" userId="2d5b7065-31bb-4181-a7f8-a73bf0c30211" providerId="ADAL" clId="{9344D105-636D-4857-BD0F-AFC44A54BCCF}" dt="2021-05-25T13:25:45.603" v="19744" actId="165"/>
          <ac:grpSpMkLst>
            <pc:docMk/>
            <pc:sldMk cId="1662158175" sldId="10487"/>
            <ac:grpSpMk id="115" creationId="{B017329F-4A9D-4759-A547-1964A8E57B11}"/>
          </ac:grpSpMkLst>
        </pc:grpChg>
        <pc:grpChg chg="add mod">
          <ac:chgData name="Ugo MANTEL" userId="2d5b7065-31bb-4181-a7f8-a73bf0c30211" providerId="ADAL" clId="{9344D105-636D-4857-BD0F-AFC44A54BCCF}" dt="2021-05-25T13:23:47.505" v="19717"/>
          <ac:grpSpMkLst>
            <pc:docMk/>
            <pc:sldMk cId="1662158175" sldId="10487"/>
            <ac:grpSpMk id="119" creationId="{B90965EE-D12E-4F56-85B2-C4DBDC9CAAFF}"/>
          </ac:grpSpMkLst>
        </pc:grpChg>
        <pc:graphicFrameChg chg="mod">
          <ac:chgData name="Ugo MANTEL" userId="2d5b7065-31bb-4181-a7f8-a73bf0c30211" providerId="ADAL" clId="{9344D105-636D-4857-BD0F-AFC44A54BCCF}" dt="2021-05-25T09:50:30.559" v="15708"/>
          <ac:graphicFrameMkLst>
            <pc:docMk/>
            <pc:sldMk cId="1662158175" sldId="10487"/>
            <ac:graphicFrameMk id="5" creationId="{6308243E-0BBD-46A4-8D4E-B63D45AD58CB}"/>
          </ac:graphicFrameMkLst>
        </pc:graphicFrame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18" creationId="{228EABAF-A989-4B46-8036-4F98D5212A68}"/>
          </ac:picMkLst>
        </pc:picChg>
        <pc:picChg chg="mod ord">
          <ac:chgData name="Ugo MANTEL" userId="2d5b7065-31bb-4181-a7f8-a73bf0c30211" providerId="ADAL" clId="{9344D105-636D-4857-BD0F-AFC44A54BCCF}" dt="2021-05-25T12:53:02.031" v="18520" actId="164"/>
          <ac:picMkLst>
            <pc:docMk/>
            <pc:sldMk cId="1662158175" sldId="10487"/>
            <ac:picMk id="23" creationId="{47965000-65DF-48F1-A225-D918A4975AF3}"/>
          </ac:picMkLst>
        </pc:picChg>
        <pc:picChg chg="mod ord">
          <ac:chgData name="Ugo MANTEL" userId="2d5b7065-31bb-4181-a7f8-a73bf0c30211" providerId="ADAL" clId="{9344D105-636D-4857-BD0F-AFC44A54BCCF}" dt="2021-05-25T12:53:02.031" v="18520" actId="164"/>
          <ac:picMkLst>
            <pc:docMk/>
            <pc:sldMk cId="1662158175" sldId="10487"/>
            <ac:picMk id="24" creationId="{A832B60B-1530-4164-B6C9-CEC461E7DDD0}"/>
          </ac:picMkLst>
        </pc:pic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29" creationId="{25B9D01C-A3C2-4BDA-842F-156B93608450}"/>
          </ac:picMkLst>
        </pc:pic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30" creationId="{5339F1DB-1565-41E6-8F4C-5EED9E5CA495}"/>
          </ac:picMkLst>
        </pc:pic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31" creationId="{B7DFEDFB-DB95-4178-9150-11024DB995B4}"/>
          </ac:picMkLst>
        </pc:pic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32" creationId="{B0CCC845-4ED5-4CDF-97F8-057AC4F4608D}"/>
          </ac:picMkLst>
        </pc:pic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33" creationId="{3E7DD9B9-1CEA-4E94-9A2C-D61BA89219DB}"/>
          </ac:picMkLst>
        </pc:picChg>
        <pc:picChg chg="mod ord">
          <ac:chgData name="Ugo MANTEL" userId="2d5b7065-31bb-4181-a7f8-a73bf0c30211" providerId="ADAL" clId="{9344D105-636D-4857-BD0F-AFC44A54BCCF}" dt="2021-05-25T13:08:35.589" v="19151" actId="1076"/>
          <ac:picMkLst>
            <pc:docMk/>
            <pc:sldMk cId="1662158175" sldId="10487"/>
            <ac:picMk id="35" creationId="{F6BE703A-B5DE-453D-A711-8625467EF67C}"/>
          </ac:picMkLst>
        </pc:picChg>
        <pc:picChg chg="add mod">
          <ac:chgData name="Ugo MANTEL" userId="2d5b7065-31bb-4181-a7f8-a73bf0c30211" providerId="ADAL" clId="{9344D105-636D-4857-BD0F-AFC44A54BCCF}" dt="2021-05-25T13:13:07.845" v="19167" actId="1076"/>
          <ac:picMkLst>
            <pc:docMk/>
            <pc:sldMk cId="1662158175" sldId="10487"/>
            <ac:picMk id="50" creationId="{CF6DFE7F-7704-4F9F-85B1-11411781B33C}"/>
          </ac:picMkLst>
        </pc:pic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58" creationId="{4E139A1F-1C16-49E1-B924-03A35F79582F}"/>
          </ac:picMkLst>
        </pc:picChg>
        <pc:picChg chg="del mod ord">
          <ac:chgData name="Ugo MANTEL" userId="2d5b7065-31bb-4181-a7f8-a73bf0c30211" providerId="ADAL" clId="{9344D105-636D-4857-BD0F-AFC44A54BCCF}" dt="2021-05-25T13:10:39.070" v="19165" actId="478"/>
          <ac:picMkLst>
            <pc:docMk/>
            <pc:sldMk cId="1662158175" sldId="10487"/>
            <ac:picMk id="59" creationId="{820C1652-AA56-4D49-8DE0-B7F7571F38BB}"/>
          </ac:picMkLst>
        </pc:picChg>
        <pc:picChg chg="add del 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60" creationId="{8E74F60A-76CF-43FA-938F-6DF675BB3A23}"/>
          </ac:picMkLst>
        </pc:picChg>
        <pc:picChg chg="mod or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61" creationId="{AAB54CB2-6D55-4555-8222-A6C5404733E3}"/>
          </ac:picMkLst>
        </pc:picChg>
        <pc:picChg chg="add mod">
          <ac:chgData name="Ugo MANTEL" userId="2d5b7065-31bb-4181-a7f8-a73bf0c30211" providerId="ADAL" clId="{9344D105-636D-4857-BD0F-AFC44A54BCCF}" dt="2021-05-25T13:13:07.845" v="19167" actId="1076"/>
          <ac:picMkLst>
            <pc:docMk/>
            <pc:sldMk cId="1662158175" sldId="10487"/>
            <ac:picMk id="80" creationId="{5211B4B5-5299-42BA-897D-39ACBBAD1ABC}"/>
          </ac:picMkLst>
        </pc:picChg>
        <pc:picChg chg="mod">
          <ac:chgData name="Ugo MANTEL" userId="2d5b7065-31bb-4181-a7f8-a73bf0c30211" providerId="ADAL" clId="{9344D105-636D-4857-BD0F-AFC44A54BCCF}" dt="2021-05-25T13:11:29.304" v="19166" actId="571"/>
          <ac:picMkLst>
            <pc:docMk/>
            <pc:sldMk cId="1662158175" sldId="10487"/>
            <ac:picMk id="96" creationId="{EFECBE90-B1C6-4625-A08B-F209751BA18C}"/>
          </ac:picMkLst>
        </pc:picChg>
        <pc:picChg chg="mod">
          <ac:chgData name="Ugo MANTEL" userId="2d5b7065-31bb-4181-a7f8-a73bf0c30211" providerId="ADAL" clId="{9344D105-636D-4857-BD0F-AFC44A54BCCF}" dt="2021-05-25T13:11:29.304" v="19166" actId="571"/>
          <ac:picMkLst>
            <pc:docMk/>
            <pc:sldMk cId="1662158175" sldId="10487"/>
            <ac:picMk id="97" creationId="{3F266104-6B3D-474C-B6E3-85FCE809ADFB}"/>
          </ac:picMkLst>
        </pc:picChg>
        <pc:picChg chg="add mod">
          <ac:chgData name="Ugo MANTEL" userId="2d5b7065-31bb-4181-a7f8-a73bf0c30211" providerId="ADAL" clId="{9344D105-636D-4857-BD0F-AFC44A54BCCF}" dt="2021-05-25T13:23:05.464" v="19714" actId="12788"/>
          <ac:picMkLst>
            <pc:docMk/>
            <pc:sldMk cId="1662158175" sldId="10487"/>
            <ac:picMk id="103" creationId="{20113633-8FEC-4B0C-BCF1-D9A9ECC24983}"/>
          </ac:picMkLst>
        </pc:picChg>
        <pc:picChg chg="mod">
          <ac:chgData name="Ugo MANTEL" userId="2d5b7065-31bb-4181-a7f8-a73bf0c30211" providerId="ADAL" clId="{9344D105-636D-4857-BD0F-AFC44A54BCCF}" dt="2021-05-25T13:23:47.505" v="19717"/>
          <ac:picMkLst>
            <pc:docMk/>
            <pc:sldMk cId="1662158175" sldId="10487"/>
            <ac:picMk id="121" creationId="{6AF42C26-FA50-4A51-AF8B-B357C3B22447}"/>
          </ac:picMkLst>
        </pc:picChg>
      </pc:sldChg>
      <pc:sldChg chg="addSp delSp modSp mod">
        <pc:chgData name="Ugo MANTEL" userId="2d5b7065-31bb-4181-a7f8-a73bf0c30211" providerId="ADAL" clId="{9344D105-636D-4857-BD0F-AFC44A54BCCF}" dt="2021-05-25T15:18:22.050" v="37911"/>
        <pc:sldMkLst>
          <pc:docMk/>
          <pc:sldMk cId="304171044" sldId="10488"/>
        </pc:sldMkLst>
        <pc:spChg chg="mod">
          <ac:chgData name="Ugo MANTEL" userId="2d5b7065-31bb-4181-a7f8-a73bf0c30211" providerId="ADAL" clId="{9344D105-636D-4857-BD0F-AFC44A54BCCF}" dt="2021-05-25T14:20:11.539" v="28232" actId="790"/>
          <ac:spMkLst>
            <pc:docMk/>
            <pc:sldMk cId="304171044" sldId="10488"/>
            <ac:spMk id="2" creationId="{076A8F7F-F895-46CF-AE68-CFD9FFD3C71A}"/>
          </ac:spMkLst>
        </pc:spChg>
        <pc:spChg chg="mod">
          <ac:chgData name="Ugo MANTEL" userId="2d5b7065-31bb-4181-a7f8-a73bf0c30211" providerId="ADAL" clId="{9344D105-636D-4857-BD0F-AFC44A54BCCF}" dt="2021-05-25T14:20:11.539" v="28233" actId="790"/>
          <ac:spMkLst>
            <pc:docMk/>
            <pc:sldMk cId="304171044" sldId="10488"/>
            <ac:spMk id="5" creationId="{14879C95-E469-44D8-A9AD-02681D654566}"/>
          </ac:spMkLst>
        </pc:spChg>
        <pc:spChg chg="mod">
          <ac:chgData name="Ugo MANTEL" userId="2d5b7065-31bb-4181-a7f8-a73bf0c30211" providerId="ADAL" clId="{9344D105-636D-4857-BD0F-AFC44A54BCCF}" dt="2021-05-25T14:20:11.540" v="28234" actId="790"/>
          <ac:spMkLst>
            <pc:docMk/>
            <pc:sldMk cId="304171044" sldId="10488"/>
            <ac:spMk id="6" creationId="{668934EF-3B2B-41C8-A852-24F884CDB87E}"/>
          </ac:spMkLst>
        </pc:spChg>
        <pc:spChg chg="mod">
          <ac:chgData name="Ugo MANTEL" userId="2d5b7065-31bb-4181-a7f8-a73bf0c30211" providerId="ADAL" clId="{9344D105-636D-4857-BD0F-AFC44A54BCCF}" dt="2021-05-25T14:20:11.540" v="28235" actId="790"/>
          <ac:spMkLst>
            <pc:docMk/>
            <pc:sldMk cId="304171044" sldId="10488"/>
            <ac:spMk id="7" creationId="{6A3CD12F-6027-43F5-950A-553D45044CF9}"/>
          </ac:spMkLst>
        </pc:spChg>
        <pc:spChg chg="mod">
          <ac:chgData name="Ugo MANTEL" userId="2d5b7065-31bb-4181-a7f8-a73bf0c30211" providerId="ADAL" clId="{9344D105-636D-4857-BD0F-AFC44A54BCCF}" dt="2021-05-25T14:20:11.541" v="28236" actId="790"/>
          <ac:spMkLst>
            <pc:docMk/>
            <pc:sldMk cId="304171044" sldId="10488"/>
            <ac:spMk id="12" creationId="{6E04BA92-898B-4C5B-BC90-D7370A80E238}"/>
          </ac:spMkLst>
        </pc:spChg>
        <pc:spChg chg="mod">
          <ac:chgData name="Ugo MANTEL" userId="2d5b7065-31bb-4181-a7f8-a73bf0c30211" providerId="ADAL" clId="{9344D105-636D-4857-BD0F-AFC44A54BCCF}" dt="2021-05-25T14:20:11.549" v="28248" actId="790"/>
          <ac:spMkLst>
            <pc:docMk/>
            <pc:sldMk cId="304171044" sldId="10488"/>
            <ac:spMk id="13" creationId="{67FF2AF0-191A-453A-83C2-8045CA773D57}"/>
          </ac:spMkLst>
        </pc:spChg>
        <pc:spChg chg="mod">
          <ac:chgData name="Ugo MANTEL" userId="2d5b7065-31bb-4181-a7f8-a73bf0c30211" providerId="ADAL" clId="{9344D105-636D-4857-BD0F-AFC44A54BCCF}" dt="2021-05-25T14:20:11.542" v="28237" actId="790"/>
          <ac:spMkLst>
            <pc:docMk/>
            <pc:sldMk cId="304171044" sldId="10488"/>
            <ac:spMk id="23" creationId="{9D6B7B07-4A05-4C23-B8C2-BF6B61723B12}"/>
          </ac:spMkLst>
        </pc:spChg>
        <pc:spChg chg="mod">
          <ac:chgData name="Ugo MANTEL" userId="2d5b7065-31bb-4181-a7f8-a73bf0c30211" providerId="ADAL" clId="{9344D105-636D-4857-BD0F-AFC44A54BCCF}" dt="2021-05-25T14:20:11.542" v="28238" actId="790"/>
          <ac:spMkLst>
            <pc:docMk/>
            <pc:sldMk cId="304171044" sldId="10488"/>
            <ac:spMk id="24" creationId="{92BE8562-398F-47AA-9DFF-98ED6254380E}"/>
          </ac:spMkLst>
        </pc:spChg>
        <pc:spChg chg="del">
          <ac:chgData name="Ugo MANTEL" userId="2d5b7065-31bb-4181-a7f8-a73bf0c30211" providerId="ADAL" clId="{9344D105-636D-4857-BD0F-AFC44A54BCCF}" dt="2021-05-25T13:42:20.010" v="20243" actId="478"/>
          <ac:spMkLst>
            <pc:docMk/>
            <pc:sldMk cId="304171044" sldId="10488"/>
            <ac:spMk id="27" creationId="{F7770564-9825-4977-8E28-84052D408859}"/>
          </ac:spMkLst>
        </pc:spChg>
        <pc:spChg chg="mod">
          <ac:chgData name="Ugo MANTEL" userId="2d5b7065-31bb-4181-a7f8-a73bf0c30211" providerId="ADAL" clId="{9344D105-636D-4857-BD0F-AFC44A54BCCF}" dt="2021-05-25T14:20:11.543" v="28239" actId="790"/>
          <ac:spMkLst>
            <pc:docMk/>
            <pc:sldMk cId="304171044" sldId="10488"/>
            <ac:spMk id="28" creationId="{B3C1858A-F04B-4556-8114-AD5557508D65}"/>
          </ac:spMkLst>
        </pc:spChg>
        <pc:spChg chg="mod">
          <ac:chgData name="Ugo MANTEL" userId="2d5b7065-31bb-4181-a7f8-a73bf0c30211" providerId="ADAL" clId="{9344D105-636D-4857-BD0F-AFC44A54BCCF}" dt="2021-05-25T14:20:11.523" v="28219" actId="790"/>
          <ac:spMkLst>
            <pc:docMk/>
            <pc:sldMk cId="304171044" sldId="10488"/>
            <ac:spMk id="32" creationId="{D2B59A52-D9C2-4E24-B600-1E848B32C8F5}"/>
          </ac:spMkLst>
        </pc:spChg>
        <pc:spChg chg="mod">
          <ac:chgData name="Ugo MANTEL" userId="2d5b7065-31bb-4181-a7f8-a73bf0c30211" providerId="ADAL" clId="{9344D105-636D-4857-BD0F-AFC44A54BCCF}" dt="2021-05-25T14:20:11.524" v="28220" actId="790"/>
          <ac:spMkLst>
            <pc:docMk/>
            <pc:sldMk cId="304171044" sldId="10488"/>
            <ac:spMk id="33" creationId="{1C409526-FEBB-4615-AD48-EE2919594103}"/>
          </ac:spMkLst>
        </pc:spChg>
        <pc:spChg chg="mod">
          <ac:chgData name="Ugo MANTEL" userId="2d5b7065-31bb-4181-a7f8-a73bf0c30211" providerId="ADAL" clId="{9344D105-636D-4857-BD0F-AFC44A54BCCF}" dt="2021-05-25T14:20:11.524" v="28221" actId="790"/>
          <ac:spMkLst>
            <pc:docMk/>
            <pc:sldMk cId="304171044" sldId="10488"/>
            <ac:spMk id="34" creationId="{CE2902A1-02DE-4841-A5FF-EC6817C779C2}"/>
          </ac:spMkLst>
        </pc:spChg>
        <pc:spChg chg="mod">
          <ac:chgData name="Ugo MANTEL" userId="2d5b7065-31bb-4181-a7f8-a73bf0c30211" providerId="ADAL" clId="{9344D105-636D-4857-BD0F-AFC44A54BCCF}" dt="2021-05-25T14:20:11.525" v="28222" actId="790"/>
          <ac:spMkLst>
            <pc:docMk/>
            <pc:sldMk cId="304171044" sldId="10488"/>
            <ac:spMk id="35" creationId="{C69C2033-6801-4C94-9428-2C2E3E7C61BC}"/>
          </ac:spMkLst>
        </pc:spChg>
        <pc:spChg chg="mod">
          <ac:chgData name="Ugo MANTEL" userId="2d5b7065-31bb-4181-a7f8-a73bf0c30211" providerId="ADAL" clId="{9344D105-636D-4857-BD0F-AFC44A54BCCF}" dt="2021-05-25T14:20:11.526" v="28223" actId="790"/>
          <ac:spMkLst>
            <pc:docMk/>
            <pc:sldMk cId="304171044" sldId="10488"/>
            <ac:spMk id="36" creationId="{F13CE92D-4D69-4443-A30B-E51A006B440F}"/>
          </ac:spMkLst>
        </pc:spChg>
        <pc:spChg chg="mod">
          <ac:chgData name="Ugo MANTEL" userId="2d5b7065-31bb-4181-a7f8-a73bf0c30211" providerId="ADAL" clId="{9344D105-636D-4857-BD0F-AFC44A54BCCF}" dt="2021-05-25T14:20:11.526" v="28224" actId="790"/>
          <ac:spMkLst>
            <pc:docMk/>
            <pc:sldMk cId="304171044" sldId="10488"/>
            <ac:spMk id="37" creationId="{12A3E4D8-FE24-4296-A901-6835576F358F}"/>
          </ac:spMkLst>
        </pc:spChg>
        <pc:spChg chg="mod">
          <ac:chgData name="Ugo MANTEL" userId="2d5b7065-31bb-4181-a7f8-a73bf0c30211" providerId="ADAL" clId="{9344D105-636D-4857-BD0F-AFC44A54BCCF}" dt="2021-05-25T14:20:11.527" v="28225" actId="790"/>
          <ac:spMkLst>
            <pc:docMk/>
            <pc:sldMk cId="304171044" sldId="10488"/>
            <ac:spMk id="38" creationId="{FA551D75-70A3-4189-B8FD-D16A5A806F6C}"/>
          </ac:spMkLst>
        </pc:spChg>
        <pc:spChg chg="mod">
          <ac:chgData name="Ugo MANTEL" userId="2d5b7065-31bb-4181-a7f8-a73bf0c30211" providerId="ADAL" clId="{9344D105-636D-4857-BD0F-AFC44A54BCCF}" dt="2021-05-25T14:20:11.527" v="28226" actId="790"/>
          <ac:spMkLst>
            <pc:docMk/>
            <pc:sldMk cId="304171044" sldId="10488"/>
            <ac:spMk id="39" creationId="{4E0AD551-D0E4-4018-8925-446955E03DBD}"/>
          </ac:spMkLst>
        </pc:spChg>
        <pc:spChg chg="mod">
          <ac:chgData name="Ugo MANTEL" userId="2d5b7065-31bb-4181-a7f8-a73bf0c30211" providerId="ADAL" clId="{9344D105-636D-4857-BD0F-AFC44A54BCCF}" dt="2021-05-25T14:20:11.528" v="28227" actId="790"/>
          <ac:spMkLst>
            <pc:docMk/>
            <pc:sldMk cId="304171044" sldId="10488"/>
            <ac:spMk id="40" creationId="{D4585E7A-1C58-48F0-8CCC-695615F47DDC}"/>
          </ac:spMkLst>
        </pc:spChg>
        <pc:spChg chg="mod">
          <ac:chgData name="Ugo MANTEL" userId="2d5b7065-31bb-4181-a7f8-a73bf0c30211" providerId="ADAL" clId="{9344D105-636D-4857-BD0F-AFC44A54BCCF}" dt="2021-05-25T14:20:11.529" v="28228" actId="790"/>
          <ac:spMkLst>
            <pc:docMk/>
            <pc:sldMk cId="304171044" sldId="10488"/>
            <ac:spMk id="41" creationId="{1DF4E5BB-492B-465C-8444-C36507B49283}"/>
          </ac:spMkLst>
        </pc:spChg>
        <pc:spChg chg="mod">
          <ac:chgData name="Ugo MANTEL" userId="2d5b7065-31bb-4181-a7f8-a73bf0c30211" providerId="ADAL" clId="{9344D105-636D-4857-BD0F-AFC44A54BCCF}" dt="2021-05-25T14:20:11.529" v="28229" actId="790"/>
          <ac:spMkLst>
            <pc:docMk/>
            <pc:sldMk cId="304171044" sldId="10488"/>
            <ac:spMk id="42" creationId="{9C8D8134-054F-4F04-A0C0-2524CCD41437}"/>
          </ac:spMkLst>
        </pc:spChg>
        <pc:spChg chg="mod">
          <ac:chgData name="Ugo MANTEL" userId="2d5b7065-31bb-4181-a7f8-a73bf0c30211" providerId="ADAL" clId="{9344D105-636D-4857-BD0F-AFC44A54BCCF}" dt="2021-05-25T14:20:11.530" v="28230" actId="790"/>
          <ac:spMkLst>
            <pc:docMk/>
            <pc:sldMk cId="304171044" sldId="10488"/>
            <ac:spMk id="43" creationId="{6A651D37-072C-499F-BDC9-221E2F280D91}"/>
          </ac:spMkLst>
        </pc:spChg>
        <pc:spChg chg="mod">
          <ac:chgData name="Ugo MANTEL" userId="2d5b7065-31bb-4181-a7f8-a73bf0c30211" providerId="ADAL" clId="{9344D105-636D-4857-BD0F-AFC44A54BCCF}" dt="2021-05-25T14:20:11.537" v="28231" actId="790"/>
          <ac:spMkLst>
            <pc:docMk/>
            <pc:sldMk cId="304171044" sldId="10488"/>
            <ac:spMk id="65" creationId="{FA6B510C-60D3-4CD8-A4E3-3EBD62B303AE}"/>
          </ac:spMkLst>
        </pc:spChg>
        <pc:spChg chg="mod">
          <ac:chgData name="Ugo MANTEL" userId="2d5b7065-31bb-4181-a7f8-a73bf0c30211" providerId="ADAL" clId="{9344D105-636D-4857-BD0F-AFC44A54BCCF}" dt="2021-05-25T14:20:11.544" v="28240" actId="790"/>
          <ac:spMkLst>
            <pc:docMk/>
            <pc:sldMk cId="304171044" sldId="10488"/>
            <ac:spMk id="67" creationId="{E5E66E1D-661C-4AEE-ACAF-A6E612D011ED}"/>
          </ac:spMkLst>
        </pc:spChg>
        <pc:spChg chg="mod">
          <ac:chgData name="Ugo MANTEL" userId="2d5b7065-31bb-4181-a7f8-a73bf0c30211" providerId="ADAL" clId="{9344D105-636D-4857-BD0F-AFC44A54BCCF}" dt="2021-05-25T14:20:11.544" v="28241" actId="790"/>
          <ac:spMkLst>
            <pc:docMk/>
            <pc:sldMk cId="304171044" sldId="10488"/>
            <ac:spMk id="68" creationId="{D2F63D90-54E3-4593-AE50-12673AAD1AC5}"/>
          </ac:spMkLst>
        </pc:spChg>
        <pc:spChg chg="mod">
          <ac:chgData name="Ugo MANTEL" userId="2d5b7065-31bb-4181-a7f8-a73bf0c30211" providerId="ADAL" clId="{9344D105-636D-4857-BD0F-AFC44A54BCCF}" dt="2021-05-25T15:18:22.050" v="37911"/>
          <ac:spMkLst>
            <pc:docMk/>
            <pc:sldMk cId="304171044" sldId="10488"/>
            <ac:spMk id="75" creationId="{BF048926-BF08-4F31-8C26-458582C96095}"/>
          </ac:spMkLst>
        </pc:spChg>
        <pc:spChg chg="mod">
          <ac:chgData name="Ugo MANTEL" userId="2d5b7065-31bb-4181-a7f8-a73bf0c30211" providerId="ADAL" clId="{9344D105-636D-4857-BD0F-AFC44A54BCCF}" dt="2021-05-25T14:20:11.558" v="28250" actId="790"/>
          <ac:spMkLst>
            <pc:docMk/>
            <pc:sldMk cId="304171044" sldId="10488"/>
            <ac:spMk id="76" creationId="{52A62CB2-099B-45B3-821C-FD4F0C05C0E7}"/>
          </ac:spMkLst>
        </pc:spChg>
        <pc:spChg chg="mod">
          <ac:chgData name="Ugo MANTEL" userId="2d5b7065-31bb-4181-a7f8-a73bf0c30211" providerId="ADAL" clId="{9344D105-636D-4857-BD0F-AFC44A54BCCF}" dt="2021-05-25T14:20:11.547" v="28245" actId="790"/>
          <ac:spMkLst>
            <pc:docMk/>
            <pc:sldMk cId="304171044" sldId="10488"/>
            <ac:spMk id="77" creationId="{5527824B-76F4-45D6-8FE2-1C69A0F12F7E}"/>
          </ac:spMkLst>
        </pc:spChg>
        <pc:spChg chg="mod">
          <ac:chgData name="Ugo MANTEL" userId="2d5b7065-31bb-4181-a7f8-a73bf0c30211" providerId="ADAL" clId="{9344D105-636D-4857-BD0F-AFC44A54BCCF}" dt="2021-05-25T14:20:11.548" v="28246" actId="790"/>
          <ac:spMkLst>
            <pc:docMk/>
            <pc:sldMk cId="304171044" sldId="10488"/>
            <ac:spMk id="81" creationId="{41140C4B-D81F-4C2D-9325-CBDB4F046536}"/>
          </ac:spMkLst>
        </pc:spChg>
        <pc:spChg chg="mod">
          <ac:chgData name="Ugo MANTEL" userId="2d5b7065-31bb-4181-a7f8-a73bf0c30211" providerId="ADAL" clId="{9344D105-636D-4857-BD0F-AFC44A54BCCF}" dt="2021-05-25T14:20:11.548" v="28247" actId="790"/>
          <ac:spMkLst>
            <pc:docMk/>
            <pc:sldMk cId="304171044" sldId="10488"/>
            <ac:spMk id="82" creationId="{A4CD6AED-02DD-459A-B1C7-F559D9F1E86B}"/>
          </ac:spMkLst>
        </pc:spChg>
        <pc:spChg chg="mod">
          <ac:chgData name="Ugo MANTEL" userId="2d5b7065-31bb-4181-a7f8-a73bf0c30211" providerId="ADAL" clId="{9344D105-636D-4857-BD0F-AFC44A54BCCF}" dt="2021-05-25T14:20:11.545" v="28242" actId="790"/>
          <ac:spMkLst>
            <pc:docMk/>
            <pc:sldMk cId="304171044" sldId="10488"/>
            <ac:spMk id="86" creationId="{E7961BDE-6076-4E21-960D-1961F2C205C8}"/>
          </ac:spMkLst>
        </pc:spChg>
        <pc:spChg chg="mod">
          <ac:chgData name="Ugo MANTEL" userId="2d5b7065-31bb-4181-a7f8-a73bf0c30211" providerId="ADAL" clId="{9344D105-636D-4857-BD0F-AFC44A54BCCF}" dt="2021-05-25T14:20:11.546" v="28243" actId="790"/>
          <ac:spMkLst>
            <pc:docMk/>
            <pc:sldMk cId="304171044" sldId="10488"/>
            <ac:spMk id="93" creationId="{F8A1DEBA-0A47-4AF0-8016-2E7AACF911FA}"/>
          </ac:spMkLst>
        </pc:spChg>
        <pc:spChg chg="mod">
          <ac:chgData name="Ugo MANTEL" userId="2d5b7065-31bb-4181-a7f8-a73bf0c30211" providerId="ADAL" clId="{9344D105-636D-4857-BD0F-AFC44A54BCCF}" dt="2021-05-25T14:20:11.547" v="28244" actId="790"/>
          <ac:spMkLst>
            <pc:docMk/>
            <pc:sldMk cId="304171044" sldId="10488"/>
            <ac:spMk id="98" creationId="{E179A47A-9B95-4CAE-B926-4582178F5874}"/>
          </ac:spMkLst>
        </pc:spChg>
        <pc:spChg chg="mod">
          <ac:chgData name="Ugo MANTEL" userId="2d5b7065-31bb-4181-a7f8-a73bf0c30211" providerId="ADAL" clId="{9344D105-636D-4857-BD0F-AFC44A54BCCF}" dt="2021-05-25T14:20:11.564" v="28251" actId="790"/>
          <ac:spMkLst>
            <pc:docMk/>
            <pc:sldMk cId="304171044" sldId="10488"/>
            <ac:spMk id="106" creationId="{2CE48A6C-F811-4EE2-A5F6-4C1AF22A5506}"/>
          </ac:spMkLst>
        </pc:spChg>
        <pc:spChg chg="mod">
          <ac:chgData name="Ugo MANTEL" userId="2d5b7065-31bb-4181-a7f8-a73bf0c30211" providerId="ADAL" clId="{9344D105-636D-4857-BD0F-AFC44A54BCCF}" dt="2021-05-25T14:20:11.564" v="28252" actId="790"/>
          <ac:spMkLst>
            <pc:docMk/>
            <pc:sldMk cId="304171044" sldId="10488"/>
            <ac:spMk id="107" creationId="{AE395F6F-5447-464E-8F22-8A2FA600B410}"/>
          </ac:spMkLst>
        </pc:spChg>
        <pc:spChg chg="add mod">
          <ac:chgData name="Ugo MANTEL" userId="2d5b7065-31bb-4181-a7f8-a73bf0c30211" providerId="ADAL" clId="{9344D105-636D-4857-BD0F-AFC44A54BCCF}" dt="2021-05-25T13:42:20.329" v="20244"/>
          <ac:spMkLst>
            <pc:docMk/>
            <pc:sldMk cId="304171044" sldId="10488"/>
            <ac:spMk id="108" creationId="{A4F66272-A4ED-44A7-A2AC-2B6FCBE35EBE}"/>
          </ac:spMkLst>
        </pc:spChg>
      </pc:sldChg>
      <pc:sldChg chg="delSp modSp add del mod">
        <pc:chgData name="Ugo MANTEL" userId="2d5b7065-31bb-4181-a7f8-a73bf0c30211" providerId="ADAL" clId="{9344D105-636D-4857-BD0F-AFC44A54BCCF}" dt="2021-05-25T15:25:59.454" v="37924" actId="47"/>
        <pc:sldMkLst>
          <pc:docMk/>
          <pc:sldMk cId="3118612002" sldId="10489"/>
        </pc:sldMkLst>
        <pc:spChg chg="mod">
          <ac:chgData name="Ugo MANTEL" userId="2d5b7065-31bb-4181-a7f8-a73bf0c30211" providerId="ADAL" clId="{9344D105-636D-4857-BD0F-AFC44A54BCCF}" dt="2021-05-25T14:20:13.458" v="30174" actId="790"/>
          <ac:spMkLst>
            <pc:docMk/>
            <pc:sldMk cId="3118612002" sldId="10489"/>
            <ac:spMk id="2" creationId="{BA3E4240-1B8B-4AAA-9DCA-9FE236464846}"/>
          </ac:spMkLst>
        </pc:spChg>
        <pc:spChg chg="mod">
          <ac:chgData name="Ugo MANTEL" userId="2d5b7065-31bb-4181-a7f8-a73bf0c30211" providerId="ADAL" clId="{9344D105-636D-4857-BD0F-AFC44A54BCCF}" dt="2021-05-25T14:20:13.464" v="30180" actId="790"/>
          <ac:spMkLst>
            <pc:docMk/>
            <pc:sldMk cId="3118612002" sldId="10489"/>
            <ac:spMk id="10" creationId="{8B80541E-0CB8-4F46-AA31-1D2CE8ECE50F}"/>
          </ac:spMkLst>
        </pc:spChg>
        <pc:spChg chg="mod">
          <ac:chgData name="Ugo MANTEL" userId="2d5b7065-31bb-4181-a7f8-a73bf0c30211" providerId="ADAL" clId="{9344D105-636D-4857-BD0F-AFC44A54BCCF}" dt="2021-05-25T14:20:13.456" v="30173" actId="790"/>
          <ac:spMkLst>
            <pc:docMk/>
            <pc:sldMk cId="3118612002" sldId="10489"/>
            <ac:spMk id="12" creationId="{5632CA9B-96AD-46F9-9A8A-B6E6800443DD}"/>
          </ac:spMkLst>
        </pc:spChg>
        <pc:spChg chg="mod">
          <ac:chgData name="Ugo MANTEL" userId="2d5b7065-31bb-4181-a7f8-a73bf0c30211" providerId="ADAL" clId="{9344D105-636D-4857-BD0F-AFC44A54BCCF}" dt="2021-05-25T14:20:13.463" v="30178" actId="790"/>
          <ac:spMkLst>
            <pc:docMk/>
            <pc:sldMk cId="3118612002" sldId="10489"/>
            <ac:spMk id="13" creationId="{8A47A578-76B7-48A6-B910-8A54E9BC3C53}"/>
          </ac:spMkLst>
        </pc:spChg>
        <pc:spChg chg="mod">
          <ac:chgData name="Ugo MANTEL" userId="2d5b7065-31bb-4181-a7f8-a73bf0c30211" providerId="ADAL" clId="{9344D105-636D-4857-BD0F-AFC44A54BCCF}" dt="2021-05-25T14:20:13.464" v="30179" actId="790"/>
          <ac:spMkLst>
            <pc:docMk/>
            <pc:sldMk cId="3118612002" sldId="10489"/>
            <ac:spMk id="16" creationId="{4FCCDEAF-F1D6-472C-8877-BCF7D817DF4C}"/>
          </ac:spMkLst>
        </pc:spChg>
        <pc:spChg chg="mod">
          <ac:chgData name="Ugo MANTEL" userId="2d5b7065-31bb-4181-a7f8-a73bf0c30211" providerId="ADAL" clId="{9344D105-636D-4857-BD0F-AFC44A54BCCF}" dt="2021-05-25T14:20:13.477" v="30190" actId="790"/>
          <ac:spMkLst>
            <pc:docMk/>
            <pc:sldMk cId="3118612002" sldId="10489"/>
            <ac:spMk id="21" creationId="{58337BA2-B7F0-4432-B9BF-C085B3E8B7D0}"/>
          </ac:spMkLst>
        </pc:spChg>
        <pc:spChg chg="mod">
          <ac:chgData name="Ugo MANTEL" userId="2d5b7065-31bb-4181-a7f8-a73bf0c30211" providerId="ADAL" clId="{9344D105-636D-4857-BD0F-AFC44A54BCCF}" dt="2021-05-25T14:20:13.478" v="30191" actId="790"/>
          <ac:spMkLst>
            <pc:docMk/>
            <pc:sldMk cId="3118612002" sldId="10489"/>
            <ac:spMk id="23" creationId="{CAB7DE97-987C-4E1B-AC28-72D620F2E2AC}"/>
          </ac:spMkLst>
        </pc:spChg>
        <pc:spChg chg="mod">
          <ac:chgData name="Ugo MANTEL" userId="2d5b7065-31bb-4181-a7f8-a73bf0c30211" providerId="ADAL" clId="{9344D105-636D-4857-BD0F-AFC44A54BCCF}" dt="2021-05-25T14:20:13.459" v="30175" actId="790"/>
          <ac:spMkLst>
            <pc:docMk/>
            <pc:sldMk cId="3118612002" sldId="10489"/>
            <ac:spMk id="50" creationId="{3D11D9AD-56B2-4FD0-998A-C3C17321490E}"/>
          </ac:spMkLst>
        </pc:spChg>
        <pc:spChg chg="mod">
          <ac:chgData name="Ugo MANTEL" userId="2d5b7065-31bb-4181-a7f8-a73bf0c30211" providerId="ADAL" clId="{9344D105-636D-4857-BD0F-AFC44A54BCCF}" dt="2021-05-25T14:20:13.459" v="30176" actId="790"/>
          <ac:spMkLst>
            <pc:docMk/>
            <pc:sldMk cId="3118612002" sldId="10489"/>
            <ac:spMk id="51" creationId="{ABA09096-B3E8-4754-A77D-65D350688B5B}"/>
          </ac:spMkLst>
        </pc:spChg>
        <pc:spChg chg="mod">
          <ac:chgData name="Ugo MANTEL" userId="2d5b7065-31bb-4181-a7f8-a73bf0c30211" providerId="ADAL" clId="{9344D105-636D-4857-BD0F-AFC44A54BCCF}" dt="2021-05-25T14:20:13.462" v="30177" actId="790"/>
          <ac:spMkLst>
            <pc:docMk/>
            <pc:sldMk cId="3118612002" sldId="10489"/>
            <ac:spMk id="52" creationId="{269DE5CB-BABB-4CE5-BFC8-CA5EE268E23C}"/>
          </ac:spMkLst>
        </pc:spChg>
        <pc:spChg chg="mod">
          <ac:chgData name="Ugo MANTEL" userId="2d5b7065-31bb-4181-a7f8-a73bf0c30211" providerId="ADAL" clId="{9344D105-636D-4857-BD0F-AFC44A54BCCF}" dt="2021-05-25T14:20:13.486" v="30199" actId="790"/>
          <ac:spMkLst>
            <pc:docMk/>
            <pc:sldMk cId="3118612002" sldId="10489"/>
            <ac:spMk id="53" creationId="{E78B608F-6BB5-42D9-B674-E79A1AA2E5CC}"/>
          </ac:spMkLst>
        </pc:spChg>
        <pc:spChg chg="mod">
          <ac:chgData name="Ugo MANTEL" userId="2d5b7065-31bb-4181-a7f8-a73bf0c30211" providerId="ADAL" clId="{9344D105-636D-4857-BD0F-AFC44A54BCCF}" dt="2021-05-25T14:20:13.465" v="30181" actId="790"/>
          <ac:spMkLst>
            <pc:docMk/>
            <pc:sldMk cId="3118612002" sldId="10489"/>
            <ac:spMk id="54" creationId="{A1ED7959-6972-4CA1-87DE-4A9E265D1EE1}"/>
          </ac:spMkLst>
        </pc:spChg>
        <pc:spChg chg="del mod">
          <ac:chgData name="Ugo MANTEL" userId="2d5b7065-31bb-4181-a7f8-a73bf0c30211" providerId="ADAL" clId="{9344D105-636D-4857-BD0F-AFC44A54BCCF}" dt="2021-05-25T15:07:24.800" v="37732" actId="478"/>
          <ac:spMkLst>
            <pc:docMk/>
            <pc:sldMk cId="3118612002" sldId="10489"/>
            <ac:spMk id="56" creationId="{AE85852A-DB47-48AD-B7A5-3CBDC3B312F9}"/>
          </ac:spMkLst>
        </pc:spChg>
        <pc:spChg chg="del mod">
          <ac:chgData name="Ugo MANTEL" userId="2d5b7065-31bb-4181-a7f8-a73bf0c30211" providerId="ADAL" clId="{9344D105-636D-4857-BD0F-AFC44A54BCCF}" dt="2021-05-25T15:07:24.800" v="37732" actId="478"/>
          <ac:spMkLst>
            <pc:docMk/>
            <pc:sldMk cId="3118612002" sldId="10489"/>
            <ac:spMk id="59" creationId="{3FF372DA-3A4F-4D30-9647-F68EBA31134B}"/>
          </ac:spMkLst>
        </pc:spChg>
        <pc:spChg chg="del mod">
          <ac:chgData name="Ugo MANTEL" userId="2d5b7065-31bb-4181-a7f8-a73bf0c30211" providerId="ADAL" clId="{9344D105-636D-4857-BD0F-AFC44A54BCCF}" dt="2021-05-25T15:07:24.800" v="37732" actId="478"/>
          <ac:spMkLst>
            <pc:docMk/>
            <pc:sldMk cId="3118612002" sldId="10489"/>
            <ac:spMk id="60" creationId="{8C771C11-3CE4-467E-A789-0F72C6CF98E2}"/>
          </ac:spMkLst>
        </pc:spChg>
        <pc:spChg chg="mod">
          <ac:chgData name="Ugo MANTEL" userId="2d5b7065-31bb-4181-a7f8-a73bf0c30211" providerId="ADAL" clId="{9344D105-636D-4857-BD0F-AFC44A54BCCF}" dt="2021-05-25T14:20:13.466" v="30182" actId="790"/>
          <ac:spMkLst>
            <pc:docMk/>
            <pc:sldMk cId="3118612002" sldId="10489"/>
            <ac:spMk id="61" creationId="{0CCFF1A2-CE09-4311-BD82-2FC01C7F8607}"/>
          </ac:spMkLst>
        </pc:spChg>
        <pc:spChg chg="mod">
          <ac:chgData name="Ugo MANTEL" userId="2d5b7065-31bb-4181-a7f8-a73bf0c30211" providerId="ADAL" clId="{9344D105-636D-4857-BD0F-AFC44A54BCCF}" dt="2021-05-25T14:20:13.492" v="30206" actId="790"/>
          <ac:spMkLst>
            <pc:docMk/>
            <pc:sldMk cId="3118612002" sldId="10489"/>
            <ac:spMk id="64" creationId="{C95674C3-8BB6-44D2-98D4-0AF094FC0371}"/>
          </ac:spMkLst>
        </pc:spChg>
        <pc:spChg chg="mod">
          <ac:chgData name="Ugo MANTEL" userId="2d5b7065-31bb-4181-a7f8-a73bf0c30211" providerId="ADAL" clId="{9344D105-636D-4857-BD0F-AFC44A54BCCF}" dt="2021-05-25T14:20:13.493" v="30208" actId="790"/>
          <ac:spMkLst>
            <pc:docMk/>
            <pc:sldMk cId="3118612002" sldId="10489"/>
            <ac:spMk id="65" creationId="{D2A60E99-738E-48FF-B6C6-2F6E2F2271DE}"/>
          </ac:spMkLst>
        </pc:spChg>
        <pc:spChg chg="mod">
          <ac:chgData name="Ugo MANTEL" userId="2d5b7065-31bb-4181-a7f8-a73bf0c30211" providerId="ADAL" clId="{9344D105-636D-4857-BD0F-AFC44A54BCCF}" dt="2021-05-25T14:20:13.493" v="30207" actId="790"/>
          <ac:spMkLst>
            <pc:docMk/>
            <pc:sldMk cId="3118612002" sldId="10489"/>
            <ac:spMk id="66" creationId="{EA497D45-3836-486D-AC95-55683BED412E}"/>
          </ac:spMkLst>
        </pc:spChg>
        <pc:spChg chg="mod">
          <ac:chgData name="Ugo MANTEL" userId="2d5b7065-31bb-4181-a7f8-a73bf0c30211" providerId="ADAL" clId="{9344D105-636D-4857-BD0F-AFC44A54BCCF}" dt="2021-05-25T14:20:13.488" v="30203" actId="790"/>
          <ac:spMkLst>
            <pc:docMk/>
            <pc:sldMk cId="3118612002" sldId="10489"/>
            <ac:spMk id="67" creationId="{1C4E990E-8E89-45A0-AC76-02D2BCF8FE7D}"/>
          </ac:spMkLst>
        </pc:spChg>
        <pc:spChg chg="mod">
          <ac:chgData name="Ugo MANTEL" userId="2d5b7065-31bb-4181-a7f8-a73bf0c30211" providerId="ADAL" clId="{9344D105-636D-4857-BD0F-AFC44A54BCCF}" dt="2021-05-25T14:20:13.467" v="30183" actId="790"/>
          <ac:spMkLst>
            <pc:docMk/>
            <pc:sldMk cId="3118612002" sldId="10489"/>
            <ac:spMk id="68" creationId="{A5346155-53F6-4492-8069-514F081C33B9}"/>
          </ac:spMkLst>
        </pc:spChg>
        <pc:spChg chg="mod">
          <ac:chgData name="Ugo MANTEL" userId="2d5b7065-31bb-4181-a7f8-a73bf0c30211" providerId="ADAL" clId="{9344D105-636D-4857-BD0F-AFC44A54BCCF}" dt="2021-05-25T14:20:13.490" v="30204" actId="790"/>
          <ac:spMkLst>
            <pc:docMk/>
            <pc:sldMk cId="3118612002" sldId="10489"/>
            <ac:spMk id="69" creationId="{5A30C23A-C7FE-49B2-BC9B-2CAFEF1C8565}"/>
          </ac:spMkLst>
        </pc:spChg>
        <pc:spChg chg="mod">
          <ac:chgData name="Ugo MANTEL" userId="2d5b7065-31bb-4181-a7f8-a73bf0c30211" providerId="ADAL" clId="{9344D105-636D-4857-BD0F-AFC44A54BCCF}" dt="2021-05-25T14:20:13.491" v="30205" actId="790"/>
          <ac:spMkLst>
            <pc:docMk/>
            <pc:sldMk cId="3118612002" sldId="10489"/>
            <ac:spMk id="70" creationId="{AFE2124A-B375-42E6-858E-25A0046656BC}"/>
          </ac:spMkLst>
        </pc:spChg>
        <pc:spChg chg="mod">
          <ac:chgData name="Ugo MANTEL" userId="2d5b7065-31bb-4181-a7f8-a73bf0c30211" providerId="ADAL" clId="{9344D105-636D-4857-BD0F-AFC44A54BCCF}" dt="2021-05-25T14:20:13.468" v="30184" actId="790"/>
          <ac:spMkLst>
            <pc:docMk/>
            <pc:sldMk cId="3118612002" sldId="10489"/>
            <ac:spMk id="73" creationId="{98DD9878-7EFD-4EE3-8563-0AB6CA847BCD}"/>
          </ac:spMkLst>
        </pc:spChg>
        <pc:spChg chg="del mod">
          <ac:chgData name="Ugo MANTEL" userId="2d5b7065-31bb-4181-a7f8-a73bf0c30211" providerId="ADAL" clId="{9344D105-636D-4857-BD0F-AFC44A54BCCF}" dt="2021-05-25T15:07:24.800" v="37732" actId="478"/>
          <ac:spMkLst>
            <pc:docMk/>
            <pc:sldMk cId="3118612002" sldId="10489"/>
            <ac:spMk id="74" creationId="{1AD49906-0481-409A-9D9E-AA75C6109471}"/>
          </ac:spMkLst>
        </pc:spChg>
        <pc:spChg chg="mod">
          <ac:chgData name="Ugo MANTEL" userId="2d5b7065-31bb-4181-a7f8-a73bf0c30211" providerId="ADAL" clId="{9344D105-636D-4857-BD0F-AFC44A54BCCF}" dt="2021-05-25T14:20:13.471" v="30185" actId="790"/>
          <ac:spMkLst>
            <pc:docMk/>
            <pc:sldMk cId="3118612002" sldId="10489"/>
            <ac:spMk id="78" creationId="{5112757C-9BF4-4BA1-9498-541BF2906FB2}"/>
          </ac:spMkLst>
        </pc:spChg>
        <pc:spChg chg="mod">
          <ac:chgData name="Ugo MANTEL" userId="2d5b7065-31bb-4181-a7f8-a73bf0c30211" providerId="ADAL" clId="{9344D105-636D-4857-BD0F-AFC44A54BCCF}" dt="2021-05-25T14:20:13.473" v="30186" actId="790"/>
          <ac:spMkLst>
            <pc:docMk/>
            <pc:sldMk cId="3118612002" sldId="10489"/>
            <ac:spMk id="79" creationId="{03A27743-6F0C-44CB-A476-520C8741EAE9}"/>
          </ac:spMkLst>
        </pc:spChg>
        <pc:spChg chg="mod">
          <ac:chgData name="Ugo MANTEL" userId="2d5b7065-31bb-4181-a7f8-a73bf0c30211" providerId="ADAL" clId="{9344D105-636D-4857-BD0F-AFC44A54BCCF}" dt="2021-05-25T14:20:13.474" v="30187" actId="790"/>
          <ac:spMkLst>
            <pc:docMk/>
            <pc:sldMk cId="3118612002" sldId="10489"/>
            <ac:spMk id="80" creationId="{E399A358-1215-4FA3-8339-9689B70175BF}"/>
          </ac:spMkLst>
        </pc:spChg>
        <pc:spChg chg="mod">
          <ac:chgData name="Ugo MANTEL" userId="2d5b7065-31bb-4181-a7f8-a73bf0c30211" providerId="ADAL" clId="{9344D105-636D-4857-BD0F-AFC44A54BCCF}" dt="2021-05-25T14:20:13.479" v="30192" actId="790"/>
          <ac:spMkLst>
            <pc:docMk/>
            <pc:sldMk cId="3118612002" sldId="10489"/>
            <ac:spMk id="81" creationId="{60F8FC4C-7305-426C-8523-F98FB2B728B2}"/>
          </ac:spMkLst>
        </pc:spChg>
        <pc:spChg chg="mod">
          <ac:chgData name="Ugo MANTEL" userId="2d5b7065-31bb-4181-a7f8-a73bf0c30211" providerId="ADAL" clId="{9344D105-636D-4857-BD0F-AFC44A54BCCF}" dt="2021-05-25T14:20:13.475" v="30188" actId="790"/>
          <ac:spMkLst>
            <pc:docMk/>
            <pc:sldMk cId="3118612002" sldId="10489"/>
            <ac:spMk id="82" creationId="{378DC2D4-4EBE-4118-8C40-86863555C037}"/>
          </ac:spMkLst>
        </pc:spChg>
        <pc:spChg chg="mod">
          <ac:chgData name="Ugo MANTEL" userId="2d5b7065-31bb-4181-a7f8-a73bf0c30211" providerId="ADAL" clId="{9344D105-636D-4857-BD0F-AFC44A54BCCF}" dt="2021-05-25T14:20:13.480" v="30193" actId="790"/>
          <ac:spMkLst>
            <pc:docMk/>
            <pc:sldMk cId="3118612002" sldId="10489"/>
            <ac:spMk id="86" creationId="{5426AF42-AB87-4AFB-94AB-DD1D8EF561A6}"/>
          </ac:spMkLst>
        </pc:spChg>
        <pc:spChg chg="mod">
          <ac:chgData name="Ugo MANTEL" userId="2d5b7065-31bb-4181-a7f8-a73bf0c30211" providerId="ADAL" clId="{9344D105-636D-4857-BD0F-AFC44A54BCCF}" dt="2021-05-25T14:20:13.484" v="30197" actId="790"/>
          <ac:spMkLst>
            <pc:docMk/>
            <pc:sldMk cId="3118612002" sldId="10489"/>
            <ac:spMk id="104" creationId="{84D904D1-6FD7-411F-9055-7BDDD6F8D510}"/>
          </ac:spMkLst>
        </pc:spChg>
        <pc:spChg chg="mod">
          <ac:chgData name="Ugo MANTEL" userId="2d5b7065-31bb-4181-a7f8-a73bf0c30211" providerId="ADAL" clId="{9344D105-636D-4857-BD0F-AFC44A54BCCF}" dt="2021-05-25T14:20:13.485" v="30198" actId="790"/>
          <ac:spMkLst>
            <pc:docMk/>
            <pc:sldMk cId="3118612002" sldId="10489"/>
            <ac:spMk id="107" creationId="{E4B14101-5119-4FB2-BCD9-4C0E7BEAF957}"/>
          </ac:spMkLst>
        </pc:spChg>
        <pc:spChg chg="mod">
          <ac:chgData name="Ugo MANTEL" userId="2d5b7065-31bb-4181-a7f8-a73bf0c30211" providerId="ADAL" clId="{9344D105-636D-4857-BD0F-AFC44A54BCCF}" dt="2021-05-25T14:20:13.476" v="30189" actId="790"/>
          <ac:spMkLst>
            <pc:docMk/>
            <pc:sldMk cId="3118612002" sldId="10489"/>
            <ac:spMk id="109" creationId="{E8BE3BCE-A832-4D22-9958-D819266EA290}"/>
          </ac:spMkLst>
        </pc:spChg>
        <pc:spChg chg="mod">
          <ac:chgData name="Ugo MANTEL" userId="2d5b7065-31bb-4181-a7f8-a73bf0c30211" providerId="ADAL" clId="{9344D105-636D-4857-BD0F-AFC44A54BCCF}" dt="2021-05-25T14:20:13.482" v="30194" actId="790"/>
          <ac:spMkLst>
            <pc:docMk/>
            <pc:sldMk cId="3118612002" sldId="10489"/>
            <ac:spMk id="114" creationId="{EF7E7272-A5E8-48AE-AF6F-C99EB6336D02}"/>
          </ac:spMkLst>
        </pc:spChg>
        <pc:spChg chg="mod">
          <ac:chgData name="Ugo MANTEL" userId="2d5b7065-31bb-4181-a7f8-a73bf0c30211" providerId="ADAL" clId="{9344D105-636D-4857-BD0F-AFC44A54BCCF}" dt="2021-05-25T14:20:13.483" v="30195" actId="790"/>
          <ac:spMkLst>
            <pc:docMk/>
            <pc:sldMk cId="3118612002" sldId="10489"/>
            <ac:spMk id="115" creationId="{E4406749-7A4A-41F0-A850-CE3465C20F17}"/>
          </ac:spMkLst>
        </pc:spChg>
        <pc:spChg chg="mod">
          <ac:chgData name="Ugo MANTEL" userId="2d5b7065-31bb-4181-a7f8-a73bf0c30211" providerId="ADAL" clId="{9344D105-636D-4857-BD0F-AFC44A54BCCF}" dt="2021-05-25T14:20:13.483" v="30196" actId="790"/>
          <ac:spMkLst>
            <pc:docMk/>
            <pc:sldMk cId="3118612002" sldId="10489"/>
            <ac:spMk id="116" creationId="{2806627C-A398-4592-B3EB-4C56D0420050}"/>
          </ac:spMkLst>
        </pc:spChg>
      </pc:sldChg>
      <pc:sldChg chg="delSp modSp add del mod">
        <pc:chgData name="Ugo MANTEL" userId="2d5b7065-31bb-4181-a7f8-a73bf0c30211" providerId="ADAL" clId="{9344D105-636D-4857-BD0F-AFC44A54BCCF}" dt="2021-05-25T15:25:59.454" v="37924" actId="47"/>
        <pc:sldMkLst>
          <pc:docMk/>
          <pc:sldMk cId="2842141633" sldId="10490"/>
        </pc:sldMkLst>
        <pc:spChg chg="mod">
          <ac:chgData name="Ugo MANTEL" userId="2d5b7065-31bb-4181-a7f8-a73bf0c30211" providerId="ADAL" clId="{9344D105-636D-4857-BD0F-AFC44A54BCCF}" dt="2021-05-25T14:20:13.497" v="30211" actId="790"/>
          <ac:spMkLst>
            <pc:docMk/>
            <pc:sldMk cId="2842141633" sldId="10490"/>
            <ac:spMk id="2" creationId="{BA3E4240-1B8B-4AAA-9DCA-9FE236464846}"/>
          </ac:spMkLst>
        </pc:spChg>
        <pc:spChg chg="mod">
          <ac:chgData name="Ugo MANTEL" userId="2d5b7065-31bb-4181-a7f8-a73bf0c30211" providerId="ADAL" clId="{9344D105-636D-4857-BD0F-AFC44A54BCCF}" dt="2021-05-25T14:20:13.498" v="30212" actId="790"/>
          <ac:spMkLst>
            <pc:docMk/>
            <pc:sldMk cId="2842141633" sldId="10490"/>
            <ac:spMk id="64" creationId="{715DCA8A-86D5-45FB-9BFD-4D1110B6C7FB}"/>
          </ac:spMkLst>
        </pc:spChg>
        <pc:spChg chg="mod">
          <ac:chgData name="Ugo MANTEL" userId="2d5b7065-31bb-4181-a7f8-a73bf0c30211" providerId="ADAL" clId="{9344D105-636D-4857-BD0F-AFC44A54BCCF}" dt="2021-05-25T14:20:13.506" v="30218" actId="790"/>
          <ac:spMkLst>
            <pc:docMk/>
            <pc:sldMk cId="2842141633" sldId="10490"/>
            <ac:spMk id="65" creationId="{621ABA10-DB52-4BB0-BAFC-8BE5CFD23B9F}"/>
          </ac:spMkLst>
        </pc:spChg>
        <pc:spChg chg="mod">
          <ac:chgData name="Ugo MANTEL" userId="2d5b7065-31bb-4181-a7f8-a73bf0c30211" providerId="ADAL" clId="{9344D105-636D-4857-BD0F-AFC44A54BCCF}" dt="2021-05-25T14:20:13.507" v="30219" actId="790"/>
          <ac:spMkLst>
            <pc:docMk/>
            <pc:sldMk cId="2842141633" sldId="10490"/>
            <ac:spMk id="66" creationId="{A3EC114C-5251-4558-8979-7A09B9BD87E8}"/>
          </ac:spMkLst>
        </pc:spChg>
        <pc:spChg chg="mod">
          <ac:chgData name="Ugo MANTEL" userId="2d5b7065-31bb-4181-a7f8-a73bf0c30211" providerId="ADAL" clId="{9344D105-636D-4857-BD0F-AFC44A54BCCF}" dt="2021-05-25T14:20:13.508" v="30220" actId="790"/>
          <ac:spMkLst>
            <pc:docMk/>
            <pc:sldMk cId="2842141633" sldId="10490"/>
            <ac:spMk id="67" creationId="{44209A18-064E-4D98-A20A-566CF9E8375A}"/>
          </ac:spMkLst>
        </pc:spChg>
        <pc:spChg chg="mod">
          <ac:chgData name="Ugo MANTEL" userId="2d5b7065-31bb-4181-a7f8-a73bf0c30211" providerId="ADAL" clId="{9344D105-636D-4857-BD0F-AFC44A54BCCF}" dt="2021-05-25T14:20:13.509" v="30221" actId="790"/>
          <ac:spMkLst>
            <pc:docMk/>
            <pc:sldMk cId="2842141633" sldId="10490"/>
            <ac:spMk id="72" creationId="{C5BAE9F3-F0CE-4E5D-A59F-809FDD7B37E5}"/>
          </ac:spMkLst>
        </pc:spChg>
        <pc:spChg chg="mod">
          <ac:chgData name="Ugo MANTEL" userId="2d5b7065-31bb-4181-a7f8-a73bf0c30211" providerId="ADAL" clId="{9344D105-636D-4857-BD0F-AFC44A54BCCF}" dt="2021-05-25T14:20:13.511" v="30222" actId="790"/>
          <ac:spMkLst>
            <pc:docMk/>
            <pc:sldMk cId="2842141633" sldId="10490"/>
            <ac:spMk id="74" creationId="{E5DAF6B5-73B5-4F99-AC68-3AF9C1E72B1A}"/>
          </ac:spMkLst>
        </pc:spChg>
        <pc:spChg chg="mod">
          <ac:chgData name="Ugo MANTEL" userId="2d5b7065-31bb-4181-a7f8-a73bf0c30211" providerId="ADAL" clId="{9344D105-636D-4857-BD0F-AFC44A54BCCF}" dt="2021-05-25T14:20:13.513" v="30223" actId="790"/>
          <ac:spMkLst>
            <pc:docMk/>
            <pc:sldMk cId="2842141633" sldId="10490"/>
            <ac:spMk id="77" creationId="{C58DFF13-F614-467C-A649-5174336B1430}"/>
          </ac:spMkLst>
        </pc:spChg>
        <pc:spChg chg="del mod">
          <ac:chgData name="Ugo MANTEL" userId="2d5b7065-31bb-4181-a7f8-a73bf0c30211" providerId="ADAL" clId="{9344D105-636D-4857-BD0F-AFC44A54BCCF}" dt="2021-05-25T15:07:21.286" v="37731" actId="478"/>
          <ac:spMkLst>
            <pc:docMk/>
            <pc:sldMk cId="2842141633" sldId="10490"/>
            <ac:spMk id="81" creationId="{402ED435-7EA5-48C5-BB45-E998D1C41E83}"/>
          </ac:spMkLst>
        </pc:spChg>
        <pc:spChg chg="mod">
          <ac:chgData name="Ugo MANTEL" userId="2d5b7065-31bb-4181-a7f8-a73bf0c30211" providerId="ADAL" clId="{9344D105-636D-4857-BD0F-AFC44A54BCCF}" dt="2021-05-25T14:20:13.516" v="30224" actId="790"/>
          <ac:spMkLst>
            <pc:docMk/>
            <pc:sldMk cId="2842141633" sldId="10490"/>
            <ac:spMk id="83" creationId="{F3D9AFF7-1D4F-497C-9EBC-5196256BD28B}"/>
          </ac:spMkLst>
        </pc:spChg>
        <pc:spChg chg="del mod">
          <ac:chgData name="Ugo MANTEL" userId="2d5b7065-31bb-4181-a7f8-a73bf0c30211" providerId="ADAL" clId="{9344D105-636D-4857-BD0F-AFC44A54BCCF}" dt="2021-05-25T15:07:21.286" v="37731" actId="478"/>
          <ac:spMkLst>
            <pc:docMk/>
            <pc:sldMk cId="2842141633" sldId="10490"/>
            <ac:spMk id="95" creationId="{1D12A4B1-C526-4ABC-9EBE-F18A9499546F}"/>
          </ac:spMkLst>
        </pc:spChg>
        <pc:spChg chg="del mod">
          <ac:chgData name="Ugo MANTEL" userId="2d5b7065-31bb-4181-a7f8-a73bf0c30211" providerId="ADAL" clId="{9344D105-636D-4857-BD0F-AFC44A54BCCF}" dt="2021-05-25T15:07:21.286" v="37731" actId="478"/>
          <ac:spMkLst>
            <pc:docMk/>
            <pc:sldMk cId="2842141633" sldId="10490"/>
            <ac:spMk id="96" creationId="{4489A216-621D-46B4-A741-BFDE4F480185}"/>
          </ac:spMkLst>
        </pc:spChg>
        <pc:spChg chg="del mod">
          <ac:chgData name="Ugo MANTEL" userId="2d5b7065-31bb-4181-a7f8-a73bf0c30211" providerId="ADAL" clId="{9344D105-636D-4857-BD0F-AFC44A54BCCF}" dt="2021-05-25T15:07:21.286" v="37731" actId="478"/>
          <ac:spMkLst>
            <pc:docMk/>
            <pc:sldMk cId="2842141633" sldId="10490"/>
            <ac:spMk id="97" creationId="{B5347C34-5BE6-46FD-89AF-BBA2F72C5D9E}"/>
          </ac:spMkLst>
        </pc:spChg>
        <pc:spChg chg="mod">
          <ac:chgData name="Ugo MANTEL" userId="2d5b7065-31bb-4181-a7f8-a73bf0c30211" providerId="ADAL" clId="{9344D105-636D-4857-BD0F-AFC44A54BCCF}" dt="2021-05-25T14:20:13.500" v="30213" actId="790"/>
          <ac:spMkLst>
            <pc:docMk/>
            <pc:sldMk cId="2842141633" sldId="10490"/>
            <ac:spMk id="103" creationId="{D1ADF058-49F0-46BE-A5B0-D41C2897BE51}"/>
          </ac:spMkLst>
        </pc:spChg>
        <pc:spChg chg="mod">
          <ac:chgData name="Ugo MANTEL" userId="2d5b7065-31bb-4181-a7f8-a73bf0c30211" providerId="ADAL" clId="{9344D105-636D-4857-BD0F-AFC44A54BCCF}" dt="2021-05-25T14:20:13.517" v="30225" actId="790"/>
          <ac:spMkLst>
            <pc:docMk/>
            <pc:sldMk cId="2842141633" sldId="10490"/>
            <ac:spMk id="105" creationId="{EEE2C96C-B2B1-48D8-9332-E30827E4B0D0}"/>
          </ac:spMkLst>
        </pc:spChg>
        <pc:spChg chg="mod">
          <ac:chgData name="Ugo MANTEL" userId="2d5b7065-31bb-4181-a7f8-a73bf0c30211" providerId="ADAL" clId="{9344D105-636D-4857-BD0F-AFC44A54BCCF}" dt="2021-05-25T14:20:13.519" v="30226" actId="790"/>
          <ac:spMkLst>
            <pc:docMk/>
            <pc:sldMk cId="2842141633" sldId="10490"/>
            <ac:spMk id="106" creationId="{0CE85CB8-7C7A-49B2-A57F-88CBBDC8A596}"/>
          </ac:spMkLst>
        </pc:spChg>
        <pc:spChg chg="mod">
          <ac:chgData name="Ugo MANTEL" userId="2d5b7065-31bb-4181-a7f8-a73bf0c30211" providerId="ADAL" clId="{9344D105-636D-4857-BD0F-AFC44A54BCCF}" dt="2021-05-25T14:20:13.502" v="30214" actId="790"/>
          <ac:spMkLst>
            <pc:docMk/>
            <pc:sldMk cId="2842141633" sldId="10490"/>
            <ac:spMk id="109" creationId="{BBAA2621-CEE3-45B9-A27A-5E3B01CCE547}"/>
          </ac:spMkLst>
        </pc:spChg>
        <pc:spChg chg="mod">
          <ac:chgData name="Ugo MANTEL" userId="2d5b7065-31bb-4181-a7f8-a73bf0c30211" providerId="ADAL" clId="{9344D105-636D-4857-BD0F-AFC44A54BCCF}" dt="2021-05-25T14:20:13.520" v="30227" actId="790"/>
          <ac:spMkLst>
            <pc:docMk/>
            <pc:sldMk cId="2842141633" sldId="10490"/>
            <ac:spMk id="113" creationId="{34780B37-667B-46AD-A90A-2E9A04B51827}"/>
          </ac:spMkLst>
        </pc:spChg>
        <pc:spChg chg="mod">
          <ac:chgData name="Ugo MANTEL" userId="2d5b7065-31bb-4181-a7f8-a73bf0c30211" providerId="ADAL" clId="{9344D105-636D-4857-BD0F-AFC44A54BCCF}" dt="2021-05-25T14:20:13.505" v="30216" actId="790"/>
          <ac:spMkLst>
            <pc:docMk/>
            <pc:sldMk cId="2842141633" sldId="10490"/>
            <ac:spMk id="129" creationId="{D71975E8-6EB4-4EA3-B34C-4F9196C4ABBE}"/>
          </ac:spMkLst>
        </pc:spChg>
        <pc:spChg chg="mod">
          <ac:chgData name="Ugo MANTEL" userId="2d5b7065-31bb-4181-a7f8-a73bf0c30211" providerId="ADAL" clId="{9344D105-636D-4857-BD0F-AFC44A54BCCF}" dt="2021-05-25T14:20:13.505" v="30217" actId="790"/>
          <ac:spMkLst>
            <pc:docMk/>
            <pc:sldMk cId="2842141633" sldId="10490"/>
            <ac:spMk id="133" creationId="{A342E216-A2F2-4FE4-89F9-E0010C3D7924}"/>
          </ac:spMkLst>
        </pc:spChg>
        <pc:spChg chg="mod">
          <ac:chgData name="Ugo MANTEL" userId="2d5b7065-31bb-4181-a7f8-a73bf0c30211" providerId="ADAL" clId="{9344D105-636D-4857-BD0F-AFC44A54BCCF}" dt="2021-05-25T14:20:13.504" v="30215" actId="790"/>
          <ac:spMkLst>
            <pc:docMk/>
            <pc:sldMk cId="2842141633" sldId="10490"/>
            <ac:spMk id="139" creationId="{8DA1D49F-7219-4276-AD3C-AD0D21AF958D}"/>
          </ac:spMkLst>
        </pc:spChg>
        <pc:spChg chg="mod">
          <ac:chgData name="Ugo MANTEL" userId="2d5b7065-31bb-4181-a7f8-a73bf0c30211" providerId="ADAL" clId="{9344D105-636D-4857-BD0F-AFC44A54BCCF}" dt="2021-05-25T14:20:13.527" v="30231" actId="790"/>
          <ac:spMkLst>
            <pc:docMk/>
            <pc:sldMk cId="2842141633" sldId="10490"/>
            <ac:spMk id="151" creationId="{AADD0AE8-89E7-4B0A-927A-4F917A013BC7}"/>
          </ac:spMkLst>
        </pc:spChg>
        <pc:spChg chg="mod">
          <ac:chgData name="Ugo MANTEL" userId="2d5b7065-31bb-4181-a7f8-a73bf0c30211" providerId="ADAL" clId="{9344D105-636D-4857-BD0F-AFC44A54BCCF}" dt="2021-05-25T14:20:13.528" v="30232" actId="790"/>
          <ac:spMkLst>
            <pc:docMk/>
            <pc:sldMk cId="2842141633" sldId="10490"/>
            <ac:spMk id="152" creationId="{FB0F78FA-AD20-409A-809B-1391FE11FCF6}"/>
          </ac:spMkLst>
        </pc:spChg>
        <pc:spChg chg="mod">
          <ac:chgData name="Ugo MANTEL" userId="2d5b7065-31bb-4181-a7f8-a73bf0c30211" providerId="ADAL" clId="{9344D105-636D-4857-BD0F-AFC44A54BCCF}" dt="2021-05-25T14:20:13.529" v="30233" actId="790"/>
          <ac:spMkLst>
            <pc:docMk/>
            <pc:sldMk cId="2842141633" sldId="10490"/>
            <ac:spMk id="153" creationId="{DFF887D5-93D9-43FD-A9EA-A8A5FF21C470}"/>
          </ac:spMkLst>
        </pc:spChg>
        <pc:spChg chg="mod">
          <ac:chgData name="Ugo MANTEL" userId="2d5b7065-31bb-4181-a7f8-a73bf0c30211" providerId="ADAL" clId="{9344D105-636D-4857-BD0F-AFC44A54BCCF}" dt="2021-05-25T14:20:13.531" v="30234" actId="790"/>
          <ac:spMkLst>
            <pc:docMk/>
            <pc:sldMk cId="2842141633" sldId="10490"/>
            <ac:spMk id="154" creationId="{11F0F952-C845-4C87-85C1-A79CE4CC86A8}"/>
          </ac:spMkLst>
        </pc:spChg>
        <pc:spChg chg="mod">
          <ac:chgData name="Ugo MANTEL" userId="2d5b7065-31bb-4181-a7f8-a73bf0c30211" providerId="ADAL" clId="{9344D105-636D-4857-BD0F-AFC44A54BCCF}" dt="2021-05-25T14:20:13.532" v="30235" actId="790"/>
          <ac:spMkLst>
            <pc:docMk/>
            <pc:sldMk cId="2842141633" sldId="10490"/>
            <ac:spMk id="155" creationId="{BFF0C264-EA7C-40EF-9800-6EBCBBD38827}"/>
          </ac:spMkLst>
        </pc:spChg>
        <pc:spChg chg="mod">
          <ac:chgData name="Ugo MANTEL" userId="2d5b7065-31bb-4181-a7f8-a73bf0c30211" providerId="ADAL" clId="{9344D105-636D-4857-BD0F-AFC44A54BCCF}" dt="2021-05-25T14:20:13.534" v="30236" actId="790"/>
          <ac:spMkLst>
            <pc:docMk/>
            <pc:sldMk cId="2842141633" sldId="10490"/>
            <ac:spMk id="156" creationId="{EA825694-5D20-44CA-90AC-3E6CCBEC36C1}"/>
          </ac:spMkLst>
        </pc:spChg>
        <pc:spChg chg="mod">
          <ac:chgData name="Ugo MANTEL" userId="2d5b7065-31bb-4181-a7f8-a73bf0c30211" providerId="ADAL" clId="{9344D105-636D-4857-BD0F-AFC44A54BCCF}" dt="2021-05-25T14:20:13.535" v="30237" actId="790"/>
          <ac:spMkLst>
            <pc:docMk/>
            <pc:sldMk cId="2842141633" sldId="10490"/>
            <ac:spMk id="157" creationId="{04A883BF-EE1E-4A89-AD00-5F8B5D99C836}"/>
          </ac:spMkLst>
        </pc:spChg>
        <pc:spChg chg="mod">
          <ac:chgData name="Ugo MANTEL" userId="2d5b7065-31bb-4181-a7f8-a73bf0c30211" providerId="ADAL" clId="{9344D105-636D-4857-BD0F-AFC44A54BCCF}" dt="2021-05-25T14:20:13.537" v="30238" actId="790"/>
          <ac:spMkLst>
            <pc:docMk/>
            <pc:sldMk cId="2842141633" sldId="10490"/>
            <ac:spMk id="158" creationId="{01F1F93B-54C2-41B4-8622-8E3F49F5FEBE}"/>
          </ac:spMkLst>
        </pc:spChg>
        <pc:spChg chg="mod">
          <ac:chgData name="Ugo MANTEL" userId="2d5b7065-31bb-4181-a7f8-a73bf0c30211" providerId="ADAL" clId="{9344D105-636D-4857-BD0F-AFC44A54BCCF}" dt="2021-05-25T14:20:13.538" v="30239" actId="790"/>
          <ac:spMkLst>
            <pc:docMk/>
            <pc:sldMk cId="2842141633" sldId="10490"/>
            <ac:spMk id="160" creationId="{062AAC79-5C4A-4D39-8AB2-33268E5F0369}"/>
          </ac:spMkLst>
        </pc:spChg>
        <pc:spChg chg="mod">
          <ac:chgData name="Ugo MANTEL" userId="2d5b7065-31bb-4181-a7f8-a73bf0c30211" providerId="ADAL" clId="{9344D105-636D-4857-BD0F-AFC44A54BCCF}" dt="2021-05-25T14:20:13.540" v="30240" actId="790"/>
          <ac:spMkLst>
            <pc:docMk/>
            <pc:sldMk cId="2842141633" sldId="10490"/>
            <ac:spMk id="161" creationId="{C0E1501D-908E-42D2-90EC-E3FD87C98AE0}"/>
          </ac:spMkLst>
        </pc:spChg>
        <pc:spChg chg="mod">
          <ac:chgData name="Ugo MANTEL" userId="2d5b7065-31bb-4181-a7f8-a73bf0c30211" providerId="ADAL" clId="{9344D105-636D-4857-BD0F-AFC44A54BCCF}" dt="2021-05-25T14:20:13.541" v="30241" actId="790"/>
          <ac:spMkLst>
            <pc:docMk/>
            <pc:sldMk cId="2842141633" sldId="10490"/>
            <ac:spMk id="162" creationId="{638F9AF0-97B6-478B-A735-4FE0E2537C37}"/>
          </ac:spMkLst>
        </pc:spChg>
        <pc:spChg chg="mod">
          <ac:chgData name="Ugo MANTEL" userId="2d5b7065-31bb-4181-a7f8-a73bf0c30211" providerId="ADAL" clId="{9344D105-636D-4857-BD0F-AFC44A54BCCF}" dt="2021-05-25T14:20:13.544" v="30242" actId="790"/>
          <ac:spMkLst>
            <pc:docMk/>
            <pc:sldMk cId="2842141633" sldId="10490"/>
            <ac:spMk id="173" creationId="{30AA6C82-45D8-4BBA-8A37-31199045546A}"/>
          </ac:spMkLst>
        </pc:spChg>
        <pc:spChg chg="mod">
          <ac:chgData name="Ugo MANTEL" userId="2d5b7065-31bb-4181-a7f8-a73bf0c30211" providerId="ADAL" clId="{9344D105-636D-4857-BD0F-AFC44A54BCCF}" dt="2021-05-25T14:20:13.545" v="30243" actId="790"/>
          <ac:spMkLst>
            <pc:docMk/>
            <pc:sldMk cId="2842141633" sldId="10490"/>
            <ac:spMk id="177" creationId="{48441A43-43B3-4736-A4B9-E56FDF58DE3C}"/>
          </ac:spMkLst>
        </pc:spChg>
        <pc:spChg chg="mod">
          <ac:chgData name="Ugo MANTEL" userId="2d5b7065-31bb-4181-a7f8-a73bf0c30211" providerId="ADAL" clId="{9344D105-636D-4857-BD0F-AFC44A54BCCF}" dt="2021-05-25T14:20:13.546" v="30244" actId="790"/>
          <ac:spMkLst>
            <pc:docMk/>
            <pc:sldMk cId="2842141633" sldId="10490"/>
            <ac:spMk id="178" creationId="{AB22E7A1-3CF5-4C88-B06E-2496E9D33731}"/>
          </ac:spMkLst>
        </pc:spChg>
        <pc:spChg chg="mod">
          <ac:chgData name="Ugo MANTEL" userId="2d5b7065-31bb-4181-a7f8-a73bf0c30211" providerId="ADAL" clId="{9344D105-636D-4857-BD0F-AFC44A54BCCF}" dt="2021-05-25T14:20:13.546" v="30245" actId="790"/>
          <ac:spMkLst>
            <pc:docMk/>
            <pc:sldMk cId="2842141633" sldId="10490"/>
            <ac:spMk id="180" creationId="{8602A287-DA13-4D40-9968-4789E99A79E6}"/>
          </ac:spMkLst>
        </pc:spChg>
        <pc:spChg chg="mod">
          <ac:chgData name="Ugo MANTEL" userId="2d5b7065-31bb-4181-a7f8-a73bf0c30211" providerId="ADAL" clId="{9344D105-636D-4857-BD0F-AFC44A54BCCF}" dt="2021-05-25T14:20:13.547" v="30246" actId="790"/>
          <ac:spMkLst>
            <pc:docMk/>
            <pc:sldMk cId="2842141633" sldId="10490"/>
            <ac:spMk id="181" creationId="{94F7F19B-D578-4323-BA63-07D202BC998A}"/>
          </ac:spMkLst>
        </pc:spChg>
        <pc:spChg chg="mod">
          <ac:chgData name="Ugo MANTEL" userId="2d5b7065-31bb-4181-a7f8-a73bf0c30211" providerId="ADAL" clId="{9344D105-636D-4857-BD0F-AFC44A54BCCF}" dt="2021-05-25T14:20:13.548" v="30247" actId="790"/>
          <ac:spMkLst>
            <pc:docMk/>
            <pc:sldMk cId="2842141633" sldId="10490"/>
            <ac:spMk id="182" creationId="{E8D862A1-71AC-4F1E-85BB-FD93CA8F71F5}"/>
          </ac:spMkLst>
        </pc:spChg>
        <pc:spChg chg="mod">
          <ac:chgData name="Ugo MANTEL" userId="2d5b7065-31bb-4181-a7f8-a73bf0c30211" providerId="ADAL" clId="{9344D105-636D-4857-BD0F-AFC44A54BCCF}" dt="2021-05-25T14:20:13.549" v="30248" actId="790"/>
          <ac:spMkLst>
            <pc:docMk/>
            <pc:sldMk cId="2842141633" sldId="10490"/>
            <ac:spMk id="183" creationId="{1EF79789-4F09-40A9-8662-024DBC905D8F}"/>
          </ac:spMkLst>
        </pc:spChg>
        <pc:spChg chg="mod">
          <ac:chgData name="Ugo MANTEL" userId="2d5b7065-31bb-4181-a7f8-a73bf0c30211" providerId="ADAL" clId="{9344D105-636D-4857-BD0F-AFC44A54BCCF}" dt="2021-05-25T14:20:13.550" v="30249" actId="790"/>
          <ac:spMkLst>
            <pc:docMk/>
            <pc:sldMk cId="2842141633" sldId="10490"/>
            <ac:spMk id="184" creationId="{6B69893E-36F2-47E0-AE32-6A4236006FD0}"/>
          </ac:spMkLst>
        </pc:spChg>
        <pc:spChg chg="mod">
          <ac:chgData name="Ugo MANTEL" userId="2d5b7065-31bb-4181-a7f8-a73bf0c30211" providerId="ADAL" clId="{9344D105-636D-4857-BD0F-AFC44A54BCCF}" dt="2021-05-25T14:20:13.551" v="30250" actId="790"/>
          <ac:spMkLst>
            <pc:docMk/>
            <pc:sldMk cId="2842141633" sldId="10490"/>
            <ac:spMk id="185" creationId="{0D5B6030-D455-4327-BF54-46D225B7D5B4}"/>
          </ac:spMkLst>
        </pc:spChg>
        <pc:spChg chg="mod">
          <ac:chgData name="Ugo MANTEL" userId="2d5b7065-31bb-4181-a7f8-a73bf0c30211" providerId="ADAL" clId="{9344D105-636D-4857-BD0F-AFC44A54BCCF}" dt="2021-05-25T14:20:13.552" v="30251" actId="790"/>
          <ac:spMkLst>
            <pc:docMk/>
            <pc:sldMk cId="2842141633" sldId="10490"/>
            <ac:spMk id="186" creationId="{4F70A64C-D54F-4D4F-947B-E1D9F2C3FAD5}"/>
          </ac:spMkLst>
        </pc:spChg>
        <pc:spChg chg="mod">
          <ac:chgData name="Ugo MANTEL" userId="2d5b7065-31bb-4181-a7f8-a73bf0c30211" providerId="ADAL" clId="{9344D105-636D-4857-BD0F-AFC44A54BCCF}" dt="2021-05-25T14:20:13.553" v="30252" actId="790"/>
          <ac:spMkLst>
            <pc:docMk/>
            <pc:sldMk cId="2842141633" sldId="10490"/>
            <ac:spMk id="187" creationId="{AA5AE0C7-0A95-425C-A721-482BD3CCD46C}"/>
          </ac:spMkLst>
        </pc:spChg>
        <pc:spChg chg="mod">
          <ac:chgData name="Ugo MANTEL" userId="2d5b7065-31bb-4181-a7f8-a73bf0c30211" providerId="ADAL" clId="{9344D105-636D-4857-BD0F-AFC44A54BCCF}" dt="2021-05-25T14:20:13.554" v="30253" actId="790"/>
          <ac:spMkLst>
            <pc:docMk/>
            <pc:sldMk cId="2842141633" sldId="10490"/>
            <ac:spMk id="188" creationId="{6F0979D6-9108-40BF-AB8E-B1E58DE7E9F0}"/>
          </ac:spMkLst>
        </pc:spChg>
        <pc:spChg chg="mod">
          <ac:chgData name="Ugo MANTEL" userId="2d5b7065-31bb-4181-a7f8-a73bf0c30211" providerId="ADAL" clId="{9344D105-636D-4857-BD0F-AFC44A54BCCF}" dt="2021-05-25T14:20:13.554" v="30254" actId="790"/>
          <ac:spMkLst>
            <pc:docMk/>
            <pc:sldMk cId="2842141633" sldId="10490"/>
            <ac:spMk id="189" creationId="{FCBD90EE-E6C9-4612-8BDC-9B17D16B9AB9}"/>
          </ac:spMkLst>
        </pc:spChg>
        <pc:spChg chg="mod">
          <ac:chgData name="Ugo MANTEL" userId="2d5b7065-31bb-4181-a7f8-a73bf0c30211" providerId="ADAL" clId="{9344D105-636D-4857-BD0F-AFC44A54BCCF}" dt="2021-05-25T14:20:13.555" v="30255" actId="790"/>
          <ac:spMkLst>
            <pc:docMk/>
            <pc:sldMk cId="2842141633" sldId="10490"/>
            <ac:spMk id="190" creationId="{1CF0CFB0-0DDB-4C47-839E-B617A8CC8E43}"/>
          </ac:spMkLst>
        </pc:spChg>
        <pc:spChg chg="mod">
          <ac:chgData name="Ugo MANTEL" userId="2d5b7065-31bb-4181-a7f8-a73bf0c30211" providerId="ADAL" clId="{9344D105-636D-4857-BD0F-AFC44A54BCCF}" dt="2021-05-25T14:20:13.556" v="30256" actId="790"/>
          <ac:spMkLst>
            <pc:docMk/>
            <pc:sldMk cId="2842141633" sldId="10490"/>
            <ac:spMk id="191" creationId="{8F4A4BF7-40A0-4796-B413-4C4C619D5DB7}"/>
          </ac:spMkLst>
        </pc:spChg>
      </pc:sldChg>
      <pc:sldChg chg="delSp add mod">
        <pc:chgData name="Ugo MANTEL" userId="2d5b7065-31bb-4181-a7f8-a73bf0c30211" providerId="ADAL" clId="{9344D105-636D-4857-BD0F-AFC44A54BCCF}" dt="2021-05-25T15:26:15.146" v="37927" actId="478"/>
        <pc:sldMkLst>
          <pc:docMk/>
          <pc:sldMk cId="109381754" sldId="10493"/>
        </pc:sldMkLst>
        <pc:spChg chg="del">
          <ac:chgData name="Ugo MANTEL" userId="2d5b7065-31bb-4181-a7f8-a73bf0c30211" providerId="ADAL" clId="{9344D105-636D-4857-BD0F-AFC44A54BCCF}" dt="2021-05-25T15:26:15.146" v="37927" actId="478"/>
          <ac:spMkLst>
            <pc:docMk/>
            <pc:sldMk cId="109381754" sldId="10493"/>
            <ac:spMk id="56" creationId="{AE85852A-DB47-48AD-B7A5-3CBDC3B312F9}"/>
          </ac:spMkLst>
        </pc:spChg>
        <pc:spChg chg="del">
          <ac:chgData name="Ugo MANTEL" userId="2d5b7065-31bb-4181-a7f8-a73bf0c30211" providerId="ADAL" clId="{9344D105-636D-4857-BD0F-AFC44A54BCCF}" dt="2021-05-25T15:26:15.146" v="37927" actId="478"/>
          <ac:spMkLst>
            <pc:docMk/>
            <pc:sldMk cId="109381754" sldId="10493"/>
            <ac:spMk id="59" creationId="{3FF372DA-3A4F-4D30-9647-F68EBA31134B}"/>
          </ac:spMkLst>
        </pc:spChg>
        <pc:spChg chg="del">
          <ac:chgData name="Ugo MANTEL" userId="2d5b7065-31bb-4181-a7f8-a73bf0c30211" providerId="ADAL" clId="{9344D105-636D-4857-BD0F-AFC44A54BCCF}" dt="2021-05-25T15:26:15.146" v="37927" actId="478"/>
          <ac:spMkLst>
            <pc:docMk/>
            <pc:sldMk cId="109381754" sldId="10493"/>
            <ac:spMk id="60" creationId="{8C771C11-3CE4-467E-A789-0F72C6CF98E2}"/>
          </ac:spMkLst>
        </pc:spChg>
        <pc:spChg chg="del">
          <ac:chgData name="Ugo MANTEL" userId="2d5b7065-31bb-4181-a7f8-a73bf0c30211" providerId="ADAL" clId="{9344D105-636D-4857-BD0F-AFC44A54BCCF}" dt="2021-05-25T15:26:15.146" v="37927" actId="478"/>
          <ac:spMkLst>
            <pc:docMk/>
            <pc:sldMk cId="109381754" sldId="10493"/>
            <ac:spMk id="74" creationId="{1AD49906-0481-409A-9D9E-AA75C6109471}"/>
          </ac:spMkLst>
        </pc:spChg>
      </pc:sldChg>
      <pc:sldChg chg="delSp add mod">
        <pc:chgData name="Ugo MANTEL" userId="2d5b7065-31bb-4181-a7f8-a73bf0c30211" providerId="ADAL" clId="{9344D105-636D-4857-BD0F-AFC44A54BCCF}" dt="2021-05-25T15:26:11.866" v="37926" actId="478"/>
        <pc:sldMkLst>
          <pc:docMk/>
          <pc:sldMk cId="1843836467" sldId="10494"/>
        </pc:sldMkLst>
        <pc:spChg chg="del">
          <ac:chgData name="Ugo MANTEL" userId="2d5b7065-31bb-4181-a7f8-a73bf0c30211" providerId="ADAL" clId="{9344D105-636D-4857-BD0F-AFC44A54BCCF}" dt="2021-05-25T15:26:11.866" v="37926" actId="478"/>
          <ac:spMkLst>
            <pc:docMk/>
            <pc:sldMk cId="1843836467" sldId="10494"/>
            <ac:spMk id="81" creationId="{402ED435-7EA5-48C5-BB45-E998D1C41E83}"/>
          </ac:spMkLst>
        </pc:spChg>
        <pc:spChg chg="del">
          <ac:chgData name="Ugo MANTEL" userId="2d5b7065-31bb-4181-a7f8-a73bf0c30211" providerId="ADAL" clId="{9344D105-636D-4857-BD0F-AFC44A54BCCF}" dt="2021-05-25T15:26:11.866" v="37926" actId="478"/>
          <ac:spMkLst>
            <pc:docMk/>
            <pc:sldMk cId="1843836467" sldId="10494"/>
            <ac:spMk id="95" creationId="{1D12A4B1-C526-4ABC-9EBE-F18A9499546F}"/>
          </ac:spMkLst>
        </pc:spChg>
        <pc:spChg chg="del">
          <ac:chgData name="Ugo MANTEL" userId="2d5b7065-31bb-4181-a7f8-a73bf0c30211" providerId="ADAL" clId="{9344D105-636D-4857-BD0F-AFC44A54BCCF}" dt="2021-05-25T15:26:11.866" v="37926" actId="478"/>
          <ac:spMkLst>
            <pc:docMk/>
            <pc:sldMk cId="1843836467" sldId="10494"/>
            <ac:spMk id="96" creationId="{4489A216-621D-46B4-A741-BFDE4F480185}"/>
          </ac:spMkLst>
        </pc:spChg>
        <pc:spChg chg="del">
          <ac:chgData name="Ugo MANTEL" userId="2d5b7065-31bb-4181-a7f8-a73bf0c30211" providerId="ADAL" clId="{9344D105-636D-4857-BD0F-AFC44A54BCCF}" dt="2021-05-25T15:26:11.866" v="37926" actId="478"/>
          <ac:spMkLst>
            <pc:docMk/>
            <pc:sldMk cId="1843836467" sldId="10494"/>
            <ac:spMk id="97" creationId="{B5347C34-5BE6-46FD-89AF-BBA2F72C5D9E}"/>
          </ac:spMkLst>
        </pc:spChg>
      </pc:sldChg>
    </pc:docChg>
  </pc:docChgLst>
  <pc:docChgLst>
    <pc:chgData name="Jean QUENTIN" userId="6962deb3-b639-4acd-8091-a0516ea2376b" providerId="ADAL" clId="{146BD8F6-FDDD-49D3-A1A6-146C954086FF}"/>
    <pc:docChg chg="undo redo custSel addSld modSld sldOrd">
      <pc:chgData name="Jean QUENTIN" userId="6962deb3-b639-4acd-8091-a0516ea2376b" providerId="ADAL" clId="{146BD8F6-FDDD-49D3-A1A6-146C954086FF}" dt="2021-05-25T15:09:15.458" v="14562" actId="207"/>
      <pc:docMkLst>
        <pc:docMk/>
      </pc:docMkLst>
      <pc:sldChg chg="modSp mod">
        <pc:chgData name="Jean QUENTIN" userId="6962deb3-b639-4acd-8091-a0516ea2376b" providerId="ADAL" clId="{146BD8F6-FDDD-49D3-A1A6-146C954086FF}" dt="2021-05-24T13:36:17.320" v="3623" actId="790"/>
        <pc:sldMkLst>
          <pc:docMk/>
          <pc:sldMk cId="317280987" sldId="1655"/>
        </pc:sldMkLst>
        <pc:spChg chg="mod">
          <ac:chgData name="Jean QUENTIN" userId="6962deb3-b639-4acd-8091-a0516ea2376b" providerId="ADAL" clId="{146BD8F6-FDDD-49D3-A1A6-146C954086FF}" dt="2021-05-24T13:36:17.273" v="3622" actId="790"/>
          <ac:spMkLst>
            <pc:docMk/>
            <pc:sldMk cId="317280987" sldId="1655"/>
            <ac:spMk id="9" creationId="{A8D01A7F-CF9D-41E2-A69B-C4B89B777060}"/>
          </ac:spMkLst>
        </pc:spChg>
        <pc:spChg chg="mod">
          <ac:chgData name="Jean QUENTIN" userId="6962deb3-b639-4acd-8091-a0516ea2376b" providerId="ADAL" clId="{146BD8F6-FDDD-49D3-A1A6-146C954086FF}" dt="2021-05-24T13:36:17.320" v="3623" actId="790"/>
          <ac:spMkLst>
            <pc:docMk/>
            <pc:sldMk cId="317280987" sldId="1655"/>
            <ac:spMk id="10" creationId="{6E5DA166-B3B1-4EFB-8A60-B5F05F64A940}"/>
          </ac:spMkLst>
        </pc:spChg>
      </pc:sldChg>
      <pc:sldChg chg="modSp mod">
        <pc:chgData name="Jean QUENTIN" userId="6962deb3-b639-4acd-8091-a0516ea2376b" providerId="ADAL" clId="{146BD8F6-FDDD-49D3-A1A6-146C954086FF}" dt="2021-05-24T13:36:17.273" v="3621" actId="790"/>
        <pc:sldMkLst>
          <pc:docMk/>
          <pc:sldMk cId="1833404173" sldId="2531"/>
        </pc:sldMkLst>
        <pc:spChg chg="mod">
          <ac:chgData name="Jean QUENTIN" userId="6962deb3-b639-4acd-8091-a0516ea2376b" providerId="ADAL" clId="{146BD8F6-FDDD-49D3-A1A6-146C954086FF}" dt="2021-05-24T13:36:17.204" v="3572" actId="790"/>
          <ac:spMkLst>
            <pc:docMk/>
            <pc:sldMk cId="1833404173" sldId="2531"/>
            <ac:spMk id="2" creationId="{485D8258-C799-4DEB-8426-A87B09E12535}"/>
          </ac:spMkLst>
        </pc:spChg>
        <pc:spChg chg="mod">
          <ac:chgData name="Jean QUENTIN" userId="6962deb3-b639-4acd-8091-a0516ea2376b" providerId="ADAL" clId="{146BD8F6-FDDD-49D3-A1A6-146C954086FF}" dt="2021-05-24T13:36:17.273" v="3618" actId="790"/>
          <ac:spMkLst>
            <pc:docMk/>
            <pc:sldMk cId="1833404173" sldId="2531"/>
            <ac:spMk id="3" creationId="{5A298B37-CEE8-4A6B-A535-516B4E1DBC89}"/>
          </ac:spMkLst>
        </pc:spChg>
        <pc:spChg chg="mod">
          <ac:chgData name="Jean QUENTIN" userId="6962deb3-b639-4acd-8091-a0516ea2376b" providerId="ADAL" clId="{146BD8F6-FDDD-49D3-A1A6-146C954086FF}" dt="2021-05-24T13:36:17.220" v="3573" actId="790"/>
          <ac:spMkLst>
            <pc:docMk/>
            <pc:sldMk cId="1833404173" sldId="2531"/>
            <ac:spMk id="6" creationId="{FD961D00-BB87-4820-B54D-EC87367CB5D8}"/>
          </ac:spMkLst>
        </pc:spChg>
        <pc:spChg chg="mod">
          <ac:chgData name="Jean QUENTIN" userId="6962deb3-b639-4acd-8091-a0516ea2376b" providerId="ADAL" clId="{146BD8F6-FDDD-49D3-A1A6-146C954086FF}" dt="2021-05-24T13:36:17.220" v="3574" actId="790"/>
          <ac:spMkLst>
            <pc:docMk/>
            <pc:sldMk cId="1833404173" sldId="2531"/>
            <ac:spMk id="8" creationId="{CBFABE72-6131-464D-BAFB-D76422C2A4AB}"/>
          </ac:spMkLst>
        </pc:spChg>
        <pc:spChg chg="mod">
          <ac:chgData name="Jean QUENTIN" userId="6962deb3-b639-4acd-8091-a0516ea2376b" providerId="ADAL" clId="{146BD8F6-FDDD-49D3-A1A6-146C954086FF}" dt="2021-05-24T13:36:17.220" v="3575" actId="790"/>
          <ac:spMkLst>
            <pc:docMk/>
            <pc:sldMk cId="1833404173" sldId="2531"/>
            <ac:spMk id="9" creationId="{AA892EF1-BA93-4257-8E96-FCE386827377}"/>
          </ac:spMkLst>
        </pc:spChg>
        <pc:spChg chg="mod">
          <ac:chgData name="Jean QUENTIN" userId="6962deb3-b639-4acd-8091-a0516ea2376b" providerId="ADAL" clId="{146BD8F6-FDDD-49D3-A1A6-146C954086FF}" dt="2021-05-24T13:36:17.220" v="3576" actId="790"/>
          <ac:spMkLst>
            <pc:docMk/>
            <pc:sldMk cId="1833404173" sldId="2531"/>
            <ac:spMk id="10" creationId="{D1385551-0DEE-495D-8846-99041144B7D6}"/>
          </ac:spMkLst>
        </pc:spChg>
        <pc:spChg chg="mod">
          <ac:chgData name="Jean QUENTIN" userId="6962deb3-b639-4acd-8091-a0516ea2376b" providerId="ADAL" clId="{146BD8F6-FDDD-49D3-A1A6-146C954086FF}" dt="2021-05-24T13:36:17.220" v="3577" actId="790"/>
          <ac:spMkLst>
            <pc:docMk/>
            <pc:sldMk cId="1833404173" sldId="2531"/>
            <ac:spMk id="11" creationId="{95F74EDD-FC62-4AE0-B009-91BD1F0F42CD}"/>
          </ac:spMkLst>
        </pc:spChg>
        <pc:spChg chg="mod">
          <ac:chgData name="Jean QUENTIN" userId="6962deb3-b639-4acd-8091-a0516ea2376b" providerId="ADAL" clId="{146BD8F6-FDDD-49D3-A1A6-146C954086FF}" dt="2021-05-24T13:36:17.236" v="3578" actId="790"/>
          <ac:spMkLst>
            <pc:docMk/>
            <pc:sldMk cId="1833404173" sldId="2531"/>
            <ac:spMk id="12" creationId="{D1785210-4F58-4DEA-A9E2-D867169A909C}"/>
          </ac:spMkLst>
        </pc:spChg>
        <pc:spChg chg="mod">
          <ac:chgData name="Jean QUENTIN" userId="6962deb3-b639-4acd-8091-a0516ea2376b" providerId="ADAL" clId="{146BD8F6-FDDD-49D3-A1A6-146C954086FF}" dt="2021-05-24T13:36:17.236" v="3579" actId="790"/>
          <ac:spMkLst>
            <pc:docMk/>
            <pc:sldMk cId="1833404173" sldId="2531"/>
            <ac:spMk id="13" creationId="{F68747A9-0286-423B-B19B-BDD80CFD99AA}"/>
          </ac:spMkLst>
        </pc:spChg>
        <pc:spChg chg="mod">
          <ac:chgData name="Jean QUENTIN" userId="6962deb3-b639-4acd-8091-a0516ea2376b" providerId="ADAL" clId="{146BD8F6-FDDD-49D3-A1A6-146C954086FF}" dt="2021-05-24T13:36:17.236" v="3580" actId="790"/>
          <ac:spMkLst>
            <pc:docMk/>
            <pc:sldMk cId="1833404173" sldId="2531"/>
            <ac:spMk id="14" creationId="{1B668D90-1CA6-4BF2-A28C-A37ADF4CEC55}"/>
          </ac:spMkLst>
        </pc:spChg>
        <pc:spChg chg="mod">
          <ac:chgData name="Jean QUENTIN" userId="6962deb3-b639-4acd-8091-a0516ea2376b" providerId="ADAL" clId="{146BD8F6-FDDD-49D3-A1A6-146C954086FF}" dt="2021-05-24T13:36:17.236" v="3581" actId="790"/>
          <ac:spMkLst>
            <pc:docMk/>
            <pc:sldMk cId="1833404173" sldId="2531"/>
            <ac:spMk id="15" creationId="{DC368EB4-4DDD-4407-BE94-38F23DA27B16}"/>
          </ac:spMkLst>
        </pc:spChg>
        <pc:spChg chg="mod">
          <ac:chgData name="Jean QUENTIN" userId="6962deb3-b639-4acd-8091-a0516ea2376b" providerId="ADAL" clId="{146BD8F6-FDDD-49D3-A1A6-146C954086FF}" dt="2021-05-24T13:36:17.236" v="3582" actId="790"/>
          <ac:spMkLst>
            <pc:docMk/>
            <pc:sldMk cId="1833404173" sldId="2531"/>
            <ac:spMk id="16" creationId="{80F851B1-0B14-48BE-A51C-7881B7C8FE41}"/>
          </ac:spMkLst>
        </pc:spChg>
        <pc:spChg chg="mod">
          <ac:chgData name="Jean QUENTIN" userId="6962deb3-b639-4acd-8091-a0516ea2376b" providerId="ADAL" clId="{146BD8F6-FDDD-49D3-A1A6-146C954086FF}" dt="2021-05-24T13:36:17.236" v="3583" actId="790"/>
          <ac:spMkLst>
            <pc:docMk/>
            <pc:sldMk cId="1833404173" sldId="2531"/>
            <ac:spMk id="17" creationId="{7CE1AF65-B94A-4628-80BC-0D290E998B7C}"/>
          </ac:spMkLst>
        </pc:spChg>
        <pc:spChg chg="mod">
          <ac:chgData name="Jean QUENTIN" userId="6962deb3-b639-4acd-8091-a0516ea2376b" providerId="ADAL" clId="{146BD8F6-FDDD-49D3-A1A6-146C954086FF}" dt="2021-05-24T13:36:17.236" v="3584" actId="790"/>
          <ac:spMkLst>
            <pc:docMk/>
            <pc:sldMk cId="1833404173" sldId="2531"/>
            <ac:spMk id="18" creationId="{4D52F71B-746D-44F2-85EB-546A9C67D415}"/>
          </ac:spMkLst>
        </pc:spChg>
        <pc:spChg chg="mod">
          <ac:chgData name="Jean QUENTIN" userId="6962deb3-b639-4acd-8091-a0516ea2376b" providerId="ADAL" clId="{146BD8F6-FDDD-49D3-A1A6-146C954086FF}" dt="2021-05-24T13:36:17.236" v="3585" actId="790"/>
          <ac:spMkLst>
            <pc:docMk/>
            <pc:sldMk cId="1833404173" sldId="2531"/>
            <ac:spMk id="19" creationId="{7BFC3453-D5E5-4B80-95E1-53BCDB119B16}"/>
          </ac:spMkLst>
        </pc:spChg>
        <pc:spChg chg="mod">
          <ac:chgData name="Jean QUENTIN" userId="6962deb3-b639-4acd-8091-a0516ea2376b" providerId="ADAL" clId="{146BD8F6-FDDD-49D3-A1A6-146C954086FF}" dt="2021-05-24T13:36:17.236" v="3586" actId="790"/>
          <ac:spMkLst>
            <pc:docMk/>
            <pc:sldMk cId="1833404173" sldId="2531"/>
            <ac:spMk id="20" creationId="{ABEEDC27-82A8-46CB-8CE2-2D10293A50C9}"/>
          </ac:spMkLst>
        </pc:spChg>
        <pc:spChg chg="mod">
          <ac:chgData name="Jean QUENTIN" userId="6962deb3-b639-4acd-8091-a0516ea2376b" providerId="ADAL" clId="{146BD8F6-FDDD-49D3-A1A6-146C954086FF}" dt="2021-05-24T13:36:17.236" v="3587" actId="790"/>
          <ac:spMkLst>
            <pc:docMk/>
            <pc:sldMk cId="1833404173" sldId="2531"/>
            <ac:spMk id="21" creationId="{79263F93-BD89-481F-813A-6C0F901C9C08}"/>
          </ac:spMkLst>
        </pc:spChg>
        <pc:spChg chg="mod">
          <ac:chgData name="Jean QUENTIN" userId="6962deb3-b639-4acd-8091-a0516ea2376b" providerId="ADAL" clId="{146BD8F6-FDDD-49D3-A1A6-146C954086FF}" dt="2021-05-24T13:36:17.236" v="3588" actId="790"/>
          <ac:spMkLst>
            <pc:docMk/>
            <pc:sldMk cId="1833404173" sldId="2531"/>
            <ac:spMk id="22" creationId="{A17328B4-1579-4E16-8289-48E49F417694}"/>
          </ac:spMkLst>
        </pc:spChg>
        <pc:spChg chg="mod">
          <ac:chgData name="Jean QUENTIN" userId="6962deb3-b639-4acd-8091-a0516ea2376b" providerId="ADAL" clId="{146BD8F6-FDDD-49D3-A1A6-146C954086FF}" dt="2021-05-24T13:36:17.236" v="3589" actId="790"/>
          <ac:spMkLst>
            <pc:docMk/>
            <pc:sldMk cId="1833404173" sldId="2531"/>
            <ac:spMk id="23" creationId="{9FFABFA5-D560-4B57-A403-E79C1BD6BD3D}"/>
          </ac:spMkLst>
        </pc:spChg>
        <pc:spChg chg="mod">
          <ac:chgData name="Jean QUENTIN" userId="6962deb3-b639-4acd-8091-a0516ea2376b" providerId="ADAL" clId="{146BD8F6-FDDD-49D3-A1A6-146C954086FF}" dt="2021-05-24T13:36:17.236" v="3590" actId="790"/>
          <ac:spMkLst>
            <pc:docMk/>
            <pc:sldMk cId="1833404173" sldId="2531"/>
            <ac:spMk id="24" creationId="{C6DE36B4-63F9-49BF-9393-6D814DCD3ADB}"/>
          </ac:spMkLst>
        </pc:spChg>
        <pc:spChg chg="mod">
          <ac:chgData name="Jean QUENTIN" userId="6962deb3-b639-4acd-8091-a0516ea2376b" providerId="ADAL" clId="{146BD8F6-FDDD-49D3-A1A6-146C954086FF}" dt="2021-05-24T13:36:17.236" v="3591" actId="790"/>
          <ac:spMkLst>
            <pc:docMk/>
            <pc:sldMk cId="1833404173" sldId="2531"/>
            <ac:spMk id="25" creationId="{87636E38-C9EE-47F8-83D6-6504B63CFEC1}"/>
          </ac:spMkLst>
        </pc:spChg>
        <pc:spChg chg="mod">
          <ac:chgData name="Jean QUENTIN" userId="6962deb3-b639-4acd-8091-a0516ea2376b" providerId="ADAL" clId="{146BD8F6-FDDD-49D3-A1A6-146C954086FF}" dt="2021-05-24T13:36:17.236" v="3592" actId="790"/>
          <ac:spMkLst>
            <pc:docMk/>
            <pc:sldMk cId="1833404173" sldId="2531"/>
            <ac:spMk id="26" creationId="{5E993EC9-B819-46BE-808C-6BF87D7C6173}"/>
          </ac:spMkLst>
        </pc:spChg>
        <pc:spChg chg="mod">
          <ac:chgData name="Jean QUENTIN" userId="6962deb3-b639-4acd-8091-a0516ea2376b" providerId="ADAL" clId="{146BD8F6-FDDD-49D3-A1A6-146C954086FF}" dt="2021-05-24T13:36:17.236" v="3593" actId="790"/>
          <ac:spMkLst>
            <pc:docMk/>
            <pc:sldMk cId="1833404173" sldId="2531"/>
            <ac:spMk id="27" creationId="{8C4589F2-B7BC-4572-BB11-469A62A1B6C6}"/>
          </ac:spMkLst>
        </pc:spChg>
        <pc:spChg chg="mod">
          <ac:chgData name="Jean QUENTIN" userId="6962deb3-b639-4acd-8091-a0516ea2376b" providerId="ADAL" clId="{146BD8F6-FDDD-49D3-A1A6-146C954086FF}" dt="2021-05-24T13:36:17.236" v="3594" actId="790"/>
          <ac:spMkLst>
            <pc:docMk/>
            <pc:sldMk cId="1833404173" sldId="2531"/>
            <ac:spMk id="28" creationId="{77771E76-DFA4-4D19-B2E3-74B7FBF71D1E}"/>
          </ac:spMkLst>
        </pc:spChg>
        <pc:spChg chg="mod">
          <ac:chgData name="Jean QUENTIN" userId="6962deb3-b639-4acd-8091-a0516ea2376b" providerId="ADAL" clId="{146BD8F6-FDDD-49D3-A1A6-146C954086FF}" dt="2021-05-24T13:36:17.251" v="3595" actId="790"/>
          <ac:spMkLst>
            <pc:docMk/>
            <pc:sldMk cId="1833404173" sldId="2531"/>
            <ac:spMk id="29" creationId="{5E08754A-8970-4715-8A7A-F623D767FAB9}"/>
          </ac:spMkLst>
        </pc:spChg>
        <pc:spChg chg="mod">
          <ac:chgData name="Jean QUENTIN" userId="6962deb3-b639-4acd-8091-a0516ea2376b" providerId="ADAL" clId="{146BD8F6-FDDD-49D3-A1A6-146C954086FF}" dt="2021-05-24T13:36:17.251" v="3596" actId="790"/>
          <ac:spMkLst>
            <pc:docMk/>
            <pc:sldMk cId="1833404173" sldId="2531"/>
            <ac:spMk id="30" creationId="{16C0C029-6359-44F4-B7C0-B040B0D8942B}"/>
          </ac:spMkLst>
        </pc:spChg>
        <pc:spChg chg="mod">
          <ac:chgData name="Jean QUENTIN" userId="6962deb3-b639-4acd-8091-a0516ea2376b" providerId="ADAL" clId="{146BD8F6-FDDD-49D3-A1A6-146C954086FF}" dt="2021-05-24T13:36:17.251" v="3597" actId="790"/>
          <ac:spMkLst>
            <pc:docMk/>
            <pc:sldMk cId="1833404173" sldId="2531"/>
            <ac:spMk id="31" creationId="{AC0EA32D-54FE-4F9B-9CF8-4DAFEBC29666}"/>
          </ac:spMkLst>
        </pc:spChg>
        <pc:spChg chg="mod">
          <ac:chgData name="Jean QUENTIN" userId="6962deb3-b639-4acd-8091-a0516ea2376b" providerId="ADAL" clId="{146BD8F6-FDDD-49D3-A1A6-146C954086FF}" dt="2021-05-24T13:36:17.251" v="3598" actId="790"/>
          <ac:spMkLst>
            <pc:docMk/>
            <pc:sldMk cId="1833404173" sldId="2531"/>
            <ac:spMk id="32" creationId="{8CE27222-24DA-4462-BF94-A8D5736BB7B7}"/>
          </ac:spMkLst>
        </pc:spChg>
        <pc:spChg chg="mod">
          <ac:chgData name="Jean QUENTIN" userId="6962deb3-b639-4acd-8091-a0516ea2376b" providerId="ADAL" clId="{146BD8F6-FDDD-49D3-A1A6-146C954086FF}" dt="2021-05-24T13:36:17.251" v="3599" actId="790"/>
          <ac:spMkLst>
            <pc:docMk/>
            <pc:sldMk cId="1833404173" sldId="2531"/>
            <ac:spMk id="33" creationId="{7B850491-5D22-4445-B8DD-2E7DA22A1582}"/>
          </ac:spMkLst>
        </pc:spChg>
        <pc:spChg chg="mod">
          <ac:chgData name="Jean QUENTIN" userId="6962deb3-b639-4acd-8091-a0516ea2376b" providerId="ADAL" clId="{146BD8F6-FDDD-49D3-A1A6-146C954086FF}" dt="2021-05-24T13:36:17.251" v="3600" actId="790"/>
          <ac:spMkLst>
            <pc:docMk/>
            <pc:sldMk cId="1833404173" sldId="2531"/>
            <ac:spMk id="34" creationId="{87B245AE-748D-4766-AAA8-E79644D27CF2}"/>
          </ac:spMkLst>
        </pc:spChg>
        <pc:spChg chg="mod">
          <ac:chgData name="Jean QUENTIN" userId="6962deb3-b639-4acd-8091-a0516ea2376b" providerId="ADAL" clId="{146BD8F6-FDDD-49D3-A1A6-146C954086FF}" dt="2021-05-24T13:36:17.251" v="3601" actId="790"/>
          <ac:spMkLst>
            <pc:docMk/>
            <pc:sldMk cId="1833404173" sldId="2531"/>
            <ac:spMk id="35" creationId="{3B6324BE-5137-4BFE-8DA4-799A77B8D45E}"/>
          </ac:spMkLst>
        </pc:spChg>
        <pc:spChg chg="mod">
          <ac:chgData name="Jean QUENTIN" userId="6962deb3-b639-4acd-8091-a0516ea2376b" providerId="ADAL" clId="{146BD8F6-FDDD-49D3-A1A6-146C954086FF}" dt="2021-05-24T13:36:17.258" v="3602" actId="790"/>
          <ac:spMkLst>
            <pc:docMk/>
            <pc:sldMk cId="1833404173" sldId="2531"/>
            <ac:spMk id="36" creationId="{E6D54B53-5D24-489F-9B67-95A762E58289}"/>
          </ac:spMkLst>
        </pc:spChg>
        <pc:spChg chg="mod">
          <ac:chgData name="Jean QUENTIN" userId="6962deb3-b639-4acd-8091-a0516ea2376b" providerId="ADAL" clId="{146BD8F6-FDDD-49D3-A1A6-146C954086FF}" dt="2021-05-24T13:36:17.258" v="3603" actId="790"/>
          <ac:spMkLst>
            <pc:docMk/>
            <pc:sldMk cId="1833404173" sldId="2531"/>
            <ac:spMk id="37" creationId="{B1B3F98D-4D9B-442E-8C7B-A1756F2C34E5}"/>
          </ac:spMkLst>
        </pc:spChg>
        <pc:spChg chg="mod">
          <ac:chgData name="Jean QUENTIN" userId="6962deb3-b639-4acd-8091-a0516ea2376b" providerId="ADAL" clId="{146BD8F6-FDDD-49D3-A1A6-146C954086FF}" dt="2021-05-24T13:36:17.258" v="3604" actId="790"/>
          <ac:spMkLst>
            <pc:docMk/>
            <pc:sldMk cId="1833404173" sldId="2531"/>
            <ac:spMk id="38" creationId="{1136920C-BA8F-43C0-8C16-F1AAC39166BF}"/>
          </ac:spMkLst>
        </pc:spChg>
        <pc:spChg chg="mod">
          <ac:chgData name="Jean QUENTIN" userId="6962deb3-b639-4acd-8091-a0516ea2376b" providerId="ADAL" clId="{146BD8F6-FDDD-49D3-A1A6-146C954086FF}" dt="2021-05-24T13:36:17.258" v="3605" actId="790"/>
          <ac:spMkLst>
            <pc:docMk/>
            <pc:sldMk cId="1833404173" sldId="2531"/>
            <ac:spMk id="39" creationId="{EFF788FD-AC32-46E7-9D4E-4BC36F5959B9}"/>
          </ac:spMkLst>
        </pc:spChg>
        <pc:spChg chg="mod">
          <ac:chgData name="Jean QUENTIN" userId="6962deb3-b639-4acd-8091-a0516ea2376b" providerId="ADAL" clId="{146BD8F6-FDDD-49D3-A1A6-146C954086FF}" dt="2021-05-24T13:36:17.258" v="3606" actId="790"/>
          <ac:spMkLst>
            <pc:docMk/>
            <pc:sldMk cId="1833404173" sldId="2531"/>
            <ac:spMk id="40" creationId="{A3E8FC77-79BA-4BF6-9229-A50D8390B0B0}"/>
          </ac:spMkLst>
        </pc:spChg>
        <pc:spChg chg="mod">
          <ac:chgData name="Jean QUENTIN" userId="6962deb3-b639-4acd-8091-a0516ea2376b" providerId="ADAL" clId="{146BD8F6-FDDD-49D3-A1A6-146C954086FF}" dt="2021-05-24T13:36:17.258" v="3607" actId="790"/>
          <ac:spMkLst>
            <pc:docMk/>
            <pc:sldMk cId="1833404173" sldId="2531"/>
            <ac:spMk id="41" creationId="{0576C5B5-205F-4700-BDBA-CB236CF202E5}"/>
          </ac:spMkLst>
        </pc:spChg>
        <pc:spChg chg="mod">
          <ac:chgData name="Jean QUENTIN" userId="6962deb3-b639-4acd-8091-a0516ea2376b" providerId="ADAL" clId="{146BD8F6-FDDD-49D3-A1A6-146C954086FF}" dt="2021-05-24T13:36:17.258" v="3608" actId="790"/>
          <ac:spMkLst>
            <pc:docMk/>
            <pc:sldMk cId="1833404173" sldId="2531"/>
            <ac:spMk id="42" creationId="{10178595-DB31-448D-B26C-282499D9E2AB}"/>
          </ac:spMkLst>
        </pc:spChg>
        <pc:spChg chg="mod">
          <ac:chgData name="Jean QUENTIN" userId="6962deb3-b639-4acd-8091-a0516ea2376b" providerId="ADAL" clId="{146BD8F6-FDDD-49D3-A1A6-146C954086FF}" dt="2021-05-24T13:36:17.258" v="3609" actId="790"/>
          <ac:spMkLst>
            <pc:docMk/>
            <pc:sldMk cId="1833404173" sldId="2531"/>
            <ac:spMk id="43" creationId="{7A99688D-221A-4009-B9DD-DA6C7D20F69E}"/>
          </ac:spMkLst>
        </pc:spChg>
        <pc:spChg chg="mod">
          <ac:chgData name="Jean QUENTIN" userId="6962deb3-b639-4acd-8091-a0516ea2376b" providerId="ADAL" clId="{146BD8F6-FDDD-49D3-A1A6-146C954086FF}" dt="2021-05-24T13:36:17.258" v="3610" actId="790"/>
          <ac:spMkLst>
            <pc:docMk/>
            <pc:sldMk cId="1833404173" sldId="2531"/>
            <ac:spMk id="44" creationId="{A821D0F1-6745-4FB4-960B-A65CD44A148F}"/>
          </ac:spMkLst>
        </pc:spChg>
        <pc:spChg chg="mod">
          <ac:chgData name="Jean QUENTIN" userId="6962deb3-b639-4acd-8091-a0516ea2376b" providerId="ADAL" clId="{146BD8F6-FDDD-49D3-A1A6-146C954086FF}" dt="2021-05-24T13:36:17.258" v="3611" actId="790"/>
          <ac:spMkLst>
            <pc:docMk/>
            <pc:sldMk cId="1833404173" sldId="2531"/>
            <ac:spMk id="45" creationId="{94585B0F-E803-4576-9DB3-FAF173D08F43}"/>
          </ac:spMkLst>
        </pc:spChg>
        <pc:spChg chg="mod">
          <ac:chgData name="Jean QUENTIN" userId="6962deb3-b639-4acd-8091-a0516ea2376b" providerId="ADAL" clId="{146BD8F6-FDDD-49D3-A1A6-146C954086FF}" dt="2021-05-24T13:36:17.258" v="3612" actId="790"/>
          <ac:spMkLst>
            <pc:docMk/>
            <pc:sldMk cId="1833404173" sldId="2531"/>
            <ac:spMk id="46" creationId="{60B47F91-9ED1-4064-B0F1-0F150436DBA4}"/>
          </ac:spMkLst>
        </pc:spChg>
        <pc:spChg chg="mod">
          <ac:chgData name="Jean QUENTIN" userId="6962deb3-b639-4acd-8091-a0516ea2376b" providerId="ADAL" clId="{146BD8F6-FDDD-49D3-A1A6-146C954086FF}" dt="2021-05-24T13:36:17.258" v="3613" actId="790"/>
          <ac:spMkLst>
            <pc:docMk/>
            <pc:sldMk cId="1833404173" sldId="2531"/>
            <ac:spMk id="47" creationId="{17468E73-86AE-459C-946F-AFFBB7E789DD}"/>
          </ac:spMkLst>
        </pc:spChg>
        <pc:spChg chg="mod">
          <ac:chgData name="Jean QUENTIN" userId="6962deb3-b639-4acd-8091-a0516ea2376b" providerId="ADAL" clId="{146BD8F6-FDDD-49D3-A1A6-146C954086FF}" dt="2021-05-24T13:36:17.258" v="3614" actId="790"/>
          <ac:spMkLst>
            <pc:docMk/>
            <pc:sldMk cId="1833404173" sldId="2531"/>
            <ac:spMk id="48" creationId="{44B8897D-6B27-465B-A723-BF615C31D100}"/>
          </ac:spMkLst>
        </pc:spChg>
        <pc:spChg chg="mod">
          <ac:chgData name="Jean QUENTIN" userId="6962deb3-b639-4acd-8091-a0516ea2376b" providerId="ADAL" clId="{146BD8F6-FDDD-49D3-A1A6-146C954086FF}" dt="2021-05-24T13:36:17.258" v="3615" actId="790"/>
          <ac:spMkLst>
            <pc:docMk/>
            <pc:sldMk cId="1833404173" sldId="2531"/>
            <ac:spMk id="49" creationId="{3CAB94CE-464D-4A6D-BF0D-B9E076D55E68}"/>
          </ac:spMkLst>
        </pc:spChg>
        <pc:spChg chg="mod">
          <ac:chgData name="Jean QUENTIN" userId="6962deb3-b639-4acd-8091-a0516ea2376b" providerId="ADAL" clId="{146BD8F6-FDDD-49D3-A1A6-146C954086FF}" dt="2021-05-24T13:36:17.258" v="3616" actId="790"/>
          <ac:spMkLst>
            <pc:docMk/>
            <pc:sldMk cId="1833404173" sldId="2531"/>
            <ac:spMk id="50" creationId="{DB23E4EA-8CC3-4D51-8B49-7C52B0496041}"/>
          </ac:spMkLst>
        </pc:spChg>
        <pc:spChg chg="mod">
          <ac:chgData name="Jean QUENTIN" userId="6962deb3-b639-4acd-8091-a0516ea2376b" providerId="ADAL" clId="{146BD8F6-FDDD-49D3-A1A6-146C954086FF}" dt="2021-05-24T13:36:17.258" v="3617" actId="790"/>
          <ac:spMkLst>
            <pc:docMk/>
            <pc:sldMk cId="1833404173" sldId="2531"/>
            <ac:spMk id="51" creationId="{6EAF2701-A2C6-4614-9A6E-C85168C5E062}"/>
          </ac:spMkLst>
        </pc:spChg>
        <pc:spChg chg="mod">
          <ac:chgData name="Jean QUENTIN" userId="6962deb3-b639-4acd-8091-a0516ea2376b" providerId="ADAL" clId="{146BD8F6-FDDD-49D3-A1A6-146C954086FF}" dt="2021-05-24T13:36:17.273" v="3619" actId="790"/>
          <ac:spMkLst>
            <pc:docMk/>
            <pc:sldMk cId="1833404173" sldId="2531"/>
            <ac:spMk id="58" creationId="{0147DA22-0F0F-404A-84C1-B039C381264A}"/>
          </ac:spMkLst>
        </pc:spChg>
        <pc:spChg chg="mod">
          <ac:chgData name="Jean QUENTIN" userId="6962deb3-b639-4acd-8091-a0516ea2376b" providerId="ADAL" clId="{146BD8F6-FDDD-49D3-A1A6-146C954086FF}" dt="2021-05-24T13:36:17.273" v="3620" actId="790"/>
          <ac:spMkLst>
            <pc:docMk/>
            <pc:sldMk cId="1833404173" sldId="2531"/>
            <ac:spMk id="59" creationId="{0BCAB353-EF6C-4F66-AEB2-5076353D589F}"/>
          </ac:spMkLst>
        </pc:spChg>
        <pc:spChg chg="mod">
          <ac:chgData name="Jean QUENTIN" userId="6962deb3-b639-4acd-8091-a0516ea2376b" providerId="ADAL" clId="{146BD8F6-FDDD-49D3-A1A6-146C954086FF}" dt="2021-05-24T13:36:17.273" v="3621" actId="790"/>
          <ac:spMkLst>
            <pc:docMk/>
            <pc:sldMk cId="1833404173" sldId="2531"/>
            <ac:spMk id="60" creationId="{39F3CF3D-BE03-498B-B2BB-7B25506F7E05}"/>
          </ac:spMkLst>
        </pc:spChg>
      </pc:sldChg>
      <pc:sldChg chg="addSp delSp modSp mod">
        <pc:chgData name="Jean QUENTIN" userId="6962deb3-b639-4acd-8091-a0516ea2376b" providerId="ADAL" clId="{146BD8F6-FDDD-49D3-A1A6-146C954086FF}" dt="2021-05-25T13:31:10.895" v="14436" actId="478"/>
        <pc:sldMkLst>
          <pc:docMk/>
          <pc:sldMk cId="1145535110" sldId="3258"/>
        </pc:sldMkLst>
        <pc:spChg chg="mod">
          <ac:chgData name="Jean QUENTIN" userId="6962deb3-b639-4acd-8091-a0516ea2376b" providerId="ADAL" clId="{146BD8F6-FDDD-49D3-A1A6-146C954086FF}" dt="2021-05-24T13:36:22.850" v="6305" actId="790"/>
          <ac:spMkLst>
            <pc:docMk/>
            <pc:sldMk cId="1145535110" sldId="3258"/>
            <ac:spMk id="16" creationId="{813FA499-2F2B-4237-A1F4-E1EC89ABF141}"/>
          </ac:spMkLst>
        </pc:spChg>
        <pc:spChg chg="mod">
          <ac:chgData name="Jean QUENTIN" userId="6962deb3-b639-4acd-8091-a0516ea2376b" providerId="ADAL" clId="{146BD8F6-FDDD-49D3-A1A6-146C954086FF}" dt="2021-05-24T13:36:22.850" v="6304" actId="790"/>
          <ac:spMkLst>
            <pc:docMk/>
            <pc:sldMk cId="1145535110" sldId="3258"/>
            <ac:spMk id="18" creationId="{05A43005-14D1-49C5-B286-0CBF49EF4C9A}"/>
          </ac:spMkLst>
        </pc:spChg>
        <pc:spChg chg="mod">
          <ac:chgData name="Jean QUENTIN" userId="6962deb3-b639-4acd-8091-a0516ea2376b" providerId="ADAL" clId="{146BD8F6-FDDD-49D3-A1A6-146C954086FF}" dt="2021-05-24T13:36:22.872" v="6310" actId="790"/>
          <ac:spMkLst>
            <pc:docMk/>
            <pc:sldMk cId="1145535110" sldId="3258"/>
            <ac:spMk id="19" creationId="{E5B76E7A-5B0F-4C72-9E90-D6674A382910}"/>
          </ac:spMkLst>
        </pc:spChg>
        <pc:spChg chg="add del mod">
          <ac:chgData name="Jean QUENTIN" userId="6962deb3-b639-4acd-8091-a0516ea2376b" providerId="ADAL" clId="{146BD8F6-FDDD-49D3-A1A6-146C954086FF}" dt="2021-05-25T13:31:10.895" v="14436" actId="478"/>
          <ac:spMkLst>
            <pc:docMk/>
            <pc:sldMk cId="1145535110" sldId="3258"/>
            <ac:spMk id="20" creationId="{96C59A23-1971-49FF-A519-EB00E221EF0D}"/>
          </ac:spMkLst>
        </pc:spChg>
        <pc:spChg chg="mod">
          <ac:chgData name="Jean QUENTIN" userId="6962deb3-b639-4acd-8091-a0516ea2376b" providerId="ADAL" clId="{146BD8F6-FDDD-49D3-A1A6-146C954086FF}" dt="2021-05-24T13:36:22.834" v="6301" actId="790"/>
          <ac:spMkLst>
            <pc:docMk/>
            <pc:sldMk cId="1145535110" sldId="3258"/>
            <ac:spMk id="32" creationId="{D28F6C03-B18D-4E9E-86A3-41D1A65809FB}"/>
          </ac:spMkLst>
        </pc:spChg>
        <pc:spChg chg="mod">
          <ac:chgData name="Jean QUENTIN" userId="6962deb3-b639-4acd-8091-a0516ea2376b" providerId="ADAL" clId="{146BD8F6-FDDD-49D3-A1A6-146C954086FF}" dt="2021-05-24T13:36:22.866" v="6306" actId="790"/>
          <ac:spMkLst>
            <pc:docMk/>
            <pc:sldMk cId="1145535110" sldId="3258"/>
            <ac:spMk id="33" creationId="{35AC15E6-C7C2-4CF2-A1B8-A8E49DF23339}"/>
          </ac:spMkLst>
        </pc:spChg>
        <pc:spChg chg="mod">
          <ac:chgData name="Jean QUENTIN" userId="6962deb3-b639-4acd-8091-a0516ea2376b" providerId="ADAL" clId="{146BD8F6-FDDD-49D3-A1A6-146C954086FF}" dt="2021-05-24T13:36:22.866" v="6307" actId="790"/>
          <ac:spMkLst>
            <pc:docMk/>
            <pc:sldMk cId="1145535110" sldId="3258"/>
            <ac:spMk id="34" creationId="{70795E82-5EEA-4DFB-A8D1-D6552FDE0A10}"/>
          </ac:spMkLst>
        </pc:spChg>
        <pc:spChg chg="mod">
          <ac:chgData name="Jean QUENTIN" userId="6962deb3-b639-4acd-8091-a0516ea2376b" providerId="ADAL" clId="{146BD8F6-FDDD-49D3-A1A6-146C954086FF}" dt="2021-05-24T13:36:22.872" v="6308" actId="790"/>
          <ac:spMkLst>
            <pc:docMk/>
            <pc:sldMk cId="1145535110" sldId="3258"/>
            <ac:spMk id="35" creationId="{5D0765C0-1EFD-4AF1-BC9F-AB9F7015C9A6}"/>
          </ac:spMkLst>
        </pc:spChg>
        <pc:spChg chg="mod">
          <ac:chgData name="Jean QUENTIN" userId="6962deb3-b639-4acd-8091-a0516ea2376b" providerId="ADAL" clId="{146BD8F6-FDDD-49D3-A1A6-146C954086FF}" dt="2021-05-24T13:36:22.850" v="6302" actId="790"/>
          <ac:spMkLst>
            <pc:docMk/>
            <pc:sldMk cId="1145535110" sldId="3258"/>
            <ac:spMk id="36" creationId="{941C059C-05F2-4579-8A10-7E2BEF493678}"/>
          </ac:spMkLst>
        </pc:spChg>
        <pc:spChg chg="mod">
          <ac:chgData name="Jean QUENTIN" userId="6962deb3-b639-4acd-8091-a0516ea2376b" providerId="ADAL" clId="{146BD8F6-FDDD-49D3-A1A6-146C954086FF}" dt="2021-05-24T13:36:22.872" v="6309" actId="790"/>
          <ac:spMkLst>
            <pc:docMk/>
            <pc:sldMk cId="1145535110" sldId="3258"/>
            <ac:spMk id="37" creationId="{BD0ECFF5-0F14-4767-AF81-94BD1CC69CDF}"/>
          </ac:spMkLst>
        </pc:spChg>
        <pc:spChg chg="mod">
          <ac:chgData name="Jean QUENTIN" userId="6962deb3-b639-4acd-8091-a0516ea2376b" providerId="ADAL" clId="{146BD8F6-FDDD-49D3-A1A6-146C954086FF}" dt="2021-05-24T13:36:22.850" v="6303" actId="790"/>
          <ac:spMkLst>
            <pc:docMk/>
            <pc:sldMk cId="1145535110" sldId="3258"/>
            <ac:spMk id="39" creationId="{3A88A2FA-FD49-4AEB-8EDF-9D840E609CC9}"/>
          </ac:spMkLst>
        </pc:spChg>
        <pc:spChg chg="mod">
          <ac:chgData name="Jean QUENTIN" userId="6962deb3-b639-4acd-8091-a0516ea2376b" providerId="ADAL" clId="{146BD8F6-FDDD-49D3-A1A6-146C954086FF}" dt="2021-05-24T13:36:22.834" v="6299" actId="790"/>
          <ac:spMkLst>
            <pc:docMk/>
            <pc:sldMk cId="1145535110" sldId="3258"/>
            <ac:spMk id="40" creationId="{60EEC324-686F-4C2B-9A86-1FD757E7F20F}"/>
          </ac:spMkLst>
        </pc:spChg>
        <pc:spChg chg="mod">
          <ac:chgData name="Jean QUENTIN" userId="6962deb3-b639-4acd-8091-a0516ea2376b" providerId="ADAL" clId="{146BD8F6-FDDD-49D3-A1A6-146C954086FF}" dt="2021-05-24T13:36:22.834" v="6300" actId="790"/>
          <ac:spMkLst>
            <pc:docMk/>
            <pc:sldMk cId="1145535110" sldId="3258"/>
            <ac:spMk id="47" creationId="{EBC4C7DB-908D-4F75-846A-4CC4964C350B}"/>
          </ac:spMkLst>
        </pc:spChg>
      </pc:sldChg>
      <pc:sldChg chg="addSp modSp mod">
        <pc:chgData name="Jean QUENTIN" userId="6962deb3-b639-4acd-8091-a0516ea2376b" providerId="ADAL" clId="{146BD8F6-FDDD-49D3-A1A6-146C954086FF}" dt="2021-05-25T13:29:12.958" v="14432" actId="207"/>
        <pc:sldMkLst>
          <pc:docMk/>
          <pc:sldMk cId="3373602861" sldId="3299"/>
        </pc:sldMkLst>
        <pc:spChg chg="mod">
          <ac:chgData name="Jean QUENTIN" userId="6962deb3-b639-4acd-8091-a0516ea2376b" providerId="ADAL" clId="{146BD8F6-FDDD-49D3-A1A6-146C954086FF}" dt="2021-05-24T13:36:22.819" v="6290" actId="790"/>
          <ac:spMkLst>
            <pc:docMk/>
            <pc:sldMk cId="3373602861" sldId="3299"/>
            <ac:spMk id="2" creationId="{19860918-02BB-4ABE-984B-2BA0F4561729}"/>
          </ac:spMkLst>
        </pc:spChg>
        <pc:spChg chg="mod">
          <ac:chgData name="Jean QUENTIN" userId="6962deb3-b639-4acd-8091-a0516ea2376b" providerId="ADAL" clId="{146BD8F6-FDDD-49D3-A1A6-146C954086FF}" dt="2021-05-24T13:36:22.819" v="6291" actId="790"/>
          <ac:spMkLst>
            <pc:docMk/>
            <pc:sldMk cId="3373602861" sldId="3299"/>
            <ac:spMk id="3" creationId="{D89B1EA2-9A1E-46B5-9691-826CA66E7EB9}"/>
          </ac:spMkLst>
        </pc:spChg>
        <pc:spChg chg="add mod">
          <ac:chgData name="Jean QUENTIN" userId="6962deb3-b639-4acd-8091-a0516ea2376b" providerId="ADAL" clId="{146BD8F6-FDDD-49D3-A1A6-146C954086FF}" dt="2021-05-25T13:29:12.958" v="14432" actId="207"/>
          <ac:spMkLst>
            <pc:docMk/>
            <pc:sldMk cId="3373602861" sldId="3299"/>
            <ac:spMk id="4" creationId="{C1D09056-7E52-4647-BA75-B4AE55C6D103}"/>
          </ac:spMkLst>
        </pc:spChg>
        <pc:spChg chg="mod">
          <ac:chgData name="Jean QUENTIN" userId="6962deb3-b639-4acd-8091-a0516ea2376b" providerId="ADAL" clId="{146BD8F6-FDDD-49D3-A1A6-146C954086FF}" dt="2021-05-24T13:36:22.834" v="6298" actId="790"/>
          <ac:spMkLst>
            <pc:docMk/>
            <pc:sldMk cId="3373602861" sldId="3299"/>
            <ac:spMk id="17" creationId="{3F4907E7-37BE-4491-B639-834E50ACF79E}"/>
          </ac:spMkLst>
        </pc:spChg>
        <pc:spChg chg="mod">
          <ac:chgData name="Jean QUENTIN" userId="6962deb3-b639-4acd-8091-a0516ea2376b" providerId="ADAL" clId="{146BD8F6-FDDD-49D3-A1A6-146C954086FF}" dt="2021-05-24T13:36:22.819" v="6289" actId="790"/>
          <ac:spMkLst>
            <pc:docMk/>
            <pc:sldMk cId="3373602861" sldId="3299"/>
            <ac:spMk id="22" creationId="{9FE15905-4FBF-4911-B6E6-69CDE2379AC8}"/>
          </ac:spMkLst>
        </pc:spChg>
        <pc:spChg chg="mod">
          <ac:chgData name="Jean QUENTIN" userId="6962deb3-b639-4acd-8091-a0516ea2376b" providerId="ADAL" clId="{146BD8F6-FDDD-49D3-A1A6-146C954086FF}" dt="2021-05-24T13:36:22.819" v="6292" actId="790"/>
          <ac:spMkLst>
            <pc:docMk/>
            <pc:sldMk cId="3373602861" sldId="3299"/>
            <ac:spMk id="24" creationId="{7D54FA88-D181-465E-A244-F9B65464DF26}"/>
          </ac:spMkLst>
        </pc:spChg>
        <pc:spChg chg="mod">
          <ac:chgData name="Jean QUENTIN" userId="6962deb3-b639-4acd-8091-a0516ea2376b" providerId="ADAL" clId="{146BD8F6-FDDD-49D3-A1A6-146C954086FF}" dt="2021-05-24T13:36:22.819" v="6293" actId="790"/>
          <ac:spMkLst>
            <pc:docMk/>
            <pc:sldMk cId="3373602861" sldId="3299"/>
            <ac:spMk id="25" creationId="{C3A7A9B0-1BCD-46E4-912A-985D51725EB7}"/>
          </ac:spMkLst>
        </pc:spChg>
        <pc:spChg chg="mod">
          <ac:chgData name="Jean QUENTIN" userId="6962deb3-b639-4acd-8091-a0516ea2376b" providerId="ADAL" clId="{146BD8F6-FDDD-49D3-A1A6-146C954086FF}" dt="2021-05-24T13:36:22.819" v="6294" actId="790"/>
          <ac:spMkLst>
            <pc:docMk/>
            <pc:sldMk cId="3373602861" sldId="3299"/>
            <ac:spMk id="26" creationId="{43D59B59-EF15-4D31-B688-6B9F8C2B903A}"/>
          </ac:spMkLst>
        </pc:spChg>
        <pc:spChg chg="mod">
          <ac:chgData name="Jean QUENTIN" userId="6962deb3-b639-4acd-8091-a0516ea2376b" providerId="ADAL" clId="{146BD8F6-FDDD-49D3-A1A6-146C954086FF}" dt="2021-05-24T13:36:22.834" v="6295" actId="790"/>
          <ac:spMkLst>
            <pc:docMk/>
            <pc:sldMk cId="3373602861" sldId="3299"/>
            <ac:spMk id="27" creationId="{BF37DA15-3A13-4D49-834C-29A4068FD25C}"/>
          </ac:spMkLst>
        </pc:spChg>
        <pc:spChg chg="mod">
          <ac:chgData name="Jean QUENTIN" userId="6962deb3-b639-4acd-8091-a0516ea2376b" providerId="ADAL" clId="{146BD8F6-FDDD-49D3-A1A6-146C954086FF}" dt="2021-05-24T13:36:22.834" v="6296" actId="790"/>
          <ac:spMkLst>
            <pc:docMk/>
            <pc:sldMk cId="3373602861" sldId="3299"/>
            <ac:spMk id="28" creationId="{332F554D-29A3-4032-A1DB-492350E20CB8}"/>
          </ac:spMkLst>
        </pc:spChg>
        <pc:spChg chg="mod">
          <ac:chgData name="Jean QUENTIN" userId="6962deb3-b639-4acd-8091-a0516ea2376b" providerId="ADAL" clId="{146BD8F6-FDDD-49D3-A1A6-146C954086FF}" dt="2021-05-24T13:36:22.834" v="6297" actId="790"/>
          <ac:spMkLst>
            <pc:docMk/>
            <pc:sldMk cId="3373602861" sldId="3299"/>
            <ac:spMk id="29" creationId="{9F302533-68A2-42B3-8D0B-4DC3B13ED3A2}"/>
          </ac:spMkLst>
        </pc:spChg>
        <pc:spChg chg="mod">
          <ac:chgData name="Jean QUENTIN" userId="6962deb3-b639-4acd-8091-a0516ea2376b" providerId="ADAL" clId="{146BD8F6-FDDD-49D3-A1A6-146C954086FF}" dt="2021-05-24T13:36:22.803" v="6288" actId="790"/>
          <ac:spMkLst>
            <pc:docMk/>
            <pc:sldMk cId="3373602861" sldId="3299"/>
            <ac:spMk id="47" creationId="{EBC4C7DB-908D-4F75-846A-4CC4964C350B}"/>
          </ac:spMkLst>
        </pc:spChg>
        <pc:spChg chg="mod">
          <ac:chgData name="Jean QUENTIN" userId="6962deb3-b639-4acd-8091-a0516ea2376b" providerId="ADAL" clId="{146BD8F6-FDDD-49D3-A1A6-146C954086FF}" dt="2021-05-24T13:36:22.803" v="6287" actId="790"/>
          <ac:spMkLst>
            <pc:docMk/>
            <pc:sldMk cId="3373602861" sldId="3299"/>
            <ac:spMk id="117" creationId="{75A5BA58-45AB-4047-9BC1-E3390F6144BC}"/>
          </ac:spMkLst>
        </pc:spChg>
      </pc:sldChg>
      <pc:sldChg chg="modSp mod">
        <pc:chgData name="Jean QUENTIN" userId="6962deb3-b639-4acd-8091-a0516ea2376b" providerId="ADAL" clId="{146BD8F6-FDDD-49D3-A1A6-146C954086FF}" dt="2021-05-24T13:36:19.695" v="4756" actId="790"/>
        <pc:sldMkLst>
          <pc:docMk/>
          <pc:sldMk cId="3054245272" sldId="3325"/>
        </pc:sldMkLst>
        <pc:spChg chg="mod">
          <ac:chgData name="Jean QUENTIN" userId="6962deb3-b639-4acd-8091-a0516ea2376b" providerId="ADAL" clId="{146BD8F6-FDDD-49D3-A1A6-146C954086FF}" dt="2021-05-24T13:36:19.695" v="4753" actId="790"/>
          <ac:spMkLst>
            <pc:docMk/>
            <pc:sldMk cId="3054245272" sldId="3325"/>
            <ac:spMk id="3" creationId="{E18A7763-3DD3-4E54-8C3B-074DC3E19FE3}"/>
          </ac:spMkLst>
        </pc:spChg>
        <pc:spChg chg="mod">
          <ac:chgData name="Jean QUENTIN" userId="6962deb3-b639-4acd-8091-a0516ea2376b" providerId="ADAL" clId="{146BD8F6-FDDD-49D3-A1A6-146C954086FF}" dt="2021-05-24T13:36:19.680" v="4752" actId="790"/>
          <ac:spMkLst>
            <pc:docMk/>
            <pc:sldMk cId="3054245272" sldId="3325"/>
            <ac:spMk id="13" creationId="{749F130D-16E1-4876-A365-025D47DFF6A7}"/>
          </ac:spMkLst>
        </pc:spChg>
        <pc:spChg chg="mod">
          <ac:chgData name="Jean QUENTIN" userId="6962deb3-b639-4acd-8091-a0516ea2376b" providerId="ADAL" clId="{146BD8F6-FDDD-49D3-A1A6-146C954086FF}" dt="2021-05-24T13:36:19.680" v="4747" actId="790"/>
          <ac:spMkLst>
            <pc:docMk/>
            <pc:sldMk cId="3054245272" sldId="3325"/>
            <ac:spMk id="15" creationId="{086B2770-5475-4364-AF85-9809947DC484}"/>
          </ac:spMkLst>
        </pc:spChg>
        <pc:spChg chg="mod">
          <ac:chgData name="Jean QUENTIN" userId="6962deb3-b639-4acd-8091-a0516ea2376b" providerId="ADAL" clId="{146BD8F6-FDDD-49D3-A1A6-146C954086FF}" dt="2021-05-24T13:36:19.680" v="4748" actId="790"/>
          <ac:spMkLst>
            <pc:docMk/>
            <pc:sldMk cId="3054245272" sldId="3325"/>
            <ac:spMk id="19" creationId="{BDC2B084-592F-46E9-8246-39FD167B518A}"/>
          </ac:spMkLst>
        </pc:spChg>
        <pc:spChg chg="mod">
          <ac:chgData name="Jean QUENTIN" userId="6962deb3-b639-4acd-8091-a0516ea2376b" providerId="ADAL" clId="{146BD8F6-FDDD-49D3-A1A6-146C954086FF}" dt="2021-05-24T13:36:19.680" v="4749" actId="790"/>
          <ac:spMkLst>
            <pc:docMk/>
            <pc:sldMk cId="3054245272" sldId="3325"/>
            <ac:spMk id="20" creationId="{1CD596D9-B723-4E7B-8916-56EF96EBB64B}"/>
          </ac:spMkLst>
        </pc:spChg>
        <pc:spChg chg="mod">
          <ac:chgData name="Jean QUENTIN" userId="6962deb3-b639-4acd-8091-a0516ea2376b" providerId="ADAL" clId="{146BD8F6-FDDD-49D3-A1A6-146C954086FF}" dt="2021-05-24T13:36:19.680" v="4750" actId="790"/>
          <ac:spMkLst>
            <pc:docMk/>
            <pc:sldMk cId="3054245272" sldId="3325"/>
            <ac:spMk id="21" creationId="{C5AE8029-DDC7-41B7-A974-A7618CC7F26B}"/>
          </ac:spMkLst>
        </pc:spChg>
        <pc:spChg chg="mod">
          <ac:chgData name="Jean QUENTIN" userId="6962deb3-b639-4acd-8091-a0516ea2376b" providerId="ADAL" clId="{146BD8F6-FDDD-49D3-A1A6-146C954086FF}" dt="2021-05-24T13:36:19.680" v="4751" actId="790"/>
          <ac:spMkLst>
            <pc:docMk/>
            <pc:sldMk cId="3054245272" sldId="3325"/>
            <ac:spMk id="22" creationId="{DF94097D-297A-4D7C-8B3C-E3C3A9C4366D}"/>
          </ac:spMkLst>
        </pc:spChg>
        <pc:spChg chg="mod">
          <ac:chgData name="Jean QUENTIN" userId="6962deb3-b639-4acd-8091-a0516ea2376b" providerId="ADAL" clId="{146BD8F6-FDDD-49D3-A1A6-146C954086FF}" dt="2021-05-24T13:36:19.695" v="4754" actId="790"/>
          <ac:spMkLst>
            <pc:docMk/>
            <pc:sldMk cId="3054245272" sldId="3325"/>
            <ac:spMk id="24" creationId="{563E6E46-1F87-4BDB-8C6E-C5790B0A6EFD}"/>
          </ac:spMkLst>
        </pc:spChg>
        <pc:spChg chg="mod">
          <ac:chgData name="Jean QUENTIN" userId="6962deb3-b639-4acd-8091-a0516ea2376b" providerId="ADAL" clId="{146BD8F6-FDDD-49D3-A1A6-146C954086FF}" dt="2021-05-24T13:36:19.680" v="4745" actId="790"/>
          <ac:spMkLst>
            <pc:docMk/>
            <pc:sldMk cId="3054245272" sldId="3325"/>
            <ac:spMk id="25" creationId="{E55CF477-BA9F-4C92-B72A-DBEBC94B279B}"/>
          </ac:spMkLst>
        </pc:spChg>
        <pc:spChg chg="mod">
          <ac:chgData name="Jean QUENTIN" userId="6962deb3-b639-4acd-8091-a0516ea2376b" providerId="ADAL" clId="{146BD8F6-FDDD-49D3-A1A6-146C954086FF}" dt="2021-05-24T13:36:19.695" v="4755" actId="790"/>
          <ac:spMkLst>
            <pc:docMk/>
            <pc:sldMk cId="3054245272" sldId="3325"/>
            <ac:spMk id="26" creationId="{04CB1C86-27A0-4200-A026-49D98629F33A}"/>
          </ac:spMkLst>
        </pc:spChg>
        <pc:spChg chg="mod">
          <ac:chgData name="Jean QUENTIN" userId="6962deb3-b639-4acd-8091-a0516ea2376b" providerId="ADAL" clId="{146BD8F6-FDDD-49D3-A1A6-146C954086FF}" dt="2021-05-24T13:36:19.695" v="4756" actId="790"/>
          <ac:spMkLst>
            <pc:docMk/>
            <pc:sldMk cId="3054245272" sldId="3325"/>
            <ac:spMk id="27" creationId="{7C19083B-2243-45AC-95E0-9D58191ECFC8}"/>
          </ac:spMkLst>
        </pc:spChg>
        <pc:spChg chg="mod">
          <ac:chgData name="Jean QUENTIN" userId="6962deb3-b639-4acd-8091-a0516ea2376b" providerId="ADAL" clId="{146BD8F6-FDDD-49D3-A1A6-146C954086FF}" dt="2021-05-24T13:36:19.680" v="4746" actId="790"/>
          <ac:spMkLst>
            <pc:docMk/>
            <pc:sldMk cId="3054245272" sldId="3325"/>
            <ac:spMk id="28" creationId="{83610AF3-8C67-41E4-AD1B-36F5063C2F70}"/>
          </ac:spMkLst>
        </pc:spChg>
      </pc:sldChg>
      <pc:sldChg chg="modSp mod">
        <pc:chgData name="Jean QUENTIN" userId="6962deb3-b639-4acd-8091-a0516ea2376b" providerId="ADAL" clId="{146BD8F6-FDDD-49D3-A1A6-146C954086FF}" dt="2021-05-24T13:36:22.972" v="6342" actId="790"/>
        <pc:sldMkLst>
          <pc:docMk/>
          <pc:sldMk cId="3032523239" sldId="3376"/>
        </pc:sldMkLst>
        <pc:spChg chg="mod">
          <ac:chgData name="Jean QUENTIN" userId="6962deb3-b639-4acd-8091-a0516ea2376b" providerId="ADAL" clId="{146BD8F6-FDDD-49D3-A1A6-146C954086FF}" dt="2021-05-24T13:36:22.935" v="6335" actId="790"/>
          <ac:spMkLst>
            <pc:docMk/>
            <pc:sldMk cId="3032523239" sldId="3376"/>
            <ac:spMk id="7" creationId="{249ECC30-4091-4186-A7DB-11A971BDA541}"/>
          </ac:spMkLst>
        </pc:spChg>
        <pc:spChg chg="mod">
          <ac:chgData name="Jean QUENTIN" userId="6962deb3-b639-4acd-8091-a0516ea2376b" providerId="ADAL" clId="{146BD8F6-FDDD-49D3-A1A6-146C954086FF}" dt="2021-05-24T13:36:22.972" v="6342" actId="790"/>
          <ac:spMkLst>
            <pc:docMk/>
            <pc:sldMk cId="3032523239" sldId="3376"/>
            <ac:spMk id="18" creationId="{EF564D1C-1969-4BF9-B9AA-B40A39E6C0AC}"/>
          </ac:spMkLst>
        </pc:spChg>
        <pc:spChg chg="mod">
          <ac:chgData name="Jean QUENTIN" userId="6962deb3-b639-4acd-8091-a0516ea2376b" providerId="ADAL" clId="{146BD8F6-FDDD-49D3-A1A6-146C954086FF}" dt="2021-05-24T13:36:22.972" v="6341" actId="790"/>
          <ac:spMkLst>
            <pc:docMk/>
            <pc:sldMk cId="3032523239" sldId="3376"/>
            <ac:spMk id="22" creationId="{D6B29344-7F20-42A7-870F-A9F6648DBFFD}"/>
          </ac:spMkLst>
        </pc:spChg>
        <pc:spChg chg="mod">
          <ac:chgData name="Jean QUENTIN" userId="6962deb3-b639-4acd-8091-a0516ea2376b" providerId="ADAL" clId="{146BD8F6-FDDD-49D3-A1A6-146C954086FF}" dt="2021-05-24T13:36:22.972" v="6339" actId="790"/>
          <ac:spMkLst>
            <pc:docMk/>
            <pc:sldMk cId="3032523239" sldId="3376"/>
            <ac:spMk id="35" creationId="{661824DB-9676-45AE-BC8E-0A68FC5DB894}"/>
          </ac:spMkLst>
        </pc:spChg>
        <pc:spChg chg="mod">
          <ac:chgData name="Jean QUENTIN" userId="6962deb3-b639-4acd-8091-a0516ea2376b" providerId="ADAL" clId="{146BD8F6-FDDD-49D3-A1A6-146C954086FF}" dt="2021-05-24T13:36:22.972" v="6340" actId="790"/>
          <ac:spMkLst>
            <pc:docMk/>
            <pc:sldMk cId="3032523239" sldId="3376"/>
            <ac:spMk id="37" creationId="{2D47EA31-D80A-42B5-8052-28C0224A9C48}"/>
          </ac:spMkLst>
        </pc:spChg>
        <pc:spChg chg="mod">
          <ac:chgData name="Jean QUENTIN" userId="6962deb3-b639-4acd-8091-a0516ea2376b" providerId="ADAL" clId="{146BD8F6-FDDD-49D3-A1A6-146C954086FF}" dt="2021-05-24T13:36:22.950" v="6336" actId="790"/>
          <ac:spMkLst>
            <pc:docMk/>
            <pc:sldMk cId="3032523239" sldId="3376"/>
            <ac:spMk id="39" creationId="{D1E92CC9-5E3D-498B-9A2A-EAD16D7E172E}"/>
          </ac:spMkLst>
        </pc:spChg>
        <pc:spChg chg="mod">
          <ac:chgData name="Jean QUENTIN" userId="6962deb3-b639-4acd-8091-a0516ea2376b" providerId="ADAL" clId="{146BD8F6-FDDD-49D3-A1A6-146C954086FF}" dt="2021-05-24T13:36:22.935" v="6332" actId="790"/>
          <ac:spMkLst>
            <pc:docMk/>
            <pc:sldMk cId="3032523239" sldId="3376"/>
            <ac:spMk id="40" creationId="{60EEC324-686F-4C2B-9A86-1FD757E7F20F}"/>
          </ac:spMkLst>
        </pc:spChg>
        <pc:spChg chg="mod">
          <ac:chgData name="Jean QUENTIN" userId="6962deb3-b639-4acd-8091-a0516ea2376b" providerId="ADAL" clId="{146BD8F6-FDDD-49D3-A1A6-146C954086FF}" dt="2021-05-24T13:36:22.935" v="6333" actId="790"/>
          <ac:spMkLst>
            <pc:docMk/>
            <pc:sldMk cId="3032523239" sldId="3376"/>
            <ac:spMk id="41" creationId="{6D8FCCD4-2F77-45E9-9A16-B87F84493FF2}"/>
          </ac:spMkLst>
        </pc:spChg>
        <pc:spChg chg="mod">
          <ac:chgData name="Jean QUENTIN" userId="6962deb3-b639-4acd-8091-a0516ea2376b" providerId="ADAL" clId="{146BD8F6-FDDD-49D3-A1A6-146C954086FF}" dt="2021-05-24T13:36:22.950" v="6337" actId="790"/>
          <ac:spMkLst>
            <pc:docMk/>
            <pc:sldMk cId="3032523239" sldId="3376"/>
            <ac:spMk id="43" creationId="{314B51BA-FDF8-4439-A488-8445EF6BEFA8}"/>
          </ac:spMkLst>
        </pc:spChg>
        <pc:spChg chg="mod">
          <ac:chgData name="Jean QUENTIN" userId="6962deb3-b639-4acd-8091-a0516ea2376b" providerId="ADAL" clId="{146BD8F6-FDDD-49D3-A1A6-146C954086FF}" dt="2021-05-24T13:36:22.950" v="6338" actId="790"/>
          <ac:spMkLst>
            <pc:docMk/>
            <pc:sldMk cId="3032523239" sldId="3376"/>
            <ac:spMk id="44" creationId="{1C1B52EE-AA7D-4AE9-82AE-4706CE867919}"/>
          </ac:spMkLst>
        </pc:spChg>
        <pc:spChg chg="mod">
          <ac:chgData name="Jean QUENTIN" userId="6962deb3-b639-4acd-8091-a0516ea2376b" providerId="ADAL" clId="{146BD8F6-FDDD-49D3-A1A6-146C954086FF}" dt="2021-05-24T13:36:22.935" v="6334" actId="790"/>
          <ac:spMkLst>
            <pc:docMk/>
            <pc:sldMk cId="3032523239" sldId="3376"/>
            <ac:spMk id="47" creationId="{EBC4C7DB-908D-4F75-846A-4CC4964C350B}"/>
          </ac:spMkLst>
        </pc:spChg>
      </pc:sldChg>
      <pc:sldChg chg="modSp mod">
        <pc:chgData name="Jean QUENTIN" userId="6962deb3-b639-4acd-8091-a0516ea2376b" providerId="ADAL" clId="{146BD8F6-FDDD-49D3-A1A6-146C954086FF}" dt="2021-05-24T13:36:19.595" v="4696" actId="790"/>
        <pc:sldMkLst>
          <pc:docMk/>
          <pc:sldMk cId="3048354914" sldId="3451"/>
        </pc:sldMkLst>
        <pc:spChg chg="mod">
          <ac:chgData name="Jean QUENTIN" userId="6962deb3-b639-4acd-8091-a0516ea2376b" providerId="ADAL" clId="{146BD8F6-FDDD-49D3-A1A6-146C954086FF}" dt="2021-05-24T13:36:19.579" v="4683" actId="790"/>
          <ac:spMkLst>
            <pc:docMk/>
            <pc:sldMk cId="3048354914" sldId="3451"/>
            <ac:spMk id="2" creationId="{F3FE1D1C-DE9F-4520-BCCE-A563D9130FE3}"/>
          </ac:spMkLst>
        </pc:spChg>
        <pc:spChg chg="mod">
          <ac:chgData name="Jean QUENTIN" userId="6962deb3-b639-4acd-8091-a0516ea2376b" providerId="ADAL" clId="{146BD8F6-FDDD-49D3-A1A6-146C954086FF}" dt="2021-05-24T13:36:19.579" v="4684" actId="790"/>
          <ac:spMkLst>
            <pc:docMk/>
            <pc:sldMk cId="3048354914" sldId="3451"/>
            <ac:spMk id="3" creationId="{9C0D73B0-FD73-4C93-AADD-0F48F14A97D5}"/>
          </ac:spMkLst>
        </pc:spChg>
        <pc:spChg chg="mod">
          <ac:chgData name="Jean QUENTIN" userId="6962deb3-b639-4acd-8091-a0516ea2376b" providerId="ADAL" clId="{146BD8F6-FDDD-49D3-A1A6-146C954086FF}" dt="2021-05-24T13:36:19.579" v="4685" actId="790"/>
          <ac:spMkLst>
            <pc:docMk/>
            <pc:sldMk cId="3048354914" sldId="3451"/>
            <ac:spMk id="5" creationId="{C2211D1B-D86D-4EF5-B202-69A0FA56B98B}"/>
          </ac:spMkLst>
        </pc:spChg>
        <pc:spChg chg="mod">
          <ac:chgData name="Jean QUENTIN" userId="6962deb3-b639-4acd-8091-a0516ea2376b" providerId="ADAL" clId="{146BD8F6-FDDD-49D3-A1A6-146C954086FF}" dt="2021-05-24T13:36:19.595" v="4689" actId="790"/>
          <ac:spMkLst>
            <pc:docMk/>
            <pc:sldMk cId="3048354914" sldId="3451"/>
            <ac:spMk id="7" creationId="{F59BFDDC-63FF-4CDF-9FA9-5814668C648B}"/>
          </ac:spMkLst>
        </pc:spChg>
        <pc:spChg chg="mod">
          <ac:chgData name="Jean QUENTIN" userId="6962deb3-b639-4acd-8091-a0516ea2376b" providerId="ADAL" clId="{146BD8F6-FDDD-49D3-A1A6-146C954086FF}" dt="2021-05-24T13:36:19.595" v="4688" actId="790"/>
          <ac:spMkLst>
            <pc:docMk/>
            <pc:sldMk cId="3048354914" sldId="3451"/>
            <ac:spMk id="22" creationId="{915D1B6E-612E-40C3-AAAD-AD7DCE1807AA}"/>
          </ac:spMkLst>
        </pc:spChg>
        <pc:spChg chg="mod">
          <ac:chgData name="Jean QUENTIN" userId="6962deb3-b639-4acd-8091-a0516ea2376b" providerId="ADAL" clId="{146BD8F6-FDDD-49D3-A1A6-146C954086FF}" dt="2021-05-24T13:36:19.579" v="4681" actId="790"/>
          <ac:spMkLst>
            <pc:docMk/>
            <pc:sldMk cId="3048354914" sldId="3451"/>
            <ac:spMk id="32" creationId="{2C2D77D3-1465-4C84-99C0-1C33D079A79E}"/>
          </ac:spMkLst>
        </pc:spChg>
        <pc:spChg chg="mod">
          <ac:chgData name="Jean QUENTIN" userId="6962deb3-b639-4acd-8091-a0516ea2376b" providerId="ADAL" clId="{146BD8F6-FDDD-49D3-A1A6-146C954086FF}" dt="2021-05-24T13:36:19.579" v="4682" actId="790"/>
          <ac:spMkLst>
            <pc:docMk/>
            <pc:sldMk cId="3048354914" sldId="3451"/>
            <ac:spMk id="36" creationId="{DA7D41F2-6061-46E4-AB6E-49B571044BC4}"/>
          </ac:spMkLst>
        </pc:spChg>
        <pc:spChg chg="mod">
          <ac:chgData name="Jean QUENTIN" userId="6962deb3-b639-4acd-8091-a0516ea2376b" providerId="ADAL" clId="{146BD8F6-FDDD-49D3-A1A6-146C954086FF}" dt="2021-05-24T13:36:19.579" v="4686" actId="790"/>
          <ac:spMkLst>
            <pc:docMk/>
            <pc:sldMk cId="3048354914" sldId="3451"/>
            <ac:spMk id="37" creationId="{1B0F6DBA-9DDA-4219-ABBF-2A111A6DC023}"/>
          </ac:spMkLst>
        </pc:spChg>
        <pc:spChg chg="mod">
          <ac:chgData name="Jean QUENTIN" userId="6962deb3-b639-4acd-8091-a0516ea2376b" providerId="ADAL" clId="{146BD8F6-FDDD-49D3-A1A6-146C954086FF}" dt="2021-05-24T13:36:19.579" v="4687" actId="790"/>
          <ac:spMkLst>
            <pc:docMk/>
            <pc:sldMk cId="3048354914" sldId="3451"/>
            <ac:spMk id="39" creationId="{47BC833D-E5A8-48E7-A049-6D7BD4B70788}"/>
          </ac:spMkLst>
        </pc:spChg>
        <pc:spChg chg="mod">
          <ac:chgData name="Jean QUENTIN" userId="6962deb3-b639-4acd-8091-a0516ea2376b" providerId="ADAL" clId="{146BD8F6-FDDD-49D3-A1A6-146C954086FF}" dt="2021-05-24T13:36:19.595" v="4690" actId="790"/>
          <ac:spMkLst>
            <pc:docMk/>
            <pc:sldMk cId="3048354914" sldId="3451"/>
            <ac:spMk id="49" creationId="{DE97F974-0523-4C7D-870F-FDE6B73F9F62}"/>
          </ac:spMkLst>
        </pc:spChg>
        <pc:spChg chg="mod">
          <ac:chgData name="Jean QUENTIN" userId="6962deb3-b639-4acd-8091-a0516ea2376b" providerId="ADAL" clId="{146BD8F6-FDDD-49D3-A1A6-146C954086FF}" dt="2021-05-24T13:36:19.579" v="4680" actId="790"/>
          <ac:spMkLst>
            <pc:docMk/>
            <pc:sldMk cId="3048354914" sldId="3451"/>
            <ac:spMk id="50" creationId="{D79806CD-0EE1-44AF-A4A4-8DE1548322B3}"/>
          </ac:spMkLst>
        </pc:spChg>
        <pc:spChg chg="mod">
          <ac:chgData name="Jean QUENTIN" userId="6962deb3-b639-4acd-8091-a0516ea2376b" providerId="ADAL" clId="{146BD8F6-FDDD-49D3-A1A6-146C954086FF}" dt="2021-05-24T13:36:19.595" v="4691" actId="790"/>
          <ac:spMkLst>
            <pc:docMk/>
            <pc:sldMk cId="3048354914" sldId="3451"/>
            <ac:spMk id="51" creationId="{EB30D8DB-A511-42DE-B11D-108FFEA94D64}"/>
          </ac:spMkLst>
        </pc:spChg>
        <pc:spChg chg="mod">
          <ac:chgData name="Jean QUENTIN" userId="6962deb3-b639-4acd-8091-a0516ea2376b" providerId="ADAL" clId="{146BD8F6-FDDD-49D3-A1A6-146C954086FF}" dt="2021-05-24T13:36:19.595" v="4692" actId="790"/>
          <ac:spMkLst>
            <pc:docMk/>
            <pc:sldMk cId="3048354914" sldId="3451"/>
            <ac:spMk id="52" creationId="{C9D93F91-2B2E-4AFA-BA96-25C45E0CA12C}"/>
          </ac:spMkLst>
        </pc:spChg>
        <pc:spChg chg="mod">
          <ac:chgData name="Jean QUENTIN" userId="6962deb3-b639-4acd-8091-a0516ea2376b" providerId="ADAL" clId="{146BD8F6-FDDD-49D3-A1A6-146C954086FF}" dt="2021-05-24T13:36:19.595" v="4693" actId="790"/>
          <ac:spMkLst>
            <pc:docMk/>
            <pc:sldMk cId="3048354914" sldId="3451"/>
            <ac:spMk id="56" creationId="{7AF36850-3C58-49B6-8D1E-D4C8EEB35F7A}"/>
          </ac:spMkLst>
        </pc:spChg>
        <pc:spChg chg="mod">
          <ac:chgData name="Jean QUENTIN" userId="6962deb3-b639-4acd-8091-a0516ea2376b" providerId="ADAL" clId="{146BD8F6-FDDD-49D3-A1A6-146C954086FF}" dt="2021-05-24T13:36:19.595" v="4694" actId="790"/>
          <ac:spMkLst>
            <pc:docMk/>
            <pc:sldMk cId="3048354914" sldId="3451"/>
            <ac:spMk id="57" creationId="{D48142E4-6A00-4A4D-AF32-7C1E77B4F66F}"/>
          </ac:spMkLst>
        </pc:spChg>
        <pc:spChg chg="mod">
          <ac:chgData name="Jean QUENTIN" userId="6962deb3-b639-4acd-8091-a0516ea2376b" providerId="ADAL" clId="{146BD8F6-FDDD-49D3-A1A6-146C954086FF}" dt="2021-05-24T13:36:19.595" v="4695" actId="790"/>
          <ac:spMkLst>
            <pc:docMk/>
            <pc:sldMk cId="3048354914" sldId="3451"/>
            <ac:spMk id="58" creationId="{B8ACAE6E-CA04-407B-B7DC-AA81B7A21A60}"/>
          </ac:spMkLst>
        </pc:spChg>
        <pc:spChg chg="mod">
          <ac:chgData name="Jean QUENTIN" userId="6962deb3-b639-4acd-8091-a0516ea2376b" providerId="ADAL" clId="{146BD8F6-FDDD-49D3-A1A6-146C954086FF}" dt="2021-05-24T13:36:19.595" v="4696" actId="790"/>
          <ac:spMkLst>
            <pc:docMk/>
            <pc:sldMk cId="3048354914" sldId="3451"/>
            <ac:spMk id="59" creationId="{120C1439-48AB-4529-951F-D14737C54CED}"/>
          </ac:spMkLst>
        </pc:spChg>
      </pc:sldChg>
      <pc:sldChg chg="modSp mod">
        <pc:chgData name="Jean QUENTIN" userId="6962deb3-b639-4acd-8091-a0516ea2376b" providerId="ADAL" clId="{146BD8F6-FDDD-49D3-A1A6-146C954086FF}" dt="2021-05-24T13:36:19.626" v="4716" actId="790"/>
        <pc:sldMkLst>
          <pc:docMk/>
          <pc:sldMk cId="3243773378" sldId="3452"/>
        </pc:sldMkLst>
        <pc:spChg chg="mod">
          <ac:chgData name="Jean QUENTIN" userId="6962deb3-b639-4acd-8091-a0516ea2376b" providerId="ADAL" clId="{146BD8F6-FDDD-49D3-A1A6-146C954086FF}" dt="2021-05-24T13:36:19.611" v="4703" actId="790"/>
          <ac:spMkLst>
            <pc:docMk/>
            <pc:sldMk cId="3243773378" sldId="3452"/>
            <ac:spMk id="6" creationId="{8A6BC016-DE7F-4249-8E53-A6AE69FC9649}"/>
          </ac:spMkLst>
        </pc:spChg>
        <pc:spChg chg="mod">
          <ac:chgData name="Jean QUENTIN" userId="6962deb3-b639-4acd-8091-a0516ea2376b" providerId="ADAL" clId="{146BD8F6-FDDD-49D3-A1A6-146C954086FF}" dt="2021-05-24T13:36:19.595" v="4697" actId="790"/>
          <ac:spMkLst>
            <pc:docMk/>
            <pc:sldMk cId="3243773378" sldId="3452"/>
            <ac:spMk id="7" creationId="{43D53965-2190-4359-ADAA-D09D5859663D}"/>
          </ac:spMkLst>
        </pc:spChg>
        <pc:spChg chg="mod">
          <ac:chgData name="Jean QUENTIN" userId="6962deb3-b639-4acd-8091-a0516ea2376b" providerId="ADAL" clId="{146BD8F6-FDDD-49D3-A1A6-146C954086FF}" dt="2021-05-24T13:36:19.611" v="4704" actId="790"/>
          <ac:spMkLst>
            <pc:docMk/>
            <pc:sldMk cId="3243773378" sldId="3452"/>
            <ac:spMk id="8" creationId="{87650252-CCEE-456B-B996-679062FC9081}"/>
          </ac:spMkLst>
        </pc:spChg>
        <pc:spChg chg="mod">
          <ac:chgData name="Jean QUENTIN" userId="6962deb3-b639-4acd-8091-a0516ea2376b" providerId="ADAL" clId="{146BD8F6-FDDD-49D3-A1A6-146C954086FF}" dt="2021-05-24T13:36:19.611" v="4706" actId="790"/>
          <ac:spMkLst>
            <pc:docMk/>
            <pc:sldMk cId="3243773378" sldId="3452"/>
            <ac:spMk id="35" creationId="{A1C4625F-BE8A-4105-99AA-E997F31DE530}"/>
          </ac:spMkLst>
        </pc:spChg>
        <pc:spChg chg="mod">
          <ac:chgData name="Jean QUENTIN" userId="6962deb3-b639-4acd-8091-a0516ea2376b" providerId="ADAL" clId="{146BD8F6-FDDD-49D3-A1A6-146C954086FF}" dt="2021-05-24T13:36:19.611" v="4707" actId="790"/>
          <ac:spMkLst>
            <pc:docMk/>
            <pc:sldMk cId="3243773378" sldId="3452"/>
            <ac:spMk id="36" creationId="{3F6A24E4-439D-4E89-B6E8-79BB4685424A}"/>
          </ac:spMkLst>
        </pc:spChg>
        <pc:spChg chg="mod">
          <ac:chgData name="Jean QUENTIN" userId="6962deb3-b639-4acd-8091-a0516ea2376b" providerId="ADAL" clId="{146BD8F6-FDDD-49D3-A1A6-146C954086FF}" dt="2021-05-24T13:36:19.626" v="4708" actId="790"/>
          <ac:spMkLst>
            <pc:docMk/>
            <pc:sldMk cId="3243773378" sldId="3452"/>
            <ac:spMk id="37" creationId="{B73C09EE-9F03-40A2-9E17-7D12FA1F99BA}"/>
          </ac:spMkLst>
        </pc:spChg>
        <pc:spChg chg="mod">
          <ac:chgData name="Jean QUENTIN" userId="6962deb3-b639-4acd-8091-a0516ea2376b" providerId="ADAL" clId="{146BD8F6-FDDD-49D3-A1A6-146C954086FF}" dt="2021-05-24T13:36:19.626" v="4709" actId="790"/>
          <ac:spMkLst>
            <pc:docMk/>
            <pc:sldMk cId="3243773378" sldId="3452"/>
            <ac:spMk id="39" creationId="{E9624854-BD55-4DE5-A50F-27DEFD9E74D2}"/>
          </ac:spMkLst>
        </pc:spChg>
        <pc:spChg chg="mod">
          <ac:chgData name="Jean QUENTIN" userId="6962deb3-b639-4acd-8091-a0516ea2376b" providerId="ADAL" clId="{146BD8F6-FDDD-49D3-A1A6-146C954086FF}" dt="2021-05-24T13:36:19.611" v="4699" actId="790"/>
          <ac:spMkLst>
            <pc:docMk/>
            <pc:sldMk cId="3243773378" sldId="3452"/>
            <ac:spMk id="43" creationId="{C59098D9-0448-41A3-80B1-67607E3A176B}"/>
          </ac:spMkLst>
        </pc:spChg>
        <pc:spChg chg="mod">
          <ac:chgData name="Jean QUENTIN" userId="6962deb3-b639-4acd-8091-a0516ea2376b" providerId="ADAL" clId="{146BD8F6-FDDD-49D3-A1A6-146C954086FF}" dt="2021-05-24T13:36:19.611" v="4700" actId="790"/>
          <ac:spMkLst>
            <pc:docMk/>
            <pc:sldMk cId="3243773378" sldId="3452"/>
            <ac:spMk id="44" creationId="{2352FE8A-CC5D-4BE5-BB4F-07C6B7B42F70}"/>
          </ac:spMkLst>
        </pc:spChg>
        <pc:spChg chg="mod">
          <ac:chgData name="Jean QUENTIN" userId="6962deb3-b639-4acd-8091-a0516ea2376b" providerId="ADAL" clId="{146BD8F6-FDDD-49D3-A1A6-146C954086FF}" dt="2021-05-24T13:36:19.611" v="4701" actId="790"/>
          <ac:spMkLst>
            <pc:docMk/>
            <pc:sldMk cId="3243773378" sldId="3452"/>
            <ac:spMk id="46" creationId="{28847972-12BB-4216-89A4-DDE26B8AB081}"/>
          </ac:spMkLst>
        </pc:spChg>
        <pc:spChg chg="mod">
          <ac:chgData name="Jean QUENTIN" userId="6962deb3-b639-4acd-8091-a0516ea2376b" providerId="ADAL" clId="{146BD8F6-FDDD-49D3-A1A6-146C954086FF}" dt="2021-05-24T13:36:19.595" v="4698" actId="790"/>
          <ac:spMkLst>
            <pc:docMk/>
            <pc:sldMk cId="3243773378" sldId="3452"/>
            <ac:spMk id="47" creationId="{EBC4C7DB-908D-4F75-846A-4CC4964C350B}"/>
          </ac:spMkLst>
        </pc:spChg>
        <pc:spChg chg="mod">
          <ac:chgData name="Jean QUENTIN" userId="6962deb3-b639-4acd-8091-a0516ea2376b" providerId="ADAL" clId="{146BD8F6-FDDD-49D3-A1A6-146C954086FF}" dt="2021-05-24T13:36:19.611" v="4702" actId="790"/>
          <ac:spMkLst>
            <pc:docMk/>
            <pc:sldMk cId="3243773378" sldId="3452"/>
            <ac:spMk id="48" creationId="{E839022F-C32B-4443-BD2B-55548EDF662F}"/>
          </ac:spMkLst>
        </pc:spChg>
        <pc:spChg chg="mod">
          <ac:chgData name="Jean QUENTIN" userId="6962deb3-b639-4acd-8091-a0516ea2376b" providerId="ADAL" clId="{146BD8F6-FDDD-49D3-A1A6-146C954086FF}" dt="2021-05-24T13:36:19.611" v="4705" actId="790"/>
          <ac:spMkLst>
            <pc:docMk/>
            <pc:sldMk cId="3243773378" sldId="3452"/>
            <ac:spMk id="49" creationId="{C1E3E739-DB6B-4A98-9759-447C8B64A7E5}"/>
          </ac:spMkLst>
        </pc:spChg>
        <pc:spChg chg="mod">
          <ac:chgData name="Jean QUENTIN" userId="6962deb3-b639-4acd-8091-a0516ea2376b" providerId="ADAL" clId="{146BD8F6-FDDD-49D3-A1A6-146C954086FF}" dt="2021-05-24T13:36:19.626" v="4710" actId="790"/>
          <ac:spMkLst>
            <pc:docMk/>
            <pc:sldMk cId="3243773378" sldId="3452"/>
            <ac:spMk id="57" creationId="{00881F96-4237-4C1E-8B1A-46911928DA8D}"/>
          </ac:spMkLst>
        </pc:spChg>
        <pc:spChg chg="mod">
          <ac:chgData name="Jean QUENTIN" userId="6962deb3-b639-4acd-8091-a0516ea2376b" providerId="ADAL" clId="{146BD8F6-FDDD-49D3-A1A6-146C954086FF}" dt="2021-05-24T13:36:19.626" v="4711" actId="790"/>
          <ac:spMkLst>
            <pc:docMk/>
            <pc:sldMk cId="3243773378" sldId="3452"/>
            <ac:spMk id="58" creationId="{6528C45A-EA07-418C-B242-38B1E9036F50}"/>
          </ac:spMkLst>
        </pc:spChg>
        <pc:spChg chg="mod">
          <ac:chgData name="Jean QUENTIN" userId="6962deb3-b639-4acd-8091-a0516ea2376b" providerId="ADAL" clId="{146BD8F6-FDDD-49D3-A1A6-146C954086FF}" dt="2021-05-24T13:36:19.626" v="4712" actId="790"/>
          <ac:spMkLst>
            <pc:docMk/>
            <pc:sldMk cId="3243773378" sldId="3452"/>
            <ac:spMk id="63" creationId="{23127A4B-1990-472B-869F-5A6583F531B1}"/>
          </ac:spMkLst>
        </pc:spChg>
        <pc:spChg chg="mod">
          <ac:chgData name="Jean QUENTIN" userId="6962deb3-b639-4acd-8091-a0516ea2376b" providerId="ADAL" clId="{146BD8F6-FDDD-49D3-A1A6-146C954086FF}" dt="2021-05-24T13:36:19.626" v="4713" actId="790"/>
          <ac:spMkLst>
            <pc:docMk/>
            <pc:sldMk cId="3243773378" sldId="3452"/>
            <ac:spMk id="64" creationId="{32CE2654-BC40-49A6-B953-2954D1B1DCF4}"/>
          </ac:spMkLst>
        </pc:spChg>
        <pc:spChg chg="mod">
          <ac:chgData name="Jean QUENTIN" userId="6962deb3-b639-4acd-8091-a0516ea2376b" providerId="ADAL" clId="{146BD8F6-FDDD-49D3-A1A6-146C954086FF}" dt="2021-05-24T13:36:19.626" v="4714" actId="790"/>
          <ac:spMkLst>
            <pc:docMk/>
            <pc:sldMk cId="3243773378" sldId="3452"/>
            <ac:spMk id="65" creationId="{34C42977-AA92-4C72-BEEA-53050A527D3B}"/>
          </ac:spMkLst>
        </pc:spChg>
        <pc:spChg chg="mod">
          <ac:chgData name="Jean QUENTIN" userId="6962deb3-b639-4acd-8091-a0516ea2376b" providerId="ADAL" clId="{146BD8F6-FDDD-49D3-A1A6-146C954086FF}" dt="2021-05-24T13:36:19.626" v="4715" actId="790"/>
          <ac:spMkLst>
            <pc:docMk/>
            <pc:sldMk cId="3243773378" sldId="3452"/>
            <ac:spMk id="66" creationId="{874B6B7D-D021-4EC7-B34E-8D1FCE04B9CE}"/>
          </ac:spMkLst>
        </pc:spChg>
        <pc:spChg chg="mod">
          <ac:chgData name="Jean QUENTIN" userId="6962deb3-b639-4acd-8091-a0516ea2376b" providerId="ADAL" clId="{146BD8F6-FDDD-49D3-A1A6-146C954086FF}" dt="2021-05-24T13:36:19.626" v="4716" actId="790"/>
          <ac:spMkLst>
            <pc:docMk/>
            <pc:sldMk cId="3243773378" sldId="3452"/>
            <ac:spMk id="67" creationId="{3CE5370D-87D7-468D-8B16-46C32D066558}"/>
          </ac:spMkLst>
        </pc:spChg>
      </pc:sldChg>
      <pc:sldChg chg="modSp mod">
        <pc:chgData name="Jean QUENTIN" userId="6962deb3-b639-4acd-8091-a0516ea2376b" providerId="ADAL" clId="{146BD8F6-FDDD-49D3-A1A6-146C954086FF}" dt="2021-05-24T13:36:22.935" v="6331" actId="790"/>
        <pc:sldMkLst>
          <pc:docMk/>
          <pc:sldMk cId="3115212104" sldId="3453"/>
        </pc:sldMkLst>
        <pc:spChg chg="mod">
          <ac:chgData name="Jean QUENTIN" userId="6962deb3-b639-4acd-8091-a0516ea2376b" providerId="ADAL" clId="{146BD8F6-FDDD-49D3-A1A6-146C954086FF}" dt="2021-05-24T13:36:22.919" v="6327" actId="790"/>
          <ac:spMkLst>
            <pc:docMk/>
            <pc:sldMk cId="3115212104" sldId="3453"/>
            <ac:spMk id="7" creationId="{249ECC30-4091-4186-A7DB-11A971BDA541}"/>
          </ac:spMkLst>
        </pc:spChg>
        <pc:spChg chg="mod">
          <ac:chgData name="Jean QUENTIN" userId="6962deb3-b639-4acd-8091-a0516ea2376b" providerId="ADAL" clId="{146BD8F6-FDDD-49D3-A1A6-146C954086FF}" dt="2021-05-24T13:36:22.935" v="6331" actId="790"/>
          <ac:spMkLst>
            <pc:docMk/>
            <pc:sldMk cId="3115212104" sldId="3453"/>
            <ac:spMk id="16" creationId="{B6A8ADCE-7C46-45C6-AB47-5B1FD46DEF1E}"/>
          </ac:spMkLst>
        </pc:spChg>
        <pc:spChg chg="mod">
          <ac:chgData name="Jean QUENTIN" userId="6962deb3-b639-4acd-8091-a0516ea2376b" providerId="ADAL" clId="{146BD8F6-FDDD-49D3-A1A6-146C954086FF}" dt="2021-05-24T13:36:22.935" v="6330" actId="790"/>
          <ac:spMkLst>
            <pc:docMk/>
            <pc:sldMk cId="3115212104" sldId="3453"/>
            <ac:spMk id="20" creationId="{1289F68E-3AEA-4024-A2D5-0927D0E414BC}"/>
          </ac:spMkLst>
        </pc:spChg>
        <pc:spChg chg="mod">
          <ac:chgData name="Jean QUENTIN" userId="6962deb3-b639-4acd-8091-a0516ea2376b" providerId="ADAL" clId="{146BD8F6-FDDD-49D3-A1A6-146C954086FF}" dt="2021-05-24T13:36:22.919" v="6326" actId="790"/>
          <ac:spMkLst>
            <pc:docMk/>
            <pc:sldMk cId="3115212104" sldId="3453"/>
            <ac:spMk id="39" creationId="{D1E92CC9-5E3D-498B-9A2A-EAD16D7E172E}"/>
          </ac:spMkLst>
        </pc:spChg>
        <pc:spChg chg="mod">
          <ac:chgData name="Jean QUENTIN" userId="6962deb3-b639-4acd-8091-a0516ea2376b" providerId="ADAL" clId="{146BD8F6-FDDD-49D3-A1A6-146C954086FF}" dt="2021-05-24T13:36:22.903" v="6323" actId="790"/>
          <ac:spMkLst>
            <pc:docMk/>
            <pc:sldMk cId="3115212104" sldId="3453"/>
            <ac:spMk id="40" creationId="{60EEC324-686F-4C2B-9A86-1FD757E7F20F}"/>
          </ac:spMkLst>
        </pc:spChg>
        <pc:spChg chg="mod">
          <ac:chgData name="Jean QUENTIN" userId="6962deb3-b639-4acd-8091-a0516ea2376b" providerId="ADAL" clId="{146BD8F6-FDDD-49D3-A1A6-146C954086FF}" dt="2021-05-24T13:36:22.903" v="6324" actId="790"/>
          <ac:spMkLst>
            <pc:docMk/>
            <pc:sldMk cId="3115212104" sldId="3453"/>
            <ac:spMk id="41" creationId="{6D8FCCD4-2F77-45E9-9A16-B87F84493FF2}"/>
          </ac:spMkLst>
        </pc:spChg>
        <pc:spChg chg="mod">
          <ac:chgData name="Jean QUENTIN" userId="6962deb3-b639-4acd-8091-a0516ea2376b" providerId="ADAL" clId="{146BD8F6-FDDD-49D3-A1A6-146C954086FF}" dt="2021-05-24T13:36:22.919" v="6328" actId="790"/>
          <ac:spMkLst>
            <pc:docMk/>
            <pc:sldMk cId="3115212104" sldId="3453"/>
            <ac:spMk id="46" creationId="{A8782A50-F7B1-478D-960D-B144BB7D57D7}"/>
          </ac:spMkLst>
        </pc:spChg>
        <pc:spChg chg="mod">
          <ac:chgData name="Jean QUENTIN" userId="6962deb3-b639-4acd-8091-a0516ea2376b" providerId="ADAL" clId="{146BD8F6-FDDD-49D3-A1A6-146C954086FF}" dt="2021-05-24T13:36:22.903" v="6325" actId="790"/>
          <ac:spMkLst>
            <pc:docMk/>
            <pc:sldMk cId="3115212104" sldId="3453"/>
            <ac:spMk id="47" creationId="{EBC4C7DB-908D-4F75-846A-4CC4964C350B}"/>
          </ac:spMkLst>
        </pc:spChg>
        <pc:spChg chg="mod">
          <ac:chgData name="Jean QUENTIN" userId="6962deb3-b639-4acd-8091-a0516ea2376b" providerId="ADAL" clId="{146BD8F6-FDDD-49D3-A1A6-146C954086FF}" dt="2021-05-24T13:36:22.935" v="6329" actId="790"/>
          <ac:spMkLst>
            <pc:docMk/>
            <pc:sldMk cId="3115212104" sldId="3453"/>
            <ac:spMk id="48" creationId="{C1504369-A904-4988-949E-39F5C19A7677}"/>
          </ac:spMkLst>
        </pc:spChg>
      </pc:sldChg>
      <pc:sldChg chg="modSp mod">
        <pc:chgData name="Jean QUENTIN" userId="6962deb3-b639-4acd-8091-a0516ea2376b" providerId="ADAL" clId="{146BD8F6-FDDD-49D3-A1A6-146C954086FF}" dt="2021-05-25T09:00:37.929" v="12610" actId="207"/>
        <pc:sldMkLst>
          <pc:docMk/>
          <pc:sldMk cId="2227887028" sldId="3469"/>
        </pc:sldMkLst>
        <pc:spChg chg="mod">
          <ac:chgData name="Jean QUENTIN" userId="6962deb3-b639-4acd-8091-a0516ea2376b" providerId="ADAL" clId="{146BD8F6-FDDD-49D3-A1A6-146C954086FF}" dt="2021-05-24T13:36:19.543" v="4661" actId="790"/>
          <ac:spMkLst>
            <pc:docMk/>
            <pc:sldMk cId="2227887028" sldId="3469"/>
            <ac:spMk id="3" creationId="{EEAF1987-D318-4165-8539-CE9944DDE20A}"/>
          </ac:spMkLst>
        </pc:spChg>
        <pc:spChg chg="mod">
          <ac:chgData name="Jean QUENTIN" userId="6962deb3-b639-4acd-8091-a0516ea2376b" providerId="ADAL" clId="{146BD8F6-FDDD-49D3-A1A6-146C954086FF}" dt="2021-05-24T13:36:19.526" v="4655" actId="790"/>
          <ac:spMkLst>
            <pc:docMk/>
            <pc:sldMk cId="2227887028" sldId="3469"/>
            <ac:spMk id="5" creationId="{C2211D1B-D86D-4EF5-B202-69A0FA56B98B}"/>
          </ac:spMkLst>
        </pc:spChg>
        <pc:spChg chg="mod">
          <ac:chgData name="Jean QUENTIN" userId="6962deb3-b639-4acd-8091-a0516ea2376b" providerId="ADAL" clId="{146BD8F6-FDDD-49D3-A1A6-146C954086FF}" dt="2021-05-24T13:36:19.526" v="4658" actId="790"/>
          <ac:spMkLst>
            <pc:docMk/>
            <pc:sldMk cId="2227887028" sldId="3469"/>
            <ac:spMk id="7" creationId="{F59BFDDC-63FF-4CDF-9FA9-5814668C648B}"/>
          </ac:spMkLst>
        </pc:spChg>
        <pc:spChg chg="mod">
          <ac:chgData name="Jean QUENTIN" userId="6962deb3-b639-4acd-8091-a0516ea2376b" providerId="ADAL" clId="{146BD8F6-FDDD-49D3-A1A6-146C954086FF}" dt="2021-05-24T13:36:19.543" v="4660" actId="790"/>
          <ac:spMkLst>
            <pc:docMk/>
            <pc:sldMk cId="2227887028" sldId="3469"/>
            <ac:spMk id="20" creationId="{ED97A22C-8175-42D7-83B9-66285B255DD8}"/>
          </ac:spMkLst>
        </pc:spChg>
        <pc:spChg chg="mod">
          <ac:chgData name="Jean QUENTIN" userId="6962deb3-b639-4acd-8091-a0516ea2376b" providerId="ADAL" clId="{146BD8F6-FDDD-49D3-A1A6-146C954086FF}" dt="2021-05-24T13:36:19.526" v="4657" actId="790"/>
          <ac:spMkLst>
            <pc:docMk/>
            <pc:sldMk cId="2227887028" sldId="3469"/>
            <ac:spMk id="22" creationId="{915D1B6E-612E-40C3-AAAD-AD7DCE1807AA}"/>
          </ac:spMkLst>
        </pc:spChg>
        <pc:spChg chg="mod">
          <ac:chgData name="Jean QUENTIN" userId="6962deb3-b639-4acd-8091-a0516ea2376b" providerId="ADAL" clId="{146BD8F6-FDDD-49D3-A1A6-146C954086FF}" dt="2021-05-24T13:36:19.543" v="4659" actId="790"/>
          <ac:spMkLst>
            <pc:docMk/>
            <pc:sldMk cId="2227887028" sldId="3469"/>
            <ac:spMk id="28" creationId="{53C5A097-C478-4E2D-9FDD-BE9872004DFD}"/>
          </ac:spMkLst>
        </pc:spChg>
        <pc:spChg chg="mod">
          <ac:chgData name="Jean QUENTIN" userId="6962deb3-b639-4acd-8091-a0516ea2376b" providerId="ADAL" clId="{146BD8F6-FDDD-49D3-A1A6-146C954086FF}" dt="2021-05-24T13:36:19.526" v="4656" actId="790"/>
          <ac:spMkLst>
            <pc:docMk/>
            <pc:sldMk cId="2227887028" sldId="3469"/>
            <ac:spMk id="37" creationId="{1B0F6DBA-9DDA-4219-ABBF-2A111A6DC023}"/>
          </ac:spMkLst>
        </pc:spChg>
        <pc:spChg chg="mod">
          <ac:chgData name="Jean QUENTIN" userId="6962deb3-b639-4acd-8091-a0516ea2376b" providerId="ADAL" clId="{146BD8F6-FDDD-49D3-A1A6-146C954086FF}" dt="2021-05-24T13:36:19.543" v="4662" actId="790"/>
          <ac:spMkLst>
            <pc:docMk/>
            <pc:sldMk cId="2227887028" sldId="3469"/>
            <ac:spMk id="39" creationId="{E13A1A57-0854-4DD7-BDFE-7BC27BD1A81F}"/>
          </ac:spMkLst>
        </pc:spChg>
        <pc:spChg chg="mod">
          <ac:chgData name="Jean QUENTIN" userId="6962deb3-b639-4acd-8091-a0516ea2376b" providerId="ADAL" clId="{146BD8F6-FDDD-49D3-A1A6-146C954086FF}" dt="2021-05-24T13:36:19.511" v="4652" actId="790"/>
          <ac:spMkLst>
            <pc:docMk/>
            <pc:sldMk cId="2227887028" sldId="3469"/>
            <ac:spMk id="40" creationId="{60EEC324-686F-4C2B-9A86-1FD757E7F20F}"/>
          </ac:spMkLst>
        </pc:spChg>
        <pc:spChg chg="mod">
          <ac:chgData name="Jean QUENTIN" userId="6962deb3-b639-4acd-8091-a0516ea2376b" providerId="ADAL" clId="{146BD8F6-FDDD-49D3-A1A6-146C954086FF}" dt="2021-05-24T13:36:19.511" v="4653" actId="790"/>
          <ac:spMkLst>
            <pc:docMk/>
            <pc:sldMk cId="2227887028" sldId="3469"/>
            <ac:spMk id="41" creationId="{6D8FCCD4-2F77-45E9-9A16-B87F84493FF2}"/>
          </ac:spMkLst>
        </pc:spChg>
        <pc:spChg chg="mod">
          <ac:chgData name="Jean QUENTIN" userId="6962deb3-b639-4acd-8091-a0516ea2376b" providerId="ADAL" clId="{146BD8F6-FDDD-49D3-A1A6-146C954086FF}" dt="2021-05-24T13:36:19.543" v="4663" actId="790"/>
          <ac:spMkLst>
            <pc:docMk/>
            <pc:sldMk cId="2227887028" sldId="3469"/>
            <ac:spMk id="42" creationId="{82D45FD6-332C-4185-B2F7-837B5822F3BD}"/>
          </ac:spMkLst>
        </pc:spChg>
        <pc:spChg chg="mod">
          <ac:chgData name="Jean QUENTIN" userId="6962deb3-b639-4acd-8091-a0516ea2376b" providerId="ADAL" clId="{146BD8F6-FDDD-49D3-A1A6-146C954086FF}" dt="2021-05-24T13:36:19.543" v="4664" actId="790"/>
          <ac:spMkLst>
            <pc:docMk/>
            <pc:sldMk cId="2227887028" sldId="3469"/>
            <ac:spMk id="43" creationId="{B5DEA5C6-A53A-4FE1-ABB1-BCD9F609E8F6}"/>
          </ac:spMkLst>
        </pc:spChg>
        <pc:spChg chg="mod">
          <ac:chgData name="Jean QUENTIN" userId="6962deb3-b639-4acd-8091-a0516ea2376b" providerId="ADAL" clId="{146BD8F6-FDDD-49D3-A1A6-146C954086FF}" dt="2021-05-24T13:36:19.543" v="4665" actId="790"/>
          <ac:spMkLst>
            <pc:docMk/>
            <pc:sldMk cId="2227887028" sldId="3469"/>
            <ac:spMk id="44" creationId="{022EB26C-4239-4DB8-81D3-CD5199BA05D7}"/>
          </ac:spMkLst>
        </pc:spChg>
        <pc:spChg chg="mod">
          <ac:chgData name="Jean QUENTIN" userId="6962deb3-b639-4acd-8091-a0516ea2376b" providerId="ADAL" clId="{146BD8F6-FDDD-49D3-A1A6-146C954086FF}" dt="2021-05-24T13:36:19.543" v="4666" actId="790"/>
          <ac:spMkLst>
            <pc:docMk/>
            <pc:sldMk cId="2227887028" sldId="3469"/>
            <ac:spMk id="45" creationId="{26EC6358-FE91-4A17-BA46-6717559DBB79}"/>
          </ac:spMkLst>
        </pc:spChg>
        <pc:spChg chg="mod">
          <ac:chgData name="Jean QUENTIN" userId="6962deb3-b639-4acd-8091-a0516ea2376b" providerId="ADAL" clId="{146BD8F6-FDDD-49D3-A1A6-146C954086FF}" dt="2021-05-25T09:00:37.929" v="12610" actId="207"/>
          <ac:spMkLst>
            <pc:docMk/>
            <pc:sldMk cId="2227887028" sldId="3469"/>
            <ac:spMk id="50" creationId="{D79806CD-0EE1-44AF-A4A4-8DE1548322B3}"/>
          </ac:spMkLst>
        </pc:spChg>
      </pc:sldChg>
      <pc:sldChg chg="modSp mod">
        <pc:chgData name="Jean QUENTIN" userId="6962deb3-b639-4acd-8091-a0516ea2376b" providerId="ADAL" clId="{146BD8F6-FDDD-49D3-A1A6-146C954086FF}" dt="2021-05-24T13:36:19.564" v="4679" actId="790"/>
        <pc:sldMkLst>
          <pc:docMk/>
          <pc:sldMk cId="3432366182" sldId="3470"/>
        </pc:sldMkLst>
        <pc:spChg chg="mod">
          <ac:chgData name="Jean QUENTIN" userId="6962deb3-b639-4acd-8091-a0516ea2376b" providerId="ADAL" clId="{146BD8F6-FDDD-49D3-A1A6-146C954086FF}" dt="2021-05-24T13:36:19.543" v="4668" actId="790"/>
          <ac:spMkLst>
            <pc:docMk/>
            <pc:sldMk cId="3432366182" sldId="3470"/>
            <ac:spMk id="5" creationId="{C2211D1B-D86D-4EF5-B202-69A0FA56B98B}"/>
          </ac:spMkLst>
        </pc:spChg>
        <pc:spChg chg="mod">
          <ac:chgData name="Jean QUENTIN" userId="6962deb3-b639-4acd-8091-a0516ea2376b" providerId="ADAL" clId="{146BD8F6-FDDD-49D3-A1A6-146C954086FF}" dt="2021-05-24T13:36:19.564" v="4671" actId="790"/>
          <ac:spMkLst>
            <pc:docMk/>
            <pc:sldMk cId="3432366182" sldId="3470"/>
            <ac:spMk id="7" creationId="{F59BFDDC-63FF-4CDF-9FA9-5814668C648B}"/>
          </ac:spMkLst>
        </pc:spChg>
        <pc:spChg chg="mod">
          <ac:chgData name="Jean QUENTIN" userId="6962deb3-b639-4acd-8091-a0516ea2376b" providerId="ADAL" clId="{146BD8F6-FDDD-49D3-A1A6-146C954086FF}" dt="2021-05-24T13:36:19.559" v="4670" actId="790"/>
          <ac:spMkLst>
            <pc:docMk/>
            <pc:sldMk cId="3432366182" sldId="3470"/>
            <ac:spMk id="22" creationId="{915D1B6E-612E-40C3-AAAD-AD7DCE1807AA}"/>
          </ac:spMkLst>
        </pc:spChg>
        <pc:spChg chg="mod">
          <ac:chgData name="Jean QUENTIN" userId="6962deb3-b639-4acd-8091-a0516ea2376b" providerId="ADAL" clId="{146BD8F6-FDDD-49D3-A1A6-146C954086FF}" dt="2021-05-24T13:36:19.564" v="4672" actId="790"/>
          <ac:spMkLst>
            <pc:docMk/>
            <pc:sldMk cId="3432366182" sldId="3470"/>
            <ac:spMk id="28" creationId="{53C5A097-C478-4E2D-9FDD-BE9872004DFD}"/>
          </ac:spMkLst>
        </pc:spChg>
        <pc:spChg chg="mod">
          <ac:chgData name="Jean QUENTIN" userId="6962deb3-b639-4acd-8091-a0516ea2376b" providerId="ADAL" clId="{146BD8F6-FDDD-49D3-A1A6-146C954086FF}" dt="2021-05-24T13:36:19.564" v="4673" actId="790"/>
          <ac:spMkLst>
            <pc:docMk/>
            <pc:sldMk cId="3432366182" sldId="3470"/>
            <ac:spMk id="35" creationId="{52F6F652-B5D6-41D6-BFAE-67F720578A15}"/>
          </ac:spMkLst>
        </pc:spChg>
        <pc:spChg chg="mod">
          <ac:chgData name="Jean QUENTIN" userId="6962deb3-b639-4acd-8091-a0516ea2376b" providerId="ADAL" clId="{146BD8F6-FDDD-49D3-A1A6-146C954086FF}" dt="2021-05-24T13:36:19.564" v="4674" actId="790"/>
          <ac:spMkLst>
            <pc:docMk/>
            <pc:sldMk cId="3432366182" sldId="3470"/>
            <ac:spMk id="36" creationId="{7C25C1C0-D623-4095-B976-8B709F0FB761}"/>
          </ac:spMkLst>
        </pc:spChg>
        <pc:spChg chg="mod">
          <ac:chgData name="Jean QUENTIN" userId="6962deb3-b639-4acd-8091-a0516ea2376b" providerId="ADAL" clId="{146BD8F6-FDDD-49D3-A1A6-146C954086FF}" dt="2021-05-24T13:36:19.559" v="4669" actId="790"/>
          <ac:spMkLst>
            <pc:docMk/>
            <pc:sldMk cId="3432366182" sldId="3470"/>
            <ac:spMk id="37" creationId="{1B0F6DBA-9DDA-4219-ABBF-2A111A6DC023}"/>
          </ac:spMkLst>
        </pc:spChg>
        <pc:spChg chg="mod">
          <ac:chgData name="Jean QUENTIN" userId="6962deb3-b639-4acd-8091-a0516ea2376b" providerId="ADAL" clId="{146BD8F6-FDDD-49D3-A1A6-146C954086FF}" dt="2021-05-24T13:36:19.564" v="4675" actId="790"/>
          <ac:spMkLst>
            <pc:docMk/>
            <pc:sldMk cId="3432366182" sldId="3470"/>
            <ac:spMk id="38" creationId="{C4366AA8-8F43-4391-9A96-045F57D1FEB3}"/>
          </ac:spMkLst>
        </pc:spChg>
        <pc:spChg chg="mod">
          <ac:chgData name="Jean QUENTIN" userId="6962deb3-b639-4acd-8091-a0516ea2376b" providerId="ADAL" clId="{146BD8F6-FDDD-49D3-A1A6-146C954086FF}" dt="2021-05-24T13:36:19.564" v="4676" actId="790"/>
          <ac:spMkLst>
            <pc:docMk/>
            <pc:sldMk cId="3432366182" sldId="3470"/>
            <ac:spMk id="44" creationId="{2014E30B-C8A0-4A59-BB3F-9E024E30328B}"/>
          </ac:spMkLst>
        </pc:spChg>
        <pc:spChg chg="mod">
          <ac:chgData name="Jean QUENTIN" userId="6962deb3-b639-4acd-8091-a0516ea2376b" providerId="ADAL" clId="{146BD8F6-FDDD-49D3-A1A6-146C954086FF}" dt="2021-05-24T13:36:19.564" v="4677" actId="790"/>
          <ac:spMkLst>
            <pc:docMk/>
            <pc:sldMk cId="3432366182" sldId="3470"/>
            <ac:spMk id="45" creationId="{9E4261C9-F54B-4840-A880-04F5677109A8}"/>
          </ac:spMkLst>
        </pc:spChg>
        <pc:spChg chg="mod">
          <ac:chgData name="Jean QUENTIN" userId="6962deb3-b639-4acd-8091-a0516ea2376b" providerId="ADAL" clId="{146BD8F6-FDDD-49D3-A1A6-146C954086FF}" dt="2021-05-24T13:36:19.564" v="4678" actId="790"/>
          <ac:spMkLst>
            <pc:docMk/>
            <pc:sldMk cId="3432366182" sldId="3470"/>
            <ac:spMk id="47" creationId="{74C439CC-5E42-483B-B12D-3098611085C4}"/>
          </ac:spMkLst>
        </pc:spChg>
        <pc:spChg chg="mod">
          <ac:chgData name="Jean QUENTIN" userId="6962deb3-b639-4acd-8091-a0516ea2376b" providerId="ADAL" clId="{146BD8F6-FDDD-49D3-A1A6-146C954086FF}" dt="2021-05-24T13:36:19.564" v="4679" actId="790"/>
          <ac:spMkLst>
            <pc:docMk/>
            <pc:sldMk cId="3432366182" sldId="3470"/>
            <ac:spMk id="48" creationId="{F66C4E06-FF3F-4603-9BB1-3EEB21F0F766}"/>
          </ac:spMkLst>
        </pc:spChg>
        <pc:spChg chg="mod">
          <ac:chgData name="Jean QUENTIN" userId="6962deb3-b639-4acd-8091-a0516ea2376b" providerId="ADAL" clId="{146BD8F6-FDDD-49D3-A1A6-146C954086FF}" dt="2021-05-24T13:36:19.543" v="4667" actId="790"/>
          <ac:spMkLst>
            <pc:docMk/>
            <pc:sldMk cId="3432366182" sldId="3470"/>
            <ac:spMk id="50" creationId="{D79806CD-0EE1-44AF-A4A4-8DE1548322B3}"/>
          </ac:spMkLst>
        </pc:spChg>
      </pc:sldChg>
      <pc:sldChg chg="modSp mod">
        <pc:chgData name="Jean QUENTIN" userId="6962deb3-b639-4acd-8091-a0516ea2376b" providerId="ADAL" clId="{146BD8F6-FDDD-49D3-A1A6-146C954086FF}" dt="2021-05-24T13:36:23.821" v="6718" actId="790"/>
        <pc:sldMkLst>
          <pc:docMk/>
          <pc:sldMk cId="1532694306" sldId="5383"/>
        </pc:sldMkLst>
        <pc:spChg chg="mod">
          <ac:chgData name="Jean QUENTIN" userId="6962deb3-b639-4acd-8091-a0516ea2376b" providerId="ADAL" clId="{146BD8F6-FDDD-49D3-A1A6-146C954086FF}" dt="2021-05-24T13:36:23.737" v="6675" actId="790"/>
          <ac:spMkLst>
            <pc:docMk/>
            <pc:sldMk cId="1532694306" sldId="5383"/>
            <ac:spMk id="2" creationId="{1678585C-13E7-4B22-B596-E69AA0B67605}"/>
          </ac:spMkLst>
        </pc:spChg>
        <pc:spChg chg="mod">
          <ac:chgData name="Jean QUENTIN" userId="6962deb3-b639-4acd-8091-a0516ea2376b" providerId="ADAL" clId="{146BD8F6-FDDD-49D3-A1A6-146C954086FF}" dt="2021-05-24T13:36:23.737" v="6676" actId="790"/>
          <ac:spMkLst>
            <pc:docMk/>
            <pc:sldMk cId="1532694306" sldId="5383"/>
            <ac:spMk id="8" creationId="{A0DF13B0-6CDA-42C9-B9C3-CEBF2440866D}"/>
          </ac:spMkLst>
        </pc:spChg>
        <pc:spChg chg="mod">
          <ac:chgData name="Jean QUENTIN" userId="6962deb3-b639-4acd-8091-a0516ea2376b" providerId="ADAL" clId="{146BD8F6-FDDD-49D3-A1A6-146C954086FF}" dt="2021-05-24T13:36:23.752" v="6683" actId="790"/>
          <ac:spMkLst>
            <pc:docMk/>
            <pc:sldMk cId="1532694306" sldId="5383"/>
            <ac:spMk id="9" creationId="{14AD1532-5D17-484B-A9E0-A80410DF5E9A}"/>
          </ac:spMkLst>
        </pc:spChg>
        <pc:spChg chg="mod">
          <ac:chgData name="Jean QUENTIN" userId="6962deb3-b639-4acd-8091-a0516ea2376b" providerId="ADAL" clId="{146BD8F6-FDDD-49D3-A1A6-146C954086FF}" dt="2021-05-24T13:36:23.821" v="6718" actId="790"/>
          <ac:spMkLst>
            <pc:docMk/>
            <pc:sldMk cId="1532694306" sldId="5383"/>
            <ac:spMk id="10" creationId="{4DDE9FB7-F45F-4680-9700-03FF7C001A12}"/>
          </ac:spMkLst>
        </pc:spChg>
        <pc:spChg chg="mod">
          <ac:chgData name="Jean QUENTIN" userId="6962deb3-b639-4acd-8091-a0516ea2376b" providerId="ADAL" clId="{146BD8F6-FDDD-49D3-A1A6-146C954086FF}" dt="2021-05-24T13:36:23.752" v="6685" actId="790"/>
          <ac:spMkLst>
            <pc:docMk/>
            <pc:sldMk cId="1532694306" sldId="5383"/>
            <ac:spMk id="12" creationId="{D8E25155-3270-437F-8B24-435F5AEA00E0}"/>
          </ac:spMkLst>
        </pc:spChg>
        <pc:spChg chg="mod">
          <ac:chgData name="Jean QUENTIN" userId="6962deb3-b639-4acd-8091-a0516ea2376b" providerId="ADAL" clId="{146BD8F6-FDDD-49D3-A1A6-146C954086FF}" dt="2021-05-24T13:36:23.768" v="6688" actId="790"/>
          <ac:spMkLst>
            <pc:docMk/>
            <pc:sldMk cId="1532694306" sldId="5383"/>
            <ac:spMk id="56" creationId="{C38FC55C-E529-44CA-A3C3-52CDAA0FFA2C}"/>
          </ac:spMkLst>
        </pc:spChg>
        <pc:spChg chg="mod">
          <ac:chgData name="Jean QUENTIN" userId="6962deb3-b639-4acd-8091-a0516ea2376b" providerId="ADAL" clId="{146BD8F6-FDDD-49D3-A1A6-146C954086FF}" dt="2021-05-24T13:36:23.774" v="6689" actId="790"/>
          <ac:spMkLst>
            <pc:docMk/>
            <pc:sldMk cId="1532694306" sldId="5383"/>
            <ac:spMk id="63" creationId="{B30A0BF5-7928-48B0-AA04-585B99F5721B}"/>
          </ac:spMkLst>
        </pc:spChg>
        <pc:spChg chg="mod">
          <ac:chgData name="Jean QUENTIN" userId="6962deb3-b639-4acd-8091-a0516ea2376b" providerId="ADAL" clId="{146BD8F6-FDDD-49D3-A1A6-146C954086FF}" dt="2021-05-24T13:36:23.752" v="6682" actId="790"/>
          <ac:spMkLst>
            <pc:docMk/>
            <pc:sldMk cId="1532694306" sldId="5383"/>
            <ac:spMk id="75" creationId="{DA7A61FE-7AB3-404C-B6D0-0341AB4AED0B}"/>
          </ac:spMkLst>
        </pc:spChg>
        <pc:spChg chg="mod">
          <ac:chgData name="Jean QUENTIN" userId="6962deb3-b639-4acd-8091-a0516ea2376b" providerId="ADAL" clId="{146BD8F6-FDDD-49D3-A1A6-146C954086FF}" dt="2021-05-24T13:36:23.774" v="6691" actId="790"/>
          <ac:spMkLst>
            <pc:docMk/>
            <pc:sldMk cId="1532694306" sldId="5383"/>
            <ac:spMk id="76" creationId="{308CB204-27DB-4B46-9EB7-186FB3180E2B}"/>
          </ac:spMkLst>
        </pc:spChg>
        <pc:spChg chg="mod">
          <ac:chgData name="Jean QUENTIN" userId="6962deb3-b639-4acd-8091-a0516ea2376b" providerId="ADAL" clId="{146BD8F6-FDDD-49D3-A1A6-146C954086FF}" dt="2021-05-24T13:36:23.774" v="6692" actId="790"/>
          <ac:spMkLst>
            <pc:docMk/>
            <pc:sldMk cId="1532694306" sldId="5383"/>
            <ac:spMk id="78" creationId="{02D3BCB9-429C-4D16-8650-DB5B13CEEAE5}"/>
          </ac:spMkLst>
        </pc:spChg>
        <pc:spChg chg="mod">
          <ac:chgData name="Jean QUENTIN" userId="6962deb3-b639-4acd-8091-a0516ea2376b" providerId="ADAL" clId="{146BD8F6-FDDD-49D3-A1A6-146C954086FF}" dt="2021-05-24T13:36:23.774" v="6693" actId="790"/>
          <ac:spMkLst>
            <pc:docMk/>
            <pc:sldMk cId="1532694306" sldId="5383"/>
            <ac:spMk id="79" creationId="{05CE9003-406E-4C58-9418-17361678E171}"/>
          </ac:spMkLst>
        </pc:spChg>
        <pc:spChg chg="mod">
          <ac:chgData name="Jean QUENTIN" userId="6962deb3-b639-4acd-8091-a0516ea2376b" providerId="ADAL" clId="{146BD8F6-FDDD-49D3-A1A6-146C954086FF}" dt="2021-05-24T13:36:23.774" v="6694" actId="790"/>
          <ac:spMkLst>
            <pc:docMk/>
            <pc:sldMk cId="1532694306" sldId="5383"/>
            <ac:spMk id="81" creationId="{3E439A77-9F2F-4980-AB85-ED840F2C0A8B}"/>
          </ac:spMkLst>
        </pc:spChg>
        <pc:spChg chg="mod">
          <ac:chgData name="Jean QUENTIN" userId="6962deb3-b639-4acd-8091-a0516ea2376b" providerId="ADAL" clId="{146BD8F6-FDDD-49D3-A1A6-146C954086FF}" dt="2021-05-24T13:36:23.774" v="6695" actId="790"/>
          <ac:spMkLst>
            <pc:docMk/>
            <pc:sldMk cId="1532694306" sldId="5383"/>
            <ac:spMk id="82" creationId="{E2D76940-EEEC-42C3-9F31-77EA96944FAA}"/>
          </ac:spMkLst>
        </pc:spChg>
        <pc:spChg chg="mod">
          <ac:chgData name="Jean QUENTIN" userId="6962deb3-b639-4acd-8091-a0516ea2376b" providerId="ADAL" clId="{146BD8F6-FDDD-49D3-A1A6-146C954086FF}" dt="2021-05-24T13:36:23.774" v="6696" actId="790"/>
          <ac:spMkLst>
            <pc:docMk/>
            <pc:sldMk cId="1532694306" sldId="5383"/>
            <ac:spMk id="84" creationId="{E46E8DAE-3404-441B-A661-135A0072D68D}"/>
          </ac:spMkLst>
        </pc:spChg>
        <pc:spChg chg="mod">
          <ac:chgData name="Jean QUENTIN" userId="6962deb3-b639-4acd-8091-a0516ea2376b" providerId="ADAL" clId="{146BD8F6-FDDD-49D3-A1A6-146C954086FF}" dt="2021-05-24T13:36:23.774" v="6697" actId="790"/>
          <ac:spMkLst>
            <pc:docMk/>
            <pc:sldMk cId="1532694306" sldId="5383"/>
            <ac:spMk id="88" creationId="{9487F1F7-CDC0-436C-B153-A367A6D943C7}"/>
          </ac:spMkLst>
        </pc:spChg>
        <pc:spChg chg="mod">
          <ac:chgData name="Jean QUENTIN" userId="6962deb3-b639-4acd-8091-a0516ea2376b" providerId="ADAL" clId="{146BD8F6-FDDD-49D3-A1A6-146C954086FF}" dt="2021-05-24T13:36:23.790" v="6698" actId="790"/>
          <ac:spMkLst>
            <pc:docMk/>
            <pc:sldMk cId="1532694306" sldId="5383"/>
            <ac:spMk id="90" creationId="{C200A7DB-0104-4AE9-908C-6C38D57F8166}"/>
          </ac:spMkLst>
        </pc:spChg>
        <pc:spChg chg="mod">
          <ac:chgData name="Jean QUENTIN" userId="6962deb3-b639-4acd-8091-a0516ea2376b" providerId="ADAL" clId="{146BD8F6-FDDD-49D3-A1A6-146C954086FF}" dt="2021-05-24T13:36:23.790" v="6699" actId="790"/>
          <ac:spMkLst>
            <pc:docMk/>
            <pc:sldMk cId="1532694306" sldId="5383"/>
            <ac:spMk id="91" creationId="{15A9E8BB-ADC2-4318-9D2C-304EE384F556}"/>
          </ac:spMkLst>
        </pc:spChg>
        <pc:spChg chg="mod">
          <ac:chgData name="Jean QUENTIN" userId="6962deb3-b639-4acd-8091-a0516ea2376b" providerId="ADAL" clId="{146BD8F6-FDDD-49D3-A1A6-146C954086FF}" dt="2021-05-24T13:36:23.790" v="6700" actId="790"/>
          <ac:spMkLst>
            <pc:docMk/>
            <pc:sldMk cId="1532694306" sldId="5383"/>
            <ac:spMk id="96" creationId="{AF2248C6-36BB-4F36-8143-EDA94C8237D2}"/>
          </ac:spMkLst>
        </pc:spChg>
        <pc:spChg chg="mod">
          <ac:chgData name="Jean QUENTIN" userId="6962deb3-b639-4acd-8091-a0516ea2376b" providerId="ADAL" clId="{146BD8F6-FDDD-49D3-A1A6-146C954086FF}" dt="2021-05-24T13:36:23.790" v="6701" actId="790"/>
          <ac:spMkLst>
            <pc:docMk/>
            <pc:sldMk cId="1532694306" sldId="5383"/>
            <ac:spMk id="97" creationId="{DA4BE8A8-9C19-4A0D-8B77-D0047B30993B}"/>
          </ac:spMkLst>
        </pc:spChg>
        <pc:spChg chg="mod">
          <ac:chgData name="Jean QUENTIN" userId="6962deb3-b639-4acd-8091-a0516ea2376b" providerId="ADAL" clId="{146BD8F6-FDDD-49D3-A1A6-146C954086FF}" dt="2021-05-24T13:36:23.737" v="6678" actId="790"/>
          <ac:spMkLst>
            <pc:docMk/>
            <pc:sldMk cId="1532694306" sldId="5383"/>
            <ac:spMk id="100" creationId="{92E34ABB-577C-4CC5-A619-617AA6CDC8DC}"/>
          </ac:spMkLst>
        </pc:spChg>
        <pc:spChg chg="mod">
          <ac:chgData name="Jean QUENTIN" userId="6962deb3-b639-4acd-8091-a0516ea2376b" providerId="ADAL" clId="{146BD8F6-FDDD-49D3-A1A6-146C954086FF}" dt="2021-05-24T13:36:23.790" v="6702" actId="790"/>
          <ac:spMkLst>
            <pc:docMk/>
            <pc:sldMk cId="1532694306" sldId="5383"/>
            <ac:spMk id="102" creationId="{2E5C41C9-BDCF-48F4-839F-4B1F4C79F0EC}"/>
          </ac:spMkLst>
        </pc:spChg>
        <pc:spChg chg="mod">
          <ac:chgData name="Jean QUENTIN" userId="6962deb3-b639-4acd-8091-a0516ea2376b" providerId="ADAL" clId="{146BD8F6-FDDD-49D3-A1A6-146C954086FF}" dt="2021-05-24T13:36:23.752" v="6684" actId="790"/>
          <ac:spMkLst>
            <pc:docMk/>
            <pc:sldMk cId="1532694306" sldId="5383"/>
            <ac:spMk id="105" creationId="{EE11D568-D344-4CCB-B559-7182FFADC6A0}"/>
          </ac:spMkLst>
        </pc:spChg>
        <pc:spChg chg="mod">
          <ac:chgData name="Jean QUENTIN" userId="6962deb3-b639-4acd-8091-a0516ea2376b" providerId="ADAL" clId="{146BD8F6-FDDD-49D3-A1A6-146C954086FF}" dt="2021-05-24T13:36:23.790" v="6704" actId="790"/>
          <ac:spMkLst>
            <pc:docMk/>
            <pc:sldMk cId="1532694306" sldId="5383"/>
            <ac:spMk id="106" creationId="{16ACCA96-275F-49D5-A379-20B4A5462CB8}"/>
          </ac:spMkLst>
        </pc:spChg>
        <pc:spChg chg="mod">
          <ac:chgData name="Jean QUENTIN" userId="6962deb3-b639-4acd-8091-a0516ea2376b" providerId="ADAL" clId="{146BD8F6-FDDD-49D3-A1A6-146C954086FF}" dt="2021-05-24T13:36:23.806" v="6706" actId="790"/>
          <ac:spMkLst>
            <pc:docMk/>
            <pc:sldMk cId="1532694306" sldId="5383"/>
            <ac:spMk id="107" creationId="{7A3B4CC5-CD25-42F7-BC02-B0529BC6C569}"/>
          </ac:spMkLst>
        </pc:spChg>
        <pc:spChg chg="mod">
          <ac:chgData name="Jean QUENTIN" userId="6962deb3-b639-4acd-8091-a0516ea2376b" providerId="ADAL" clId="{146BD8F6-FDDD-49D3-A1A6-146C954086FF}" dt="2021-05-24T13:36:23.806" v="6705" actId="790"/>
          <ac:spMkLst>
            <pc:docMk/>
            <pc:sldMk cId="1532694306" sldId="5383"/>
            <ac:spMk id="108" creationId="{AD94A0C4-4EC9-4D2E-AF6A-C75C673F58F4}"/>
          </ac:spMkLst>
        </pc:spChg>
        <pc:spChg chg="mod">
          <ac:chgData name="Jean QUENTIN" userId="6962deb3-b639-4acd-8091-a0516ea2376b" providerId="ADAL" clId="{146BD8F6-FDDD-49D3-A1A6-146C954086FF}" dt="2021-05-24T13:36:23.806" v="6707" actId="790"/>
          <ac:spMkLst>
            <pc:docMk/>
            <pc:sldMk cId="1532694306" sldId="5383"/>
            <ac:spMk id="112" creationId="{5BD3C787-F8A7-4079-B9CA-39618C895E12}"/>
          </ac:spMkLst>
        </pc:spChg>
        <pc:spChg chg="mod">
          <ac:chgData name="Jean QUENTIN" userId="6962deb3-b639-4acd-8091-a0516ea2376b" providerId="ADAL" clId="{146BD8F6-FDDD-49D3-A1A6-146C954086FF}" dt="2021-05-24T13:36:23.806" v="6708" actId="790"/>
          <ac:spMkLst>
            <pc:docMk/>
            <pc:sldMk cId="1532694306" sldId="5383"/>
            <ac:spMk id="113" creationId="{8E621201-C6E7-4264-84D9-B1AB5804AAC6}"/>
          </ac:spMkLst>
        </pc:spChg>
        <pc:spChg chg="mod">
          <ac:chgData name="Jean QUENTIN" userId="6962deb3-b639-4acd-8091-a0516ea2376b" providerId="ADAL" clId="{146BD8F6-FDDD-49D3-A1A6-146C954086FF}" dt="2021-05-24T13:36:23.806" v="6709" actId="790"/>
          <ac:spMkLst>
            <pc:docMk/>
            <pc:sldMk cId="1532694306" sldId="5383"/>
            <ac:spMk id="114" creationId="{FACBB86D-782C-4F1D-AABF-680DE5065652}"/>
          </ac:spMkLst>
        </pc:spChg>
        <pc:spChg chg="mod">
          <ac:chgData name="Jean QUENTIN" userId="6962deb3-b639-4acd-8091-a0516ea2376b" providerId="ADAL" clId="{146BD8F6-FDDD-49D3-A1A6-146C954086FF}" dt="2021-05-24T13:36:23.790" v="6703" actId="790"/>
          <ac:spMkLst>
            <pc:docMk/>
            <pc:sldMk cId="1532694306" sldId="5383"/>
            <ac:spMk id="115" creationId="{041BF179-E383-4031-A515-9B74A6D3632B}"/>
          </ac:spMkLst>
        </pc:spChg>
        <pc:spChg chg="mod">
          <ac:chgData name="Jean QUENTIN" userId="6962deb3-b639-4acd-8091-a0516ea2376b" providerId="ADAL" clId="{146BD8F6-FDDD-49D3-A1A6-146C954086FF}" dt="2021-05-24T13:36:23.774" v="6690" actId="790"/>
          <ac:spMkLst>
            <pc:docMk/>
            <pc:sldMk cId="1532694306" sldId="5383"/>
            <ac:spMk id="116" creationId="{9EDCB131-8B17-4992-85DD-A17676674CC4}"/>
          </ac:spMkLst>
        </pc:spChg>
        <pc:spChg chg="mod">
          <ac:chgData name="Jean QUENTIN" userId="6962deb3-b639-4acd-8091-a0516ea2376b" providerId="ADAL" clId="{146BD8F6-FDDD-49D3-A1A6-146C954086FF}" dt="2021-05-24T13:36:23.806" v="6710" actId="790"/>
          <ac:spMkLst>
            <pc:docMk/>
            <pc:sldMk cId="1532694306" sldId="5383"/>
            <ac:spMk id="118" creationId="{1AB5C0F2-0FE8-4A2B-BA08-9495262BB3B2}"/>
          </ac:spMkLst>
        </pc:spChg>
        <pc:spChg chg="mod">
          <ac:chgData name="Jean QUENTIN" userId="6962deb3-b639-4acd-8091-a0516ea2376b" providerId="ADAL" clId="{146BD8F6-FDDD-49D3-A1A6-146C954086FF}" dt="2021-05-24T13:36:23.806" v="6711" actId="790"/>
          <ac:spMkLst>
            <pc:docMk/>
            <pc:sldMk cId="1532694306" sldId="5383"/>
            <ac:spMk id="122" creationId="{14232EB4-3CA5-45E0-A51D-F30ECCFD2670}"/>
          </ac:spMkLst>
        </pc:spChg>
        <pc:spChg chg="mod">
          <ac:chgData name="Jean QUENTIN" userId="6962deb3-b639-4acd-8091-a0516ea2376b" providerId="ADAL" clId="{146BD8F6-FDDD-49D3-A1A6-146C954086FF}" dt="2021-05-24T13:36:23.806" v="6712" actId="790"/>
          <ac:spMkLst>
            <pc:docMk/>
            <pc:sldMk cId="1532694306" sldId="5383"/>
            <ac:spMk id="133" creationId="{1DCDBA78-507A-43D1-BF67-CBDCF2E3A3BC}"/>
          </ac:spMkLst>
        </pc:spChg>
        <pc:spChg chg="mod">
          <ac:chgData name="Jean QUENTIN" userId="6962deb3-b639-4acd-8091-a0516ea2376b" providerId="ADAL" clId="{146BD8F6-FDDD-49D3-A1A6-146C954086FF}" dt="2021-05-24T13:36:23.806" v="6713" actId="790"/>
          <ac:spMkLst>
            <pc:docMk/>
            <pc:sldMk cId="1532694306" sldId="5383"/>
            <ac:spMk id="135" creationId="{C1CBC5D7-1665-4DC7-A4B5-066E561047DC}"/>
          </ac:spMkLst>
        </pc:spChg>
        <pc:spChg chg="mod">
          <ac:chgData name="Jean QUENTIN" userId="6962deb3-b639-4acd-8091-a0516ea2376b" providerId="ADAL" clId="{146BD8F6-FDDD-49D3-A1A6-146C954086FF}" dt="2021-05-24T13:36:23.821" v="6714" actId="790"/>
          <ac:spMkLst>
            <pc:docMk/>
            <pc:sldMk cId="1532694306" sldId="5383"/>
            <ac:spMk id="141" creationId="{33CA6110-61C9-41DE-B63D-8734F487C02F}"/>
          </ac:spMkLst>
        </pc:spChg>
        <pc:spChg chg="mod">
          <ac:chgData name="Jean QUENTIN" userId="6962deb3-b639-4acd-8091-a0516ea2376b" providerId="ADAL" clId="{146BD8F6-FDDD-49D3-A1A6-146C954086FF}" dt="2021-05-24T13:36:23.821" v="6715" actId="790"/>
          <ac:spMkLst>
            <pc:docMk/>
            <pc:sldMk cId="1532694306" sldId="5383"/>
            <ac:spMk id="161" creationId="{00CD6261-B8FA-46F3-A5CD-7BFC090694B3}"/>
          </ac:spMkLst>
        </pc:spChg>
        <pc:spChg chg="mod">
          <ac:chgData name="Jean QUENTIN" userId="6962deb3-b639-4acd-8091-a0516ea2376b" providerId="ADAL" clId="{146BD8F6-FDDD-49D3-A1A6-146C954086FF}" dt="2021-05-24T13:36:23.752" v="6681" actId="790"/>
          <ac:spMkLst>
            <pc:docMk/>
            <pc:sldMk cId="1532694306" sldId="5383"/>
            <ac:spMk id="170" creationId="{38F09A21-A247-4B0D-AE97-0BC21A011E47}"/>
          </ac:spMkLst>
        </pc:spChg>
        <pc:spChg chg="mod">
          <ac:chgData name="Jean QUENTIN" userId="6962deb3-b639-4acd-8091-a0516ea2376b" providerId="ADAL" clId="{146BD8F6-FDDD-49D3-A1A6-146C954086FF}" dt="2021-05-24T13:36:23.752" v="6679" actId="790"/>
          <ac:spMkLst>
            <pc:docMk/>
            <pc:sldMk cId="1532694306" sldId="5383"/>
            <ac:spMk id="171" creationId="{8BE47C39-B15C-4923-B056-1A7A6551495D}"/>
          </ac:spMkLst>
        </pc:spChg>
        <pc:spChg chg="mod">
          <ac:chgData name="Jean QUENTIN" userId="6962deb3-b639-4acd-8091-a0516ea2376b" providerId="ADAL" clId="{146BD8F6-FDDD-49D3-A1A6-146C954086FF}" dt="2021-05-24T13:36:23.752" v="6680" actId="790"/>
          <ac:spMkLst>
            <pc:docMk/>
            <pc:sldMk cId="1532694306" sldId="5383"/>
            <ac:spMk id="172" creationId="{6A2F3D48-590B-4D37-8079-54631513DFDF}"/>
          </ac:spMkLst>
        </pc:spChg>
        <pc:spChg chg="mod">
          <ac:chgData name="Jean QUENTIN" userId="6962deb3-b639-4acd-8091-a0516ea2376b" providerId="ADAL" clId="{146BD8F6-FDDD-49D3-A1A6-146C954086FF}" dt="2021-05-24T13:36:23.737" v="6677" actId="790"/>
          <ac:spMkLst>
            <pc:docMk/>
            <pc:sldMk cId="1532694306" sldId="5383"/>
            <ac:spMk id="177" creationId="{34CCEF3F-ACBD-4ABD-987D-DF49649F0B7C}"/>
          </ac:spMkLst>
        </pc:spChg>
        <pc:spChg chg="mod">
          <ac:chgData name="Jean QUENTIN" userId="6962deb3-b639-4acd-8091-a0516ea2376b" providerId="ADAL" clId="{146BD8F6-FDDD-49D3-A1A6-146C954086FF}" dt="2021-05-24T13:36:23.821" v="6716" actId="790"/>
          <ac:spMkLst>
            <pc:docMk/>
            <pc:sldMk cId="1532694306" sldId="5383"/>
            <ac:spMk id="179" creationId="{01202EC1-E429-45FC-90CB-C87B652A12E4}"/>
          </ac:spMkLst>
        </pc:spChg>
        <pc:spChg chg="mod">
          <ac:chgData name="Jean QUENTIN" userId="6962deb3-b639-4acd-8091-a0516ea2376b" providerId="ADAL" clId="{146BD8F6-FDDD-49D3-A1A6-146C954086FF}" dt="2021-05-24T13:36:23.821" v="6717" actId="790"/>
          <ac:spMkLst>
            <pc:docMk/>
            <pc:sldMk cId="1532694306" sldId="5383"/>
            <ac:spMk id="194" creationId="{7E54B05B-A737-40F1-9705-E88F71474971}"/>
          </ac:spMkLst>
        </pc:spChg>
        <pc:spChg chg="mod">
          <ac:chgData name="Jean QUENTIN" userId="6962deb3-b639-4acd-8091-a0516ea2376b" providerId="ADAL" clId="{146BD8F6-FDDD-49D3-A1A6-146C954086FF}" dt="2021-05-24T13:36:23.752" v="6686" actId="790"/>
          <ac:spMkLst>
            <pc:docMk/>
            <pc:sldMk cId="1532694306" sldId="5383"/>
            <ac:spMk id="18444" creationId="{D43C63D6-03C7-4E8E-9526-4267F94ECB51}"/>
          </ac:spMkLst>
        </pc:spChg>
        <pc:spChg chg="mod">
          <ac:chgData name="Jean QUENTIN" userId="6962deb3-b639-4acd-8091-a0516ea2376b" providerId="ADAL" clId="{146BD8F6-FDDD-49D3-A1A6-146C954086FF}" dt="2021-05-24T13:36:23.768" v="6687" actId="790"/>
          <ac:spMkLst>
            <pc:docMk/>
            <pc:sldMk cId="1532694306" sldId="5383"/>
            <ac:spMk id="18445" creationId="{B7B07674-74C0-48FB-B676-D365C9FD1B36}"/>
          </ac:spMkLst>
        </pc:spChg>
      </pc:sldChg>
      <pc:sldChg chg="modSp mod">
        <pc:chgData name="Jean QUENTIN" userId="6962deb3-b639-4acd-8091-a0516ea2376b" providerId="ADAL" clId="{146BD8F6-FDDD-49D3-A1A6-146C954086FF}" dt="2021-05-24T13:36:17.374" v="3638" actId="790"/>
        <pc:sldMkLst>
          <pc:docMk/>
          <pc:sldMk cId="3502070692" sldId="5788"/>
        </pc:sldMkLst>
        <pc:spChg chg="mod">
          <ac:chgData name="Jean QUENTIN" userId="6962deb3-b639-4acd-8091-a0516ea2376b" providerId="ADAL" clId="{146BD8F6-FDDD-49D3-A1A6-146C954086FF}" dt="2021-05-24T13:36:17.358" v="3631" actId="790"/>
          <ac:spMkLst>
            <pc:docMk/>
            <pc:sldMk cId="3502070692" sldId="5788"/>
            <ac:spMk id="2" creationId="{21A480E3-4FEE-438F-96CF-9DA211B8727A}"/>
          </ac:spMkLst>
        </pc:spChg>
        <pc:spChg chg="mod">
          <ac:chgData name="Jean QUENTIN" userId="6962deb3-b639-4acd-8091-a0516ea2376b" providerId="ADAL" clId="{146BD8F6-FDDD-49D3-A1A6-146C954086FF}" dt="2021-05-24T13:36:17.374" v="3634" actId="790"/>
          <ac:spMkLst>
            <pc:docMk/>
            <pc:sldMk cId="3502070692" sldId="5788"/>
            <ac:spMk id="4" creationId="{321D2B50-493B-4F6B-99A7-5BC785388858}"/>
          </ac:spMkLst>
        </pc:spChg>
        <pc:spChg chg="mod">
          <ac:chgData name="Jean QUENTIN" userId="6962deb3-b639-4acd-8091-a0516ea2376b" providerId="ADAL" clId="{146BD8F6-FDDD-49D3-A1A6-146C954086FF}" dt="2021-05-24T13:36:17.336" v="3626" actId="790"/>
          <ac:spMkLst>
            <pc:docMk/>
            <pc:sldMk cId="3502070692" sldId="5788"/>
            <ac:spMk id="14" creationId="{A6A43F86-72DB-441A-9F0E-0CBA93B92167}"/>
          </ac:spMkLst>
        </pc:spChg>
        <pc:spChg chg="mod">
          <ac:chgData name="Jean QUENTIN" userId="6962deb3-b639-4acd-8091-a0516ea2376b" providerId="ADAL" clId="{146BD8F6-FDDD-49D3-A1A6-146C954086FF}" dt="2021-05-24T13:36:17.320" v="3624" actId="790"/>
          <ac:spMkLst>
            <pc:docMk/>
            <pc:sldMk cId="3502070692" sldId="5788"/>
            <ac:spMk id="17" creationId="{79542B58-C0DE-407D-A96B-E1BDB505A35B}"/>
          </ac:spMkLst>
        </pc:spChg>
        <pc:spChg chg="mod">
          <ac:chgData name="Jean QUENTIN" userId="6962deb3-b639-4acd-8091-a0516ea2376b" providerId="ADAL" clId="{146BD8F6-FDDD-49D3-A1A6-146C954086FF}" dt="2021-05-24T13:36:17.336" v="3627" actId="790"/>
          <ac:spMkLst>
            <pc:docMk/>
            <pc:sldMk cId="3502070692" sldId="5788"/>
            <ac:spMk id="26" creationId="{0614C3AD-C954-4D83-95AB-C29332F75FE7}"/>
          </ac:spMkLst>
        </pc:spChg>
        <pc:spChg chg="mod">
          <ac:chgData name="Jean QUENTIN" userId="6962deb3-b639-4acd-8091-a0516ea2376b" providerId="ADAL" clId="{146BD8F6-FDDD-49D3-A1A6-146C954086FF}" dt="2021-05-24T13:36:17.336" v="3628" actId="790"/>
          <ac:spMkLst>
            <pc:docMk/>
            <pc:sldMk cId="3502070692" sldId="5788"/>
            <ac:spMk id="29" creationId="{CDC05D8C-D901-4233-8F68-F7A7ABE06031}"/>
          </ac:spMkLst>
        </pc:spChg>
        <pc:spChg chg="mod">
          <ac:chgData name="Jean QUENTIN" userId="6962deb3-b639-4acd-8091-a0516ea2376b" providerId="ADAL" clId="{146BD8F6-FDDD-49D3-A1A6-146C954086FF}" dt="2021-05-24T13:36:17.358" v="3629" actId="790"/>
          <ac:spMkLst>
            <pc:docMk/>
            <pc:sldMk cId="3502070692" sldId="5788"/>
            <ac:spMk id="30" creationId="{ACBF13C7-2E3B-4833-93F2-486311645719}"/>
          </ac:spMkLst>
        </pc:spChg>
        <pc:spChg chg="mod">
          <ac:chgData name="Jean QUENTIN" userId="6962deb3-b639-4acd-8091-a0516ea2376b" providerId="ADAL" clId="{146BD8F6-FDDD-49D3-A1A6-146C954086FF}" dt="2021-05-24T13:36:17.374" v="3635" actId="790"/>
          <ac:spMkLst>
            <pc:docMk/>
            <pc:sldMk cId="3502070692" sldId="5788"/>
            <ac:spMk id="33" creationId="{F8B23E47-A27C-47F9-930A-5F43DE9D7F88}"/>
          </ac:spMkLst>
        </pc:spChg>
        <pc:spChg chg="mod">
          <ac:chgData name="Jean QUENTIN" userId="6962deb3-b639-4acd-8091-a0516ea2376b" providerId="ADAL" clId="{146BD8F6-FDDD-49D3-A1A6-146C954086FF}" dt="2021-05-24T13:36:17.374" v="3636" actId="790"/>
          <ac:spMkLst>
            <pc:docMk/>
            <pc:sldMk cId="3502070692" sldId="5788"/>
            <ac:spMk id="34" creationId="{796173B8-6D70-4210-A23B-B1AB01BC4E4E}"/>
          </ac:spMkLst>
        </pc:spChg>
        <pc:spChg chg="mod">
          <ac:chgData name="Jean QUENTIN" userId="6962deb3-b639-4acd-8091-a0516ea2376b" providerId="ADAL" clId="{146BD8F6-FDDD-49D3-A1A6-146C954086FF}" dt="2021-05-24T13:36:17.374" v="3637" actId="790"/>
          <ac:spMkLst>
            <pc:docMk/>
            <pc:sldMk cId="3502070692" sldId="5788"/>
            <ac:spMk id="35" creationId="{F343B5A1-986B-491A-8A48-77787AC209AC}"/>
          </ac:spMkLst>
        </pc:spChg>
        <pc:spChg chg="mod">
          <ac:chgData name="Jean QUENTIN" userId="6962deb3-b639-4acd-8091-a0516ea2376b" providerId="ADAL" clId="{146BD8F6-FDDD-49D3-A1A6-146C954086FF}" dt="2021-05-24T13:36:17.374" v="3638" actId="790"/>
          <ac:spMkLst>
            <pc:docMk/>
            <pc:sldMk cId="3502070692" sldId="5788"/>
            <ac:spMk id="36" creationId="{0B00B2A8-C72E-4524-AA66-141863EAC8B5}"/>
          </ac:spMkLst>
        </pc:spChg>
        <pc:spChg chg="mod">
          <ac:chgData name="Jean QUENTIN" userId="6962deb3-b639-4acd-8091-a0516ea2376b" providerId="ADAL" clId="{146BD8F6-FDDD-49D3-A1A6-146C954086FF}" dt="2021-05-24T13:36:17.358" v="3630" actId="790"/>
          <ac:spMkLst>
            <pc:docMk/>
            <pc:sldMk cId="3502070692" sldId="5788"/>
            <ac:spMk id="43" creationId="{C0AF0BD1-EE99-4A93-881A-71BE4821E6F1}"/>
          </ac:spMkLst>
        </pc:spChg>
        <pc:spChg chg="mod">
          <ac:chgData name="Jean QUENTIN" userId="6962deb3-b639-4acd-8091-a0516ea2376b" providerId="ADAL" clId="{146BD8F6-FDDD-49D3-A1A6-146C954086FF}" dt="2021-05-24T13:36:17.358" v="3632" actId="790"/>
          <ac:spMkLst>
            <pc:docMk/>
            <pc:sldMk cId="3502070692" sldId="5788"/>
            <ac:spMk id="56" creationId="{3F0B14AD-FFF0-49A6-A5B2-1148C84CB7AE}"/>
          </ac:spMkLst>
        </pc:spChg>
        <pc:spChg chg="mod">
          <ac:chgData name="Jean QUENTIN" userId="6962deb3-b639-4acd-8091-a0516ea2376b" providerId="ADAL" clId="{146BD8F6-FDDD-49D3-A1A6-146C954086FF}" dt="2021-05-24T13:36:17.374" v="3633" actId="790"/>
          <ac:spMkLst>
            <pc:docMk/>
            <pc:sldMk cId="3502070692" sldId="5788"/>
            <ac:spMk id="58" creationId="{4F1BE529-356D-4892-8B28-CD5041A4FD8D}"/>
          </ac:spMkLst>
        </pc:spChg>
        <pc:spChg chg="mod">
          <ac:chgData name="Jean QUENTIN" userId="6962deb3-b639-4acd-8091-a0516ea2376b" providerId="ADAL" clId="{146BD8F6-FDDD-49D3-A1A6-146C954086FF}" dt="2021-05-24T13:36:17.336" v="3625" actId="790"/>
          <ac:spMkLst>
            <pc:docMk/>
            <pc:sldMk cId="3502070692" sldId="5788"/>
            <ac:spMk id="66" creationId="{11AC2BF9-A8AA-4D9B-A774-9622B7E27451}"/>
          </ac:spMkLst>
        </pc:spChg>
      </pc:sldChg>
      <pc:sldChg chg="modSp mod">
        <pc:chgData name="Jean QUENTIN" userId="6962deb3-b639-4acd-8091-a0516ea2376b" providerId="ADAL" clId="{146BD8F6-FDDD-49D3-A1A6-146C954086FF}" dt="2021-05-24T13:36:23.035" v="6364" actId="790"/>
        <pc:sldMkLst>
          <pc:docMk/>
          <pc:sldMk cId="1385106391" sldId="6602"/>
        </pc:sldMkLst>
        <pc:spChg chg="mod">
          <ac:chgData name="Jean QUENTIN" userId="6962deb3-b639-4acd-8091-a0516ea2376b" providerId="ADAL" clId="{146BD8F6-FDDD-49D3-A1A6-146C954086FF}" dt="2021-05-24T13:36:22.972" v="6344" actId="790"/>
          <ac:spMkLst>
            <pc:docMk/>
            <pc:sldMk cId="1385106391" sldId="6602"/>
            <ac:spMk id="3" creationId="{D9767DBE-E4CA-4B39-8233-37B7AD3071AD}"/>
          </ac:spMkLst>
        </pc:spChg>
        <pc:spChg chg="mod">
          <ac:chgData name="Jean QUENTIN" userId="6962deb3-b639-4acd-8091-a0516ea2376b" providerId="ADAL" clId="{146BD8F6-FDDD-49D3-A1A6-146C954086FF}" dt="2021-05-24T13:36:23.019" v="6356" actId="790"/>
          <ac:spMkLst>
            <pc:docMk/>
            <pc:sldMk cId="1385106391" sldId="6602"/>
            <ac:spMk id="5" creationId="{97D58350-3EF9-4D57-82C8-9D63297400D0}"/>
          </ac:spMkLst>
        </pc:spChg>
        <pc:spChg chg="mod">
          <ac:chgData name="Jean QUENTIN" userId="6962deb3-b639-4acd-8091-a0516ea2376b" providerId="ADAL" clId="{146BD8F6-FDDD-49D3-A1A6-146C954086FF}" dt="2021-05-24T13:36:23.019" v="6351" actId="790"/>
          <ac:spMkLst>
            <pc:docMk/>
            <pc:sldMk cId="1385106391" sldId="6602"/>
            <ac:spMk id="12" creationId="{FD1FE920-C1DA-4497-AB6C-B77B29B6E998}"/>
          </ac:spMkLst>
        </pc:spChg>
        <pc:spChg chg="mod">
          <ac:chgData name="Jean QUENTIN" userId="6962deb3-b639-4acd-8091-a0516ea2376b" providerId="ADAL" clId="{146BD8F6-FDDD-49D3-A1A6-146C954086FF}" dt="2021-05-24T13:36:23.019" v="6349" actId="790"/>
          <ac:spMkLst>
            <pc:docMk/>
            <pc:sldMk cId="1385106391" sldId="6602"/>
            <ac:spMk id="15" creationId="{9688F0B3-2A9D-4236-9EE1-D71BBA8E0A25}"/>
          </ac:spMkLst>
        </pc:spChg>
        <pc:spChg chg="mod">
          <ac:chgData name="Jean QUENTIN" userId="6962deb3-b639-4acd-8091-a0516ea2376b" providerId="ADAL" clId="{146BD8F6-FDDD-49D3-A1A6-146C954086FF}" dt="2021-05-24T13:36:22.972" v="6343" actId="790"/>
          <ac:spMkLst>
            <pc:docMk/>
            <pc:sldMk cId="1385106391" sldId="6602"/>
            <ac:spMk id="19" creationId="{30BDE3E0-96F9-4FE1-9CA3-CF56B7BB82C8}"/>
          </ac:spMkLst>
        </pc:spChg>
        <pc:spChg chg="mod">
          <ac:chgData name="Jean QUENTIN" userId="6962deb3-b639-4acd-8091-a0516ea2376b" providerId="ADAL" clId="{146BD8F6-FDDD-49D3-A1A6-146C954086FF}" dt="2021-05-24T13:36:22.988" v="6345" actId="790"/>
          <ac:spMkLst>
            <pc:docMk/>
            <pc:sldMk cId="1385106391" sldId="6602"/>
            <ac:spMk id="21" creationId="{8257AC9F-6E1F-4FE5-BB13-23A55F6EB826}"/>
          </ac:spMkLst>
        </pc:spChg>
        <pc:spChg chg="mod">
          <ac:chgData name="Jean QUENTIN" userId="6962deb3-b639-4acd-8091-a0516ea2376b" providerId="ADAL" clId="{146BD8F6-FDDD-49D3-A1A6-146C954086FF}" dt="2021-05-24T13:36:23.019" v="6350" actId="790"/>
          <ac:spMkLst>
            <pc:docMk/>
            <pc:sldMk cId="1385106391" sldId="6602"/>
            <ac:spMk id="25" creationId="{FB26883F-6581-44E3-87AB-C64E72449453}"/>
          </ac:spMkLst>
        </pc:spChg>
        <pc:spChg chg="mod">
          <ac:chgData name="Jean QUENTIN" userId="6962deb3-b639-4acd-8091-a0516ea2376b" providerId="ADAL" clId="{146BD8F6-FDDD-49D3-A1A6-146C954086FF}" dt="2021-05-24T13:36:23.019" v="6352" actId="790"/>
          <ac:spMkLst>
            <pc:docMk/>
            <pc:sldMk cId="1385106391" sldId="6602"/>
            <ac:spMk id="26" creationId="{9BA96123-FF6E-4390-B626-0A70E8D1EFF1}"/>
          </ac:spMkLst>
        </pc:spChg>
        <pc:spChg chg="mod">
          <ac:chgData name="Jean QUENTIN" userId="6962deb3-b639-4acd-8091-a0516ea2376b" providerId="ADAL" clId="{146BD8F6-FDDD-49D3-A1A6-146C954086FF}" dt="2021-05-24T13:36:23.019" v="6357" actId="790"/>
          <ac:spMkLst>
            <pc:docMk/>
            <pc:sldMk cId="1385106391" sldId="6602"/>
            <ac:spMk id="27" creationId="{82F19599-1F5F-4312-A784-62F0C2515FF7}"/>
          </ac:spMkLst>
        </pc:spChg>
        <pc:spChg chg="mod">
          <ac:chgData name="Jean QUENTIN" userId="6962deb3-b639-4acd-8091-a0516ea2376b" providerId="ADAL" clId="{146BD8F6-FDDD-49D3-A1A6-146C954086FF}" dt="2021-05-24T13:36:23.035" v="6363" actId="790"/>
          <ac:spMkLst>
            <pc:docMk/>
            <pc:sldMk cId="1385106391" sldId="6602"/>
            <ac:spMk id="34" creationId="{593AD6C3-84DC-4EE0-880D-A55A33192114}"/>
          </ac:spMkLst>
        </pc:spChg>
        <pc:spChg chg="mod">
          <ac:chgData name="Jean QUENTIN" userId="6962deb3-b639-4acd-8091-a0516ea2376b" providerId="ADAL" clId="{146BD8F6-FDDD-49D3-A1A6-146C954086FF}" dt="2021-05-24T13:36:23.035" v="6364" actId="790"/>
          <ac:spMkLst>
            <pc:docMk/>
            <pc:sldMk cId="1385106391" sldId="6602"/>
            <ac:spMk id="35" creationId="{D051D8B5-8E3F-45CC-9A75-F8D04ECC01E0}"/>
          </ac:spMkLst>
        </pc:spChg>
        <pc:spChg chg="mod">
          <ac:chgData name="Jean QUENTIN" userId="6962deb3-b639-4acd-8091-a0516ea2376b" providerId="ADAL" clId="{146BD8F6-FDDD-49D3-A1A6-146C954086FF}" dt="2021-05-24T13:36:23.035" v="6358" actId="790"/>
          <ac:spMkLst>
            <pc:docMk/>
            <pc:sldMk cId="1385106391" sldId="6602"/>
            <ac:spMk id="51" creationId="{A4290E9C-7A91-43C0-B3C4-64F3EB2596F9}"/>
          </ac:spMkLst>
        </pc:spChg>
        <pc:spChg chg="mod">
          <ac:chgData name="Jean QUENTIN" userId="6962deb3-b639-4acd-8091-a0516ea2376b" providerId="ADAL" clId="{146BD8F6-FDDD-49D3-A1A6-146C954086FF}" dt="2021-05-24T13:36:23.035" v="6359" actId="790"/>
          <ac:spMkLst>
            <pc:docMk/>
            <pc:sldMk cId="1385106391" sldId="6602"/>
            <ac:spMk id="62" creationId="{46EA29FE-6EE2-426C-8560-3E5CD12771B6}"/>
          </ac:spMkLst>
        </pc:spChg>
        <pc:spChg chg="mod">
          <ac:chgData name="Jean QUENTIN" userId="6962deb3-b639-4acd-8091-a0516ea2376b" providerId="ADAL" clId="{146BD8F6-FDDD-49D3-A1A6-146C954086FF}" dt="2021-05-24T13:36:23.035" v="6360" actId="790"/>
          <ac:spMkLst>
            <pc:docMk/>
            <pc:sldMk cId="1385106391" sldId="6602"/>
            <ac:spMk id="63" creationId="{513FF140-30F0-4237-A2EB-7DE66980D5E7}"/>
          </ac:spMkLst>
        </pc:spChg>
        <pc:spChg chg="mod">
          <ac:chgData name="Jean QUENTIN" userId="6962deb3-b639-4acd-8091-a0516ea2376b" providerId="ADAL" clId="{146BD8F6-FDDD-49D3-A1A6-146C954086FF}" dt="2021-05-24T13:36:23.035" v="6361" actId="790"/>
          <ac:spMkLst>
            <pc:docMk/>
            <pc:sldMk cId="1385106391" sldId="6602"/>
            <ac:spMk id="64" creationId="{954DCB81-EFB1-4D9E-9CA1-DE7CC23CED6C}"/>
          </ac:spMkLst>
        </pc:spChg>
        <pc:spChg chg="mod">
          <ac:chgData name="Jean QUENTIN" userId="6962deb3-b639-4acd-8091-a0516ea2376b" providerId="ADAL" clId="{146BD8F6-FDDD-49D3-A1A6-146C954086FF}" dt="2021-05-24T13:36:23.035" v="6362" actId="790"/>
          <ac:spMkLst>
            <pc:docMk/>
            <pc:sldMk cId="1385106391" sldId="6602"/>
            <ac:spMk id="65" creationId="{4E482DB8-D735-45EF-85FF-E68F08F246FE}"/>
          </ac:spMkLst>
        </pc:spChg>
        <pc:spChg chg="mod">
          <ac:chgData name="Jean QUENTIN" userId="6962deb3-b639-4acd-8091-a0516ea2376b" providerId="ADAL" clId="{146BD8F6-FDDD-49D3-A1A6-146C954086FF}" dt="2021-05-24T13:36:23.004" v="6346" actId="790"/>
          <ac:spMkLst>
            <pc:docMk/>
            <pc:sldMk cId="1385106391" sldId="6602"/>
            <ac:spMk id="80" creationId="{5A3D08E6-BF53-4DAE-BD91-13CB1CC966A9}"/>
          </ac:spMkLst>
        </pc:spChg>
        <pc:spChg chg="mod">
          <ac:chgData name="Jean QUENTIN" userId="6962deb3-b639-4acd-8091-a0516ea2376b" providerId="ADAL" clId="{146BD8F6-FDDD-49D3-A1A6-146C954086FF}" dt="2021-05-24T13:36:23.019" v="6353" actId="790"/>
          <ac:spMkLst>
            <pc:docMk/>
            <pc:sldMk cId="1385106391" sldId="6602"/>
            <ac:spMk id="81" creationId="{47B1124F-A81C-4C02-B2B0-4B385CE446C3}"/>
          </ac:spMkLst>
        </pc:spChg>
        <pc:spChg chg="mod">
          <ac:chgData name="Jean QUENTIN" userId="6962deb3-b639-4acd-8091-a0516ea2376b" providerId="ADAL" clId="{146BD8F6-FDDD-49D3-A1A6-146C954086FF}" dt="2021-05-24T13:36:23.019" v="6354" actId="790"/>
          <ac:spMkLst>
            <pc:docMk/>
            <pc:sldMk cId="1385106391" sldId="6602"/>
            <ac:spMk id="82" creationId="{67A6441B-01A5-48CA-B3D3-9DC5596BA08F}"/>
          </ac:spMkLst>
        </pc:spChg>
        <pc:spChg chg="mod">
          <ac:chgData name="Jean QUENTIN" userId="6962deb3-b639-4acd-8091-a0516ea2376b" providerId="ADAL" clId="{146BD8F6-FDDD-49D3-A1A6-146C954086FF}" dt="2021-05-24T13:36:23.019" v="6355" actId="790"/>
          <ac:spMkLst>
            <pc:docMk/>
            <pc:sldMk cId="1385106391" sldId="6602"/>
            <ac:spMk id="83" creationId="{E5812560-E835-4A8F-AFA8-8ADAF3536E85}"/>
          </ac:spMkLst>
        </pc:spChg>
        <pc:spChg chg="mod">
          <ac:chgData name="Jean QUENTIN" userId="6962deb3-b639-4acd-8091-a0516ea2376b" providerId="ADAL" clId="{146BD8F6-FDDD-49D3-A1A6-146C954086FF}" dt="2021-05-24T13:36:23.004" v="6347" actId="790"/>
          <ac:spMkLst>
            <pc:docMk/>
            <pc:sldMk cId="1385106391" sldId="6602"/>
            <ac:spMk id="84" creationId="{11B48DDC-87FD-474C-BDDE-06CB62817A11}"/>
          </ac:spMkLst>
        </pc:spChg>
        <pc:spChg chg="mod">
          <ac:chgData name="Jean QUENTIN" userId="6962deb3-b639-4acd-8091-a0516ea2376b" providerId="ADAL" clId="{146BD8F6-FDDD-49D3-A1A6-146C954086FF}" dt="2021-05-24T13:36:23.019" v="6348" actId="790"/>
          <ac:spMkLst>
            <pc:docMk/>
            <pc:sldMk cId="1385106391" sldId="6602"/>
            <ac:spMk id="87" creationId="{35825688-3C89-48FE-953E-C78DCC1D23F8}"/>
          </ac:spMkLst>
        </pc:spChg>
      </pc:sldChg>
      <pc:sldChg chg="modSp mod">
        <pc:chgData name="Jean QUENTIN" userId="6962deb3-b639-4acd-8091-a0516ea2376b" providerId="ADAL" clId="{146BD8F6-FDDD-49D3-A1A6-146C954086FF}" dt="2021-05-24T13:36:22.788" v="6286" actId="790"/>
        <pc:sldMkLst>
          <pc:docMk/>
          <pc:sldMk cId="740701424" sldId="6959"/>
        </pc:sldMkLst>
        <pc:spChg chg="mod">
          <ac:chgData name="Jean QUENTIN" userId="6962deb3-b639-4acd-8091-a0516ea2376b" providerId="ADAL" clId="{146BD8F6-FDDD-49D3-A1A6-146C954086FF}" dt="2021-05-24T13:36:22.672" v="6260" actId="790"/>
          <ac:spMkLst>
            <pc:docMk/>
            <pc:sldMk cId="740701424" sldId="6959"/>
            <ac:spMk id="7" creationId="{F59BFDDC-63FF-4CDF-9FA9-5814668C648B}"/>
          </ac:spMkLst>
        </pc:spChg>
        <pc:spChg chg="mod">
          <ac:chgData name="Jean QUENTIN" userId="6962deb3-b639-4acd-8091-a0516ea2376b" providerId="ADAL" clId="{146BD8F6-FDDD-49D3-A1A6-146C954086FF}" dt="2021-05-24T13:36:22.688" v="6261" actId="790"/>
          <ac:spMkLst>
            <pc:docMk/>
            <pc:sldMk cId="740701424" sldId="6959"/>
            <ac:spMk id="9" creationId="{49F50324-8FE3-49D2-AC0C-64BB9668D89C}"/>
          </ac:spMkLst>
        </pc:spChg>
        <pc:spChg chg="mod">
          <ac:chgData name="Jean QUENTIN" userId="6962deb3-b639-4acd-8091-a0516ea2376b" providerId="ADAL" clId="{146BD8F6-FDDD-49D3-A1A6-146C954086FF}" dt="2021-05-24T13:36:22.688" v="6262" actId="790"/>
          <ac:spMkLst>
            <pc:docMk/>
            <pc:sldMk cId="740701424" sldId="6959"/>
            <ac:spMk id="17" creationId="{18E4EC05-2AF6-4906-B53C-3312003D909B}"/>
          </ac:spMkLst>
        </pc:spChg>
        <pc:spChg chg="mod">
          <ac:chgData name="Jean QUENTIN" userId="6962deb3-b639-4acd-8091-a0516ea2376b" providerId="ADAL" clId="{146BD8F6-FDDD-49D3-A1A6-146C954086FF}" dt="2021-05-24T13:36:22.688" v="6263" actId="790"/>
          <ac:spMkLst>
            <pc:docMk/>
            <pc:sldMk cId="740701424" sldId="6959"/>
            <ac:spMk id="20" creationId="{F4497158-D34C-4419-B3D0-F17C1F7D7709}"/>
          </ac:spMkLst>
        </pc:spChg>
        <pc:spChg chg="mod">
          <ac:chgData name="Jean QUENTIN" userId="6962deb3-b639-4acd-8091-a0516ea2376b" providerId="ADAL" clId="{146BD8F6-FDDD-49D3-A1A6-146C954086FF}" dt="2021-05-24T13:36:22.701" v="6264" actId="790"/>
          <ac:spMkLst>
            <pc:docMk/>
            <pc:sldMk cId="740701424" sldId="6959"/>
            <ac:spMk id="21" creationId="{C08B3B04-74BD-4387-A846-860B933AEE15}"/>
          </ac:spMkLst>
        </pc:spChg>
        <pc:spChg chg="mod">
          <ac:chgData name="Jean QUENTIN" userId="6962deb3-b639-4acd-8091-a0516ea2376b" providerId="ADAL" clId="{146BD8F6-FDDD-49D3-A1A6-146C954086FF}" dt="2021-05-24T13:36:22.704" v="6265" actId="790"/>
          <ac:spMkLst>
            <pc:docMk/>
            <pc:sldMk cId="740701424" sldId="6959"/>
            <ac:spMk id="26" creationId="{6CF5A286-62AE-4EAD-96EE-EA84E93052E2}"/>
          </ac:spMkLst>
        </pc:spChg>
        <pc:spChg chg="mod">
          <ac:chgData name="Jean QUENTIN" userId="6962deb3-b639-4acd-8091-a0516ea2376b" providerId="ADAL" clId="{146BD8F6-FDDD-49D3-A1A6-146C954086FF}" dt="2021-05-24T13:36:22.720" v="6266" actId="790"/>
          <ac:spMkLst>
            <pc:docMk/>
            <pc:sldMk cId="740701424" sldId="6959"/>
            <ac:spMk id="29" creationId="{424718BD-FEEC-42C2-BA94-3948DB62C7BC}"/>
          </ac:spMkLst>
        </pc:spChg>
        <pc:spChg chg="mod">
          <ac:chgData name="Jean QUENTIN" userId="6962deb3-b639-4acd-8091-a0516ea2376b" providerId="ADAL" clId="{146BD8F6-FDDD-49D3-A1A6-146C954086FF}" dt="2021-05-24T13:36:22.722" v="6267" actId="790"/>
          <ac:spMkLst>
            <pc:docMk/>
            <pc:sldMk cId="740701424" sldId="6959"/>
            <ac:spMk id="30" creationId="{F6963B07-4E20-4979-920A-F73372DEAA03}"/>
          </ac:spMkLst>
        </pc:spChg>
        <pc:spChg chg="mod">
          <ac:chgData name="Jean QUENTIN" userId="6962deb3-b639-4acd-8091-a0516ea2376b" providerId="ADAL" clId="{146BD8F6-FDDD-49D3-A1A6-146C954086FF}" dt="2021-05-24T13:36:22.727" v="6268" actId="790"/>
          <ac:spMkLst>
            <pc:docMk/>
            <pc:sldMk cId="740701424" sldId="6959"/>
            <ac:spMk id="32" creationId="{C13EEF92-6C77-4133-9353-B4FBF57D95B4}"/>
          </ac:spMkLst>
        </pc:spChg>
        <pc:spChg chg="mod">
          <ac:chgData name="Jean QUENTIN" userId="6962deb3-b639-4acd-8091-a0516ea2376b" providerId="ADAL" clId="{146BD8F6-FDDD-49D3-A1A6-146C954086FF}" dt="2021-05-24T13:36:22.730" v="6269" actId="790"/>
          <ac:spMkLst>
            <pc:docMk/>
            <pc:sldMk cId="740701424" sldId="6959"/>
            <ac:spMk id="33" creationId="{044C515C-AB92-4EFF-B0C5-B157114ACC30}"/>
          </ac:spMkLst>
        </pc:spChg>
        <pc:spChg chg="mod">
          <ac:chgData name="Jean QUENTIN" userId="6962deb3-b639-4acd-8091-a0516ea2376b" providerId="ADAL" clId="{146BD8F6-FDDD-49D3-A1A6-146C954086FF}" dt="2021-05-24T13:36:22.730" v="6270" actId="790"/>
          <ac:spMkLst>
            <pc:docMk/>
            <pc:sldMk cId="740701424" sldId="6959"/>
            <ac:spMk id="34" creationId="{95747EA9-B0FD-4326-B394-D81C6A6378A6}"/>
          </ac:spMkLst>
        </pc:spChg>
        <pc:spChg chg="mod">
          <ac:chgData name="Jean QUENTIN" userId="6962deb3-b639-4acd-8091-a0516ea2376b" providerId="ADAL" clId="{146BD8F6-FDDD-49D3-A1A6-146C954086FF}" dt="2021-05-24T13:36:22.745" v="6271" actId="790"/>
          <ac:spMkLst>
            <pc:docMk/>
            <pc:sldMk cId="740701424" sldId="6959"/>
            <ac:spMk id="36" creationId="{93A41892-9175-4003-9FFE-2BD4CC56AE96}"/>
          </ac:spMkLst>
        </pc:spChg>
        <pc:spChg chg="mod">
          <ac:chgData name="Jean QUENTIN" userId="6962deb3-b639-4acd-8091-a0516ea2376b" providerId="ADAL" clId="{146BD8F6-FDDD-49D3-A1A6-146C954086FF}" dt="2021-05-24T13:36:22.745" v="6272" actId="790"/>
          <ac:spMkLst>
            <pc:docMk/>
            <pc:sldMk cId="740701424" sldId="6959"/>
            <ac:spMk id="38" creationId="{DED28D0A-D139-4A93-95E1-E1BD7899482F}"/>
          </ac:spMkLst>
        </pc:spChg>
        <pc:spChg chg="mod">
          <ac:chgData name="Jean QUENTIN" userId="6962deb3-b639-4acd-8091-a0516ea2376b" providerId="ADAL" clId="{146BD8F6-FDDD-49D3-A1A6-146C954086FF}" dt="2021-05-24T13:36:22.788" v="6286" actId="790"/>
          <ac:spMkLst>
            <pc:docMk/>
            <pc:sldMk cId="740701424" sldId="6959"/>
            <ac:spMk id="40" creationId="{8B78A48D-A92E-4D2A-B97F-61F5808A1067}"/>
          </ac:spMkLst>
        </pc:spChg>
        <pc:spChg chg="mod">
          <ac:chgData name="Jean QUENTIN" userId="6962deb3-b639-4acd-8091-a0516ea2376b" providerId="ADAL" clId="{146BD8F6-FDDD-49D3-A1A6-146C954086FF}" dt="2021-05-24T13:36:22.761" v="6273" actId="790"/>
          <ac:spMkLst>
            <pc:docMk/>
            <pc:sldMk cId="740701424" sldId="6959"/>
            <ac:spMk id="42" creationId="{AA014D92-B2A7-4508-93BA-2C0134CC9621}"/>
          </ac:spMkLst>
        </pc:spChg>
        <pc:spChg chg="mod">
          <ac:chgData name="Jean QUENTIN" userId="6962deb3-b639-4acd-8091-a0516ea2376b" providerId="ADAL" clId="{146BD8F6-FDDD-49D3-A1A6-146C954086FF}" dt="2021-05-24T13:36:22.772" v="6275" actId="790"/>
          <ac:spMkLst>
            <pc:docMk/>
            <pc:sldMk cId="740701424" sldId="6959"/>
            <ac:spMk id="43" creationId="{F14F51AA-0542-42F6-8057-9788E1A01863}"/>
          </ac:spMkLst>
        </pc:spChg>
        <pc:spChg chg="mod">
          <ac:chgData name="Jean QUENTIN" userId="6962deb3-b639-4acd-8091-a0516ea2376b" providerId="ADAL" clId="{146BD8F6-FDDD-49D3-A1A6-146C954086FF}" dt="2021-05-24T13:36:22.772" v="6274" actId="790"/>
          <ac:spMkLst>
            <pc:docMk/>
            <pc:sldMk cId="740701424" sldId="6959"/>
            <ac:spMk id="46" creationId="{D0732B73-36A8-44AB-AD72-5BBDE284D010}"/>
          </ac:spMkLst>
        </pc:spChg>
        <pc:spChg chg="mod">
          <ac:chgData name="Jean QUENTIN" userId="6962deb3-b639-4acd-8091-a0516ea2376b" providerId="ADAL" clId="{146BD8F6-FDDD-49D3-A1A6-146C954086FF}" dt="2021-05-24T13:36:22.772" v="6276" actId="790"/>
          <ac:spMkLst>
            <pc:docMk/>
            <pc:sldMk cId="740701424" sldId="6959"/>
            <ac:spMk id="54" creationId="{38B7306C-C51D-4644-865B-6AE19B24B543}"/>
          </ac:spMkLst>
        </pc:spChg>
        <pc:spChg chg="mod">
          <ac:chgData name="Jean QUENTIN" userId="6962deb3-b639-4acd-8091-a0516ea2376b" providerId="ADAL" clId="{146BD8F6-FDDD-49D3-A1A6-146C954086FF}" dt="2021-05-24T13:36:22.772" v="6277" actId="790"/>
          <ac:spMkLst>
            <pc:docMk/>
            <pc:sldMk cId="740701424" sldId="6959"/>
            <ac:spMk id="55" creationId="{BB50F5C0-B75D-439C-9D59-F4F6D679A946}"/>
          </ac:spMkLst>
        </pc:spChg>
        <pc:spChg chg="mod">
          <ac:chgData name="Jean QUENTIN" userId="6962deb3-b639-4acd-8091-a0516ea2376b" providerId="ADAL" clId="{146BD8F6-FDDD-49D3-A1A6-146C954086FF}" dt="2021-05-24T13:36:22.772" v="6278" actId="790"/>
          <ac:spMkLst>
            <pc:docMk/>
            <pc:sldMk cId="740701424" sldId="6959"/>
            <ac:spMk id="57" creationId="{E0F76770-D097-4940-99DE-18677AF56B89}"/>
          </ac:spMkLst>
        </pc:spChg>
        <pc:spChg chg="mod">
          <ac:chgData name="Jean QUENTIN" userId="6962deb3-b639-4acd-8091-a0516ea2376b" providerId="ADAL" clId="{146BD8F6-FDDD-49D3-A1A6-146C954086FF}" dt="2021-05-24T13:36:22.772" v="6279" actId="790"/>
          <ac:spMkLst>
            <pc:docMk/>
            <pc:sldMk cId="740701424" sldId="6959"/>
            <ac:spMk id="58" creationId="{BA0537E7-3AFE-415D-B637-E3A80D9AB377}"/>
          </ac:spMkLst>
        </pc:spChg>
        <pc:spChg chg="mod">
          <ac:chgData name="Jean QUENTIN" userId="6962deb3-b639-4acd-8091-a0516ea2376b" providerId="ADAL" clId="{146BD8F6-FDDD-49D3-A1A6-146C954086FF}" dt="2021-05-24T13:36:22.788" v="6280" actId="790"/>
          <ac:spMkLst>
            <pc:docMk/>
            <pc:sldMk cId="740701424" sldId="6959"/>
            <ac:spMk id="64" creationId="{FB0966A3-7BFB-4B97-B5BA-687C10B91E0A}"/>
          </ac:spMkLst>
        </pc:spChg>
        <pc:spChg chg="mod">
          <ac:chgData name="Jean QUENTIN" userId="6962deb3-b639-4acd-8091-a0516ea2376b" providerId="ADAL" clId="{146BD8F6-FDDD-49D3-A1A6-146C954086FF}" dt="2021-05-24T13:36:22.788" v="6281" actId="790"/>
          <ac:spMkLst>
            <pc:docMk/>
            <pc:sldMk cId="740701424" sldId="6959"/>
            <ac:spMk id="65" creationId="{8DC4DF31-E991-4394-B4EA-1B6846F1017B}"/>
          </ac:spMkLst>
        </pc:spChg>
        <pc:spChg chg="mod">
          <ac:chgData name="Jean QUENTIN" userId="6962deb3-b639-4acd-8091-a0516ea2376b" providerId="ADAL" clId="{146BD8F6-FDDD-49D3-A1A6-146C954086FF}" dt="2021-05-24T13:36:22.788" v="6282" actId="790"/>
          <ac:spMkLst>
            <pc:docMk/>
            <pc:sldMk cId="740701424" sldId="6959"/>
            <ac:spMk id="66" creationId="{033643DA-06F1-467E-94E0-6AFEDAD56E10}"/>
          </ac:spMkLst>
        </pc:spChg>
        <pc:spChg chg="mod">
          <ac:chgData name="Jean QUENTIN" userId="6962deb3-b639-4acd-8091-a0516ea2376b" providerId="ADAL" clId="{146BD8F6-FDDD-49D3-A1A6-146C954086FF}" dt="2021-05-24T13:36:22.788" v="6283" actId="790"/>
          <ac:spMkLst>
            <pc:docMk/>
            <pc:sldMk cId="740701424" sldId="6959"/>
            <ac:spMk id="67" creationId="{E92DAD5B-79EE-48F6-9FEF-73E7D9DC575B}"/>
          </ac:spMkLst>
        </pc:spChg>
        <pc:spChg chg="mod">
          <ac:chgData name="Jean QUENTIN" userId="6962deb3-b639-4acd-8091-a0516ea2376b" providerId="ADAL" clId="{146BD8F6-FDDD-49D3-A1A6-146C954086FF}" dt="2021-05-24T13:36:22.788" v="6284" actId="790"/>
          <ac:spMkLst>
            <pc:docMk/>
            <pc:sldMk cId="740701424" sldId="6959"/>
            <ac:spMk id="68" creationId="{DEE456DD-FFB7-4348-806E-D22284A10DB1}"/>
          </ac:spMkLst>
        </pc:spChg>
        <pc:spChg chg="mod">
          <ac:chgData name="Jean QUENTIN" userId="6962deb3-b639-4acd-8091-a0516ea2376b" providerId="ADAL" clId="{146BD8F6-FDDD-49D3-A1A6-146C954086FF}" dt="2021-05-24T13:36:22.788" v="6285" actId="790"/>
          <ac:spMkLst>
            <pc:docMk/>
            <pc:sldMk cId="740701424" sldId="6959"/>
            <ac:spMk id="69" creationId="{67C22FF6-4756-4F0B-BC28-1A1B73AC89C8}"/>
          </ac:spMkLst>
        </pc:spChg>
      </pc:sldChg>
      <pc:sldChg chg="modSp mod">
        <pc:chgData name="Jean QUENTIN" userId="6962deb3-b639-4acd-8091-a0516ea2376b" providerId="ADAL" clId="{146BD8F6-FDDD-49D3-A1A6-146C954086FF}" dt="2021-05-24T13:36:19.680" v="4744" actId="790"/>
        <pc:sldMkLst>
          <pc:docMk/>
          <pc:sldMk cId="2808160924" sldId="6961"/>
        </pc:sldMkLst>
        <pc:spChg chg="mod">
          <ac:chgData name="Jean QUENTIN" userId="6962deb3-b639-4acd-8091-a0516ea2376b" providerId="ADAL" clId="{146BD8F6-FDDD-49D3-A1A6-146C954086FF}" dt="2021-05-24T13:36:19.642" v="4719" actId="790"/>
          <ac:spMkLst>
            <pc:docMk/>
            <pc:sldMk cId="2808160924" sldId="6961"/>
            <ac:spMk id="3" creationId="{EEAF1987-D318-4165-8539-CE9944DDE20A}"/>
          </ac:spMkLst>
        </pc:spChg>
        <pc:spChg chg="mod">
          <ac:chgData name="Jean QUENTIN" userId="6962deb3-b639-4acd-8091-a0516ea2376b" providerId="ADAL" clId="{146BD8F6-FDDD-49D3-A1A6-146C954086FF}" dt="2021-05-24T13:36:19.626" v="4718" actId="790"/>
          <ac:spMkLst>
            <pc:docMk/>
            <pc:sldMk cId="2808160924" sldId="6961"/>
            <ac:spMk id="7" creationId="{F59BFDDC-63FF-4CDF-9FA9-5814668C648B}"/>
          </ac:spMkLst>
        </pc:spChg>
        <pc:spChg chg="mod">
          <ac:chgData name="Jean QUENTIN" userId="6962deb3-b639-4acd-8091-a0516ea2376b" providerId="ADAL" clId="{146BD8F6-FDDD-49D3-A1A6-146C954086FF}" dt="2021-05-24T13:36:19.626" v="4717" actId="790"/>
          <ac:spMkLst>
            <pc:docMk/>
            <pc:sldMk cId="2808160924" sldId="6961"/>
            <ac:spMk id="22" creationId="{915D1B6E-612E-40C3-AAAD-AD7DCE1807AA}"/>
          </ac:spMkLst>
        </pc:spChg>
        <pc:spChg chg="mod">
          <ac:chgData name="Jean QUENTIN" userId="6962deb3-b639-4acd-8091-a0516ea2376b" providerId="ADAL" clId="{146BD8F6-FDDD-49D3-A1A6-146C954086FF}" dt="2021-05-24T13:36:19.642" v="4720" actId="790"/>
          <ac:spMkLst>
            <pc:docMk/>
            <pc:sldMk cId="2808160924" sldId="6961"/>
            <ac:spMk id="32" creationId="{F11BA718-5E1F-4D56-A080-7306BA71EC56}"/>
          </ac:spMkLst>
        </pc:spChg>
        <pc:spChg chg="mod">
          <ac:chgData name="Jean QUENTIN" userId="6962deb3-b639-4acd-8091-a0516ea2376b" providerId="ADAL" clId="{146BD8F6-FDDD-49D3-A1A6-146C954086FF}" dt="2021-05-24T13:36:19.642" v="4721" actId="790"/>
          <ac:spMkLst>
            <pc:docMk/>
            <pc:sldMk cId="2808160924" sldId="6961"/>
            <ac:spMk id="33" creationId="{5A86DC5E-7562-4215-BCC6-159FD163B5F0}"/>
          </ac:spMkLst>
        </pc:spChg>
        <pc:spChg chg="mod">
          <ac:chgData name="Jean QUENTIN" userId="6962deb3-b639-4acd-8091-a0516ea2376b" providerId="ADAL" clId="{146BD8F6-FDDD-49D3-A1A6-146C954086FF}" dt="2021-05-24T13:36:19.642" v="4722" actId="790"/>
          <ac:spMkLst>
            <pc:docMk/>
            <pc:sldMk cId="2808160924" sldId="6961"/>
            <ac:spMk id="34" creationId="{4541F8E9-9C1C-4528-A806-CF225757AA45}"/>
          </ac:spMkLst>
        </pc:spChg>
        <pc:spChg chg="mod">
          <ac:chgData name="Jean QUENTIN" userId="6962deb3-b639-4acd-8091-a0516ea2376b" providerId="ADAL" clId="{146BD8F6-FDDD-49D3-A1A6-146C954086FF}" dt="2021-05-24T13:36:19.642" v="4723" actId="790"/>
          <ac:spMkLst>
            <pc:docMk/>
            <pc:sldMk cId="2808160924" sldId="6961"/>
            <ac:spMk id="35" creationId="{A32B9102-CB94-48AF-94DC-EBC6A8AD50B2}"/>
          </ac:spMkLst>
        </pc:spChg>
        <pc:spChg chg="mod">
          <ac:chgData name="Jean QUENTIN" userId="6962deb3-b639-4acd-8091-a0516ea2376b" providerId="ADAL" clId="{146BD8F6-FDDD-49D3-A1A6-146C954086FF}" dt="2021-05-24T13:36:19.642" v="4724" actId="790"/>
          <ac:spMkLst>
            <pc:docMk/>
            <pc:sldMk cId="2808160924" sldId="6961"/>
            <ac:spMk id="36" creationId="{A3146F46-B983-45FC-984A-23D11CF92CF3}"/>
          </ac:spMkLst>
        </pc:spChg>
        <pc:spChg chg="mod">
          <ac:chgData name="Jean QUENTIN" userId="6962deb3-b639-4acd-8091-a0516ea2376b" providerId="ADAL" clId="{146BD8F6-FDDD-49D3-A1A6-146C954086FF}" dt="2021-05-24T13:36:19.642" v="4725" actId="790"/>
          <ac:spMkLst>
            <pc:docMk/>
            <pc:sldMk cId="2808160924" sldId="6961"/>
            <ac:spMk id="38" creationId="{60E82FDA-D8F3-4F51-A70E-C2463A95644C}"/>
          </ac:spMkLst>
        </pc:spChg>
        <pc:spChg chg="mod">
          <ac:chgData name="Jean QUENTIN" userId="6962deb3-b639-4acd-8091-a0516ea2376b" providerId="ADAL" clId="{146BD8F6-FDDD-49D3-A1A6-146C954086FF}" dt="2021-05-24T13:36:19.658" v="4726" actId="790"/>
          <ac:spMkLst>
            <pc:docMk/>
            <pc:sldMk cId="2808160924" sldId="6961"/>
            <ac:spMk id="39" creationId="{70CEDCAE-DD9E-4FEB-A03A-70A9B2A27108}"/>
          </ac:spMkLst>
        </pc:spChg>
        <pc:spChg chg="mod">
          <ac:chgData name="Jean QUENTIN" userId="6962deb3-b639-4acd-8091-a0516ea2376b" providerId="ADAL" clId="{146BD8F6-FDDD-49D3-A1A6-146C954086FF}" dt="2021-05-24T13:36:19.658" v="4727" actId="790"/>
          <ac:spMkLst>
            <pc:docMk/>
            <pc:sldMk cId="2808160924" sldId="6961"/>
            <ac:spMk id="42" creationId="{C007AC2B-F031-4544-B0C5-B373DA55A59B}"/>
          </ac:spMkLst>
        </pc:spChg>
        <pc:spChg chg="mod">
          <ac:chgData name="Jean QUENTIN" userId="6962deb3-b639-4acd-8091-a0516ea2376b" providerId="ADAL" clId="{146BD8F6-FDDD-49D3-A1A6-146C954086FF}" dt="2021-05-24T13:36:19.664" v="4728" actId="790"/>
          <ac:spMkLst>
            <pc:docMk/>
            <pc:sldMk cId="2808160924" sldId="6961"/>
            <ac:spMk id="43" creationId="{622D55B0-DD9C-4023-AB94-CE089994EC75}"/>
          </ac:spMkLst>
        </pc:spChg>
        <pc:spChg chg="mod">
          <ac:chgData name="Jean QUENTIN" userId="6962deb3-b639-4acd-8091-a0516ea2376b" providerId="ADAL" clId="{146BD8F6-FDDD-49D3-A1A6-146C954086FF}" dt="2021-05-24T13:36:19.664" v="4729" actId="790"/>
          <ac:spMkLst>
            <pc:docMk/>
            <pc:sldMk cId="2808160924" sldId="6961"/>
            <ac:spMk id="45" creationId="{5CE85AE7-FEE1-44CA-80B3-D0DC0F17E39C}"/>
          </ac:spMkLst>
        </pc:spChg>
        <pc:spChg chg="mod">
          <ac:chgData name="Jean QUENTIN" userId="6962deb3-b639-4acd-8091-a0516ea2376b" providerId="ADAL" clId="{146BD8F6-FDDD-49D3-A1A6-146C954086FF}" dt="2021-05-24T13:36:19.664" v="4730" actId="790"/>
          <ac:spMkLst>
            <pc:docMk/>
            <pc:sldMk cId="2808160924" sldId="6961"/>
            <ac:spMk id="53" creationId="{728C0255-F34F-4735-B701-0C6DB6A82697}"/>
          </ac:spMkLst>
        </pc:spChg>
        <pc:spChg chg="mod">
          <ac:chgData name="Jean QUENTIN" userId="6962deb3-b639-4acd-8091-a0516ea2376b" providerId="ADAL" clId="{146BD8F6-FDDD-49D3-A1A6-146C954086FF}" dt="2021-05-24T13:36:19.664" v="4731" actId="790"/>
          <ac:spMkLst>
            <pc:docMk/>
            <pc:sldMk cId="2808160924" sldId="6961"/>
            <ac:spMk id="54" creationId="{85B1C81A-231D-48C8-84AE-5EE295244265}"/>
          </ac:spMkLst>
        </pc:spChg>
        <pc:spChg chg="mod">
          <ac:chgData name="Jean QUENTIN" userId="6962deb3-b639-4acd-8091-a0516ea2376b" providerId="ADAL" clId="{146BD8F6-FDDD-49D3-A1A6-146C954086FF}" dt="2021-05-24T13:36:19.664" v="4732" actId="790"/>
          <ac:spMkLst>
            <pc:docMk/>
            <pc:sldMk cId="2808160924" sldId="6961"/>
            <ac:spMk id="55" creationId="{CB6B9718-F135-45F8-AEBA-74FA63710745}"/>
          </ac:spMkLst>
        </pc:spChg>
        <pc:spChg chg="mod">
          <ac:chgData name="Jean QUENTIN" userId="6962deb3-b639-4acd-8091-a0516ea2376b" providerId="ADAL" clId="{146BD8F6-FDDD-49D3-A1A6-146C954086FF}" dt="2021-05-24T13:36:19.664" v="4733" actId="790"/>
          <ac:spMkLst>
            <pc:docMk/>
            <pc:sldMk cId="2808160924" sldId="6961"/>
            <ac:spMk id="56" creationId="{50EEAD72-D1CC-4940-A4B5-C62651B81DA1}"/>
          </ac:spMkLst>
        </pc:spChg>
        <pc:spChg chg="mod">
          <ac:chgData name="Jean QUENTIN" userId="6962deb3-b639-4acd-8091-a0516ea2376b" providerId="ADAL" clId="{146BD8F6-FDDD-49D3-A1A6-146C954086FF}" dt="2021-05-24T13:36:19.664" v="4734" actId="790"/>
          <ac:spMkLst>
            <pc:docMk/>
            <pc:sldMk cId="2808160924" sldId="6961"/>
            <ac:spMk id="58" creationId="{A128AB00-1EA4-4DD2-B033-484B5E768D2A}"/>
          </ac:spMkLst>
        </pc:spChg>
        <pc:spChg chg="mod">
          <ac:chgData name="Jean QUENTIN" userId="6962deb3-b639-4acd-8091-a0516ea2376b" providerId="ADAL" clId="{146BD8F6-FDDD-49D3-A1A6-146C954086FF}" dt="2021-05-24T13:36:19.664" v="4735" actId="790"/>
          <ac:spMkLst>
            <pc:docMk/>
            <pc:sldMk cId="2808160924" sldId="6961"/>
            <ac:spMk id="59" creationId="{C527F4D9-5F1F-4346-8985-91CF05F3AB01}"/>
          </ac:spMkLst>
        </pc:spChg>
        <pc:spChg chg="mod">
          <ac:chgData name="Jean QUENTIN" userId="6962deb3-b639-4acd-8091-a0516ea2376b" providerId="ADAL" clId="{146BD8F6-FDDD-49D3-A1A6-146C954086FF}" dt="2021-05-24T13:36:19.664" v="4736" actId="790"/>
          <ac:spMkLst>
            <pc:docMk/>
            <pc:sldMk cId="2808160924" sldId="6961"/>
            <ac:spMk id="60" creationId="{4C6CAE5C-6B57-43FF-B10B-91C28E2AAA79}"/>
          </ac:spMkLst>
        </pc:spChg>
        <pc:spChg chg="mod">
          <ac:chgData name="Jean QUENTIN" userId="6962deb3-b639-4acd-8091-a0516ea2376b" providerId="ADAL" clId="{146BD8F6-FDDD-49D3-A1A6-146C954086FF}" dt="2021-05-24T13:36:19.664" v="4737" actId="790"/>
          <ac:spMkLst>
            <pc:docMk/>
            <pc:sldMk cId="2808160924" sldId="6961"/>
            <ac:spMk id="61" creationId="{A6E8C61E-CFC4-41EC-AC3C-0CE01414D934}"/>
          </ac:spMkLst>
        </pc:spChg>
        <pc:spChg chg="mod">
          <ac:chgData name="Jean QUENTIN" userId="6962deb3-b639-4acd-8091-a0516ea2376b" providerId="ADAL" clId="{146BD8F6-FDDD-49D3-A1A6-146C954086FF}" dt="2021-05-24T13:36:19.664" v="4738" actId="790"/>
          <ac:spMkLst>
            <pc:docMk/>
            <pc:sldMk cId="2808160924" sldId="6961"/>
            <ac:spMk id="62" creationId="{58DB2BE3-F0D9-432A-9451-97145834550C}"/>
          </ac:spMkLst>
        </pc:spChg>
        <pc:spChg chg="mod">
          <ac:chgData name="Jean QUENTIN" userId="6962deb3-b639-4acd-8091-a0516ea2376b" providerId="ADAL" clId="{146BD8F6-FDDD-49D3-A1A6-146C954086FF}" dt="2021-05-24T13:36:19.664" v="4739" actId="790"/>
          <ac:spMkLst>
            <pc:docMk/>
            <pc:sldMk cId="2808160924" sldId="6961"/>
            <ac:spMk id="63" creationId="{71290402-55BD-44D1-85A0-25FCF4D125A5}"/>
          </ac:spMkLst>
        </pc:spChg>
        <pc:spChg chg="mod">
          <ac:chgData name="Jean QUENTIN" userId="6962deb3-b639-4acd-8091-a0516ea2376b" providerId="ADAL" clId="{146BD8F6-FDDD-49D3-A1A6-146C954086FF}" dt="2021-05-24T13:36:19.664" v="4740" actId="790"/>
          <ac:spMkLst>
            <pc:docMk/>
            <pc:sldMk cId="2808160924" sldId="6961"/>
            <ac:spMk id="69" creationId="{C5FB799E-CDDD-4EC0-A3FD-67B30854E1F4}"/>
          </ac:spMkLst>
        </pc:spChg>
        <pc:spChg chg="mod">
          <ac:chgData name="Jean QUENTIN" userId="6962deb3-b639-4acd-8091-a0516ea2376b" providerId="ADAL" clId="{146BD8F6-FDDD-49D3-A1A6-146C954086FF}" dt="2021-05-24T13:36:19.680" v="4741" actId="790"/>
          <ac:spMkLst>
            <pc:docMk/>
            <pc:sldMk cId="2808160924" sldId="6961"/>
            <ac:spMk id="71" creationId="{8D12D69A-4821-400B-80C7-03B7B701F3B3}"/>
          </ac:spMkLst>
        </pc:spChg>
        <pc:spChg chg="mod">
          <ac:chgData name="Jean QUENTIN" userId="6962deb3-b639-4acd-8091-a0516ea2376b" providerId="ADAL" clId="{146BD8F6-FDDD-49D3-A1A6-146C954086FF}" dt="2021-05-24T13:36:19.680" v="4742" actId="790"/>
          <ac:spMkLst>
            <pc:docMk/>
            <pc:sldMk cId="2808160924" sldId="6961"/>
            <ac:spMk id="72" creationId="{4C7576A4-CD03-46B5-B5BA-A0EDD03204C7}"/>
          </ac:spMkLst>
        </pc:spChg>
        <pc:spChg chg="mod">
          <ac:chgData name="Jean QUENTIN" userId="6962deb3-b639-4acd-8091-a0516ea2376b" providerId="ADAL" clId="{146BD8F6-FDDD-49D3-A1A6-146C954086FF}" dt="2021-05-24T13:36:19.680" v="4743" actId="790"/>
          <ac:spMkLst>
            <pc:docMk/>
            <pc:sldMk cId="2808160924" sldId="6961"/>
            <ac:spMk id="73" creationId="{8C709857-1A4D-47D5-82BB-1AE431A7DE7A}"/>
          </ac:spMkLst>
        </pc:spChg>
        <pc:spChg chg="mod">
          <ac:chgData name="Jean QUENTIN" userId="6962deb3-b639-4acd-8091-a0516ea2376b" providerId="ADAL" clId="{146BD8F6-FDDD-49D3-A1A6-146C954086FF}" dt="2021-05-24T13:36:19.680" v="4744" actId="790"/>
          <ac:spMkLst>
            <pc:docMk/>
            <pc:sldMk cId="2808160924" sldId="6961"/>
            <ac:spMk id="75" creationId="{EBF05075-15DD-4716-858A-7420380CCB29}"/>
          </ac:spMkLst>
        </pc:spChg>
      </pc:sldChg>
      <pc:sldChg chg="modSp mod">
        <pc:chgData name="Jean QUENTIN" userId="6962deb3-b639-4acd-8091-a0516ea2376b" providerId="ADAL" clId="{146BD8F6-FDDD-49D3-A1A6-146C954086FF}" dt="2021-05-24T13:36:22.903" v="6322" actId="790"/>
        <pc:sldMkLst>
          <pc:docMk/>
          <pc:sldMk cId="349867828" sldId="6963"/>
        </pc:sldMkLst>
        <pc:spChg chg="mod">
          <ac:chgData name="Jean QUENTIN" userId="6962deb3-b639-4acd-8091-a0516ea2376b" providerId="ADAL" clId="{146BD8F6-FDDD-49D3-A1A6-146C954086FF}" dt="2021-05-24T13:36:22.872" v="6311" actId="790"/>
          <ac:spMkLst>
            <pc:docMk/>
            <pc:sldMk cId="349867828" sldId="6963"/>
            <ac:spMk id="4" creationId="{763A14D4-D844-47FD-A570-9AD585A69923}"/>
          </ac:spMkLst>
        </pc:spChg>
        <pc:spChg chg="mod">
          <ac:chgData name="Jean QUENTIN" userId="6962deb3-b639-4acd-8091-a0516ea2376b" providerId="ADAL" clId="{146BD8F6-FDDD-49D3-A1A6-146C954086FF}" dt="2021-05-24T13:36:22.872" v="6312" actId="790"/>
          <ac:spMkLst>
            <pc:docMk/>
            <pc:sldMk cId="349867828" sldId="6963"/>
            <ac:spMk id="20" creationId="{6AD671E4-82A7-4B89-9CD5-33EAC26CC7FD}"/>
          </ac:spMkLst>
        </pc:spChg>
        <pc:spChg chg="mod">
          <ac:chgData name="Jean QUENTIN" userId="6962deb3-b639-4acd-8091-a0516ea2376b" providerId="ADAL" clId="{146BD8F6-FDDD-49D3-A1A6-146C954086FF}" dt="2021-05-24T13:36:22.872" v="6313" actId="790"/>
          <ac:spMkLst>
            <pc:docMk/>
            <pc:sldMk cId="349867828" sldId="6963"/>
            <ac:spMk id="21" creationId="{D344FCB0-B0A7-4A61-93F9-799B17589073}"/>
          </ac:spMkLst>
        </pc:spChg>
        <pc:spChg chg="mod">
          <ac:chgData name="Jean QUENTIN" userId="6962deb3-b639-4acd-8091-a0516ea2376b" providerId="ADAL" clId="{146BD8F6-FDDD-49D3-A1A6-146C954086FF}" dt="2021-05-24T13:36:22.872" v="6314" actId="790"/>
          <ac:spMkLst>
            <pc:docMk/>
            <pc:sldMk cId="349867828" sldId="6963"/>
            <ac:spMk id="22" creationId="{5E9577AE-DB16-4914-90F2-9FAA91CFE570}"/>
          </ac:spMkLst>
        </pc:spChg>
        <pc:spChg chg="mod">
          <ac:chgData name="Jean QUENTIN" userId="6962deb3-b639-4acd-8091-a0516ea2376b" providerId="ADAL" clId="{146BD8F6-FDDD-49D3-A1A6-146C954086FF}" dt="2021-05-24T13:36:22.903" v="6322" actId="790"/>
          <ac:spMkLst>
            <pc:docMk/>
            <pc:sldMk cId="349867828" sldId="6963"/>
            <ac:spMk id="23" creationId="{066B5D2A-5276-4BC6-A3EC-69EE200BC885}"/>
          </ac:spMkLst>
        </pc:spChg>
        <pc:spChg chg="mod">
          <ac:chgData name="Jean QUENTIN" userId="6962deb3-b639-4acd-8091-a0516ea2376b" providerId="ADAL" clId="{146BD8F6-FDDD-49D3-A1A6-146C954086FF}" dt="2021-05-24T13:36:22.888" v="6315" actId="790"/>
          <ac:spMkLst>
            <pc:docMk/>
            <pc:sldMk cId="349867828" sldId="6963"/>
            <ac:spMk id="24" creationId="{F90D579F-FB1B-4D04-9FC5-1148A3F7A095}"/>
          </ac:spMkLst>
        </pc:spChg>
        <pc:spChg chg="mod">
          <ac:chgData name="Jean QUENTIN" userId="6962deb3-b639-4acd-8091-a0516ea2376b" providerId="ADAL" clId="{146BD8F6-FDDD-49D3-A1A6-146C954086FF}" dt="2021-05-24T13:36:22.888" v="6316" actId="790"/>
          <ac:spMkLst>
            <pc:docMk/>
            <pc:sldMk cId="349867828" sldId="6963"/>
            <ac:spMk id="26" creationId="{E5E425F3-2F58-415E-8017-CBAD3A69233C}"/>
          </ac:spMkLst>
        </pc:spChg>
        <pc:spChg chg="mod">
          <ac:chgData name="Jean QUENTIN" userId="6962deb3-b639-4acd-8091-a0516ea2376b" providerId="ADAL" clId="{146BD8F6-FDDD-49D3-A1A6-146C954086FF}" dt="2021-05-24T13:36:22.888" v="6317" actId="790"/>
          <ac:spMkLst>
            <pc:docMk/>
            <pc:sldMk cId="349867828" sldId="6963"/>
            <ac:spMk id="27" creationId="{9F37F5D5-109B-4515-82C3-192D15A77C28}"/>
          </ac:spMkLst>
        </pc:spChg>
        <pc:spChg chg="mod">
          <ac:chgData name="Jean QUENTIN" userId="6962deb3-b639-4acd-8091-a0516ea2376b" providerId="ADAL" clId="{146BD8F6-FDDD-49D3-A1A6-146C954086FF}" dt="2021-05-24T13:36:22.888" v="6318" actId="790"/>
          <ac:spMkLst>
            <pc:docMk/>
            <pc:sldMk cId="349867828" sldId="6963"/>
            <ac:spMk id="41" creationId="{0185D7BF-93A6-4C06-8F3A-344EF6C48954}"/>
          </ac:spMkLst>
        </pc:spChg>
        <pc:spChg chg="mod">
          <ac:chgData name="Jean QUENTIN" userId="6962deb3-b639-4acd-8091-a0516ea2376b" providerId="ADAL" clId="{146BD8F6-FDDD-49D3-A1A6-146C954086FF}" dt="2021-05-24T13:36:22.888" v="6319" actId="790"/>
          <ac:spMkLst>
            <pc:docMk/>
            <pc:sldMk cId="349867828" sldId="6963"/>
            <ac:spMk id="42" creationId="{45D30956-C9FB-4BB7-8138-041C021A4838}"/>
          </ac:spMkLst>
        </pc:spChg>
        <pc:spChg chg="mod">
          <ac:chgData name="Jean QUENTIN" userId="6962deb3-b639-4acd-8091-a0516ea2376b" providerId="ADAL" clId="{146BD8F6-FDDD-49D3-A1A6-146C954086FF}" dt="2021-05-24T13:36:22.903" v="6320" actId="790"/>
          <ac:spMkLst>
            <pc:docMk/>
            <pc:sldMk cId="349867828" sldId="6963"/>
            <ac:spMk id="43" creationId="{A7C48792-45A1-4FE7-9B61-D84A45CC0EC8}"/>
          </ac:spMkLst>
        </pc:spChg>
        <pc:spChg chg="mod">
          <ac:chgData name="Jean QUENTIN" userId="6962deb3-b639-4acd-8091-a0516ea2376b" providerId="ADAL" clId="{146BD8F6-FDDD-49D3-A1A6-146C954086FF}" dt="2021-05-24T13:36:22.903" v="6321" actId="790"/>
          <ac:spMkLst>
            <pc:docMk/>
            <pc:sldMk cId="349867828" sldId="6963"/>
            <ac:spMk id="44" creationId="{34EF9FB2-EF9F-4B6A-8D0F-4B7946BDFDA3}"/>
          </ac:spMkLst>
        </pc:spChg>
      </pc:sldChg>
      <pc:sldChg chg="modSp mod">
        <pc:chgData name="Jean QUENTIN" userId="6962deb3-b639-4acd-8091-a0516ea2376b" providerId="ADAL" clId="{146BD8F6-FDDD-49D3-A1A6-146C954086FF}" dt="2021-05-24T13:36:23.088" v="6391" actId="790"/>
        <pc:sldMkLst>
          <pc:docMk/>
          <pc:sldMk cId="1433535088" sldId="7074"/>
        </pc:sldMkLst>
        <pc:spChg chg="mod">
          <ac:chgData name="Jean QUENTIN" userId="6962deb3-b639-4acd-8091-a0516ea2376b" providerId="ADAL" clId="{146BD8F6-FDDD-49D3-A1A6-146C954086FF}" dt="2021-05-24T13:36:23.051" v="6369" actId="790"/>
          <ac:spMkLst>
            <pc:docMk/>
            <pc:sldMk cId="1433535088" sldId="7074"/>
            <ac:spMk id="2" creationId="{E11FB28C-EA62-443C-A15A-AAB599A17838}"/>
          </ac:spMkLst>
        </pc:spChg>
        <pc:spChg chg="mod">
          <ac:chgData name="Jean QUENTIN" userId="6962deb3-b639-4acd-8091-a0516ea2376b" providerId="ADAL" clId="{146BD8F6-FDDD-49D3-A1A6-146C954086FF}" dt="2021-05-24T13:36:23.051" v="6373" actId="790"/>
          <ac:spMkLst>
            <pc:docMk/>
            <pc:sldMk cId="1433535088" sldId="7074"/>
            <ac:spMk id="36" creationId="{5B304F32-669D-4617-B813-9668ACAB3A66}"/>
          </ac:spMkLst>
        </pc:spChg>
        <pc:spChg chg="mod">
          <ac:chgData name="Jean QUENTIN" userId="6962deb3-b639-4acd-8091-a0516ea2376b" providerId="ADAL" clId="{146BD8F6-FDDD-49D3-A1A6-146C954086FF}" dt="2021-05-24T13:36:23.051" v="6371" actId="790"/>
          <ac:spMkLst>
            <pc:docMk/>
            <pc:sldMk cId="1433535088" sldId="7074"/>
            <ac:spMk id="38" creationId="{A4C2A37B-6FD6-4FBD-A267-5996CA794A1D}"/>
          </ac:spMkLst>
        </pc:spChg>
        <pc:spChg chg="mod">
          <ac:chgData name="Jean QUENTIN" userId="6962deb3-b639-4acd-8091-a0516ea2376b" providerId="ADAL" clId="{146BD8F6-FDDD-49D3-A1A6-146C954086FF}" dt="2021-05-24T13:36:23.051" v="6372" actId="790"/>
          <ac:spMkLst>
            <pc:docMk/>
            <pc:sldMk cId="1433535088" sldId="7074"/>
            <ac:spMk id="39" creationId="{65A0772D-149F-4A1C-9ED0-1327338B209B}"/>
          </ac:spMkLst>
        </pc:spChg>
        <pc:spChg chg="mod">
          <ac:chgData name="Jean QUENTIN" userId="6962deb3-b639-4acd-8091-a0516ea2376b" providerId="ADAL" clId="{146BD8F6-FDDD-49D3-A1A6-146C954086FF}" dt="2021-05-24T13:36:23.051" v="6374" actId="790"/>
          <ac:spMkLst>
            <pc:docMk/>
            <pc:sldMk cId="1433535088" sldId="7074"/>
            <ac:spMk id="40" creationId="{1E34CE50-B42C-493A-8A65-2E1C630B1461}"/>
          </ac:spMkLst>
        </pc:spChg>
        <pc:spChg chg="mod">
          <ac:chgData name="Jean QUENTIN" userId="6962deb3-b639-4acd-8091-a0516ea2376b" providerId="ADAL" clId="{146BD8F6-FDDD-49D3-A1A6-146C954086FF}" dt="2021-05-24T13:36:23.066" v="6375" actId="790"/>
          <ac:spMkLst>
            <pc:docMk/>
            <pc:sldMk cId="1433535088" sldId="7074"/>
            <ac:spMk id="42" creationId="{ABE94C2F-281A-4A0F-BB46-93E553E8DAB5}"/>
          </ac:spMkLst>
        </pc:spChg>
        <pc:spChg chg="mod">
          <ac:chgData name="Jean QUENTIN" userId="6962deb3-b639-4acd-8091-a0516ea2376b" providerId="ADAL" clId="{146BD8F6-FDDD-49D3-A1A6-146C954086FF}" dt="2021-05-24T13:36:23.066" v="6376" actId="790"/>
          <ac:spMkLst>
            <pc:docMk/>
            <pc:sldMk cId="1433535088" sldId="7074"/>
            <ac:spMk id="43" creationId="{464160BF-0C2D-477F-8E0A-B5374A5CF8CC}"/>
          </ac:spMkLst>
        </pc:spChg>
        <pc:spChg chg="mod">
          <ac:chgData name="Jean QUENTIN" userId="6962deb3-b639-4acd-8091-a0516ea2376b" providerId="ADAL" clId="{146BD8F6-FDDD-49D3-A1A6-146C954086FF}" dt="2021-05-24T13:36:23.066" v="6377" actId="790"/>
          <ac:spMkLst>
            <pc:docMk/>
            <pc:sldMk cId="1433535088" sldId="7074"/>
            <ac:spMk id="44" creationId="{CEC0C3CE-C72B-4E26-AD8C-6285EB99FEA8}"/>
          </ac:spMkLst>
        </pc:spChg>
        <pc:spChg chg="mod">
          <ac:chgData name="Jean QUENTIN" userId="6962deb3-b639-4acd-8091-a0516ea2376b" providerId="ADAL" clId="{146BD8F6-FDDD-49D3-A1A6-146C954086FF}" dt="2021-05-24T13:36:23.073" v="6378" actId="790"/>
          <ac:spMkLst>
            <pc:docMk/>
            <pc:sldMk cId="1433535088" sldId="7074"/>
            <ac:spMk id="47" creationId="{59BF761D-D244-4043-BC24-197C0EF04199}"/>
          </ac:spMkLst>
        </pc:spChg>
        <pc:spChg chg="mod">
          <ac:chgData name="Jean QUENTIN" userId="6962deb3-b639-4acd-8091-a0516ea2376b" providerId="ADAL" clId="{146BD8F6-FDDD-49D3-A1A6-146C954086FF}" dt="2021-05-24T13:36:23.073" v="6379" actId="790"/>
          <ac:spMkLst>
            <pc:docMk/>
            <pc:sldMk cId="1433535088" sldId="7074"/>
            <ac:spMk id="49" creationId="{DB2B13AE-E8EA-4A7B-AF05-458DA199A58C}"/>
          </ac:spMkLst>
        </pc:spChg>
        <pc:spChg chg="mod">
          <ac:chgData name="Jean QUENTIN" userId="6962deb3-b639-4acd-8091-a0516ea2376b" providerId="ADAL" clId="{146BD8F6-FDDD-49D3-A1A6-146C954086FF}" dt="2021-05-24T13:36:23.051" v="6370" actId="790"/>
          <ac:spMkLst>
            <pc:docMk/>
            <pc:sldMk cId="1433535088" sldId="7074"/>
            <ac:spMk id="51" creationId="{C08C3576-2044-44D6-9EDB-D62814A23048}"/>
          </ac:spMkLst>
        </pc:spChg>
        <pc:spChg chg="mod">
          <ac:chgData name="Jean QUENTIN" userId="6962deb3-b639-4acd-8091-a0516ea2376b" providerId="ADAL" clId="{146BD8F6-FDDD-49D3-A1A6-146C954086FF}" dt="2021-05-24T13:36:23.073" v="6383" actId="790"/>
          <ac:spMkLst>
            <pc:docMk/>
            <pc:sldMk cId="1433535088" sldId="7074"/>
            <ac:spMk id="52" creationId="{E9C33DA4-9F3F-4FCD-985A-64AB255691AF}"/>
          </ac:spMkLst>
        </pc:spChg>
        <pc:spChg chg="mod">
          <ac:chgData name="Jean QUENTIN" userId="6962deb3-b639-4acd-8091-a0516ea2376b" providerId="ADAL" clId="{146BD8F6-FDDD-49D3-A1A6-146C954086FF}" dt="2021-05-24T13:36:23.073" v="6384" actId="790"/>
          <ac:spMkLst>
            <pc:docMk/>
            <pc:sldMk cId="1433535088" sldId="7074"/>
            <ac:spMk id="53" creationId="{B53C2CF1-47C4-432E-A5C7-C61820E7498E}"/>
          </ac:spMkLst>
        </pc:spChg>
        <pc:spChg chg="mod">
          <ac:chgData name="Jean QUENTIN" userId="6962deb3-b639-4acd-8091-a0516ea2376b" providerId="ADAL" clId="{146BD8F6-FDDD-49D3-A1A6-146C954086FF}" dt="2021-05-24T13:36:23.073" v="6380" actId="790"/>
          <ac:spMkLst>
            <pc:docMk/>
            <pc:sldMk cId="1433535088" sldId="7074"/>
            <ac:spMk id="54" creationId="{FBE633D4-8A56-4858-8275-A20FDC1811AC}"/>
          </ac:spMkLst>
        </pc:spChg>
        <pc:spChg chg="mod">
          <ac:chgData name="Jean QUENTIN" userId="6962deb3-b639-4acd-8091-a0516ea2376b" providerId="ADAL" clId="{146BD8F6-FDDD-49D3-A1A6-146C954086FF}" dt="2021-05-24T13:36:23.073" v="6385" actId="790"/>
          <ac:spMkLst>
            <pc:docMk/>
            <pc:sldMk cId="1433535088" sldId="7074"/>
            <ac:spMk id="55" creationId="{E11E68D3-D439-41C8-BEFA-B3727306481D}"/>
          </ac:spMkLst>
        </pc:spChg>
        <pc:spChg chg="mod">
          <ac:chgData name="Jean QUENTIN" userId="6962deb3-b639-4acd-8091-a0516ea2376b" providerId="ADAL" clId="{146BD8F6-FDDD-49D3-A1A6-146C954086FF}" dt="2021-05-24T13:36:23.088" v="6386" actId="790"/>
          <ac:spMkLst>
            <pc:docMk/>
            <pc:sldMk cId="1433535088" sldId="7074"/>
            <ac:spMk id="56" creationId="{D3D9AD89-A2E3-498F-9D56-70CB3C3126A9}"/>
          </ac:spMkLst>
        </pc:spChg>
        <pc:spChg chg="mod">
          <ac:chgData name="Jean QUENTIN" userId="6962deb3-b639-4acd-8091-a0516ea2376b" providerId="ADAL" clId="{146BD8F6-FDDD-49D3-A1A6-146C954086FF}" dt="2021-05-24T13:36:23.088" v="6387" actId="790"/>
          <ac:spMkLst>
            <pc:docMk/>
            <pc:sldMk cId="1433535088" sldId="7074"/>
            <ac:spMk id="57" creationId="{8CB413C3-5BE4-4569-A2AC-CE9822ED10E7}"/>
          </ac:spMkLst>
        </pc:spChg>
        <pc:spChg chg="mod">
          <ac:chgData name="Jean QUENTIN" userId="6962deb3-b639-4acd-8091-a0516ea2376b" providerId="ADAL" clId="{146BD8F6-FDDD-49D3-A1A6-146C954086FF}" dt="2021-05-24T13:36:23.088" v="6388" actId="790"/>
          <ac:spMkLst>
            <pc:docMk/>
            <pc:sldMk cId="1433535088" sldId="7074"/>
            <ac:spMk id="58" creationId="{3065D908-1B57-4BF6-BBE5-E99535F75686}"/>
          </ac:spMkLst>
        </pc:spChg>
        <pc:spChg chg="mod">
          <ac:chgData name="Jean QUENTIN" userId="6962deb3-b639-4acd-8091-a0516ea2376b" providerId="ADAL" clId="{146BD8F6-FDDD-49D3-A1A6-146C954086FF}" dt="2021-05-24T13:36:23.073" v="6381" actId="790"/>
          <ac:spMkLst>
            <pc:docMk/>
            <pc:sldMk cId="1433535088" sldId="7074"/>
            <ac:spMk id="59" creationId="{A4BA87CA-33FF-4853-BAE7-4B75AA2EFEDC}"/>
          </ac:spMkLst>
        </pc:spChg>
        <pc:spChg chg="mod">
          <ac:chgData name="Jean QUENTIN" userId="6962deb3-b639-4acd-8091-a0516ea2376b" providerId="ADAL" clId="{146BD8F6-FDDD-49D3-A1A6-146C954086FF}" dt="2021-05-24T13:36:23.088" v="6391" actId="790"/>
          <ac:spMkLst>
            <pc:docMk/>
            <pc:sldMk cId="1433535088" sldId="7074"/>
            <ac:spMk id="64" creationId="{4BBEE2FE-3E58-45FF-AE6D-CAF83420733F}"/>
          </ac:spMkLst>
        </pc:spChg>
        <pc:spChg chg="mod">
          <ac:chgData name="Jean QUENTIN" userId="6962deb3-b639-4acd-8091-a0516ea2376b" providerId="ADAL" clId="{146BD8F6-FDDD-49D3-A1A6-146C954086FF}" dt="2021-05-24T13:36:23.073" v="6382" actId="790"/>
          <ac:spMkLst>
            <pc:docMk/>
            <pc:sldMk cId="1433535088" sldId="7074"/>
            <ac:spMk id="65" creationId="{B8594696-07D0-4360-88BD-9887E2084D42}"/>
          </ac:spMkLst>
        </pc:spChg>
        <pc:spChg chg="mod">
          <ac:chgData name="Jean QUENTIN" userId="6962deb3-b639-4acd-8091-a0516ea2376b" providerId="ADAL" clId="{146BD8F6-FDDD-49D3-A1A6-146C954086FF}" dt="2021-05-24T13:36:23.051" v="6368" actId="790"/>
          <ac:spMkLst>
            <pc:docMk/>
            <pc:sldMk cId="1433535088" sldId="7074"/>
            <ac:spMk id="66" creationId="{AC81A5B2-A052-402B-A5B3-8F7A8F78A79F}"/>
          </ac:spMkLst>
        </pc:spChg>
        <pc:spChg chg="mod">
          <ac:chgData name="Jean QUENTIN" userId="6962deb3-b639-4acd-8091-a0516ea2376b" providerId="ADAL" clId="{146BD8F6-FDDD-49D3-A1A6-146C954086FF}" dt="2021-05-24T13:36:23.035" v="6367" actId="790"/>
          <ac:spMkLst>
            <pc:docMk/>
            <pc:sldMk cId="1433535088" sldId="7074"/>
            <ac:spMk id="67" creationId="{8503A05F-0393-49C9-8F68-3786AF21832C}"/>
          </ac:spMkLst>
        </pc:spChg>
        <pc:spChg chg="mod">
          <ac:chgData name="Jean QUENTIN" userId="6962deb3-b639-4acd-8091-a0516ea2376b" providerId="ADAL" clId="{146BD8F6-FDDD-49D3-A1A6-146C954086FF}" dt="2021-05-24T13:36:23.035" v="6366" actId="790"/>
          <ac:spMkLst>
            <pc:docMk/>
            <pc:sldMk cId="1433535088" sldId="7074"/>
            <ac:spMk id="68" creationId="{31E81307-722E-4E83-96CF-10C7A30E0BC7}"/>
          </ac:spMkLst>
        </pc:spChg>
        <pc:spChg chg="mod">
          <ac:chgData name="Jean QUENTIN" userId="6962deb3-b639-4acd-8091-a0516ea2376b" providerId="ADAL" clId="{146BD8F6-FDDD-49D3-A1A6-146C954086FF}" dt="2021-05-24T13:36:23.035" v="6365" actId="790"/>
          <ac:spMkLst>
            <pc:docMk/>
            <pc:sldMk cId="1433535088" sldId="7074"/>
            <ac:spMk id="71" creationId="{4A4E2D76-7F9A-42A4-8FBD-FF1B01D6FB98}"/>
          </ac:spMkLst>
        </pc:spChg>
        <pc:spChg chg="mod">
          <ac:chgData name="Jean QUENTIN" userId="6962deb3-b639-4acd-8091-a0516ea2376b" providerId="ADAL" clId="{146BD8F6-FDDD-49D3-A1A6-146C954086FF}" dt="2021-05-24T13:36:23.088" v="6389" actId="790"/>
          <ac:spMkLst>
            <pc:docMk/>
            <pc:sldMk cId="1433535088" sldId="7074"/>
            <ac:spMk id="75" creationId="{E8618A5C-2636-43BE-9786-E417E2606585}"/>
          </ac:spMkLst>
        </pc:spChg>
        <pc:spChg chg="mod">
          <ac:chgData name="Jean QUENTIN" userId="6962deb3-b639-4acd-8091-a0516ea2376b" providerId="ADAL" clId="{146BD8F6-FDDD-49D3-A1A6-146C954086FF}" dt="2021-05-24T13:36:23.088" v="6390" actId="790"/>
          <ac:spMkLst>
            <pc:docMk/>
            <pc:sldMk cId="1433535088" sldId="7074"/>
            <ac:spMk id="76" creationId="{96CDAEC3-2CB5-4621-8C9A-FD66BD9EA46B}"/>
          </ac:spMkLst>
        </pc:spChg>
      </pc:sldChg>
      <pc:sldChg chg="modSp mod">
        <pc:chgData name="Jean QUENTIN" userId="6962deb3-b639-4acd-8091-a0516ea2376b" providerId="ADAL" clId="{146BD8F6-FDDD-49D3-A1A6-146C954086FF}" dt="2021-05-24T13:36:23.151" v="6437" actId="790"/>
        <pc:sldMkLst>
          <pc:docMk/>
          <pc:sldMk cId="2066302433" sldId="10151"/>
        </pc:sldMkLst>
        <pc:spChg chg="mod">
          <ac:chgData name="Jean QUENTIN" userId="6962deb3-b639-4acd-8091-a0516ea2376b" providerId="ADAL" clId="{146BD8F6-FDDD-49D3-A1A6-146C954086FF}" dt="2021-05-24T13:36:23.088" v="6392" actId="790"/>
          <ac:spMkLst>
            <pc:docMk/>
            <pc:sldMk cId="2066302433" sldId="10151"/>
            <ac:spMk id="2" creationId="{485D8258-C799-4DEB-8426-A87B09E12535}"/>
          </ac:spMkLst>
        </pc:spChg>
        <pc:spChg chg="mod">
          <ac:chgData name="Jean QUENTIN" userId="6962deb3-b639-4acd-8091-a0516ea2376b" providerId="ADAL" clId="{146BD8F6-FDDD-49D3-A1A6-146C954086FF}" dt="2021-05-24T13:36:23.088" v="6393" actId="790"/>
          <ac:spMkLst>
            <pc:docMk/>
            <pc:sldMk cId="2066302433" sldId="10151"/>
            <ac:spMk id="6" creationId="{FD961D00-BB87-4820-B54D-EC87367CB5D8}"/>
          </ac:spMkLst>
        </pc:spChg>
        <pc:spChg chg="mod">
          <ac:chgData name="Jean QUENTIN" userId="6962deb3-b639-4acd-8091-a0516ea2376b" providerId="ADAL" clId="{146BD8F6-FDDD-49D3-A1A6-146C954086FF}" dt="2021-05-24T13:36:23.104" v="6394" actId="790"/>
          <ac:spMkLst>
            <pc:docMk/>
            <pc:sldMk cId="2066302433" sldId="10151"/>
            <ac:spMk id="8" creationId="{CBFABE72-6131-464D-BAFB-D76422C2A4AB}"/>
          </ac:spMkLst>
        </pc:spChg>
        <pc:spChg chg="mod">
          <ac:chgData name="Jean QUENTIN" userId="6962deb3-b639-4acd-8091-a0516ea2376b" providerId="ADAL" clId="{146BD8F6-FDDD-49D3-A1A6-146C954086FF}" dt="2021-05-24T13:36:23.104" v="6395" actId="790"/>
          <ac:spMkLst>
            <pc:docMk/>
            <pc:sldMk cId="2066302433" sldId="10151"/>
            <ac:spMk id="9" creationId="{AA892EF1-BA93-4257-8E96-FCE386827377}"/>
          </ac:spMkLst>
        </pc:spChg>
        <pc:spChg chg="mod">
          <ac:chgData name="Jean QUENTIN" userId="6962deb3-b639-4acd-8091-a0516ea2376b" providerId="ADAL" clId="{146BD8F6-FDDD-49D3-A1A6-146C954086FF}" dt="2021-05-24T13:36:23.104" v="6396" actId="790"/>
          <ac:spMkLst>
            <pc:docMk/>
            <pc:sldMk cId="2066302433" sldId="10151"/>
            <ac:spMk id="10" creationId="{D1385551-0DEE-495D-8846-99041144B7D6}"/>
          </ac:spMkLst>
        </pc:spChg>
        <pc:spChg chg="mod">
          <ac:chgData name="Jean QUENTIN" userId="6962deb3-b639-4acd-8091-a0516ea2376b" providerId="ADAL" clId="{146BD8F6-FDDD-49D3-A1A6-146C954086FF}" dt="2021-05-24T13:36:23.104" v="6397" actId="790"/>
          <ac:spMkLst>
            <pc:docMk/>
            <pc:sldMk cId="2066302433" sldId="10151"/>
            <ac:spMk id="11" creationId="{95F74EDD-FC62-4AE0-B009-91BD1F0F42CD}"/>
          </ac:spMkLst>
        </pc:spChg>
        <pc:spChg chg="mod">
          <ac:chgData name="Jean QUENTIN" userId="6962deb3-b639-4acd-8091-a0516ea2376b" providerId="ADAL" clId="{146BD8F6-FDDD-49D3-A1A6-146C954086FF}" dt="2021-05-24T13:36:23.104" v="6398" actId="790"/>
          <ac:spMkLst>
            <pc:docMk/>
            <pc:sldMk cId="2066302433" sldId="10151"/>
            <ac:spMk id="12" creationId="{D1785210-4F58-4DEA-A9E2-D867169A909C}"/>
          </ac:spMkLst>
        </pc:spChg>
        <pc:spChg chg="mod">
          <ac:chgData name="Jean QUENTIN" userId="6962deb3-b639-4acd-8091-a0516ea2376b" providerId="ADAL" clId="{146BD8F6-FDDD-49D3-A1A6-146C954086FF}" dt="2021-05-24T13:36:23.104" v="6399" actId="790"/>
          <ac:spMkLst>
            <pc:docMk/>
            <pc:sldMk cId="2066302433" sldId="10151"/>
            <ac:spMk id="13" creationId="{F68747A9-0286-423B-B19B-BDD80CFD99AA}"/>
          </ac:spMkLst>
        </pc:spChg>
        <pc:spChg chg="mod">
          <ac:chgData name="Jean QUENTIN" userId="6962deb3-b639-4acd-8091-a0516ea2376b" providerId="ADAL" clId="{146BD8F6-FDDD-49D3-A1A6-146C954086FF}" dt="2021-05-24T13:36:23.104" v="6400" actId="790"/>
          <ac:spMkLst>
            <pc:docMk/>
            <pc:sldMk cId="2066302433" sldId="10151"/>
            <ac:spMk id="14" creationId="{1B668D90-1CA6-4BF2-A28C-A37ADF4CEC55}"/>
          </ac:spMkLst>
        </pc:spChg>
        <pc:spChg chg="mod">
          <ac:chgData name="Jean QUENTIN" userId="6962deb3-b639-4acd-8091-a0516ea2376b" providerId="ADAL" clId="{146BD8F6-FDDD-49D3-A1A6-146C954086FF}" dt="2021-05-24T13:36:23.104" v="6401" actId="790"/>
          <ac:spMkLst>
            <pc:docMk/>
            <pc:sldMk cId="2066302433" sldId="10151"/>
            <ac:spMk id="15" creationId="{DC368EB4-4DDD-4407-BE94-38F23DA27B16}"/>
          </ac:spMkLst>
        </pc:spChg>
        <pc:spChg chg="mod">
          <ac:chgData name="Jean QUENTIN" userId="6962deb3-b639-4acd-8091-a0516ea2376b" providerId="ADAL" clId="{146BD8F6-FDDD-49D3-A1A6-146C954086FF}" dt="2021-05-24T13:36:23.104" v="6402" actId="790"/>
          <ac:spMkLst>
            <pc:docMk/>
            <pc:sldMk cId="2066302433" sldId="10151"/>
            <ac:spMk id="16" creationId="{80F851B1-0B14-48BE-A51C-7881B7C8FE41}"/>
          </ac:spMkLst>
        </pc:spChg>
        <pc:spChg chg="mod">
          <ac:chgData name="Jean QUENTIN" userId="6962deb3-b639-4acd-8091-a0516ea2376b" providerId="ADAL" clId="{146BD8F6-FDDD-49D3-A1A6-146C954086FF}" dt="2021-05-24T13:36:23.104" v="6403" actId="790"/>
          <ac:spMkLst>
            <pc:docMk/>
            <pc:sldMk cId="2066302433" sldId="10151"/>
            <ac:spMk id="17" creationId="{7CE1AF65-B94A-4628-80BC-0D290E998B7C}"/>
          </ac:spMkLst>
        </pc:spChg>
        <pc:spChg chg="mod">
          <ac:chgData name="Jean QUENTIN" userId="6962deb3-b639-4acd-8091-a0516ea2376b" providerId="ADAL" clId="{146BD8F6-FDDD-49D3-A1A6-146C954086FF}" dt="2021-05-24T13:36:23.104" v="6404" actId="790"/>
          <ac:spMkLst>
            <pc:docMk/>
            <pc:sldMk cId="2066302433" sldId="10151"/>
            <ac:spMk id="18" creationId="{4D52F71B-746D-44F2-85EB-546A9C67D415}"/>
          </ac:spMkLst>
        </pc:spChg>
        <pc:spChg chg="mod">
          <ac:chgData name="Jean QUENTIN" userId="6962deb3-b639-4acd-8091-a0516ea2376b" providerId="ADAL" clId="{146BD8F6-FDDD-49D3-A1A6-146C954086FF}" dt="2021-05-24T13:36:23.120" v="6405" actId="790"/>
          <ac:spMkLst>
            <pc:docMk/>
            <pc:sldMk cId="2066302433" sldId="10151"/>
            <ac:spMk id="19" creationId="{7BFC3453-D5E5-4B80-95E1-53BCDB119B16}"/>
          </ac:spMkLst>
        </pc:spChg>
        <pc:spChg chg="mod">
          <ac:chgData name="Jean QUENTIN" userId="6962deb3-b639-4acd-8091-a0516ea2376b" providerId="ADAL" clId="{146BD8F6-FDDD-49D3-A1A6-146C954086FF}" dt="2021-05-24T13:36:23.120" v="6406" actId="790"/>
          <ac:spMkLst>
            <pc:docMk/>
            <pc:sldMk cId="2066302433" sldId="10151"/>
            <ac:spMk id="20" creationId="{ABEEDC27-82A8-46CB-8CE2-2D10293A50C9}"/>
          </ac:spMkLst>
        </pc:spChg>
        <pc:spChg chg="mod">
          <ac:chgData name="Jean QUENTIN" userId="6962deb3-b639-4acd-8091-a0516ea2376b" providerId="ADAL" clId="{146BD8F6-FDDD-49D3-A1A6-146C954086FF}" dt="2021-05-24T13:36:23.120" v="6407" actId="790"/>
          <ac:spMkLst>
            <pc:docMk/>
            <pc:sldMk cId="2066302433" sldId="10151"/>
            <ac:spMk id="21" creationId="{79263F93-BD89-481F-813A-6C0F901C9C08}"/>
          </ac:spMkLst>
        </pc:spChg>
        <pc:spChg chg="mod">
          <ac:chgData name="Jean QUENTIN" userId="6962deb3-b639-4acd-8091-a0516ea2376b" providerId="ADAL" clId="{146BD8F6-FDDD-49D3-A1A6-146C954086FF}" dt="2021-05-24T13:36:23.120" v="6408" actId="790"/>
          <ac:spMkLst>
            <pc:docMk/>
            <pc:sldMk cId="2066302433" sldId="10151"/>
            <ac:spMk id="22" creationId="{A17328B4-1579-4E16-8289-48E49F417694}"/>
          </ac:spMkLst>
        </pc:spChg>
        <pc:spChg chg="mod">
          <ac:chgData name="Jean QUENTIN" userId="6962deb3-b639-4acd-8091-a0516ea2376b" providerId="ADAL" clId="{146BD8F6-FDDD-49D3-A1A6-146C954086FF}" dt="2021-05-24T13:36:23.120" v="6409" actId="790"/>
          <ac:spMkLst>
            <pc:docMk/>
            <pc:sldMk cId="2066302433" sldId="10151"/>
            <ac:spMk id="23" creationId="{9FFABFA5-D560-4B57-A403-E79C1BD6BD3D}"/>
          </ac:spMkLst>
        </pc:spChg>
        <pc:spChg chg="mod">
          <ac:chgData name="Jean QUENTIN" userId="6962deb3-b639-4acd-8091-a0516ea2376b" providerId="ADAL" clId="{146BD8F6-FDDD-49D3-A1A6-146C954086FF}" dt="2021-05-24T13:36:23.120" v="6410" actId="790"/>
          <ac:spMkLst>
            <pc:docMk/>
            <pc:sldMk cId="2066302433" sldId="10151"/>
            <ac:spMk id="24" creationId="{C6DE36B4-63F9-49BF-9393-6D814DCD3ADB}"/>
          </ac:spMkLst>
        </pc:spChg>
        <pc:spChg chg="mod">
          <ac:chgData name="Jean QUENTIN" userId="6962deb3-b639-4acd-8091-a0516ea2376b" providerId="ADAL" clId="{146BD8F6-FDDD-49D3-A1A6-146C954086FF}" dt="2021-05-24T13:36:23.120" v="6411" actId="790"/>
          <ac:spMkLst>
            <pc:docMk/>
            <pc:sldMk cId="2066302433" sldId="10151"/>
            <ac:spMk id="25" creationId="{87636E38-C9EE-47F8-83D6-6504B63CFEC1}"/>
          </ac:spMkLst>
        </pc:spChg>
        <pc:spChg chg="mod">
          <ac:chgData name="Jean QUENTIN" userId="6962deb3-b639-4acd-8091-a0516ea2376b" providerId="ADAL" clId="{146BD8F6-FDDD-49D3-A1A6-146C954086FF}" dt="2021-05-24T13:36:23.120" v="6412" actId="790"/>
          <ac:spMkLst>
            <pc:docMk/>
            <pc:sldMk cId="2066302433" sldId="10151"/>
            <ac:spMk id="26" creationId="{5E993EC9-B819-46BE-808C-6BF87D7C6173}"/>
          </ac:spMkLst>
        </pc:spChg>
        <pc:spChg chg="mod">
          <ac:chgData name="Jean QUENTIN" userId="6962deb3-b639-4acd-8091-a0516ea2376b" providerId="ADAL" clId="{146BD8F6-FDDD-49D3-A1A6-146C954086FF}" dt="2021-05-24T13:36:23.120" v="6413" actId="790"/>
          <ac:spMkLst>
            <pc:docMk/>
            <pc:sldMk cId="2066302433" sldId="10151"/>
            <ac:spMk id="27" creationId="{8C4589F2-B7BC-4572-BB11-469A62A1B6C6}"/>
          </ac:spMkLst>
        </pc:spChg>
        <pc:spChg chg="mod">
          <ac:chgData name="Jean QUENTIN" userId="6962deb3-b639-4acd-8091-a0516ea2376b" providerId="ADAL" clId="{146BD8F6-FDDD-49D3-A1A6-146C954086FF}" dt="2021-05-24T13:36:23.120" v="6414" actId="790"/>
          <ac:spMkLst>
            <pc:docMk/>
            <pc:sldMk cId="2066302433" sldId="10151"/>
            <ac:spMk id="28" creationId="{77771E76-DFA4-4D19-B2E3-74B7FBF71D1E}"/>
          </ac:spMkLst>
        </pc:spChg>
        <pc:spChg chg="mod">
          <ac:chgData name="Jean QUENTIN" userId="6962deb3-b639-4acd-8091-a0516ea2376b" providerId="ADAL" clId="{146BD8F6-FDDD-49D3-A1A6-146C954086FF}" dt="2021-05-24T13:36:23.120" v="6415" actId="790"/>
          <ac:spMkLst>
            <pc:docMk/>
            <pc:sldMk cId="2066302433" sldId="10151"/>
            <ac:spMk id="29" creationId="{5E08754A-8970-4715-8A7A-F623D767FAB9}"/>
          </ac:spMkLst>
        </pc:spChg>
        <pc:spChg chg="mod">
          <ac:chgData name="Jean QUENTIN" userId="6962deb3-b639-4acd-8091-a0516ea2376b" providerId="ADAL" clId="{146BD8F6-FDDD-49D3-A1A6-146C954086FF}" dt="2021-05-24T13:36:23.135" v="6416" actId="790"/>
          <ac:spMkLst>
            <pc:docMk/>
            <pc:sldMk cId="2066302433" sldId="10151"/>
            <ac:spMk id="30" creationId="{16C0C029-6359-44F4-B7C0-B040B0D8942B}"/>
          </ac:spMkLst>
        </pc:spChg>
        <pc:spChg chg="mod">
          <ac:chgData name="Jean QUENTIN" userId="6962deb3-b639-4acd-8091-a0516ea2376b" providerId="ADAL" clId="{146BD8F6-FDDD-49D3-A1A6-146C954086FF}" dt="2021-05-24T13:36:23.135" v="6417" actId="790"/>
          <ac:spMkLst>
            <pc:docMk/>
            <pc:sldMk cId="2066302433" sldId="10151"/>
            <ac:spMk id="31" creationId="{AC0EA32D-54FE-4F9B-9CF8-4DAFEBC29666}"/>
          </ac:spMkLst>
        </pc:spChg>
        <pc:spChg chg="mod">
          <ac:chgData name="Jean QUENTIN" userId="6962deb3-b639-4acd-8091-a0516ea2376b" providerId="ADAL" clId="{146BD8F6-FDDD-49D3-A1A6-146C954086FF}" dt="2021-05-24T13:36:23.135" v="6418" actId="790"/>
          <ac:spMkLst>
            <pc:docMk/>
            <pc:sldMk cId="2066302433" sldId="10151"/>
            <ac:spMk id="32" creationId="{8CE27222-24DA-4462-BF94-A8D5736BB7B7}"/>
          </ac:spMkLst>
        </pc:spChg>
        <pc:spChg chg="mod">
          <ac:chgData name="Jean QUENTIN" userId="6962deb3-b639-4acd-8091-a0516ea2376b" providerId="ADAL" clId="{146BD8F6-FDDD-49D3-A1A6-146C954086FF}" dt="2021-05-24T13:36:23.135" v="6419" actId="790"/>
          <ac:spMkLst>
            <pc:docMk/>
            <pc:sldMk cId="2066302433" sldId="10151"/>
            <ac:spMk id="33" creationId="{7B850491-5D22-4445-B8DD-2E7DA22A1582}"/>
          </ac:spMkLst>
        </pc:spChg>
        <pc:spChg chg="mod">
          <ac:chgData name="Jean QUENTIN" userId="6962deb3-b639-4acd-8091-a0516ea2376b" providerId="ADAL" clId="{146BD8F6-FDDD-49D3-A1A6-146C954086FF}" dt="2021-05-24T13:36:23.135" v="6420" actId="790"/>
          <ac:spMkLst>
            <pc:docMk/>
            <pc:sldMk cId="2066302433" sldId="10151"/>
            <ac:spMk id="34" creationId="{87B245AE-748D-4766-AAA8-E79644D27CF2}"/>
          </ac:spMkLst>
        </pc:spChg>
        <pc:spChg chg="mod">
          <ac:chgData name="Jean QUENTIN" userId="6962deb3-b639-4acd-8091-a0516ea2376b" providerId="ADAL" clId="{146BD8F6-FDDD-49D3-A1A6-146C954086FF}" dt="2021-05-24T13:36:23.135" v="6421" actId="790"/>
          <ac:spMkLst>
            <pc:docMk/>
            <pc:sldMk cId="2066302433" sldId="10151"/>
            <ac:spMk id="35" creationId="{3B6324BE-5137-4BFE-8DA4-799A77B8D45E}"/>
          </ac:spMkLst>
        </pc:spChg>
        <pc:spChg chg="mod">
          <ac:chgData name="Jean QUENTIN" userId="6962deb3-b639-4acd-8091-a0516ea2376b" providerId="ADAL" clId="{146BD8F6-FDDD-49D3-A1A6-146C954086FF}" dt="2021-05-24T13:36:23.135" v="6422" actId="790"/>
          <ac:spMkLst>
            <pc:docMk/>
            <pc:sldMk cId="2066302433" sldId="10151"/>
            <ac:spMk id="36" creationId="{E6D54B53-5D24-489F-9B67-95A762E58289}"/>
          </ac:spMkLst>
        </pc:spChg>
        <pc:spChg chg="mod">
          <ac:chgData name="Jean QUENTIN" userId="6962deb3-b639-4acd-8091-a0516ea2376b" providerId="ADAL" clId="{146BD8F6-FDDD-49D3-A1A6-146C954086FF}" dt="2021-05-24T13:36:23.135" v="6423" actId="790"/>
          <ac:spMkLst>
            <pc:docMk/>
            <pc:sldMk cId="2066302433" sldId="10151"/>
            <ac:spMk id="37" creationId="{B1B3F98D-4D9B-442E-8C7B-A1756F2C34E5}"/>
          </ac:spMkLst>
        </pc:spChg>
        <pc:spChg chg="mod">
          <ac:chgData name="Jean QUENTIN" userId="6962deb3-b639-4acd-8091-a0516ea2376b" providerId="ADAL" clId="{146BD8F6-FDDD-49D3-A1A6-146C954086FF}" dt="2021-05-24T13:36:23.135" v="6424" actId="790"/>
          <ac:spMkLst>
            <pc:docMk/>
            <pc:sldMk cId="2066302433" sldId="10151"/>
            <ac:spMk id="38" creationId="{1136920C-BA8F-43C0-8C16-F1AAC39166BF}"/>
          </ac:spMkLst>
        </pc:spChg>
        <pc:spChg chg="mod">
          <ac:chgData name="Jean QUENTIN" userId="6962deb3-b639-4acd-8091-a0516ea2376b" providerId="ADAL" clId="{146BD8F6-FDDD-49D3-A1A6-146C954086FF}" dt="2021-05-24T13:36:23.135" v="6425" actId="790"/>
          <ac:spMkLst>
            <pc:docMk/>
            <pc:sldMk cId="2066302433" sldId="10151"/>
            <ac:spMk id="39" creationId="{EFF788FD-AC32-46E7-9D4E-4BC36F5959B9}"/>
          </ac:spMkLst>
        </pc:spChg>
        <pc:spChg chg="mod">
          <ac:chgData name="Jean QUENTIN" userId="6962deb3-b639-4acd-8091-a0516ea2376b" providerId="ADAL" clId="{146BD8F6-FDDD-49D3-A1A6-146C954086FF}" dt="2021-05-24T13:36:23.135" v="6426" actId="790"/>
          <ac:spMkLst>
            <pc:docMk/>
            <pc:sldMk cId="2066302433" sldId="10151"/>
            <ac:spMk id="40" creationId="{A3E8FC77-79BA-4BF6-9229-A50D8390B0B0}"/>
          </ac:spMkLst>
        </pc:spChg>
        <pc:spChg chg="mod">
          <ac:chgData name="Jean QUENTIN" userId="6962deb3-b639-4acd-8091-a0516ea2376b" providerId="ADAL" clId="{146BD8F6-FDDD-49D3-A1A6-146C954086FF}" dt="2021-05-24T13:36:23.151" v="6427" actId="790"/>
          <ac:spMkLst>
            <pc:docMk/>
            <pc:sldMk cId="2066302433" sldId="10151"/>
            <ac:spMk id="41" creationId="{0576C5B5-205F-4700-BDBA-CB236CF202E5}"/>
          </ac:spMkLst>
        </pc:spChg>
        <pc:spChg chg="mod">
          <ac:chgData name="Jean QUENTIN" userId="6962deb3-b639-4acd-8091-a0516ea2376b" providerId="ADAL" clId="{146BD8F6-FDDD-49D3-A1A6-146C954086FF}" dt="2021-05-24T13:36:23.151" v="6428" actId="790"/>
          <ac:spMkLst>
            <pc:docMk/>
            <pc:sldMk cId="2066302433" sldId="10151"/>
            <ac:spMk id="42" creationId="{10178595-DB31-448D-B26C-282499D9E2AB}"/>
          </ac:spMkLst>
        </pc:spChg>
        <pc:spChg chg="mod">
          <ac:chgData name="Jean QUENTIN" userId="6962deb3-b639-4acd-8091-a0516ea2376b" providerId="ADAL" clId="{146BD8F6-FDDD-49D3-A1A6-146C954086FF}" dt="2021-05-24T13:36:23.151" v="6429" actId="790"/>
          <ac:spMkLst>
            <pc:docMk/>
            <pc:sldMk cId="2066302433" sldId="10151"/>
            <ac:spMk id="43" creationId="{7A99688D-221A-4009-B9DD-DA6C7D20F69E}"/>
          </ac:spMkLst>
        </pc:spChg>
        <pc:spChg chg="mod">
          <ac:chgData name="Jean QUENTIN" userId="6962deb3-b639-4acd-8091-a0516ea2376b" providerId="ADAL" clId="{146BD8F6-FDDD-49D3-A1A6-146C954086FF}" dt="2021-05-24T13:36:23.151" v="6430" actId="790"/>
          <ac:spMkLst>
            <pc:docMk/>
            <pc:sldMk cId="2066302433" sldId="10151"/>
            <ac:spMk id="44" creationId="{A821D0F1-6745-4FB4-960B-A65CD44A148F}"/>
          </ac:spMkLst>
        </pc:spChg>
        <pc:spChg chg="mod">
          <ac:chgData name="Jean QUENTIN" userId="6962deb3-b639-4acd-8091-a0516ea2376b" providerId="ADAL" clId="{146BD8F6-FDDD-49D3-A1A6-146C954086FF}" dt="2021-05-24T13:36:23.151" v="6431" actId="790"/>
          <ac:spMkLst>
            <pc:docMk/>
            <pc:sldMk cId="2066302433" sldId="10151"/>
            <ac:spMk id="45" creationId="{94585B0F-E803-4576-9DB3-FAF173D08F43}"/>
          </ac:spMkLst>
        </pc:spChg>
        <pc:spChg chg="mod">
          <ac:chgData name="Jean QUENTIN" userId="6962deb3-b639-4acd-8091-a0516ea2376b" providerId="ADAL" clId="{146BD8F6-FDDD-49D3-A1A6-146C954086FF}" dt="2021-05-24T13:36:23.151" v="6432" actId="790"/>
          <ac:spMkLst>
            <pc:docMk/>
            <pc:sldMk cId="2066302433" sldId="10151"/>
            <ac:spMk id="46" creationId="{60B47F91-9ED1-4064-B0F1-0F150436DBA4}"/>
          </ac:spMkLst>
        </pc:spChg>
        <pc:spChg chg="mod">
          <ac:chgData name="Jean QUENTIN" userId="6962deb3-b639-4acd-8091-a0516ea2376b" providerId="ADAL" clId="{146BD8F6-FDDD-49D3-A1A6-146C954086FF}" dt="2021-05-24T13:36:23.151" v="6433" actId="790"/>
          <ac:spMkLst>
            <pc:docMk/>
            <pc:sldMk cId="2066302433" sldId="10151"/>
            <ac:spMk id="47" creationId="{17468E73-86AE-459C-946F-AFFBB7E789DD}"/>
          </ac:spMkLst>
        </pc:spChg>
        <pc:spChg chg="mod">
          <ac:chgData name="Jean QUENTIN" userId="6962deb3-b639-4acd-8091-a0516ea2376b" providerId="ADAL" clId="{146BD8F6-FDDD-49D3-A1A6-146C954086FF}" dt="2021-05-24T13:36:23.151" v="6434" actId="790"/>
          <ac:spMkLst>
            <pc:docMk/>
            <pc:sldMk cId="2066302433" sldId="10151"/>
            <ac:spMk id="48" creationId="{44B8897D-6B27-465B-A723-BF615C31D100}"/>
          </ac:spMkLst>
        </pc:spChg>
        <pc:spChg chg="mod">
          <ac:chgData name="Jean QUENTIN" userId="6962deb3-b639-4acd-8091-a0516ea2376b" providerId="ADAL" clId="{146BD8F6-FDDD-49D3-A1A6-146C954086FF}" dt="2021-05-24T13:36:23.151" v="6435" actId="790"/>
          <ac:spMkLst>
            <pc:docMk/>
            <pc:sldMk cId="2066302433" sldId="10151"/>
            <ac:spMk id="49" creationId="{3CAB94CE-464D-4A6D-BF0D-B9E076D55E68}"/>
          </ac:spMkLst>
        </pc:spChg>
        <pc:spChg chg="mod">
          <ac:chgData name="Jean QUENTIN" userId="6962deb3-b639-4acd-8091-a0516ea2376b" providerId="ADAL" clId="{146BD8F6-FDDD-49D3-A1A6-146C954086FF}" dt="2021-05-24T13:36:23.151" v="6436" actId="790"/>
          <ac:spMkLst>
            <pc:docMk/>
            <pc:sldMk cId="2066302433" sldId="10151"/>
            <ac:spMk id="50" creationId="{DB23E4EA-8CC3-4D51-8B49-7C52B0496041}"/>
          </ac:spMkLst>
        </pc:spChg>
        <pc:spChg chg="mod">
          <ac:chgData name="Jean QUENTIN" userId="6962deb3-b639-4acd-8091-a0516ea2376b" providerId="ADAL" clId="{146BD8F6-FDDD-49D3-A1A6-146C954086FF}" dt="2021-05-24T13:36:23.151" v="6437" actId="790"/>
          <ac:spMkLst>
            <pc:docMk/>
            <pc:sldMk cId="2066302433" sldId="10151"/>
            <ac:spMk id="51" creationId="{6EAF2701-A2C6-4614-9A6E-C85168C5E062}"/>
          </ac:spMkLst>
        </pc:spChg>
      </pc:sldChg>
      <pc:sldChg chg="modSp mod">
        <pc:chgData name="Jean QUENTIN" userId="6962deb3-b639-4acd-8091-a0516ea2376b" providerId="ADAL" clId="{146BD8F6-FDDD-49D3-A1A6-146C954086FF}" dt="2021-05-24T13:36:17.389" v="3644" actId="790"/>
        <pc:sldMkLst>
          <pc:docMk/>
          <pc:sldMk cId="3884321799" sldId="10291"/>
        </pc:sldMkLst>
        <pc:spChg chg="mod">
          <ac:chgData name="Jean QUENTIN" userId="6962deb3-b639-4acd-8091-a0516ea2376b" providerId="ADAL" clId="{146BD8F6-FDDD-49D3-A1A6-146C954086FF}" dt="2021-05-24T13:36:17.374" v="3639" actId="790"/>
          <ac:spMkLst>
            <pc:docMk/>
            <pc:sldMk cId="3884321799" sldId="10291"/>
            <ac:spMk id="3" creationId="{DC0B6CE0-071E-44A6-82A3-BC4FF5D83B27}"/>
          </ac:spMkLst>
        </pc:spChg>
        <pc:spChg chg="mod">
          <ac:chgData name="Jean QUENTIN" userId="6962deb3-b639-4acd-8091-a0516ea2376b" providerId="ADAL" clId="{146BD8F6-FDDD-49D3-A1A6-146C954086FF}" dt="2021-05-24T13:36:17.374" v="3640" actId="790"/>
          <ac:spMkLst>
            <pc:docMk/>
            <pc:sldMk cId="3884321799" sldId="10291"/>
            <ac:spMk id="4" creationId="{2DE3B9FB-389E-44C4-A5C5-F3E880E483DD}"/>
          </ac:spMkLst>
        </pc:spChg>
        <pc:spChg chg="mod">
          <ac:chgData name="Jean QUENTIN" userId="6962deb3-b639-4acd-8091-a0516ea2376b" providerId="ADAL" clId="{146BD8F6-FDDD-49D3-A1A6-146C954086FF}" dt="2021-05-24T13:36:17.374" v="3641" actId="790"/>
          <ac:spMkLst>
            <pc:docMk/>
            <pc:sldMk cId="3884321799" sldId="10291"/>
            <ac:spMk id="7" creationId="{ED3DDDA4-13C0-4B5E-BF69-1052ACC41BFF}"/>
          </ac:spMkLst>
        </pc:spChg>
        <pc:spChg chg="mod">
          <ac:chgData name="Jean QUENTIN" userId="6962deb3-b639-4acd-8091-a0516ea2376b" providerId="ADAL" clId="{146BD8F6-FDDD-49D3-A1A6-146C954086FF}" dt="2021-05-24T13:36:17.389" v="3642" actId="790"/>
          <ac:spMkLst>
            <pc:docMk/>
            <pc:sldMk cId="3884321799" sldId="10291"/>
            <ac:spMk id="13" creationId="{B1098745-8BF6-4065-AFBD-2424FEF2474A}"/>
          </ac:spMkLst>
        </pc:spChg>
        <pc:spChg chg="mod">
          <ac:chgData name="Jean QUENTIN" userId="6962deb3-b639-4acd-8091-a0516ea2376b" providerId="ADAL" clId="{146BD8F6-FDDD-49D3-A1A6-146C954086FF}" dt="2021-05-24T13:36:17.389" v="3643" actId="790"/>
          <ac:spMkLst>
            <pc:docMk/>
            <pc:sldMk cId="3884321799" sldId="10291"/>
            <ac:spMk id="16" creationId="{FFF23C2F-78E0-477D-90B5-6C5DA8402A80}"/>
          </ac:spMkLst>
        </pc:spChg>
        <pc:spChg chg="mod">
          <ac:chgData name="Jean QUENTIN" userId="6962deb3-b639-4acd-8091-a0516ea2376b" providerId="ADAL" clId="{146BD8F6-FDDD-49D3-A1A6-146C954086FF}" dt="2021-05-24T13:36:17.389" v="3644" actId="790"/>
          <ac:spMkLst>
            <pc:docMk/>
            <pc:sldMk cId="3884321799" sldId="10291"/>
            <ac:spMk id="19" creationId="{BC48846A-ECA8-4A6F-8CFC-15261D21AF27}"/>
          </ac:spMkLst>
        </pc:spChg>
      </pc:sldChg>
      <pc:sldChg chg="modSp mod">
        <pc:chgData name="Jean QUENTIN" userId="6962deb3-b639-4acd-8091-a0516ea2376b" providerId="ADAL" clId="{146BD8F6-FDDD-49D3-A1A6-146C954086FF}" dt="2021-05-24T13:36:17.405" v="3652" actId="790"/>
        <pc:sldMkLst>
          <pc:docMk/>
          <pc:sldMk cId="3536028850" sldId="10321"/>
        </pc:sldMkLst>
        <pc:spChg chg="mod">
          <ac:chgData name="Jean QUENTIN" userId="6962deb3-b639-4acd-8091-a0516ea2376b" providerId="ADAL" clId="{146BD8F6-FDDD-49D3-A1A6-146C954086FF}" dt="2021-05-24T13:36:17.389" v="3645" actId="790"/>
          <ac:spMkLst>
            <pc:docMk/>
            <pc:sldMk cId="3536028850" sldId="10321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17.389" v="3646" actId="790"/>
          <ac:spMkLst>
            <pc:docMk/>
            <pc:sldMk cId="3536028850" sldId="10321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17.389" v="3647" actId="790"/>
          <ac:spMkLst>
            <pc:docMk/>
            <pc:sldMk cId="3536028850" sldId="10321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17.405" v="3652" actId="790"/>
          <ac:spMkLst>
            <pc:docMk/>
            <pc:sldMk cId="3536028850" sldId="10321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17.405" v="3648" actId="790"/>
          <ac:spMkLst>
            <pc:docMk/>
            <pc:sldMk cId="3536028850" sldId="10321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17.405" v="3649" actId="790"/>
          <ac:spMkLst>
            <pc:docMk/>
            <pc:sldMk cId="3536028850" sldId="10321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17.405" v="3650" actId="790"/>
          <ac:spMkLst>
            <pc:docMk/>
            <pc:sldMk cId="3536028850" sldId="10321"/>
            <ac:spMk id="22" creationId="{C002634F-3FA9-4AC3-90E2-0D253FC97BF7}"/>
          </ac:spMkLst>
        </pc:spChg>
        <pc:spChg chg="mod">
          <ac:chgData name="Jean QUENTIN" userId="6962deb3-b639-4acd-8091-a0516ea2376b" providerId="ADAL" clId="{146BD8F6-FDDD-49D3-A1A6-146C954086FF}" dt="2021-05-24T13:36:17.405" v="3651" actId="790"/>
          <ac:spMkLst>
            <pc:docMk/>
            <pc:sldMk cId="3536028850" sldId="10321"/>
            <ac:spMk id="24" creationId="{9523976D-7994-4445-A7A3-F04F6C533708}"/>
          </ac:spMkLst>
        </pc:spChg>
      </pc:sldChg>
      <pc:sldChg chg="modSp mod">
        <pc:chgData name="Jean QUENTIN" userId="6962deb3-b639-4acd-8091-a0516ea2376b" providerId="ADAL" clId="{146BD8F6-FDDD-49D3-A1A6-146C954086FF}" dt="2021-05-24T13:36:20.128" v="5052" actId="790"/>
        <pc:sldMkLst>
          <pc:docMk/>
          <pc:sldMk cId="3812200160" sldId="10324"/>
        </pc:sldMkLst>
        <pc:spChg chg="mod">
          <ac:chgData name="Jean QUENTIN" userId="6962deb3-b639-4acd-8091-a0516ea2376b" providerId="ADAL" clId="{146BD8F6-FDDD-49D3-A1A6-146C954086FF}" dt="2021-05-24T13:36:20.012" v="4968" actId="790"/>
          <ac:spMkLst>
            <pc:docMk/>
            <pc:sldMk cId="3812200160" sldId="10324"/>
            <ac:spMk id="2" creationId="{806A24BD-A309-4114-BCBE-1F8520216A75}"/>
          </ac:spMkLst>
        </pc:spChg>
        <pc:spChg chg="mod">
          <ac:chgData name="Jean QUENTIN" userId="6962deb3-b639-4acd-8091-a0516ea2376b" providerId="ADAL" clId="{146BD8F6-FDDD-49D3-A1A6-146C954086FF}" dt="2021-05-24T13:36:20.081" v="5019" actId="790"/>
          <ac:spMkLst>
            <pc:docMk/>
            <pc:sldMk cId="3812200160" sldId="10324"/>
            <ac:spMk id="5" creationId="{5EC0279C-C6B9-4AB1-8775-2653854AC40C}"/>
          </ac:spMkLst>
        </pc:spChg>
        <pc:spChg chg="mod">
          <ac:chgData name="Jean QUENTIN" userId="6962deb3-b639-4acd-8091-a0516ea2376b" providerId="ADAL" clId="{146BD8F6-FDDD-49D3-A1A6-146C954086FF}" dt="2021-05-24T13:36:20.012" v="4969" actId="790"/>
          <ac:spMkLst>
            <pc:docMk/>
            <pc:sldMk cId="3812200160" sldId="10324"/>
            <ac:spMk id="6" creationId="{4E6E5141-7FBC-4E06-91AB-778C41045C7B}"/>
          </ac:spMkLst>
        </pc:spChg>
        <pc:spChg chg="mod">
          <ac:chgData name="Jean QUENTIN" userId="6962deb3-b639-4acd-8091-a0516ea2376b" providerId="ADAL" clId="{146BD8F6-FDDD-49D3-A1A6-146C954086FF}" dt="2021-05-24T13:36:20.012" v="4970" actId="790"/>
          <ac:spMkLst>
            <pc:docMk/>
            <pc:sldMk cId="3812200160" sldId="10324"/>
            <ac:spMk id="7" creationId="{8D09AD6F-BFA9-4E94-83DF-0661F98B9019}"/>
          </ac:spMkLst>
        </pc:spChg>
        <pc:spChg chg="mod">
          <ac:chgData name="Jean QUENTIN" userId="6962deb3-b639-4acd-8091-a0516ea2376b" providerId="ADAL" clId="{146BD8F6-FDDD-49D3-A1A6-146C954086FF}" dt="2021-05-24T13:36:20.012" v="4971" actId="790"/>
          <ac:spMkLst>
            <pc:docMk/>
            <pc:sldMk cId="3812200160" sldId="10324"/>
            <ac:spMk id="8" creationId="{77A429D6-B3A3-42B0-BAD3-1B353FC28B08}"/>
          </ac:spMkLst>
        </pc:spChg>
        <pc:spChg chg="mod">
          <ac:chgData name="Jean QUENTIN" userId="6962deb3-b639-4acd-8091-a0516ea2376b" providerId="ADAL" clId="{146BD8F6-FDDD-49D3-A1A6-146C954086FF}" dt="2021-05-24T13:36:20.012" v="4972" actId="790"/>
          <ac:spMkLst>
            <pc:docMk/>
            <pc:sldMk cId="3812200160" sldId="10324"/>
            <ac:spMk id="9" creationId="{C1790DA0-3655-475E-9CEE-4FBE153BB3F2}"/>
          </ac:spMkLst>
        </pc:spChg>
        <pc:spChg chg="mod">
          <ac:chgData name="Jean QUENTIN" userId="6962deb3-b639-4acd-8091-a0516ea2376b" providerId="ADAL" clId="{146BD8F6-FDDD-49D3-A1A6-146C954086FF}" dt="2021-05-24T13:36:20.065" v="5003" actId="790"/>
          <ac:spMkLst>
            <pc:docMk/>
            <pc:sldMk cId="3812200160" sldId="10324"/>
            <ac:spMk id="13" creationId="{93256D83-834B-4334-B9DB-6D53960A9062}"/>
          </ac:spMkLst>
        </pc:spChg>
        <pc:spChg chg="mod">
          <ac:chgData name="Jean QUENTIN" userId="6962deb3-b639-4acd-8091-a0516ea2376b" providerId="ADAL" clId="{146BD8F6-FDDD-49D3-A1A6-146C954086FF}" dt="2021-05-24T13:36:20.012" v="4973" actId="790"/>
          <ac:spMkLst>
            <pc:docMk/>
            <pc:sldMk cId="3812200160" sldId="10324"/>
            <ac:spMk id="14" creationId="{B8D529E0-B56F-42E9-9413-B04B09D1BC35}"/>
          </ac:spMkLst>
        </pc:spChg>
        <pc:spChg chg="mod">
          <ac:chgData name="Jean QUENTIN" userId="6962deb3-b639-4acd-8091-a0516ea2376b" providerId="ADAL" clId="{146BD8F6-FDDD-49D3-A1A6-146C954086FF}" dt="2021-05-24T13:36:20.012" v="4974" actId="790"/>
          <ac:spMkLst>
            <pc:docMk/>
            <pc:sldMk cId="3812200160" sldId="10324"/>
            <ac:spMk id="15" creationId="{BD17CEC9-4298-48C2-A07A-B6966AE88E71}"/>
          </ac:spMkLst>
        </pc:spChg>
        <pc:spChg chg="mod">
          <ac:chgData name="Jean QUENTIN" userId="6962deb3-b639-4acd-8091-a0516ea2376b" providerId="ADAL" clId="{146BD8F6-FDDD-49D3-A1A6-146C954086FF}" dt="2021-05-24T13:36:20.012" v="4975" actId="790"/>
          <ac:spMkLst>
            <pc:docMk/>
            <pc:sldMk cId="3812200160" sldId="10324"/>
            <ac:spMk id="16" creationId="{B886F05E-DC2A-4B28-89B2-BAEBC0591254}"/>
          </ac:spMkLst>
        </pc:spChg>
        <pc:spChg chg="mod">
          <ac:chgData name="Jean QUENTIN" userId="6962deb3-b639-4acd-8091-a0516ea2376b" providerId="ADAL" clId="{146BD8F6-FDDD-49D3-A1A6-146C954086FF}" dt="2021-05-24T13:36:20.027" v="4976" actId="790"/>
          <ac:spMkLst>
            <pc:docMk/>
            <pc:sldMk cId="3812200160" sldId="10324"/>
            <ac:spMk id="17" creationId="{FD9BD1A8-B133-4ED7-9402-59FE79DE23EC}"/>
          </ac:spMkLst>
        </pc:spChg>
        <pc:spChg chg="mod">
          <ac:chgData name="Jean QUENTIN" userId="6962deb3-b639-4acd-8091-a0516ea2376b" providerId="ADAL" clId="{146BD8F6-FDDD-49D3-A1A6-146C954086FF}" dt="2021-05-24T13:36:20.027" v="4977" actId="790"/>
          <ac:spMkLst>
            <pc:docMk/>
            <pc:sldMk cId="3812200160" sldId="10324"/>
            <ac:spMk id="18" creationId="{4373ED4E-D1FF-488D-BEFE-69AC7F528CA4}"/>
          </ac:spMkLst>
        </pc:spChg>
        <pc:spChg chg="mod">
          <ac:chgData name="Jean QUENTIN" userId="6962deb3-b639-4acd-8091-a0516ea2376b" providerId="ADAL" clId="{146BD8F6-FDDD-49D3-A1A6-146C954086FF}" dt="2021-05-24T13:36:20.027" v="4978" actId="790"/>
          <ac:spMkLst>
            <pc:docMk/>
            <pc:sldMk cId="3812200160" sldId="10324"/>
            <ac:spMk id="19" creationId="{BC760060-ABD5-412D-8045-EF97EC543341}"/>
          </ac:spMkLst>
        </pc:spChg>
        <pc:spChg chg="mod">
          <ac:chgData name="Jean QUENTIN" userId="6962deb3-b639-4acd-8091-a0516ea2376b" providerId="ADAL" clId="{146BD8F6-FDDD-49D3-A1A6-146C954086FF}" dt="2021-05-24T13:36:20.027" v="4979" actId="790"/>
          <ac:spMkLst>
            <pc:docMk/>
            <pc:sldMk cId="3812200160" sldId="10324"/>
            <ac:spMk id="20" creationId="{388BECFA-DD33-47B0-8DCF-EFF4D8D243DB}"/>
          </ac:spMkLst>
        </pc:spChg>
        <pc:spChg chg="mod">
          <ac:chgData name="Jean QUENTIN" userId="6962deb3-b639-4acd-8091-a0516ea2376b" providerId="ADAL" clId="{146BD8F6-FDDD-49D3-A1A6-146C954086FF}" dt="2021-05-24T13:36:20.027" v="4980" actId="790"/>
          <ac:spMkLst>
            <pc:docMk/>
            <pc:sldMk cId="3812200160" sldId="10324"/>
            <ac:spMk id="21" creationId="{F90680D2-5DA9-4AD6-8E64-FE8EA1410BC0}"/>
          </ac:spMkLst>
        </pc:spChg>
        <pc:spChg chg="mod">
          <ac:chgData name="Jean QUENTIN" userId="6962deb3-b639-4acd-8091-a0516ea2376b" providerId="ADAL" clId="{146BD8F6-FDDD-49D3-A1A6-146C954086FF}" dt="2021-05-24T13:36:20.027" v="4981" actId="790"/>
          <ac:spMkLst>
            <pc:docMk/>
            <pc:sldMk cId="3812200160" sldId="10324"/>
            <ac:spMk id="22" creationId="{F54D9E31-C7E1-4619-8AB2-AF3F57E25D8C}"/>
          </ac:spMkLst>
        </pc:spChg>
        <pc:spChg chg="mod">
          <ac:chgData name="Jean QUENTIN" userId="6962deb3-b639-4acd-8091-a0516ea2376b" providerId="ADAL" clId="{146BD8F6-FDDD-49D3-A1A6-146C954086FF}" dt="2021-05-24T13:36:20.027" v="4982" actId="790"/>
          <ac:spMkLst>
            <pc:docMk/>
            <pc:sldMk cId="3812200160" sldId="10324"/>
            <ac:spMk id="23" creationId="{E942F219-9D1D-4A73-B97D-EC48BD66AF15}"/>
          </ac:spMkLst>
        </pc:spChg>
        <pc:spChg chg="mod">
          <ac:chgData name="Jean QUENTIN" userId="6962deb3-b639-4acd-8091-a0516ea2376b" providerId="ADAL" clId="{146BD8F6-FDDD-49D3-A1A6-146C954086FF}" dt="2021-05-24T13:36:20.027" v="4983" actId="790"/>
          <ac:spMkLst>
            <pc:docMk/>
            <pc:sldMk cId="3812200160" sldId="10324"/>
            <ac:spMk id="24" creationId="{C2FF144E-7C70-4F58-8690-D05F03C7B743}"/>
          </ac:spMkLst>
        </pc:spChg>
        <pc:spChg chg="mod">
          <ac:chgData name="Jean QUENTIN" userId="6962deb3-b639-4acd-8091-a0516ea2376b" providerId="ADAL" clId="{146BD8F6-FDDD-49D3-A1A6-146C954086FF}" dt="2021-05-24T13:36:20.027" v="4984" actId="790"/>
          <ac:spMkLst>
            <pc:docMk/>
            <pc:sldMk cId="3812200160" sldId="10324"/>
            <ac:spMk id="43" creationId="{C59EF210-5B50-40A7-A6B4-DDAD799020BA}"/>
          </ac:spMkLst>
        </pc:spChg>
        <pc:spChg chg="mod">
          <ac:chgData name="Jean QUENTIN" userId="6962deb3-b639-4acd-8091-a0516ea2376b" providerId="ADAL" clId="{146BD8F6-FDDD-49D3-A1A6-146C954086FF}" dt="2021-05-24T13:36:20.027" v="4985" actId="790"/>
          <ac:spMkLst>
            <pc:docMk/>
            <pc:sldMk cId="3812200160" sldId="10324"/>
            <ac:spMk id="45" creationId="{A30046C9-7286-442E-B5D2-9182D2F71B12}"/>
          </ac:spMkLst>
        </pc:spChg>
        <pc:spChg chg="mod">
          <ac:chgData name="Jean QUENTIN" userId="6962deb3-b639-4acd-8091-a0516ea2376b" providerId="ADAL" clId="{146BD8F6-FDDD-49D3-A1A6-146C954086FF}" dt="2021-05-24T13:36:20.043" v="4986" actId="790"/>
          <ac:spMkLst>
            <pc:docMk/>
            <pc:sldMk cId="3812200160" sldId="10324"/>
            <ac:spMk id="56" creationId="{F37F2C7C-4651-46F1-B548-F75D15102AEA}"/>
          </ac:spMkLst>
        </pc:spChg>
        <pc:spChg chg="mod">
          <ac:chgData name="Jean QUENTIN" userId="6962deb3-b639-4acd-8091-a0516ea2376b" providerId="ADAL" clId="{146BD8F6-FDDD-49D3-A1A6-146C954086FF}" dt="2021-05-24T13:36:20.043" v="4987" actId="790"/>
          <ac:spMkLst>
            <pc:docMk/>
            <pc:sldMk cId="3812200160" sldId="10324"/>
            <ac:spMk id="61" creationId="{86718822-02E2-4F9A-B0D6-5A2C08F0884A}"/>
          </ac:spMkLst>
        </pc:spChg>
        <pc:spChg chg="mod">
          <ac:chgData name="Jean QUENTIN" userId="6962deb3-b639-4acd-8091-a0516ea2376b" providerId="ADAL" clId="{146BD8F6-FDDD-49D3-A1A6-146C954086FF}" dt="2021-05-24T13:36:20.043" v="4988" actId="790"/>
          <ac:spMkLst>
            <pc:docMk/>
            <pc:sldMk cId="3812200160" sldId="10324"/>
            <ac:spMk id="62" creationId="{27537C42-90B1-4AE2-8853-9E14C9C3CD5A}"/>
          </ac:spMkLst>
        </pc:spChg>
        <pc:spChg chg="mod">
          <ac:chgData name="Jean QUENTIN" userId="6962deb3-b639-4acd-8091-a0516ea2376b" providerId="ADAL" clId="{146BD8F6-FDDD-49D3-A1A6-146C954086FF}" dt="2021-05-24T13:36:20.043" v="4989" actId="790"/>
          <ac:spMkLst>
            <pc:docMk/>
            <pc:sldMk cId="3812200160" sldId="10324"/>
            <ac:spMk id="63" creationId="{09962DE7-FED3-45A7-A785-60D4A1764C81}"/>
          </ac:spMkLst>
        </pc:spChg>
        <pc:spChg chg="mod">
          <ac:chgData name="Jean QUENTIN" userId="6962deb3-b639-4acd-8091-a0516ea2376b" providerId="ADAL" clId="{146BD8F6-FDDD-49D3-A1A6-146C954086FF}" dt="2021-05-24T13:36:20.043" v="4990" actId="790"/>
          <ac:spMkLst>
            <pc:docMk/>
            <pc:sldMk cId="3812200160" sldId="10324"/>
            <ac:spMk id="74" creationId="{DD8929B4-3FC0-4A80-B005-DECF49E5F03E}"/>
          </ac:spMkLst>
        </pc:spChg>
        <pc:spChg chg="mod">
          <ac:chgData name="Jean QUENTIN" userId="6962deb3-b639-4acd-8091-a0516ea2376b" providerId="ADAL" clId="{146BD8F6-FDDD-49D3-A1A6-146C954086FF}" dt="2021-05-24T13:36:20.043" v="4991" actId="790"/>
          <ac:spMkLst>
            <pc:docMk/>
            <pc:sldMk cId="3812200160" sldId="10324"/>
            <ac:spMk id="85" creationId="{2D2CFECC-1DAE-45A7-BC98-5B3781537431}"/>
          </ac:spMkLst>
        </pc:spChg>
        <pc:spChg chg="mod">
          <ac:chgData name="Jean QUENTIN" userId="6962deb3-b639-4acd-8091-a0516ea2376b" providerId="ADAL" clId="{146BD8F6-FDDD-49D3-A1A6-146C954086FF}" dt="2021-05-24T13:36:20.043" v="4992" actId="790"/>
          <ac:spMkLst>
            <pc:docMk/>
            <pc:sldMk cId="3812200160" sldId="10324"/>
            <ac:spMk id="91" creationId="{7D5F7D48-55E2-4B20-BCE4-576336C3156A}"/>
          </ac:spMkLst>
        </pc:spChg>
        <pc:spChg chg="mod">
          <ac:chgData name="Jean QUENTIN" userId="6962deb3-b639-4acd-8091-a0516ea2376b" providerId="ADAL" clId="{146BD8F6-FDDD-49D3-A1A6-146C954086FF}" dt="2021-05-24T13:36:20.059" v="4993" actId="790"/>
          <ac:spMkLst>
            <pc:docMk/>
            <pc:sldMk cId="3812200160" sldId="10324"/>
            <ac:spMk id="110" creationId="{D112EAE9-1C24-4AF0-B3DD-273BF2FF5A59}"/>
          </ac:spMkLst>
        </pc:spChg>
        <pc:spChg chg="mod">
          <ac:chgData name="Jean QUENTIN" userId="6962deb3-b639-4acd-8091-a0516ea2376b" providerId="ADAL" clId="{146BD8F6-FDDD-49D3-A1A6-146C954086FF}" dt="2021-05-24T13:36:20.059" v="4994" actId="790"/>
          <ac:spMkLst>
            <pc:docMk/>
            <pc:sldMk cId="3812200160" sldId="10324"/>
            <ac:spMk id="111" creationId="{9B916422-AB4B-4397-9CE1-E4BDD0AED7FE}"/>
          </ac:spMkLst>
        </pc:spChg>
        <pc:spChg chg="mod">
          <ac:chgData name="Jean QUENTIN" userId="6962deb3-b639-4acd-8091-a0516ea2376b" providerId="ADAL" clId="{146BD8F6-FDDD-49D3-A1A6-146C954086FF}" dt="2021-05-24T13:36:20.065" v="4995" actId="790"/>
          <ac:spMkLst>
            <pc:docMk/>
            <pc:sldMk cId="3812200160" sldId="10324"/>
            <ac:spMk id="122" creationId="{4BB1FB59-BBA0-4C1D-99BF-B17C66F28105}"/>
          </ac:spMkLst>
        </pc:spChg>
        <pc:spChg chg="mod">
          <ac:chgData name="Jean QUENTIN" userId="6962deb3-b639-4acd-8091-a0516ea2376b" providerId="ADAL" clId="{146BD8F6-FDDD-49D3-A1A6-146C954086FF}" dt="2021-05-24T13:36:20.065" v="4996" actId="790"/>
          <ac:spMkLst>
            <pc:docMk/>
            <pc:sldMk cId="3812200160" sldId="10324"/>
            <ac:spMk id="123" creationId="{BA1295D8-39D5-452E-8452-EBFDE65B613E}"/>
          </ac:spMkLst>
        </pc:spChg>
        <pc:spChg chg="mod">
          <ac:chgData name="Jean QUENTIN" userId="6962deb3-b639-4acd-8091-a0516ea2376b" providerId="ADAL" clId="{146BD8F6-FDDD-49D3-A1A6-146C954086FF}" dt="2021-05-24T13:36:20.065" v="4997" actId="790"/>
          <ac:spMkLst>
            <pc:docMk/>
            <pc:sldMk cId="3812200160" sldId="10324"/>
            <ac:spMk id="129" creationId="{41C22EBB-F88D-45C4-8EEC-7D82784A1DFD}"/>
          </ac:spMkLst>
        </pc:spChg>
        <pc:spChg chg="mod">
          <ac:chgData name="Jean QUENTIN" userId="6962deb3-b639-4acd-8091-a0516ea2376b" providerId="ADAL" clId="{146BD8F6-FDDD-49D3-A1A6-146C954086FF}" dt="2021-05-24T13:36:20.065" v="4998" actId="790"/>
          <ac:spMkLst>
            <pc:docMk/>
            <pc:sldMk cId="3812200160" sldId="10324"/>
            <ac:spMk id="130" creationId="{163A8F1B-F414-4330-AC35-FC60619A3D17}"/>
          </ac:spMkLst>
        </pc:spChg>
        <pc:spChg chg="mod">
          <ac:chgData name="Jean QUENTIN" userId="6962deb3-b639-4acd-8091-a0516ea2376b" providerId="ADAL" clId="{146BD8F6-FDDD-49D3-A1A6-146C954086FF}" dt="2021-05-24T13:36:20.081" v="5018" actId="790"/>
          <ac:spMkLst>
            <pc:docMk/>
            <pc:sldMk cId="3812200160" sldId="10324"/>
            <ac:spMk id="131" creationId="{F8E98C50-1E86-491D-9DCE-46388404D244}"/>
          </ac:spMkLst>
        </pc:spChg>
        <pc:spChg chg="mod">
          <ac:chgData name="Jean QUENTIN" userId="6962deb3-b639-4acd-8091-a0516ea2376b" providerId="ADAL" clId="{146BD8F6-FDDD-49D3-A1A6-146C954086FF}" dt="2021-05-24T13:36:20.065" v="4999" actId="790"/>
          <ac:spMkLst>
            <pc:docMk/>
            <pc:sldMk cId="3812200160" sldId="10324"/>
            <ac:spMk id="132" creationId="{1A3DE5F6-DC50-4B3E-8712-4F7931E9D3D4}"/>
          </ac:spMkLst>
        </pc:spChg>
        <pc:spChg chg="mod">
          <ac:chgData name="Jean QUENTIN" userId="6962deb3-b639-4acd-8091-a0516ea2376b" providerId="ADAL" clId="{146BD8F6-FDDD-49D3-A1A6-146C954086FF}" dt="2021-05-24T13:36:20.065" v="5000" actId="790"/>
          <ac:spMkLst>
            <pc:docMk/>
            <pc:sldMk cId="3812200160" sldId="10324"/>
            <ac:spMk id="133" creationId="{DC661DF3-2B60-4258-8A3C-6DA55E7974BD}"/>
          </ac:spMkLst>
        </pc:spChg>
        <pc:spChg chg="mod">
          <ac:chgData name="Jean QUENTIN" userId="6962deb3-b639-4acd-8091-a0516ea2376b" providerId="ADAL" clId="{146BD8F6-FDDD-49D3-A1A6-146C954086FF}" dt="2021-05-24T13:36:20.065" v="5001" actId="790"/>
          <ac:spMkLst>
            <pc:docMk/>
            <pc:sldMk cId="3812200160" sldId="10324"/>
            <ac:spMk id="134" creationId="{D5795A40-7B7E-4315-876A-A38D6610B661}"/>
          </ac:spMkLst>
        </pc:spChg>
        <pc:spChg chg="mod">
          <ac:chgData name="Jean QUENTIN" userId="6962deb3-b639-4acd-8091-a0516ea2376b" providerId="ADAL" clId="{146BD8F6-FDDD-49D3-A1A6-146C954086FF}" dt="2021-05-24T13:36:20.128" v="5047" actId="790"/>
          <ac:spMkLst>
            <pc:docMk/>
            <pc:sldMk cId="3812200160" sldId="10324"/>
            <ac:spMk id="135" creationId="{FD862AA3-AF38-4B7A-971E-323EE96133C2}"/>
          </ac:spMkLst>
        </pc:spChg>
        <pc:spChg chg="mod">
          <ac:chgData name="Jean QUENTIN" userId="6962deb3-b639-4acd-8091-a0516ea2376b" providerId="ADAL" clId="{146BD8F6-FDDD-49D3-A1A6-146C954086FF}" dt="2021-05-24T13:36:20.065" v="5002" actId="790"/>
          <ac:spMkLst>
            <pc:docMk/>
            <pc:sldMk cId="3812200160" sldId="10324"/>
            <ac:spMk id="136" creationId="{005E694E-10BD-41C7-B221-883736CCCEFB}"/>
          </ac:spMkLst>
        </pc:spChg>
        <pc:spChg chg="mod">
          <ac:chgData name="Jean QUENTIN" userId="6962deb3-b639-4acd-8091-a0516ea2376b" providerId="ADAL" clId="{146BD8F6-FDDD-49D3-A1A6-146C954086FF}" dt="2021-05-24T13:36:20.065" v="5004" actId="790"/>
          <ac:spMkLst>
            <pc:docMk/>
            <pc:sldMk cId="3812200160" sldId="10324"/>
            <ac:spMk id="137" creationId="{AF67C425-8708-4B3E-9B2A-E5C85D989489}"/>
          </ac:spMkLst>
        </pc:spChg>
        <pc:spChg chg="mod">
          <ac:chgData name="Jean QUENTIN" userId="6962deb3-b639-4acd-8091-a0516ea2376b" providerId="ADAL" clId="{146BD8F6-FDDD-49D3-A1A6-146C954086FF}" dt="2021-05-24T13:36:20.081" v="5020" actId="790"/>
          <ac:spMkLst>
            <pc:docMk/>
            <pc:sldMk cId="3812200160" sldId="10324"/>
            <ac:spMk id="139" creationId="{D81795AE-6E56-400B-B079-B0B457EC71B9}"/>
          </ac:spMkLst>
        </pc:spChg>
        <pc:spChg chg="mod">
          <ac:chgData name="Jean QUENTIN" userId="6962deb3-b639-4acd-8091-a0516ea2376b" providerId="ADAL" clId="{146BD8F6-FDDD-49D3-A1A6-146C954086FF}" dt="2021-05-24T13:36:20.096" v="5021" actId="790"/>
          <ac:spMkLst>
            <pc:docMk/>
            <pc:sldMk cId="3812200160" sldId="10324"/>
            <ac:spMk id="140" creationId="{D67E5A69-EEF9-4466-B400-1F4314F96908}"/>
          </ac:spMkLst>
        </pc:spChg>
        <pc:spChg chg="mod">
          <ac:chgData name="Jean QUENTIN" userId="6962deb3-b639-4acd-8091-a0516ea2376b" providerId="ADAL" clId="{146BD8F6-FDDD-49D3-A1A6-146C954086FF}" dt="2021-05-24T13:36:20.096" v="5022" actId="790"/>
          <ac:spMkLst>
            <pc:docMk/>
            <pc:sldMk cId="3812200160" sldId="10324"/>
            <ac:spMk id="141" creationId="{F17F2A21-E008-48DD-B2E8-A16930C7D703}"/>
          </ac:spMkLst>
        </pc:spChg>
        <pc:spChg chg="mod">
          <ac:chgData name="Jean QUENTIN" userId="6962deb3-b639-4acd-8091-a0516ea2376b" providerId="ADAL" clId="{146BD8F6-FDDD-49D3-A1A6-146C954086FF}" dt="2021-05-24T13:36:20.096" v="5023" actId="790"/>
          <ac:spMkLst>
            <pc:docMk/>
            <pc:sldMk cId="3812200160" sldId="10324"/>
            <ac:spMk id="142" creationId="{CEC60E3F-428F-4D01-91EC-F6C8001FE3D1}"/>
          </ac:spMkLst>
        </pc:spChg>
        <pc:spChg chg="mod">
          <ac:chgData name="Jean QUENTIN" userId="6962deb3-b639-4acd-8091-a0516ea2376b" providerId="ADAL" clId="{146BD8F6-FDDD-49D3-A1A6-146C954086FF}" dt="2021-05-24T13:36:20.128" v="5048" actId="790"/>
          <ac:spMkLst>
            <pc:docMk/>
            <pc:sldMk cId="3812200160" sldId="10324"/>
            <ac:spMk id="143" creationId="{F7488878-04D1-4389-A4F8-1D88F29777F1}"/>
          </ac:spMkLst>
        </pc:spChg>
        <pc:spChg chg="mod">
          <ac:chgData name="Jean QUENTIN" userId="6962deb3-b639-4acd-8091-a0516ea2376b" providerId="ADAL" clId="{146BD8F6-FDDD-49D3-A1A6-146C954086FF}" dt="2021-05-24T13:36:20.128" v="5049" actId="790"/>
          <ac:spMkLst>
            <pc:docMk/>
            <pc:sldMk cId="3812200160" sldId="10324"/>
            <ac:spMk id="144" creationId="{D56AE4E1-BC53-4099-9A45-97E9D932BCAC}"/>
          </ac:spMkLst>
        </pc:spChg>
        <pc:spChg chg="mod">
          <ac:chgData name="Jean QUENTIN" userId="6962deb3-b639-4acd-8091-a0516ea2376b" providerId="ADAL" clId="{146BD8F6-FDDD-49D3-A1A6-146C954086FF}" dt="2021-05-24T13:36:20.112" v="5038" actId="790"/>
          <ac:spMkLst>
            <pc:docMk/>
            <pc:sldMk cId="3812200160" sldId="10324"/>
            <ac:spMk id="145" creationId="{F15D3BB1-159B-47EC-922F-EB80675D3EEC}"/>
          </ac:spMkLst>
        </pc:spChg>
        <pc:spChg chg="mod">
          <ac:chgData name="Jean QUENTIN" userId="6962deb3-b639-4acd-8091-a0516ea2376b" providerId="ADAL" clId="{146BD8F6-FDDD-49D3-A1A6-146C954086FF}" dt="2021-05-24T13:36:20.128" v="5050" actId="790"/>
          <ac:spMkLst>
            <pc:docMk/>
            <pc:sldMk cId="3812200160" sldId="10324"/>
            <ac:spMk id="146" creationId="{CB1AFC02-2042-4393-936C-35B65A386EA5}"/>
          </ac:spMkLst>
        </pc:spChg>
        <pc:spChg chg="mod">
          <ac:chgData name="Jean QUENTIN" userId="6962deb3-b639-4acd-8091-a0516ea2376b" providerId="ADAL" clId="{146BD8F6-FDDD-49D3-A1A6-146C954086FF}" dt="2021-05-24T13:36:20.112" v="5042" actId="790"/>
          <ac:spMkLst>
            <pc:docMk/>
            <pc:sldMk cId="3812200160" sldId="10324"/>
            <ac:spMk id="147" creationId="{CCF21D30-C589-4543-B239-440CDB562FB9}"/>
          </ac:spMkLst>
        </pc:spChg>
        <pc:spChg chg="mod">
          <ac:chgData name="Jean QUENTIN" userId="6962deb3-b639-4acd-8091-a0516ea2376b" providerId="ADAL" clId="{146BD8F6-FDDD-49D3-A1A6-146C954086FF}" dt="2021-05-24T13:36:20.112" v="5035" actId="790"/>
          <ac:spMkLst>
            <pc:docMk/>
            <pc:sldMk cId="3812200160" sldId="10324"/>
            <ac:spMk id="148" creationId="{EBB51B76-CB68-42F5-97A6-FBBED1871205}"/>
          </ac:spMkLst>
        </pc:spChg>
        <pc:spChg chg="mod">
          <ac:chgData name="Jean QUENTIN" userId="6962deb3-b639-4acd-8091-a0516ea2376b" providerId="ADAL" clId="{146BD8F6-FDDD-49D3-A1A6-146C954086FF}" dt="2021-05-24T13:36:20.112" v="5036" actId="790"/>
          <ac:spMkLst>
            <pc:docMk/>
            <pc:sldMk cId="3812200160" sldId="10324"/>
            <ac:spMk id="149" creationId="{E8255177-A877-4442-95F5-4D3D40779B46}"/>
          </ac:spMkLst>
        </pc:spChg>
        <pc:spChg chg="mod">
          <ac:chgData name="Jean QUENTIN" userId="6962deb3-b639-4acd-8091-a0516ea2376b" providerId="ADAL" clId="{146BD8F6-FDDD-49D3-A1A6-146C954086FF}" dt="2021-05-24T13:36:20.112" v="5037" actId="790"/>
          <ac:spMkLst>
            <pc:docMk/>
            <pc:sldMk cId="3812200160" sldId="10324"/>
            <ac:spMk id="150" creationId="{06FE88BA-F1AE-4935-87DB-1EA9528E630D}"/>
          </ac:spMkLst>
        </pc:spChg>
        <pc:spChg chg="mod">
          <ac:chgData name="Jean QUENTIN" userId="6962deb3-b639-4acd-8091-a0516ea2376b" providerId="ADAL" clId="{146BD8F6-FDDD-49D3-A1A6-146C954086FF}" dt="2021-05-24T13:36:20.112" v="5039" actId="790"/>
          <ac:spMkLst>
            <pc:docMk/>
            <pc:sldMk cId="3812200160" sldId="10324"/>
            <ac:spMk id="151" creationId="{945919F5-1F6F-4979-90CA-397384E59334}"/>
          </ac:spMkLst>
        </pc:spChg>
        <pc:spChg chg="mod">
          <ac:chgData name="Jean QUENTIN" userId="6962deb3-b639-4acd-8091-a0516ea2376b" providerId="ADAL" clId="{146BD8F6-FDDD-49D3-A1A6-146C954086FF}" dt="2021-05-24T13:36:20.112" v="5040" actId="790"/>
          <ac:spMkLst>
            <pc:docMk/>
            <pc:sldMk cId="3812200160" sldId="10324"/>
            <ac:spMk id="152" creationId="{2D48A5B8-C2CC-4F3A-B66A-BB33615C274E}"/>
          </ac:spMkLst>
        </pc:spChg>
        <pc:spChg chg="mod">
          <ac:chgData name="Jean QUENTIN" userId="6962deb3-b639-4acd-8091-a0516ea2376b" providerId="ADAL" clId="{146BD8F6-FDDD-49D3-A1A6-146C954086FF}" dt="2021-05-24T13:36:20.112" v="5043" actId="790"/>
          <ac:spMkLst>
            <pc:docMk/>
            <pc:sldMk cId="3812200160" sldId="10324"/>
            <ac:spMk id="153" creationId="{6069B520-1F77-45E7-BE1C-AF4ABF40CC36}"/>
          </ac:spMkLst>
        </pc:spChg>
        <pc:spChg chg="mod">
          <ac:chgData name="Jean QUENTIN" userId="6962deb3-b639-4acd-8091-a0516ea2376b" providerId="ADAL" clId="{146BD8F6-FDDD-49D3-A1A6-146C954086FF}" dt="2021-05-24T13:36:20.128" v="5044" actId="790"/>
          <ac:spMkLst>
            <pc:docMk/>
            <pc:sldMk cId="3812200160" sldId="10324"/>
            <ac:spMk id="154" creationId="{1C3C88C2-890C-4033-A44F-07984ADACF1E}"/>
          </ac:spMkLst>
        </pc:spChg>
        <pc:spChg chg="mod">
          <ac:chgData name="Jean QUENTIN" userId="6962deb3-b639-4acd-8091-a0516ea2376b" providerId="ADAL" clId="{146BD8F6-FDDD-49D3-A1A6-146C954086FF}" dt="2021-05-24T13:36:20.128" v="5045" actId="790"/>
          <ac:spMkLst>
            <pc:docMk/>
            <pc:sldMk cId="3812200160" sldId="10324"/>
            <ac:spMk id="155" creationId="{603032E7-E878-4838-BCFE-A23E1846D45A}"/>
          </ac:spMkLst>
        </pc:spChg>
        <pc:spChg chg="mod">
          <ac:chgData name="Jean QUENTIN" userId="6962deb3-b639-4acd-8091-a0516ea2376b" providerId="ADAL" clId="{146BD8F6-FDDD-49D3-A1A6-146C954086FF}" dt="2021-05-24T13:36:20.128" v="5046" actId="790"/>
          <ac:spMkLst>
            <pc:docMk/>
            <pc:sldMk cId="3812200160" sldId="10324"/>
            <ac:spMk id="156" creationId="{006E1FAA-A1D7-4C4C-875A-40103B24FEA4}"/>
          </ac:spMkLst>
        </pc:spChg>
        <pc:spChg chg="mod">
          <ac:chgData name="Jean QUENTIN" userId="6962deb3-b639-4acd-8091-a0516ea2376b" providerId="ADAL" clId="{146BD8F6-FDDD-49D3-A1A6-146C954086FF}" dt="2021-05-24T13:36:20.128" v="5051" actId="790"/>
          <ac:spMkLst>
            <pc:docMk/>
            <pc:sldMk cId="3812200160" sldId="10324"/>
            <ac:spMk id="157" creationId="{A416B439-E09F-4FEA-A65A-8F2414D40144}"/>
          </ac:spMkLst>
        </pc:spChg>
        <pc:spChg chg="mod">
          <ac:chgData name="Jean QUENTIN" userId="6962deb3-b639-4acd-8091-a0516ea2376b" providerId="ADAL" clId="{146BD8F6-FDDD-49D3-A1A6-146C954086FF}" dt="2021-05-24T13:36:20.128" v="5052" actId="790"/>
          <ac:spMkLst>
            <pc:docMk/>
            <pc:sldMk cId="3812200160" sldId="10324"/>
            <ac:spMk id="158" creationId="{09DF8D2C-9A8D-4BA6-96C6-E31AD19683BC}"/>
          </ac:spMkLst>
        </pc:spChg>
        <pc:spChg chg="mod">
          <ac:chgData name="Jean QUENTIN" userId="6962deb3-b639-4acd-8091-a0516ea2376b" providerId="ADAL" clId="{146BD8F6-FDDD-49D3-A1A6-146C954086FF}" dt="2021-05-24T13:36:20.065" v="5005" actId="790"/>
          <ac:spMkLst>
            <pc:docMk/>
            <pc:sldMk cId="3812200160" sldId="10324"/>
            <ac:spMk id="160" creationId="{A8A94204-7780-44D2-9F69-E6D88D81CCC9}"/>
          </ac:spMkLst>
        </pc:spChg>
        <pc:spChg chg="mod">
          <ac:chgData name="Jean QUENTIN" userId="6962deb3-b639-4acd-8091-a0516ea2376b" providerId="ADAL" clId="{146BD8F6-FDDD-49D3-A1A6-146C954086FF}" dt="2021-05-24T13:36:20.065" v="5006" actId="790"/>
          <ac:spMkLst>
            <pc:docMk/>
            <pc:sldMk cId="3812200160" sldId="10324"/>
            <ac:spMk id="162" creationId="{7C77AD03-3049-47E7-8DA8-DA2A5283D6AD}"/>
          </ac:spMkLst>
        </pc:spChg>
        <pc:spChg chg="mod">
          <ac:chgData name="Jean QUENTIN" userId="6962deb3-b639-4acd-8091-a0516ea2376b" providerId="ADAL" clId="{146BD8F6-FDDD-49D3-A1A6-146C954086FF}" dt="2021-05-24T13:36:20.065" v="5007" actId="790"/>
          <ac:spMkLst>
            <pc:docMk/>
            <pc:sldMk cId="3812200160" sldId="10324"/>
            <ac:spMk id="164" creationId="{93C1D0C1-3E96-4568-A5A8-D1E40A41B534}"/>
          </ac:spMkLst>
        </pc:spChg>
        <pc:spChg chg="mod">
          <ac:chgData name="Jean QUENTIN" userId="6962deb3-b639-4acd-8091-a0516ea2376b" providerId="ADAL" clId="{146BD8F6-FDDD-49D3-A1A6-146C954086FF}" dt="2021-05-24T13:36:20.081" v="5008" actId="790"/>
          <ac:spMkLst>
            <pc:docMk/>
            <pc:sldMk cId="3812200160" sldId="10324"/>
            <ac:spMk id="165" creationId="{04CC173B-ACB2-4E38-A71A-E7D9BE239612}"/>
          </ac:spMkLst>
        </pc:spChg>
        <pc:spChg chg="mod">
          <ac:chgData name="Jean QUENTIN" userId="6962deb3-b639-4acd-8091-a0516ea2376b" providerId="ADAL" clId="{146BD8F6-FDDD-49D3-A1A6-146C954086FF}" dt="2021-05-24T13:36:20.081" v="5009" actId="790"/>
          <ac:spMkLst>
            <pc:docMk/>
            <pc:sldMk cId="3812200160" sldId="10324"/>
            <ac:spMk id="166" creationId="{408328D6-F8C9-4E92-BD84-F73B4B2AC62C}"/>
          </ac:spMkLst>
        </pc:spChg>
        <pc:spChg chg="mod">
          <ac:chgData name="Jean QUENTIN" userId="6962deb3-b639-4acd-8091-a0516ea2376b" providerId="ADAL" clId="{146BD8F6-FDDD-49D3-A1A6-146C954086FF}" dt="2021-05-24T13:36:20.081" v="5010" actId="790"/>
          <ac:spMkLst>
            <pc:docMk/>
            <pc:sldMk cId="3812200160" sldId="10324"/>
            <ac:spMk id="167" creationId="{17EE3082-4468-4DEE-B266-46A543DCABD0}"/>
          </ac:spMkLst>
        </pc:spChg>
        <pc:spChg chg="mod">
          <ac:chgData name="Jean QUENTIN" userId="6962deb3-b639-4acd-8091-a0516ea2376b" providerId="ADAL" clId="{146BD8F6-FDDD-49D3-A1A6-146C954086FF}" dt="2021-05-24T13:36:20.081" v="5011" actId="790"/>
          <ac:spMkLst>
            <pc:docMk/>
            <pc:sldMk cId="3812200160" sldId="10324"/>
            <ac:spMk id="168" creationId="{28407757-D3B7-4C31-94D2-92CD0D0F6FE6}"/>
          </ac:spMkLst>
        </pc:spChg>
        <pc:spChg chg="mod">
          <ac:chgData name="Jean QUENTIN" userId="6962deb3-b639-4acd-8091-a0516ea2376b" providerId="ADAL" clId="{146BD8F6-FDDD-49D3-A1A6-146C954086FF}" dt="2021-05-24T13:36:20.081" v="5012" actId="790"/>
          <ac:spMkLst>
            <pc:docMk/>
            <pc:sldMk cId="3812200160" sldId="10324"/>
            <ac:spMk id="169" creationId="{4F9ED36F-6688-4A56-91E4-07C47EF29B36}"/>
          </ac:spMkLst>
        </pc:spChg>
        <pc:spChg chg="mod">
          <ac:chgData name="Jean QUENTIN" userId="6962deb3-b639-4acd-8091-a0516ea2376b" providerId="ADAL" clId="{146BD8F6-FDDD-49D3-A1A6-146C954086FF}" dt="2021-05-24T13:36:20.081" v="5013" actId="790"/>
          <ac:spMkLst>
            <pc:docMk/>
            <pc:sldMk cId="3812200160" sldId="10324"/>
            <ac:spMk id="170" creationId="{15723705-43BD-4D59-894C-26527F3480E1}"/>
          </ac:spMkLst>
        </pc:spChg>
        <pc:spChg chg="mod">
          <ac:chgData name="Jean QUENTIN" userId="6962deb3-b639-4acd-8091-a0516ea2376b" providerId="ADAL" clId="{146BD8F6-FDDD-49D3-A1A6-146C954086FF}" dt="2021-05-24T13:36:20.081" v="5014" actId="790"/>
          <ac:spMkLst>
            <pc:docMk/>
            <pc:sldMk cId="3812200160" sldId="10324"/>
            <ac:spMk id="172" creationId="{F63C3E3D-03B5-45E4-AE5F-8218AD68B59F}"/>
          </ac:spMkLst>
        </pc:spChg>
        <pc:spChg chg="mod">
          <ac:chgData name="Jean QUENTIN" userId="6962deb3-b639-4acd-8091-a0516ea2376b" providerId="ADAL" clId="{146BD8F6-FDDD-49D3-A1A6-146C954086FF}" dt="2021-05-24T13:36:20.081" v="5015" actId="790"/>
          <ac:spMkLst>
            <pc:docMk/>
            <pc:sldMk cId="3812200160" sldId="10324"/>
            <ac:spMk id="173" creationId="{B47A53C0-6120-4845-A424-B0DE21ABFD5A}"/>
          </ac:spMkLst>
        </pc:spChg>
        <pc:spChg chg="mod">
          <ac:chgData name="Jean QUENTIN" userId="6962deb3-b639-4acd-8091-a0516ea2376b" providerId="ADAL" clId="{146BD8F6-FDDD-49D3-A1A6-146C954086FF}" dt="2021-05-24T13:36:20.096" v="5024" actId="790"/>
          <ac:spMkLst>
            <pc:docMk/>
            <pc:sldMk cId="3812200160" sldId="10324"/>
            <ac:spMk id="174" creationId="{AA773D3A-551D-462E-A85C-1540A9EA2436}"/>
          </ac:spMkLst>
        </pc:spChg>
        <pc:spChg chg="mod">
          <ac:chgData name="Jean QUENTIN" userId="6962deb3-b639-4acd-8091-a0516ea2376b" providerId="ADAL" clId="{146BD8F6-FDDD-49D3-A1A6-146C954086FF}" dt="2021-05-24T13:36:20.081" v="5016" actId="790"/>
          <ac:spMkLst>
            <pc:docMk/>
            <pc:sldMk cId="3812200160" sldId="10324"/>
            <ac:spMk id="175" creationId="{FDB066EE-C818-4367-A745-02F85B173916}"/>
          </ac:spMkLst>
        </pc:spChg>
        <pc:spChg chg="mod">
          <ac:chgData name="Jean QUENTIN" userId="6962deb3-b639-4acd-8091-a0516ea2376b" providerId="ADAL" clId="{146BD8F6-FDDD-49D3-A1A6-146C954086FF}" dt="2021-05-24T13:36:20.081" v="5017" actId="790"/>
          <ac:spMkLst>
            <pc:docMk/>
            <pc:sldMk cId="3812200160" sldId="10324"/>
            <ac:spMk id="180" creationId="{FEB4CC53-2CBE-4D11-A1A1-337C72BD1095}"/>
          </ac:spMkLst>
        </pc:spChg>
        <pc:spChg chg="mod">
          <ac:chgData name="Jean QUENTIN" userId="6962deb3-b639-4acd-8091-a0516ea2376b" providerId="ADAL" clId="{146BD8F6-FDDD-49D3-A1A6-146C954086FF}" dt="2021-05-24T13:36:20.112" v="5034" actId="790"/>
          <ac:spMkLst>
            <pc:docMk/>
            <pc:sldMk cId="3812200160" sldId="10324"/>
            <ac:spMk id="193" creationId="{9E4141DE-4A79-4509-A482-38EBBF749B2F}"/>
          </ac:spMkLst>
        </pc:spChg>
        <pc:spChg chg="mod">
          <ac:chgData name="Jean QUENTIN" userId="6962deb3-b639-4acd-8091-a0516ea2376b" providerId="ADAL" clId="{146BD8F6-FDDD-49D3-A1A6-146C954086FF}" dt="2021-05-24T13:36:20.112" v="5041" actId="790"/>
          <ac:spMkLst>
            <pc:docMk/>
            <pc:sldMk cId="3812200160" sldId="10324"/>
            <ac:spMk id="203" creationId="{66C82CEB-26AA-4A34-B009-15C754ADD95F}"/>
          </ac:spMkLst>
        </pc:spChg>
        <pc:spChg chg="mod">
          <ac:chgData name="Jean QUENTIN" userId="6962deb3-b639-4acd-8091-a0516ea2376b" providerId="ADAL" clId="{146BD8F6-FDDD-49D3-A1A6-146C954086FF}" dt="2021-05-24T13:36:20.096" v="5025" actId="790"/>
          <ac:spMkLst>
            <pc:docMk/>
            <pc:sldMk cId="3812200160" sldId="10324"/>
            <ac:spMk id="204" creationId="{B9E50749-E979-4C7E-8561-0FD702BC8F6C}"/>
          </ac:spMkLst>
        </pc:spChg>
        <pc:spChg chg="mod">
          <ac:chgData name="Jean QUENTIN" userId="6962deb3-b639-4acd-8091-a0516ea2376b" providerId="ADAL" clId="{146BD8F6-FDDD-49D3-A1A6-146C954086FF}" dt="2021-05-24T13:36:20.096" v="5026" actId="790"/>
          <ac:spMkLst>
            <pc:docMk/>
            <pc:sldMk cId="3812200160" sldId="10324"/>
            <ac:spMk id="205" creationId="{9425B00E-AD18-47AF-89FD-B1C93C3D8803}"/>
          </ac:spMkLst>
        </pc:spChg>
        <pc:spChg chg="mod">
          <ac:chgData name="Jean QUENTIN" userId="6962deb3-b639-4acd-8091-a0516ea2376b" providerId="ADAL" clId="{146BD8F6-FDDD-49D3-A1A6-146C954086FF}" dt="2021-05-24T13:36:20.096" v="5027" actId="790"/>
          <ac:spMkLst>
            <pc:docMk/>
            <pc:sldMk cId="3812200160" sldId="10324"/>
            <ac:spMk id="206" creationId="{8273D81A-6766-4312-B496-D03B81AC9BBC}"/>
          </ac:spMkLst>
        </pc:spChg>
        <pc:spChg chg="mod">
          <ac:chgData name="Jean QUENTIN" userId="6962deb3-b639-4acd-8091-a0516ea2376b" providerId="ADAL" clId="{146BD8F6-FDDD-49D3-A1A6-146C954086FF}" dt="2021-05-24T13:36:20.096" v="5028" actId="790"/>
          <ac:spMkLst>
            <pc:docMk/>
            <pc:sldMk cId="3812200160" sldId="10324"/>
            <ac:spMk id="207" creationId="{A933E967-1C72-464C-8FDF-9DFEC63FFCA6}"/>
          </ac:spMkLst>
        </pc:spChg>
        <pc:spChg chg="mod">
          <ac:chgData name="Jean QUENTIN" userId="6962deb3-b639-4acd-8091-a0516ea2376b" providerId="ADAL" clId="{146BD8F6-FDDD-49D3-A1A6-146C954086FF}" dt="2021-05-24T13:36:20.096" v="5029" actId="790"/>
          <ac:spMkLst>
            <pc:docMk/>
            <pc:sldMk cId="3812200160" sldId="10324"/>
            <ac:spMk id="208" creationId="{20BA7029-F038-4867-9622-E4D9CE90F684}"/>
          </ac:spMkLst>
        </pc:spChg>
        <pc:spChg chg="mod">
          <ac:chgData name="Jean QUENTIN" userId="6962deb3-b639-4acd-8091-a0516ea2376b" providerId="ADAL" clId="{146BD8F6-FDDD-49D3-A1A6-146C954086FF}" dt="2021-05-24T13:36:20.096" v="5030" actId="790"/>
          <ac:spMkLst>
            <pc:docMk/>
            <pc:sldMk cId="3812200160" sldId="10324"/>
            <ac:spMk id="209" creationId="{62BFE40B-D8D4-4437-85DD-9E87507AB151}"/>
          </ac:spMkLst>
        </pc:spChg>
        <pc:spChg chg="mod">
          <ac:chgData name="Jean QUENTIN" userId="6962deb3-b639-4acd-8091-a0516ea2376b" providerId="ADAL" clId="{146BD8F6-FDDD-49D3-A1A6-146C954086FF}" dt="2021-05-24T13:36:20.112" v="5031" actId="790"/>
          <ac:spMkLst>
            <pc:docMk/>
            <pc:sldMk cId="3812200160" sldId="10324"/>
            <ac:spMk id="213" creationId="{41EC974A-FB49-45E0-8A39-D090AE5F5C76}"/>
          </ac:spMkLst>
        </pc:spChg>
        <pc:spChg chg="mod">
          <ac:chgData name="Jean QUENTIN" userId="6962deb3-b639-4acd-8091-a0516ea2376b" providerId="ADAL" clId="{146BD8F6-FDDD-49D3-A1A6-146C954086FF}" dt="2021-05-24T13:36:20.112" v="5032" actId="790"/>
          <ac:spMkLst>
            <pc:docMk/>
            <pc:sldMk cId="3812200160" sldId="10324"/>
            <ac:spMk id="214" creationId="{B54C460B-4B10-4BF9-9EFF-2D814845DF1B}"/>
          </ac:spMkLst>
        </pc:spChg>
        <pc:spChg chg="mod">
          <ac:chgData name="Jean QUENTIN" userId="6962deb3-b639-4acd-8091-a0516ea2376b" providerId="ADAL" clId="{146BD8F6-FDDD-49D3-A1A6-146C954086FF}" dt="2021-05-24T13:36:20.112" v="5033" actId="790"/>
          <ac:spMkLst>
            <pc:docMk/>
            <pc:sldMk cId="3812200160" sldId="10324"/>
            <ac:spMk id="220" creationId="{4007CE4A-35CC-4574-B129-C8CD16A428D5}"/>
          </ac:spMkLst>
        </pc:spChg>
      </pc:sldChg>
      <pc:sldChg chg="modSp mod">
        <pc:chgData name="Jean QUENTIN" userId="6962deb3-b639-4acd-8091-a0516ea2376b" providerId="ADAL" clId="{146BD8F6-FDDD-49D3-A1A6-146C954086FF}" dt="2021-05-24T13:36:19.210" v="4478" actId="790"/>
        <pc:sldMkLst>
          <pc:docMk/>
          <pc:sldMk cId="738382440" sldId="10326"/>
        </pc:sldMkLst>
        <pc:spChg chg="mod">
          <ac:chgData name="Jean QUENTIN" userId="6962deb3-b639-4acd-8091-a0516ea2376b" providerId="ADAL" clId="{146BD8F6-FDDD-49D3-A1A6-146C954086FF}" dt="2021-05-24T13:36:19.194" v="4471" actId="790"/>
          <ac:spMkLst>
            <pc:docMk/>
            <pc:sldMk cId="738382440" sldId="10326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19.194" v="4472" actId="790"/>
          <ac:spMkLst>
            <pc:docMk/>
            <pc:sldMk cId="738382440" sldId="10326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19.194" v="4473" actId="790"/>
          <ac:spMkLst>
            <pc:docMk/>
            <pc:sldMk cId="738382440" sldId="10326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19.210" v="4478" actId="790"/>
          <ac:spMkLst>
            <pc:docMk/>
            <pc:sldMk cId="738382440" sldId="10326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19.194" v="4474" actId="790"/>
          <ac:spMkLst>
            <pc:docMk/>
            <pc:sldMk cId="738382440" sldId="10326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19.194" v="4475" actId="790"/>
          <ac:spMkLst>
            <pc:docMk/>
            <pc:sldMk cId="738382440" sldId="10326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19.210" v="4476" actId="790"/>
          <ac:spMkLst>
            <pc:docMk/>
            <pc:sldMk cId="738382440" sldId="10326"/>
            <ac:spMk id="22" creationId="{C002634F-3FA9-4AC3-90E2-0D253FC97BF7}"/>
          </ac:spMkLst>
        </pc:spChg>
        <pc:spChg chg="mod">
          <ac:chgData name="Jean QUENTIN" userId="6962deb3-b639-4acd-8091-a0516ea2376b" providerId="ADAL" clId="{146BD8F6-FDDD-49D3-A1A6-146C954086FF}" dt="2021-05-24T13:36:19.210" v="4477" actId="790"/>
          <ac:spMkLst>
            <pc:docMk/>
            <pc:sldMk cId="738382440" sldId="10326"/>
            <ac:spMk id="24" creationId="{9523976D-7994-4445-A7A3-F04F6C533708}"/>
          </ac:spMkLst>
        </pc:spChg>
      </pc:sldChg>
      <pc:sldChg chg="modSp mod">
        <pc:chgData name="Jean QUENTIN" userId="6962deb3-b639-4acd-8091-a0516ea2376b" providerId="ADAL" clId="{146BD8F6-FDDD-49D3-A1A6-146C954086FF}" dt="2021-05-24T13:36:21.015" v="5488" actId="790"/>
        <pc:sldMkLst>
          <pc:docMk/>
          <pc:sldMk cId="1730204151" sldId="10328"/>
        </pc:sldMkLst>
        <pc:spChg chg="mod">
          <ac:chgData name="Jean QUENTIN" userId="6962deb3-b639-4acd-8091-a0516ea2376b" providerId="ADAL" clId="{146BD8F6-FDDD-49D3-A1A6-146C954086FF}" dt="2021-05-24T13:36:20.983" v="5481" actId="790"/>
          <ac:spMkLst>
            <pc:docMk/>
            <pc:sldMk cId="1730204151" sldId="10328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20.999" v="5482" actId="790"/>
          <ac:spMkLst>
            <pc:docMk/>
            <pc:sldMk cId="1730204151" sldId="10328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20.999" v="5483" actId="790"/>
          <ac:spMkLst>
            <pc:docMk/>
            <pc:sldMk cId="1730204151" sldId="10328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21.015" v="5488" actId="790"/>
          <ac:spMkLst>
            <pc:docMk/>
            <pc:sldMk cId="1730204151" sldId="10328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20.999" v="5484" actId="790"/>
          <ac:spMkLst>
            <pc:docMk/>
            <pc:sldMk cId="1730204151" sldId="10328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20.999" v="5485" actId="790"/>
          <ac:spMkLst>
            <pc:docMk/>
            <pc:sldMk cId="1730204151" sldId="10328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21.015" v="5486" actId="790"/>
          <ac:spMkLst>
            <pc:docMk/>
            <pc:sldMk cId="1730204151" sldId="10328"/>
            <ac:spMk id="24" creationId="{9523976D-7994-4445-A7A3-F04F6C533708}"/>
          </ac:spMkLst>
        </pc:spChg>
        <pc:spChg chg="mod">
          <ac:chgData name="Jean QUENTIN" userId="6962deb3-b639-4acd-8091-a0516ea2376b" providerId="ADAL" clId="{146BD8F6-FDDD-49D3-A1A6-146C954086FF}" dt="2021-05-24T13:36:21.015" v="5487" actId="790"/>
          <ac:spMkLst>
            <pc:docMk/>
            <pc:sldMk cId="1730204151" sldId="10328"/>
            <ac:spMk id="26" creationId="{D70D99D8-5440-4867-B8A0-57942A3EA3D2}"/>
          </ac:spMkLst>
        </pc:spChg>
      </pc:sldChg>
      <pc:sldChg chg="modSp mod">
        <pc:chgData name="Jean QUENTIN" userId="6962deb3-b639-4acd-8091-a0516ea2376b" providerId="ADAL" clId="{146BD8F6-FDDD-49D3-A1A6-146C954086FF}" dt="2021-05-24T13:36:23.452" v="6569" actId="790"/>
        <pc:sldMkLst>
          <pc:docMk/>
          <pc:sldMk cId="2667120321" sldId="10329"/>
        </pc:sldMkLst>
        <pc:spChg chg="mod">
          <ac:chgData name="Jean QUENTIN" userId="6962deb3-b639-4acd-8091-a0516ea2376b" providerId="ADAL" clId="{146BD8F6-FDDD-49D3-A1A6-146C954086FF}" dt="2021-05-24T13:36:23.374" v="6536" actId="790"/>
          <ac:spMkLst>
            <pc:docMk/>
            <pc:sldMk cId="2667120321" sldId="10329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23.367" v="6530" actId="790"/>
          <ac:spMkLst>
            <pc:docMk/>
            <pc:sldMk cId="2667120321" sldId="10329"/>
            <ac:spMk id="3" creationId="{F2961EB7-FC0B-4AEF-8BF3-7969101BE0A7}"/>
          </ac:spMkLst>
        </pc:spChg>
        <pc:spChg chg="mod">
          <ac:chgData name="Jean QUENTIN" userId="6962deb3-b639-4acd-8091-a0516ea2376b" providerId="ADAL" clId="{146BD8F6-FDDD-49D3-A1A6-146C954086FF}" dt="2021-05-24T13:36:23.374" v="6537" actId="790"/>
          <ac:spMkLst>
            <pc:docMk/>
            <pc:sldMk cId="2667120321" sldId="10329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23.374" v="6538" actId="790"/>
          <ac:spMkLst>
            <pc:docMk/>
            <pc:sldMk cId="2667120321" sldId="10329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23.374" v="6539" actId="790"/>
          <ac:spMkLst>
            <pc:docMk/>
            <pc:sldMk cId="2667120321" sldId="10329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23.374" v="6534" actId="790"/>
          <ac:spMkLst>
            <pc:docMk/>
            <pc:sldMk cId="2667120321" sldId="10329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23.374" v="6535" actId="790"/>
          <ac:spMkLst>
            <pc:docMk/>
            <pc:sldMk cId="2667120321" sldId="10329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23.374" v="6540" actId="790"/>
          <ac:spMkLst>
            <pc:docMk/>
            <pc:sldMk cId="2667120321" sldId="10329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23.436" v="6567" actId="790"/>
          <ac:spMkLst>
            <pc:docMk/>
            <pc:sldMk cId="2667120321" sldId="10329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23.405" v="6553" actId="790"/>
          <ac:spMkLst>
            <pc:docMk/>
            <pc:sldMk cId="2667120321" sldId="10329"/>
            <ac:spMk id="12" creationId="{06146879-726F-492D-B854-B9E140208671}"/>
          </ac:spMkLst>
        </pc:spChg>
        <pc:spChg chg="mod">
          <ac:chgData name="Jean QUENTIN" userId="6962deb3-b639-4acd-8091-a0516ea2376b" providerId="ADAL" clId="{146BD8F6-FDDD-49D3-A1A6-146C954086FF}" dt="2021-05-24T13:36:23.374" v="6533" actId="790"/>
          <ac:spMkLst>
            <pc:docMk/>
            <pc:sldMk cId="2667120321" sldId="10329"/>
            <ac:spMk id="13" creationId="{E9F049B4-9F79-4754-AA4A-B557B2A6D3C9}"/>
          </ac:spMkLst>
        </pc:spChg>
        <pc:spChg chg="mod">
          <ac:chgData name="Jean QUENTIN" userId="6962deb3-b639-4acd-8091-a0516ea2376b" providerId="ADAL" clId="{146BD8F6-FDDD-49D3-A1A6-146C954086FF}" dt="2021-05-24T13:36:23.436" v="6561" actId="790"/>
          <ac:spMkLst>
            <pc:docMk/>
            <pc:sldMk cId="2667120321" sldId="10329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23.374" v="6541" actId="790"/>
          <ac:spMkLst>
            <pc:docMk/>
            <pc:sldMk cId="2667120321" sldId="10329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4T13:36:23.389" v="6542" actId="790"/>
          <ac:spMkLst>
            <pc:docMk/>
            <pc:sldMk cId="2667120321" sldId="10329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23.389" v="6543" actId="790"/>
          <ac:spMkLst>
            <pc:docMk/>
            <pc:sldMk cId="2667120321" sldId="10329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23.389" v="6544" actId="790"/>
          <ac:spMkLst>
            <pc:docMk/>
            <pc:sldMk cId="2667120321" sldId="10329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23.389" v="6545" actId="790"/>
          <ac:spMkLst>
            <pc:docMk/>
            <pc:sldMk cId="2667120321" sldId="10329"/>
            <ac:spMk id="26" creationId="{F6314B21-A7A0-4E94-B67D-63C010D46BE7}"/>
          </ac:spMkLst>
        </pc:spChg>
        <pc:spChg chg="mod">
          <ac:chgData name="Jean QUENTIN" userId="6962deb3-b639-4acd-8091-a0516ea2376b" providerId="ADAL" clId="{146BD8F6-FDDD-49D3-A1A6-146C954086FF}" dt="2021-05-24T13:36:23.389" v="6546" actId="790"/>
          <ac:spMkLst>
            <pc:docMk/>
            <pc:sldMk cId="2667120321" sldId="10329"/>
            <ac:spMk id="27" creationId="{FAAFB53F-38F0-4873-A2F2-5EF4FEE2F176}"/>
          </ac:spMkLst>
        </pc:spChg>
        <pc:spChg chg="mod">
          <ac:chgData name="Jean QUENTIN" userId="6962deb3-b639-4acd-8091-a0516ea2376b" providerId="ADAL" clId="{146BD8F6-FDDD-49D3-A1A6-146C954086FF}" dt="2021-05-24T13:36:23.389" v="6547" actId="790"/>
          <ac:spMkLst>
            <pc:docMk/>
            <pc:sldMk cId="2667120321" sldId="10329"/>
            <ac:spMk id="30" creationId="{C672EFD1-52B6-414C-9685-746CD90D1168}"/>
          </ac:spMkLst>
        </pc:spChg>
        <pc:spChg chg="mod">
          <ac:chgData name="Jean QUENTIN" userId="6962deb3-b639-4acd-8091-a0516ea2376b" providerId="ADAL" clId="{146BD8F6-FDDD-49D3-A1A6-146C954086FF}" dt="2021-05-24T13:36:23.351" v="6529" actId="790"/>
          <ac:spMkLst>
            <pc:docMk/>
            <pc:sldMk cId="2667120321" sldId="10329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23.389" v="6548" actId="790"/>
          <ac:spMkLst>
            <pc:docMk/>
            <pc:sldMk cId="2667120321" sldId="10329"/>
            <ac:spMk id="34" creationId="{D94A23FF-0333-49DE-BE03-678D601401C0}"/>
          </ac:spMkLst>
        </pc:spChg>
        <pc:spChg chg="mod">
          <ac:chgData name="Jean QUENTIN" userId="6962deb3-b639-4acd-8091-a0516ea2376b" providerId="ADAL" clId="{146BD8F6-FDDD-49D3-A1A6-146C954086FF}" dt="2021-05-24T13:36:23.405" v="6555" actId="790"/>
          <ac:spMkLst>
            <pc:docMk/>
            <pc:sldMk cId="2667120321" sldId="10329"/>
            <ac:spMk id="44" creationId="{0552722C-2C47-4D2C-B0FA-B6F40CD9A7B0}"/>
          </ac:spMkLst>
        </pc:spChg>
        <pc:spChg chg="mod">
          <ac:chgData name="Jean QUENTIN" userId="6962deb3-b639-4acd-8091-a0516ea2376b" providerId="ADAL" clId="{146BD8F6-FDDD-49D3-A1A6-146C954086FF}" dt="2021-05-24T13:36:23.389" v="6549" actId="790"/>
          <ac:spMkLst>
            <pc:docMk/>
            <pc:sldMk cId="2667120321" sldId="10329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23.389" v="6550" actId="790"/>
          <ac:spMkLst>
            <pc:docMk/>
            <pc:sldMk cId="2667120321" sldId="10329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23.367" v="6531" actId="790"/>
          <ac:spMkLst>
            <pc:docMk/>
            <pc:sldMk cId="2667120321" sldId="10329"/>
            <ac:spMk id="50" creationId="{06AD3339-7557-4559-B2EA-6A391CF2BF0C}"/>
          </ac:spMkLst>
        </pc:spChg>
        <pc:spChg chg="mod">
          <ac:chgData name="Jean QUENTIN" userId="6962deb3-b639-4acd-8091-a0516ea2376b" providerId="ADAL" clId="{146BD8F6-FDDD-49D3-A1A6-146C954086FF}" dt="2021-05-24T13:36:23.367" v="6532" actId="790"/>
          <ac:spMkLst>
            <pc:docMk/>
            <pc:sldMk cId="2667120321" sldId="10329"/>
            <ac:spMk id="56" creationId="{E72484A7-56A4-49DC-A9B1-3FE72F679E99}"/>
          </ac:spMkLst>
        </pc:spChg>
        <pc:spChg chg="mod">
          <ac:chgData name="Jean QUENTIN" userId="6962deb3-b639-4acd-8091-a0516ea2376b" providerId="ADAL" clId="{146BD8F6-FDDD-49D3-A1A6-146C954086FF}" dt="2021-05-24T13:36:23.420" v="6557" actId="790"/>
          <ac:spMkLst>
            <pc:docMk/>
            <pc:sldMk cId="2667120321" sldId="10329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23.452" v="6569" actId="790"/>
          <ac:spMkLst>
            <pc:docMk/>
            <pc:sldMk cId="2667120321" sldId="10329"/>
            <ac:spMk id="90" creationId="{C1682200-357E-4434-8AD7-5A0786BF6D1B}"/>
          </ac:spMkLst>
        </pc:spChg>
        <pc:spChg chg="mod">
          <ac:chgData name="Jean QUENTIN" userId="6962deb3-b639-4acd-8091-a0516ea2376b" providerId="ADAL" clId="{146BD8F6-FDDD-49D3-A1A6-146C954086FF}" dt="2021-05-24T13:36:23.405" v="6556" actId="790"/>
          <ac:spMkLst>
            <pc:docMk/>
            <pc:sldMk cId="2667120321" sldId="10329"/>
            <ac:spMk id="96" creationId="{5BB653FA-7502-456B-9DD5-1867522D3A88}"/>
          </ac:spMkLst>
        </pc:spChg>
        <pc:spChg chg="mod">
          <ac:chgData name="Jean QUENTIN" userId="6962deb3-b639-4acd-8091-a0516ea2376b" providerId="ADAL" clId="{146BD8F6-FDDD-49D3-A1A6-146C954086FF}" dt="2021-05-24T13:36:23.405" v="6552" actId="790"/>
          <ac:spMkLst>
            <pc:docMk/>
            <pc:sldMk cId="2667120321" sldId="10329"/>
            <ac:spMk id="97" creationId="{CACE7440-A806-4E7E-9292-CF53316707CA}"/>
          </ac:spMkLst>
        </pc:spChg>
        <pc:spChg chg="mod">
          <ac:chgData name="Jean QUENTIN" userId="6962deb3-b639-4acd-8091-a0516ea2376b" providerId="ADAL" clId="{146BD8F6-FDDD-49D3-A1A6-146C954086FF}" dt="2021-05-24T13:36:23.405" v="6551" actId="790"/>
          <ac:spMkLst>
            <pc:docMk/>
            <pc:sldMk cId="2667120321" sldId="10329"/>
            <ac:spMk id="98" creationId="{516F2A67-5CEC-473F-9396-04EE87025DF6}"/>
          </ac:spMkLst>
        </pc:spChg>
        <pc:spChg chg="mod">
          <ac:chgData name="Jean QUENTIN" userId="6962deb3-b639-4acd-8091-a0516ea2376b" providerId="ADAL" clId="{146BD8F6-FDDD-49D3-A1A6-146C954086FF}" dt="2021-05-24T13:36:23.405" v="6554" actId="790"/>
          <ac:spMkLst>
            <pc:docMk/>
            <pc:sldMk cId="2667120321" sldId="10329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23.436" v="6562" actId="790"/>
          <ac:spMkLst>
            <pc:docMk/>
            <pc:sldMk cId="2667120321" sldId="10329"/>
            <ac:spMk id="102" creationId="{A22FD21F-F408-412C-8575-0C357CB490A8}"/>
          </ac:spMkLst>
        </pc:spChg>
        <pc:spChg chg="mod">
          <ac:chgData name="Jean QUENTIN" userId="6962deb3-b639-4acd-8091-a0516ea2376b" providerId="ADAL" clId="{146BD8F6-FDDD-49D3-A1A6-146C954086FF}" dt="2021-05-24T13:36:23.436" v="6563" actId="790"/>
          <ac:spMkLst>
            <pc:docMk/>
            <pc:sldMk cId="2667120321" sldId="10329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23.436" v="6564" actId="790"/>
          <ac:spMkLst>
            <pc:docMk/>
            <pc:sldMk cId="2667120321" sldId="10329"/>
            <ac:spMk id="111" creationId="{7723FB51-5081-4B76-A49D-64797FAC7598}"/>
          </ac:spMkLst>
        </pc:spChg>
        <pc:spChg chg="mod">
          <ac:chgData name="Jean QUENTIN" userId="6962deb3-b639-4acd-8091-a0516ea2376b" providerId="ADAL" clId="{146BD8F6-FDDD-49D3-A1A6-146C954086FF}" dt="2021-05-24T13:36:23.436" v="6565" actId="790"/>
          <ac:spMkLst>
            <pc:docMk/>
            <pc:sldMk cId="2667120321" sldId="10329"/>
            <ac:spMk id="117" creationId="{942A1842-AE1A-4BC9-A4B9-4EA812B00229}"/>
          </ac:spMkLst>
        </pc:spChg>
        <pc:spChg chg="mod">
          <ac:chgData name="Jean QUENTIN" userId="6962deb3-b639-4acd-8091-a0516ea2376b" providerId="ADAL" clId="{146BD8F6-FDDD-49D3-A1A6-146C954086FF}" dt="2021-05-24T13:36:23.436" v="6566" actId="790"/>
          <ac:spMkLst>
            <pc:docMk/>
            <pc:sldMk cId="2667120321" sldId="10329"/>
            <ac:spMk id="118" creationId="{7B197D1F-6330-4B8D-97DD-95807A6CF088}"/>
          </ac:spMkLst>
        </pc:spChg>
        <pc:spChg chg="mod">
          <ac:chgData name="Jean QUENTIN" userId="6962deb3-b639-4acd-8091-a0516ea2376b" providerId="ADAL" clId="{146BD8F6-FDDD-49D3-A1A6-146C954086FF}" dt="2021-05-24T13:36:23.452" v="6568" actId="790"/>
          <ac:spMkLst>
            <pc:docMk/>
            <pc:sldMk cId="2667120321" sldId="10329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4T13:36:23.420" v="6558" actId="790"/>
          <ac:spMkLst>
            <pc:docMk/>
            <pc:sldMk cId="2667120321" sldId="10329"/>
            <ac:spMk id="146" creationId="{7024159F-E9B4-40BD-9787-A196A67C2293}"/>
          </ac:spMkLst>
        </pc:spChg>
        <pc:spChg chg="mod">
          <ac:chgData name="Jean QUENTIN" userId="6962deb3-b639-4acd-8091-a0516ea2376b" providerId="ADAL" clId="{146BD8F6-FDDD-49D3-A1A6-146C954086FF}" dt="2021-05-24T13:36:23.436" v="6559" actId="790"/>
          <ac:spMkLst>
            <pc:docMk/>
            <pc:sldMk cId="2667120321" sldId="10329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23.436" v="6560" actId="790"/>
          <ac:spMkLst>
            <pc:docMk/>
            <pc:sldMk cId="2667120321" sldId="10329"/>
            <ac:spMk id="1035" creationId="{9164A53F-4711-41A4-BE3D-8D2F4243A495}"/>
          </ac:spMkLst>
        </pc:spChg>
      </pc:sldChg>
      <pc:sldChg chg="modSp mod">
        <pc:chgData name="Jean QUENTIN" userId="6962deb3-b639-4acd-8091-a0516ea2376b" providerId="ADAL" clId="{146BD8F6-FDDD-49D3-A1A6-146C954086FF}" dt="2021-05-24T13:36:23.267" v="6495" actId="790"/>
        <pc:sldMkLst>
          <pc:docMk/>
          <pc:sldMk cId="1341973798" sldId="10330"/>
        </pc:sldMkLst>
        <pc:spChg chg="mod">
          <ac:chgData name="Jean QUENTIN" userId="6962deb3-b639-4acd-8091-a0516ea2376b" providerId="ADAL" clId="{146BD8F6-FDDD-49D3-A1A6-146C954086FF}" dt="2021-05-24T13:36:23.166" v="6438" actId="790"/>
          <ac:spMkLst>
            <pc:docMk/>
            <pc:sldMk cId="1341973798" sldId="10330"/>
            <ac:spMk id="2" creationId="{BF723785-2C93-4E9E-9773-568B10F1FC6C}"/>
          </ac:spMkLst>
        </pc:spChg>
        <pc:spChg chg="mod">
          <ac:chgData name="Jean QUENTIN" userId="6962deb3-b639-4acd-8091-a0516ea2376b" providerId="ADAL" clId="{146BD8F6-FDDD-49D3-A1A6-146C954086FF}" dt="2021-05-24T13:36:23.166" v="6439" actId="790"/>
          <ac:spMkLst>
            <pc:docMk/>
            <pc:sldMk cId="1341973798" sldId="10330"/>
            <ac:spMk id="4" creationId="{80E0A1A7-5A66-4866-BCF4-B8FD7A2F2086}"/>
          </ac:spMkLst>
        </pc:spChg>
        <pc:spChg chg="mod">
          <ac:chgData name="Jean QUENTIN" userId="6962deb3-b639-4acd-8091-a0516ea2376b" providerId="ADAL" clId="{146BD8F6-FDDD-49D3-A1A6-146C954086FF}" dt="2021-05-24T13:36:23.173" v="6440" actId="790"/>
          <ac:spMkLst>
            <pc:docMk/>
            <pc:sldMk cId="1341973798" sldId="10330"/>
            <ac:spMk id="7" creationId="{40439F6E-957A-4CE6-BF0E-DF18A13D2EE8}"/>
          </ac:spMkLst>
        </pc:spChg>
        <pc:spChg chg="mod">
          <ac:chgData name="Jean QUENTIN" userId="6962deb3-b639-4acd-8091-a0516ea2376b" providerId="ADAL" clId="{146BD8F6-FDDD-49D3-A1A6-146C954086FF}" dt="2021-05-24T13:36:23.173" v="6441" actId="790"/>
          <ac:spMkLst>
            <pc:docMk/>
            <pc:sldMk cId="1341973798" sldId="10330"/>
            <ac:spMk id="8" creationId="{2E7221B6-3929-4D68-9BA6-3814525B2BED}"/>
          </ac:spMkLst>
        </pc:spChg>
        <pc:spChg chg="mod">
          <ac:chgData name="Jean QUENTIN" userId="6962deb3-b639-4acd-8091-a0516ea2376b" providerId="ADAL" clId="{146BD8F6-FDDD-49D3-A1A6-146C954086FF}" dt="2021-05-24T13:36:23.220" v="6476" actId="790"/>
          <ac:spMkLst>
            <pc:docMk/>
            <pc:sldMk cId="1341973798" sldId="10330"/>
            <ac:spMk id="9" creationId="{86C85B01-EBBA-4611-B882-06D263D8D2C1}"/>
          </ac:spMkLst>
        </pc:spChg>
        <pc:spChg chg="mod">
          <ac:chgData name="Jean QUENTIN" userId="6962deb3-b639-4acd-8091-a0516ea2376b" providerId="ADAL" clId="{146BD8F6-FDDD-49D3-A1A6-146C954086FF}" dt="2021-05-24T13:36:23.236" v="6482" actId="790"/>
          <ac:spMkLst>
            <pc:docMk/>
            <pc:sldMk cId="1341973798" sldId="10330"/>
            <ac:spMk id="10" creationId="{F71563F9-2EE4-4AAD-AA7E-3918000C2FA9}"/>
          </ac:spMkLst>
        </pc:spChg>
        <pc:spChg chg="mod">
          <ac:chgData name="Jean QUENTIN" userId="6962deb3-b639-4acd-8091-a0516ea2376b" providerId="ADAL" clId="{146BD8F6-FDDD-49D3-A1A6-146C954086FF}" dt="2021-05-24T13:36:23.173" v="6442" actId="790"/>
          <ac:spMkLst>
            <pc:docMk/>
            <pc:sldMk cId="1341973798" sldId="10330"/>
            <ac:spMk id="13" creationId="{F0D176AF-61D7-4AE5-835F-DF99BAB75512}"/>
          </ac:spMkLst>
        </pc:spChg>
        <pc:spChg chg="mod">
          <ac:chgData name="Jean QUENTIN" userId="6962deb3-b639-4acd-8091-a0516ea2376b" providerId="ADAL" clId="{146BD8F6-FDDD-49D3-A1A6-146C954086FF}" dt="2021-05-24T13:36:23.173" v="6443" actId="790"/>
          <ac:spMkLst>
            <pc:docMk/>
            <pc:sldMk cId="1341973798" sldId="10330"/>
            <ac:spMk id="14" creationId="{785A113C-299E-4AAA-A7A0-17AFA5F5292F}"/>
          </ac:spMkLst>
        </pc:spChg>
        <pc:spChg chg="mod">
          <ac:chgData name="Jean QUENTIN" userId="6962deb3-b639-4acd-8091-a0516ea2376b" providerId="ADAL" clId="{146BD8F6-FDDD-49D3-A1A6-146C954086FF}" dt="2021-05-24T13:36:23.173" v="6444" actId="790"/>
          <ac:spMkLst>
            <pc:docMk/>
            <pc:sldMk cId="1341973798" sldId="10330"/>
            <ac:spMk id="15" creationId="{E73AE825-A89F-4BAC-8909-9516D32E6514}"/>
          </ac:spMkLst>
        </pc:spChg>
        <pc:spChg chg="mod">
          <ac:chgData name="Jean QUENTIN" userId="6962deb3-b639-4acd-8091-a0516ea2376b" providerId="ADAL" clId="{146BD8F6-FDDD-49D3-A1A6-146C954086FF}" dt="2021-05-24T13:36:23.173" v="6445" actId="790"/>
          <ac:spMkLst>
            <pc:docMk/>
            <pc:sldMk cId="1341973798" sldId="10330"/>
            <ac:spMk id="16" creationId="{93BB88DC-3AFE-4E1B-AD8B-AEDDA6AB2B03}"/>
          </ac:spMkLst>
        </pc:spChg>
        <pc:spChg chg="mod">
          <ac:chgData name="Jean QUENTIN" userId="6962deb3-b639-4acd-8091-a0516ea2376b" providerId="ADAL" clId="{146BD8F6-FDDD-49D3-A1A6-146C954086FF}" dt="2021-05-24T13:36:23.173" v="6446" actId="790"/>
          <ac:spMkLst>
            <pc:docMk/>
            <pc:sldMk cId="1341973798" sldId="10330"/>
            <ac:spMk id="17" creationId="{4D410832-2045-4316-8F2D-E9EA63A8E093}"/>
          </ac:spMkLst>
        </pc:spChg>
        <pc:spChg chg="mod">
          <ac:chgData name="Jean QUENTIN" userId="6962deb3-b639-4acd-8091-a0516ea2376b" providerId="ADAL" clId="{146BD8F6-FDDD-49D3-A1A6-146C954086FF}" dt="2021-05-24T13:36:23.189" v="6450" actId="790"/>
          <ac:spMkLst>
            <pc:docMk/>
            <pc:sldMk cId="1341973798" sldId="10330"/>
            <ac:spMk id="18" creationId="{ADE6BDFD-9594-4930-A6AC-6BAB3A00AC59}"/>
          </ac:spMkLst>
        </pc:spChg>
        <pc:spChg chg="mod">
          <ac:chgData name="Jean QUENTIN" userId="6962deb3-b639-4acd-8091-a0516ea2376b" providerId="ADAL" clId="{146BD8F6-FDDD-49D3-A1A6-146C954086FF}" dt="2021-05-24T13:36:23.189" v="6451" actId="790"/>
          <ac:spMkLst>
            <pc:docMk/>
            <pc:sldMk cId="1341973798" sldId="10330"/>
            <ac:spMk id="19" creationId="{56438A30-8391-46D9-8126-C7A58A33D8D9}"/>
          </ac:spMkLst>
        </pc:spChg>
        <pc:spChg chg="mod">
          <ac:chgData name="Jean QUENTIN" userId="6962deb3-b639-4acd-8091-a0516ea2376b" providerId="ADAL" clId="{146BD8F6-FDDD-49D3-A1A6-146C954086FF}" dt="2021-05-24T13:36:23.173" v="6447" actId="790"/>
          <ac:spMkLst>
            <pc:docMk/>
            <pc:sldMk cId="1341973798" sldId="10330"/>
            <ac:spMk id="20" creationId="{240BB664-A184-4C3C-B692-7A6308570D71}"/>
          </ac:spMkLst>
        </pc:spChg>
        <pc:spChg chg="mod">
          <ac:chgData name="Jean QUENTIN" userId="6962deb3-b639-4acd-8091-a0516ea2376b" providerId="ADAL" clId="{146BD8F6-FDDD-49D3-A1A6-146C954086FF}" dt="2021-05-24T13:36:23.173" v="6448" actId="790"/>
          <ac:spMkLst>
            <pc:docMk/>
            <pc:sldMk cId="1341973798" sldId="10330"/>
            <ac:spMk id="21" creationId="{3F3AEE9A-8A20-4349-95F0-1B119E75B408}"/>
          </ac:spMkLst>
        </pc:spChg>
        <pc:spChg chg="mod">
          <ac:chgData name="Jean QUENTIN" userId="6962deb3-b639-4acd-8091-a0516ea2376b" providerId="ADAL" clId="{146BD8F6-FDDD-49D3-A1A6-146C954086FF}" dt="2021-05-24T13:36:23.189" v="6449" actId="790"/>
          <ac:spMkLst>
            <pc:docMk/>
            <pc:sldMk cId="1341973798" sldId="10330"/>
            <ac:spMk id="22" creationId="{782A17FD-C46C-4393-BA8D-5D1E33425AFC}"/>
          </ac:spMkLst>
        </pc:spChg>
        <pc:spChg chg="mod">
          <ac:chgData name="Jean QUENTIN" userId="6962deb3-b639-4acd-8091-a0516ea2376b" providerId="ADAL" clId="{146BD8F6-FDDD-49D3-A1A6-146C954086FF}" dt="2021-05-24T13:36:23.251" v="6487" actId="790"/>
          <ac:spMkLst>
            <pc:docMk/>
            <pc:sldMk cId="1341973798" sldId="10330"/>
            <ac:spMk id="23" creationId="{1EEE0B85-8E77-49F6-9E52-D1F970533BFD}"/>
          </ac:spMkLst>
        </pc:spChg>
        <pc:spChg chg="mod">
          <ac:chgData name="Jean QUENTIN" userId="6962deb3-b639-4acd-8091-a0516ea2376b" providerId="ADAL" clId="{146BD8F6-FDDD-49D3-A1A6-146C954086FF}" dt="2021-05-24T13:36:23.189" v="6452" actId="790"/>
          <ac:spMkLst>
            <pc:docMk/>
            <pc:sldMk cId="1341973798" sldId="10330"/>
            <ac:spMk id="31" creationId="{A6D3FBFA-1952-4183-AD95-94BEE25F4E06}"/>
          </ac:spMkLst>
        </pc:spChg>
        <pc:spChg chg="mod">
          <ac:chgData name="Jean QUENTIN" userId="6962deb3-b639-4acd-8091-a0516ea2376b" providerId="ADAL" clId="{146BD8F6-FDDD-49D3-A1A6-146C954086FF}" dt="2021-05-24T13:36:23.189" v="6453" actId="790"/>
          <ac:spMkLst>
            <pc:docMk/>
            <pc:sldMk cId="1341973798" sldId="10330"/>
            <ac:spMk id="32" creationId="{143415F6-EBD3-464F-B186-9ED97F343701}"/>
          </ac:spMkLst>
        </pc:spChg>
        <pc:spChg chg="mod">
          <ac:chgData name="Jean QUENTIN" userId="6962deb3-b639-4acd-8091-a0516ea2376b" providerId="ADAL" clId="{146BD8F6-FDDD-49D3-A1A6-146C954086FF}" dt="2021-05-24T13:36:23.189" v="6454" actId="790"/>
          <ac:spMkLst>
            <pc:docMk/>
            <pc:sldMk cId="1341973798" sldId="10330"/>
            <ac:spMk id="33" creationId="{2B482607-830C-4267-93C7-152B28E7AE9B}"/>
          </ac:spMkLst>
        </pc:spChg>
        <pc:spChg chg="mod">
          <ac:chgData name="Jean QUENTIN" userId="6962deb3-b639-4acd-8091-a0516ea2376b" providerId="ADAL" clId="{146BD8F6-FDDD-49D3-A1A6-146C954086FF}" dt="2021-05-24T13:36:23.189" v="6455" actId="790"/>
          <ac:spMkLst>
            <pc:docMk/>
            <pc:sldMk cId="1341973798" sldId="10330"/>
            <ac:spMk id="34" creationId="{8E52950B-39E7-4F81-96F4-48910D9B52A4}"/>
          </ac:spMkLst>
        </pc:spChg>
        <pc:spChg chg="mod">
          <ac:chgData name="Jean QUENTIN" userId="6962deb3-b639-4acd-8091-a0516ea2376b" providerId="ADAL" clId="{146BD8F6-FDDD-49D3-A1A6-146C954086FF}" dt="2021-05-24T13:36:23.189" v="6456" actId="790"/>
          <ac:spMkLst>
            <pc:docMk/>
            <pc:sldMk cId="1341973798" sldId="10330"/>
            <ac:spMk id="35" creationId="{970B5F24-4F00-45B9-95C5-605E55828CAD}"/>
          </ac:spMkLst>
        </pc:spChg>
        <pc:spChg chg="mod">
          <ac:chgData name="Jean QUENTIN" userId="6962deb3-b639-4acd-8091-a0516ea2376b" providerId="ADAL" clId="{146BD8F6-FDDD-49D3-A1A6-146C954086FF}" dt="2021-05-24T13:36:23.189" v="6457" actId="790"/>
          <ac:spMkLst>
            <pc:docMk/>
            <pc:sldMk cId="1341973798" sldId="10330"/>
            <ac:spMk id="36" creationId="{251D043A-6F6B-47A8-890F-E29C6DDDCF2F}"/>
          </ac:spMkLst>
        </pc:spChg>
        <pc:spChg chg="mod">
          <ac:chgData name="Jean QUENTIN" userId="6962deb3-b639-4acd-8091-a0516ea2376b" providerId="ADAL" clId="{146BD8F6-FDDD-49D3-A1A6-146C954086FF}" dt="2021-05-24T13:36:23.204" v="6458" actId="790"/>
          <ac:spMkLst>
            <pc:docMk/>
            <pc:sldMk cId="1341973798" sldId="10330"/>
            <ac:spMk id="37" creationId="{AF26077D-A245-4D80-B03A-7A26AE120724}"/>
          </ac:spMkLst>
        </pc:spChg>
        <pc:spChg chg="mod">
          <ac:chgData name="Jean QUENTIN" userId="6962deb3-b639-4acd-8091-a0516ea2376b" providerId="ADAL" clId="{146BD8F6-FDDD-49D3-A1A6-146C954086FF}" dt="2021-05-24T13:36:23.204" v="6459" actId="790"/>
          <ac:spMkLst>
            <pc:docMk/>
            <pc:sldMk cId="1341973798" sldId="10330"/>
            <ac:spMk id="38" creationId="{D4DEE23D-1A8B-4B73-B54C-0CCE2ACCB37D}"/>
          </ac:spMkLst>
        </pc:spChg>
        <pc:spChg chg="mod">
          <ac:chgData name="Jean QUENTIN" userId="6962deb3-b639-4acd-8091-a0516ea2376b" providerId="ADAL" clId="{146BD8F6-FDDD-49D3-A1A6-146C954086FF}" dt="2021-05-24T13:36:23.204" v="6460" actId="790"/>
          <ac:spMkLst>
            <pc:docMk/>
            <pc:sldMk cId="1341973798" sldId="10330"/>
            <ac:spMk id="39" creationId="{16F7C3FD-C489-4661-B496-FFCD8808818F}"/>
          </ac:spMkLst>
        </pc:spChg>
        <pc:spChg chg="mod">
          <ac:chgData name="Jean QUENTIN" userId="6962deb3-b639-4acd-8091-a0516ea2376b" providerId="ADAL" clId="{146BD8F6-FDDD-49D3-A1A6-146C954086FF}" dt="2021-05-24T13:36:23.204" v="6461" actId="790"/>
          <ac:spMkLst>
            <pc:docMk/>
            <pc:sldMk cId="1341973798" sldId="10330"/>
            <ac:spMk id="40" creationId="{E9D65900-8DE1-4F5E-AA62-629A8BE97F84}"/>
          </ac:spMkLst>
        </pc:spChg>
        <pc:spChg chg="mod">
          <ac:chgData name="Jean QUENTIN" userId="6962deb3-b639-4acd-8091-a0516ea2376b" providerId="ADAL" clId="{146BD8F6-FDDD-49D3-A1A6-146C954086FF}" dt="2021-05-24T13:36:23.204" v="6462" actId="790"/>
          <ac:spMkLst>
            <pc:docMk/>
            <pc:sldMk cId="1341973798" sldId="10330"/>
            <ac:spMk id="41" creationId="{B5946ED9-182E-4A37-B5D9-F8FFB4B10DB1}"/>
          </ac:spMkLst>
        </pc:spChg>
        <pc:spChg chg="mod">
          <ac:chgData name="Jean QUENTIN" userId="6962deb3-b639-4acd-8091-a0516ea2376b" providerId="ADAL" clId="{146BD8F6-FDDD-49D3-A1A6-146C954086FF}" dt="2021-05-24T13:36:23.204" v="6463" actId="790"/>
          <ac:spMkLst>
            <pc:docMk/>
            <pc:sldMk cId="1341973798" sldId="10330"/>
            <ac:spMk id="42" creationId="{AE65D609-8CBA-4D5D-B138-D1D789ABA1BD}"/>
          </ac:spMkLst>
        </pc:spChg>
        <pc:spChg chg="mod">
          <ac:chgData name="Jean QUENTIN" userId="6962deb3-b639-4acd-8091-a0516ea2376b" providerId="ADAL" clId="{146BD8F6-FDDD-49D3-A1A6-146C954086FF}" dt="2021-05-24T13:36:23.204" v="6464" actId="790"/>
          <ac:spMkLst>
            <pc:docMk/>
            <pc:sldMk cId="1341973798" sldId="10330"/>
            <ac:spMk id="43" creationId="{19D1230E-E92E-4B42-97F8-A60335C16292}"/>
          </ac:spMkLst>
        </pc:spChg>
        <pc:spChg chg="mod">
          <ac:chgData name="Jean QUENTIN" userId="6962deb3-b639-4acd-8091-a0516ea2376b" providerId="ADAL" clId="{146BD8F6-FDDD-49D3-A1A6-146C954086FF}" dt="2021-05-24T13:36:23.204" v="6465" actId="790"/>
          <ac:spMkLst>
            <pc:docMk/>
            <pc:sldMk cId="1341973798" sldId="10330"/>
            <ac:spMk id="44" creationId="{70E4976B-06AB-4E07-ABA4-0EB14E5B6B8C}"/>
          </ac:spMkLst>
        </pc:spChg>
        <pc:spChg chg="mod">
          <ac:chgData name="Jean QUENTIN" userId="6962deb3-b639-4acd-8091-a0516ea2376b" providerId="ADAL" clId="{146BD8F6-FDDD-49D3-A1A6-146C954086FF}" dt="2021-05-24T13:36:23.204" v="6466" actId="790"/>
          <ac:spMkLst>
            <pc:docMk/>
            <pc:sldMk cId="1341973798" sldId="10330"/>
            <ac:spMk id="45" creationId="{6B17CDB3-7B93-4E47-A605-13752B5F3ED2}"/>
          </ac:spMkLst>
        </pc:spChg>
        <pc:spChg chg="mod">
          <ac:chgData name="Jean QUENTIN" userId="6962deb3-b639-4acd-8091-a0516ea2376b" providerId="ADAL" clId="{146BD8F6-FDDD-49D3-A1A6-146C954086FF}" dt="2021-05-24T13:36:23.204" v="6467" actId="790"/>
          <ac:spMkLst>
            <pc:docMk/>
            <pc:sldMk cId="1341973798" sldId="10330"/>
            <ac:spMk id="46" creationId="{5CAED523-93EF-46B1-9974-4B1CB823A550}"/>
          </ac:spMkLst>
        </pc:spChg>
        <pc:spChg chg="mod">
          <ac:chgData name="Jean QUENTIN" userId="6962deb3-b639-4acd-8091-a0516ea2376b" providerId="ADAL" clId="{146BD8F6-FDDD-49D3-A1A6-146C954086FF}" dt="2021-05-24T13:36:23.204" v="6468" actId="790"/>
          <ac:spMkLst>
            <pc:docMk/>
            <pc:sldMk cId="1341973798" sldId="10330"/>
            <ac:spMk id="47" creationId="{4226482B-8E54-497C-AC90-9306578117DA}"/>
          </ac:spMkLst>
        </pc:spChg>
        <pc:spChg chg="mod">
          <ac:chgData name="Jean QUENTIN" userId="6962deb3-b639-4acd-8091-a0516ea2376b" providerId="ADAL" clId="{146BD8F6-FDDD-49D3-A1A6-146C954086FF}" dt="2021-05-24T13:36:23.220" v="6469" actId="790"/>
          <ac:spMkLst>
            <pc:docMk/>
            <pc:sldMk cId="1341973798" sldId="10330"/>
            <ac:spMk id="48" creationId="{6FC254EA-6E7A-4E47-A9F0-895A38174456}"/>
          </ac:spMkLst>
        </pc:spChg>
        <pc:spChg chg="mod">
          <ac:chgData name="Jean QUENTIN" userId="6962deb3-b639-4acd-8091-a0516ea2376b" providerId="ADAL" clId="{146BD8F6-FDDD-49D3-A1A6-146C954086FF}" dt="2021-05-24T13:36:23.220" v="6470" actId="790"/>
          <ac:spMkLst>
            <pc:docMk/>
            <pc:sldMk cId="1341973798" sldId="10330"/>
            <ac:spMk id="49" creationId="{9AF0E3EF-61AB-4420-9F0F-8DB5A0296517}"/>
          </ac:spMkLst>
        </pc:spChg>
        <pc:spChg chg="mod">
          <ac:chgData name="Jean QUENTIN" userId="6962deb3-b639-4acd-8091-a0516ea2376b" providerId="ADAL" clId="{146BD8F6-FDDD-49D3-A1A6-146C954086FF}" dt="2021-05-24T13:36:23.220" v="6471" actId="790"/>
          <ac:spMkLst>
            <pc:docMk/>
            <pc:sldMk cId="1341973798" sldId="10330"/>
            <ac:spMk id="51" creationId="{7ED10F6C-93AC-44B1-B212-93EBF3E96F94}"/>
          </ac:spMkLst>
        </pc:spChg>
        <pc:spChg chg="mod">
          <ac:chgData name="Jean QUENTIN" userId="6962deb3-b639-4acd-8091-a0516ea2376b" providerId="ADAL" clId="{146BD8F6-FDDD-49D3-A1A6-146C954086FF}" dt="2021-05-24T13:36:23.220" v="6472" actId="790"/>
          <ac:spMkLst>
            <pc:docMk/>
            <pc:sldMk cId="1341973798" sldId="10330"/>
            <ac:spMk id="52" creationId="{F3C78064-5F1F-48C3-A469-5A26981C6240}"/>
          </ac:spMkLst>
        </pc:spChg>
        <pc:spChg chg="mod">
          <ac:chgData name="Jean QUENTIN" userId="6962deb3-b639-4acd-8091-a0516ea2376b" providerId="ADAL" clId="{146BD8F6-FDDD-49D3-A1A6-146C954086FF}" dt="2021-05-24T13:36:23.220" v="6473" actId="790"/>
          <ac:spMkLst>
            <pc:docMk/>
            <pc:sldMk cId="1341973798" sldId="10330"/>
            <ac:spMk id="53" creationId="{37447803-0C89-432A-846B-9B098ABA49F8}"/>
          </ac:spMkLst>
        </pc:spChg>
        <pc:spChg chg="mod">
          <ac:chgData name="Jean QUENTIN" userId="6962deb3-b639-4acd-8091-a0516ea2376b" providerId="ADAL" clId="{146BD8F6-FDDD-49D3-A1A6-146C954086FF}" dt="2021-05-24T13:36:23.220" v="6474" actId="790"/>
          <ac:spMkLst>
            <pc:docMk/>
            <pc:sldMk cId="1341973798" sldId="10330"/>
            <ac:spMk id="54" creationId="{A0E39669-1412-493D-B000-7E702504E436}"/>
          </ac:spMkLst>
        </pc:spChg>
        <pc:spChg chg="mod">
          <ac:chgData name="Jean QUENTIN" userId="6962deb3-b639-4acd-8091-a0516ea2376b" providerId="ADAL" clId="{146BD8F6-FDDD-49D3-A1A6-146C954086FF}" dt="2021-05-24T13:36:23.220" v="6475" actId="790"/>
          <ac:spMkLst>
            <pc:docMk/>
            <pc:sldMk cId="1341973798" sldId="10330"/>
            <ac:spMk id="55" creationId="{B47B1CE4-F74C-471D-B015-997ADB279905}"/>
          </ac:spMkLst>
        </pc:spChg>
        <pc:spChg chg="mod">
          <ac:chgData name="Jean QUENTIN" userId="6962deb3-b639-4acd-8091-a0516ea2376b" providerId="ADAL" clId="{146BD8F6-FDDD-49D3-A1A6-146C954086FF}" dt="2021-05-24T13:36:23.220" v="6477" actId="790"/>
          <ac:spMkLst>
            <pc:docMk/>
            <pc:sldMk cId="1341973798" sldId="10330"/>
            <ac:spMk id="56" creationId="{E63BE539-9198-4A8B-B58F-B2D5792EFEDF}"/>
          </ac:spMkLst>
        </pc:spChg>
        <pc:spChg chg="mod">
          <ac:chgData name="Jean QUENTIN" userId="6962deb3-b639-4acd-8091-a0516ea2376b" providerId="ADAL" clId="{146BD8F6-FDDD-49D3-A1A6-146C954086FF}" dt="2021-05-24T13:36:23.220" v="6478" actId="790"/>
          <ac:spMkLst>
            <pc:docMk/>
            <pc:sldMk cId="1341973798" sldId="10330"/>
            <ac:spMk id="57" creationId="{8A7253CB-7BAA-46B4-9F0A-1EA24CC0B68D}"/>
          </ac:spMkLst>
        </pc:spChg>
        <pc:spChg chg="mod">
          <ac:chgData name="Jean QUENTIN" userId="6962deb3-b639-4acd-8091-a0516ea2376b" providerId="ADAL" clId="{146BD8F6-FDDD-49D3-A1A6-146C954086FF}" dt="2021-05-24T13:36:23.236" v="6479" actId="790"/>
          <ac:spMkLst>
            <pc:docMk/>
            <pc:sldMk cId="1341973798" sldId="10330"/>
            <ac:spMk id="58" creationId="{CF4D4D71-3FCF-4B07-9738-51B3DD8DBB19}"/>
          </ac:spMkLst>
        </pc:spChg>
        <pc:spChg chg="mod">
          <ac:chgData name="Jean QUENTIN" userId="6962deb3-b639-4acd-8091-a0516ea2376b" providerId="ADAL" clId="{146BD8F6-FDDD-49D3-A1A6-146C954086FF}" dt="2021-05-24T13:36:23.236" v="6480" actId="790"/>
          <ac:spMkLst>
            <pc:docMk/>
            <pc:sldMk cId="1341973798" sldId="10330"/>
            <ac:spMk id="59" creationId="{381B5BD3-2823-4F62-A7CA-B420976897D0}"/>
          </ac:spMkLst>
        </pc:spChg>
        <pc:spChg chg="mod">
          <ac:chgData name="Jean QUENTIN" userId="6962deb3-b639-4acd-8091-a0516ea2376b" providerId="ADAL" clId="{146BD8F6-FDDD-49D3-A1A6-146C954086FF}" dt="2021-05-24T13:36:23.236" v="6481" actId="790"/>
          <ac:spMkLst>
            <pc:docMk/>
            <pc:sldMk cId="1341973798" sldId="10330"/>
            <ac:spMk id="60" creationId="{24BAB0C2-1F70-40F0-975E-AC0F2C7D17E0}"/>
          </ac:spMkLst>
        </pc:spChg>
        <pc:spChg chg="mod">
          <ac:chgData name="Jean QUENTIN" userId="6962deb3-b639-4acd-8091-a0516ea2376b" providerId="ADAL" clId="{146BD8F6-FDDD-49D3-A1A6-146C954086FF}" dt="2021-05-24T13:36:23.236" v="6483" actId="790"/>
          <ac:spMkLst>
            <pc:docMk/>
            <pc:sldMk cId="1341973798" sldId="10330"/>
            <ac:spMk id="63" creationId="{E4E3EEEC-3CF3-4E8F-92AF-BCB103CC5DED}"/>
          </ac:spMkLst>
        </pc:spChg>
        <pc:spChg chg="mod">
          <ac:chgData name="Jean QUENTIN" userId="6962deb3-b639-4acd-8091-a0516ea2376b" providerId="ADAL" clId="{146BD8F6-FDDD-49D3-A1A6-146C954086FF}" dt="2021-05-24T13:36:23.236" v="6484" actId="790"/>
          <ac:spMkLst>
            <pc:docMk/>
            <pc:sldMk cId="1341973798" sldId="10330"/>
            <ac:spMk id="64" creationId="{437DFCCF-7EFB-42F6-B716-DEA07A7CC5AB}"/>
          </ac:spMkLst>
        </pc:spChg>
        <pc:spChg chg="mod">
          <ac:chgData name="Jean QUENTIN" userId="6962deb3-b639-4acd-8091-a0516ea2376b" providerId="ADAL" clId="{146BD8F6-FDDD-49D3-A1A6-146C954086FF}" dt="2021-05-24T13:36:23.236" v="6485" actId="790"/>
          <ac:spMkLst>
            <pc:docMk/>
            <pc:sldMk cId="1341973798" sldId="10330"/>
            <ac:spMk id="65" creationId="{F88BA823-ACFD-4453-BDD7-9AB3016A8853}"/>
          </ac:spMkLst>
        </pc:spChg>
        <pc:spChg chg="mod">
          <ac:chgData name="Jean QUENTIN" userId="6962deb3-b639-4acd-8091-a0516ea2376b" providerId="ADAL" clId="{146BD8F6-FDDD-49D3-A1A6-146C954086FF}" dt="2021-05-24T13:36:23.236" v="6486" actId="790"/>
          <ac:spMkLst>
            <pc:docMk/>
            <pc:sldMk cId="1341973798" sldId="10330"/>
            <ac:spMk id="66" creationId="{728E915A-022E-4FB3-9373-F20D018807DB}"/>
          </ac:spMkLst>
        </pc:spChg>
        <pc:spChg chg="mod">
          <ac:chgData name="Jean QUENTIN" userId="6962deb3-b639-4acd-8091-a0516ea2376b" providerId="ADAL" clId="{146BD8F6-FDDD-49D3-A1A6-146C954086FF}" dt="2021-05-24T13:36:23.251" v="6488" actId="790"/>
          <ac:spMkLst>
            <pc:docMk/>
            <pc:sldMk cId="1341973798" sldId="10330"/>
            <ac:spMk id="67" creationId="{42E65828-95FD-4E47-9753-0BAEA0B694CE}"/>
          </ac:spMkLst>
        </pc:spChg>
        <pc:spChg chg="mod">
          <ac:chgData name="Jean QUENTIN" userId="6962deb3-b639-4acd-8091-a0516ea2376b" providerId="ADAL" clId="{146BD8F6-FDDD-49D3-A1A6-146C954086FF}" dt="2021-05-24T13:36:23.251" v="6489" actId="790"/>
          <ac:spMkLst>
            <pc:docMk/>
            <pc:sldMk cId="1341973798" sldId="10330"/>
            <ac:spMk id="68" creationId="{B0ADBC32-133E-4684-A970-34AD6D18F1A1}"/>
          </ac:spMkLst>
        </pc:spChg>
        <pc:spChg chg="mod">
          <ac:chgData name="Jean QUENTIN" userId="6962deb3-b639-4acd-8091-a0516ea2376b" providerId="ADAL" clId="{146BD8F6-FDDD-49D3-A1A6-146C954086FF}" dt="2021-05-24T13:36:23.251" v="6490" actId="790"/>
          <ac:spMkLst>
            <pc:docMk/>
            <pc:sldMk cId="1341973798" sldId="10330"/>
            <ac:spMk id="69" creationId="{855AF40C-1E4B-478F-A889-3DDE150687E1}"/>
          </ac:spMkLst>
        </pc:spChg>
        <pc:spChg chg="mod">
          <ac:chgData name="Jean QUENTIN" userId="6962deb3-b639-4acd-8091-a0516ea2376b" providerId="ADAL" clId="{146BD8F6-FDDD-49D3-A1A6-146C954086FF}" dt="2021-05-24T13:36:23.251" v="6491" actId="790"/>
          <ac:spMkLst>
            <pc:docMk/>
            <pc:sldMk cId="1341973798" sldId="10330"/>
            <ac:spMk id="70" creationId="{CA89DCE2-B655-483A-907B-BD79C7D29853}"/>
          </ac:spMkLst>
        </pc:spChg>
        <pc:spChg chg="mod">
          <ac:chgData name="Jean QUENTIN" userId="6962deb3-b639-4acd-8091-a0516ea2376b" providerId="ADAL" clId="{146BD8F6-FDDD-49D3-A1A6-146C954086FF}" dt="2021-05-24T13:36:23.251" v="6492" actId="790"/>
          <ac:spMkLst>
            <pc:docMk/>
            <pc:sldMk cId="1341973798" sldId="10330"/>
            <ac:spMk id="75" creationId="{79CECF2E-6B81-4431-BC3E-4EBB00545DC6}"/>
          </ac:spMkLst>
        </pc:spChg>
        <pc:spChg chg="mod">
          <ac:chgData name="Jean QUENTIN" userId="6962deb3-b639-4acd-8091-a0516ea2376b" providerId="ADAL" clId="{146BD8F6-FDDD-49D3-A1A6-146C954086FF}" dt="2021-05-24T13:36:23.251" v="6493" actId="790"/>
          <ac:spMkLst>
            <pc:docMk/>
            <pc:sldMk cId="1341973798" sldId="10330"/>
            <ac:spMk id="81" creationId="{6F0D60FE-0133-4E83-AC3F-B318E6689555}"/>
          </ac:spMkLst>
        </pc:spChg>
        <pc:spChg chg="mod">
          <ac:chgData name="Jean QUENTIN" userId="6962deb3-b639-4acd-8091-a0516ea2376b" providerId="ADAL" clId="{146BD8F6-FDDD-49D3-A1A6-146C954086FF}" dt="2021-05-24T13:36:23.267" v="6494" actId="790"/>
          <ac:spMkLst>
            <pc:docMk/>
            <pc:sldMk cId="1341973798" sldId="10330"/>
            <ac:spMk id="82" creationId="{501A63CB-CD13-47AB-988E-9B7781A19C0A}"/>
          </ac:spMkLst>
        </pc:spChg>
        <pc:spChg chg="mod">
          <ac:chgData name="Jean QUENTIN" userId="6962deb3-b639-4acd-8091-a0516ea2376b" providerId="ADAL" clId="{146BD8F6-FDDD-49D3-A1A6-146C954086FF}" dt="2021-05-24T13:36:23.267" v="6495" actId="790"/>
          <ac:spMkLst>
            <pc:docMk/>
            <pc:sldMk cId="1341973798" sldId="10330"/>
            <ac:spMk id="88" creationId="{485858A0-8E11-40EC-B9CF-97F5C905692E}"/>
          </ac:spMkLst>
        </pc:spChg>
      </pc:sldChg>
      <pc:sldChg chg="modSp mod">
        <pc:chgData name="Jean QUENTIN" userId="6962deb3-b639-4acd-8091-a0516ea2376b" providerId="ADAL" clId="{146BD8F6-FDDD-49D3-A1A6-146C954086FF}" dt="2021-05-24T13:36:23.737" v="6674" actId="790"/>
        <pc:sldMkLst>
          <pc:docMk/>
          <pc:sldMk cId="1716130790" sldId="10333"/>
        </pc:sldMkLst>
        <pc:spChg chg="mod">
          <ac:chgData name="Jean QUENTIN" userId="6962deb3-b639-4acd-8091-a0516ea2376b" providerId="ADAL" clId="{146BD8F6-FDDD-49D3-A1A6-146C954086FF}" dt="2021-05-24T13:36:23.668" v="6646" actId="790"/>
          <ac:spMkLst>
            <pc:docMk/>
            <pc:sldMk cId="1716130790" sldId="10333"/>
            <ac:spMk id="2" creationId="{769247EA-17E8-4C3A-8816-83F479289603}"/>
          </ac:spMkLst>
        </pc:spChg>
        <pc:spChg chg="mod">
          <ac:chgData name="Jean QUENTIN" userId="6962deb3-b639-4acd-8091-a0516ea2376b" providerId="ADAL" clId="{146BD8F6-FDDD-49D3-A1A6-146C954086FF}" dt="2021-05-24T13:36:23.721" v="6667" actId="790"/>
          <ac:spMkLst>
            <pc:docMk/>
            <pc:sldMk cId="1716130790" sldId="10333"/>
            <ac:spMk id="3" creationId="{571F501E-D6CF-47A8-B201-91905A9D8A5F}"/>
          </ac:spMkLst>
        </pc:spChg>
        <pc:spChg chg="mod">
          <ac:chgData name="Jean QUENTIN" userId="6962deb3-b639-4acd-8091-a0516ea2376b" providerId="ADAL" clId="{146BD8F6-FDDD-49D3-A1A6-146C954086FF}" dt="2021-05-24T13:36:23.737" v="6672" actId="790"/>
          <ac:spMkLst>
            <pc:docMk/>
            <pc:sldMk cId="1716130790" sldId="10333"/>
            <ac:spMk id="5" creationId="{CA3D0CB8-01C1-4D3F-9B96-8196680FEBA5}"/>
          </ac:spMkLst>
        </pc:spChg>
        <pc:spChg chg="mod">
          <ac:chgData name="Jean QUENTIN" userId="6962deb3-b639-4acd-8091-a0516ea2376b" providerId="ADAL" clId="{146BD8F6-FDDD-49D3-A1A6-146C954086FF}" dt="2021-05-24T13:36:23.668" v="6647" actId="790"/>
          <ac:spMkLst>
            <pc:docMk/>
            <pc:sldMk cId="1716130790" sldId="10333"/>
            <ac:spMk id="7" creationId="{044946C5-D2A9-4225-9A4A-E922125A0AE1}"/>
          </ac:spMkLst>
        </pc:spChg>
        <pc:spChg chg="mod">
          <ac:chgData name="Jean QUENTIN" userId="6962deb3-b639-4acd-8091-a0516ea2376b" providerId="ADAL" clId="{146BD8F6-FDDD-49D3-A1A6-146C954086FF}" dt="2021-05-24T13:36:23.668" v="6648" actId="790"/>
          <ac:spMkLst>
            <pc:docMk/>
            <pc:sldMk cId="1716130790" sldId="10333"/>
            <ac:spMk id="8" creationId="{6EB55A20-F760-4588-A3F5-8DB405904ECD}"/>
          </ac:spMkLst>
        </pc:spChg>
        <pc:spChg chg="mod">
          <ac:chgData name="Jean QUENTIN" userId="6962deb3-b639-4acd-8091-a0516ea2376b" providerId="ADAL" clId="{146BD8F6-FDDD-49D3-A1A6-146C954086FF}" dt="2021-05-24T13:36:23.652" v="6645" actId="790"/>
          <ac:spMkLst>
            <pc:docMk/>
            <pc:sldMk cId="1716130790" sldId="10333"/>
            <ac:spMk id="9" creationId="{37389FF1-0F59-43FA-A02A-A6FFBA3C5132}"/>
          </ac:spMkLst>
        </pc:spChg>
        <pc:spChg chg="mod">
          <ac:chgData name="Jean QUENTIN" userId="6962deb3-b639-4acd-8091-a0516ea2376b" providerId="ADAL" clId="{146BD8F6-FDDD-49D3-A1A6-146C954086FF}" dt="2021-05-24T13:36:23.721" v="6670" actId="790"/>
          <ac:spMkLst>
            <pc:docMk/>
            <pc:sldMk cId="1716130790" sldId="10333"/>
            <ac:spMk id="15" creationId="{C720B582-A6B3-4643-8C33-F22CBE9A7461}"/>
          </ac:spMkLst>
        </pc:spChg>
        <pc:spChg chg="mod">
          <ac:chgData name="Jean QUENTIN" userId="6962deb3-b639-4acd-8091-a0516ea2376b" providerId="ADAL" clId="{146BD8F6-FDDD-49D3-A1A6-146C954086FF}" dt="2021-05-24T13:36:23.674" v="6649" actId="790"/>
          <ac:spMkLst>
            <pc:docMk/>
            <pc:sldMk cId="1716130790" sldId="10333"/>
            <ac:spMk id="17" creationId="{C9EAEAC2-A4FF-4DD8-9228-E949C4DB6A55}"/>
          </ac:spMkLst>
        </pc:spChg>
        <pc:spChg chg="mod">
          <ac:chgData name="Jean QUENTIN" userId="6962deb3-b639-4acd-8091-a0516ea2376b" providerId="ADAL" clId="{146BD8F6-FDDD-49D3-A1A6-146C954086FF}" dt="2021-05-24T13:36:23.674" v="6650" actId="790"/>
          <ac:spMkLst>
            <pc:docMk/>
            <pc:sldMk cId="1716130790" sldId="10333"/>
            <ac:spMk id="20" creationId="{5F5540D3-73DA-4CB5-8CE1-6C8BEAA293F6}"/>
          </ac:spMkLst>
        </pc:spChg>
        <pc:spChg chg="mod">
          <ac:chgData name="Jean QUENTIN" userId="6962deb3-b639-4acd-8091-a0516ea2376b" providerId="ADAL" clId="{146BD8F6-FDDD-49D3-A1A6-146C954086FF}" dt="2021-05-24T13:36:23.690" v="6653" actId="790"/>
          <ac:spMkLst>
            <pc:docMk/>
            <pc:sldMk cId="1716130790" sldId="10333"/>
            <ac:spMk id="22" creationId="{71C1C247-34E0-4427-9935-711B17B7FE64}"/>
          </ac:spMkLst>
        </pc:spChg>
        <pc:spChg chg="mod">
          <ac:chgData name="Jean QUENTIN" userId="6962deb3-b639-4acd-8091-a0516ea2376b" providerId="ADAL" clId="{146BD8F6-FDDD-49D3-A1A6-146C954086FF}" dt="2021-05-24T13:36:23.674" v="6651" actId="790"/>
          <ac:spMkLst>
            <pc:docMk/>
            <pc:sldMk cId="1716130790" sldId="10333"/>
            <ac:spMk id="24" creationId="{9AC553B1-4F81-4C20-B305-7DC8EB1A6187}"/>
          </ac:spMkLst>
        </pc:spChg>
        <pc:spChg chg="mod">
          <ac:chgData name="Jean QUENTIN" userId="6962deb3-b639-4acd-8091-a0516ea2376b" providerId="ADAL" clId="{146BD8F6-FDDD-49D3-A1A6-146C954086FF}" dt="2021-05-24T13:36:23.674" v="6652" actId="790"/>
          <ac:spMkLst>
            <pc:docMk/>
            <pc:sldMk cId="1716130790" sldId="10333"/>
            <ac:spMk id="25" creationId="{3E109305-F3C7-486E-897E-2E8221625EF8}"/>
          </ac:spMkLst>
        </pc:spChg>
        <pc:spChg chg="mod">
          <ac:chgData name="Jean QUENTIN" userId="6962deb3-b639-4acd-8091-a0516ea2376b" providerId="ADAL" clId="{146BD8F6-FDDD-49D3-A1A6-146C954086FF}" dt="2021-05-24T13:36:23.690" v="6658" actId="790"/>
          <ac:spMkLst>
            <pc:docMk/>
            <pc:sldMk cId="1716130790" sldId="10333"/>
            <ac:spMk id="28" creationId="{F0A42D70-8359-43E9-B3F0-C9955529B0D8}"/>
          </ac:spMkLst>
        </pc:spChg>
        <pc:spChg chg="mod">
          <ac:chgData name="Jean QUENTIN" userId="6962deb3-b639-4acd-8091-a0516ea2376b" providerId="ADAL" clId="{146BD8F6-FDDD-49D3-A1A6-146C954086FF}" dt="2021-05-24T13:36:23.690" v="6654" actId="790"/>
          <ac:spMkLst>
            <pc:docMk/>
            <pc:sldMk cId="1716130790" sldId="10333"/>
            <ac:spMk id="29" creationId="{6883ADF0-392A-45C2-A4E3-ABAB2274EB03}"/>
          </ac:spMkLst>
        </pc:spChg>
        <pc:spChg chg="mod">
          <ac:chgData name="Jean QUENTIN" userId="6962deb3-b639-4acd-8091-a0516ea2376b" providerId="ADAL" clId="{146BD8F6-FDDD-49D3-A1A6-146C954086FF}" dt="2021-05-24T13:36:23.690" v="6655" actId="790"/>
          <ac:spMkLst>
            <pc:docMk/>
            <pc:sldMk cId="1716130790" sldId="10333"/>
            <ac:spMk id="30" creationId="{DEF0A5A1-4D9F-4E2F-9E07-C79302AD07AD}"/>
          </ac:spMkLst>
        </pc:spChg>
        <pc:spChg chg="mod">
          <ac:chgData name="Jean QUENTIN" userId="6962deb3-b639-4acd-8091-a0516ea2376b" providerId="ADAL" clId="{146BD8F6-FDDD-49D3-A1A6-146C954086FF}" dt="2021-05-24T13:36:23.721" v="6668" actId="790"/>
          <ac:spMkLst>
            <pc:docMk/>
            <pc:sldMk cId="1716130790" sldId="10333"/>
            <ac:spMk id="31" creationId="{0BB65851-DC84-4A08-8FC6-5E45B25E9247}"/>
          </ac:spMkLst>
        </pc:spChg>
        <pc:spChg chg="mod">
          <ac:chgData name="Jean QUENTIN" userId="6962deb3-b639-4acd-8091-a0516ea2376b" providerId="ADAL" clId="{146BD8F6-FDDD-49D3-A1A6-146C954086FF}" dt="2021-05-24T13:36:23.690" v="6656" actId="790"/>
          <ac:spMkLst>
            <pc:docMk/>
            <pc:sldMk cId="1716130790" sldId="10333"/>
            <ac:spMk id="32" creationId="{3FF3FDF5-52D0-49E0-A0E7-824DFE96C177}"/>
          </ac:spMkLst>
        </pc:spChg>
        <pc:spChg chg="mod">
          <ac:chgData name="Jean QUENTIN" userId="6962deb3-b639-4acd-8091-a0516ea2376b" providerId="ADAL" clId="{146BD8F6-FDDD-49D3-A1A6-146C954086FF}" dt="2021-05-24T13:36:23.690" v="6657" actId="790"/>
          <ac:spMkLst>
            <pc:docMk/>
            <pc:sldMk cId="1716130790" sldId="10333"/>
            <ac:spMk id="33" creationId="{199DDAA8-0D15-4205-9F4A-142676014187}"/>
          </ac:spMkLst>
        </pc:spChg>
        <pc:spChg chg="mod">
          <ac:chgData name="Jean QUENTIN" userId="6962deb3-b639-4acd-8091-a0516ea2376b" providerId="ADAL" clId="{146BD8F6-FDDD-49D3-A1A6-146C954086FF}" dt="2021-05-24T13:36:23.690" v="6659" actId="790"/>
          <ac:spMkLst>
            <pc:docMk/>
            <pc:sldMk cId="1716130790" sldId="10333"/>
            <ac:spMk id="36" creationId="{54634C5C-4E6B-4812-8C36-4429F526C0A3}"/>
          </ac:spMkLst>
        </pc:spChg>
        <pc:spChg chg="mod">
          <ac:chgData name="Jean QUENTIN" userId="6962deb3-b639-4acd-8091-a0516ea2376b" providerId="ADAL" clId="{146BD8F6-FDDD-49D3-A1A6-146C954086FF}" dt="2021-05-24T13:36:23.706" v="6660" actId="790"/>
          <ac:spMkLst>
            <pc:docMk/>
            <pc:sldMk cId="1716130790" sldId="10333"/>
            <ac:spMk id="37" creationId="{6E9494AC-7BE2-403A-AAD5-C660690C1497}"/>
          </ac:spMkLst>
        </pc:spChg>
        <pc:spChg chg="mod">
          <ac:chgData name="Jean QUENTIN" userId="6962deb3-b639-4acd-8091-a0516ea2376b" providerId="ADAL" clId="{146BD8F6-FDDD-49D3-A1A6-146C954086FF}" dt="2021-05-24T13:36:23.706" v="6661" actId="790"/>
          <ac:spMkLst>
            <pc:docMk/>
            <pc:sldMk cId="1716130790" sldId="10333"/>
            <ac:spMk id="38" creationId="{7BFE6712-25F1-4FB5-993C-38F1A5FF948E}"/>
          </ac:spMkLst>
        </pc:spChg>
        <pc:spChg chg="mod">
          <ac:chgData name="Jean QUENTIN" userId="6962deb3-b639-4acd-8091-a0516ea2376b" providerId="ADAL" clId="{146BD8F6-FDDD-49D3-A1A6-146C954086FF}" dt="2021-05-24T13:36:23.706" v="6662" actId="790"/>
          <ac:spMkLst>
            <pc:docMk/>
            <pc:sldMk cId="1716130790" sldId="10333"/>
            <ac:spMk id="39" creationId="{3CE7305C-399F-4C9A-A11C-53C12691486B}"/>
          </ac:spMkLst>
        </pc:spChg>
        <pc:spChg chg="mod">
          <ac:chgData name="Jean QUENTIN" userId="6962deb3-b639-4acd-8091-a0516ea2376b" providerId="ADAL" clId="{146BD8F6-FDDD-49D3-A1A6-146C954086FF}" dt="2021-05-24T13:36:23.706" v="6663" actId="790"/>
          <ac:spMkLst>
            <pc:docMk/>
            <pc:sldMk cId="1716130790" sldId="10333"/>
            <ac:spMk id="40" creationId="{04E989A1-4102-44F0-A259-534C7116E059}"/>
          </ac:spMkLst>
        </pc:spChg>
        <pc:spChg chg="mod">
          <ac:chgData name="Jean QUENTIN" userId="6962deb3-b639-4acd-8091-a0516ea2376b" providerId="ADAL" clId="{146BD8F6-FDDD-49D3-A1A6-146C954086FF}" dt="2021-05-24T13:36:23.706" v="6664" actId="790"/>
          <ac:spMkLst>
            <pc:docMk/>
            <pc:sldMk cId="1716130790" sldId="10333"/>
            <ac:spMk id="41" creationId="{273FD84D-9C39-453D-A9F0-6D87EA75F292}"/>
          </ac:spMkLst>
        </pc:spChg>
        <pc:spChg chg="mod">
          <ac:chgData name="Jean QUENTIN" userId="6962deb3-b639-4acd-8091-a0516ea2376b" providerId="ADAL" clId="{146BD8F6-FDDD-49D3-A1A6-146C954086FF}" dt="2021-05-24T13:36:23.706" v="6665" actId="790"/>
          <ac:spMkLst>
            <pc:docMk/>
            <pc:sldMk cId="1716130790" sldId="10333"/>
            <ac:spMk id="42" creationId="{550EDEF6-51FC-4781-87DF-A563B8927750}"/>
          </ac:spMkLst>
        </pc:spChg>
        <pc:spChg chg="mod">
          <ac:chgData name="Jean QUENTIN" userId="6962deb3-b639-4acd-8091-a0516ea2376b" providerId="ADAL" clId="{146BD8F6-FDDD-49D3-A1A6-146C954086FF}" dt="2021-05-24T13:36:23.706" v="6666" actId="790"/>
          <ac:spMkLst>
            <pc:docMk/>
            <pc:sldMk cId="1716130790" sldId="10333"/>
            <ac:spMk id="43" creationId="{26D7AE2B-4EDC-484F-A827-3AA22425C8DB}"/>
          </ac:spMkLst>
        </pc:spChg>
        <pc:spChg chg="mod">
          <ac:chgData name="Jean QUENTIN" userId="6962deb3-b639-4acd-8091-a0516ea2376b" providerId="ADAL" clId="{146BD8F6-FDDD-49D3-A1A6-146C954086FF}" dt="2021-05-24T13:36:23.721" v="6669" actId="790"/>
          <ac:spMkLst>
            <pc:docMk/>
            <pc:sldMk cId="1716130790" sldId="10333"/>
            <ac:spMk id="44" creationId="{3498D7D1-77F3-499D-BF63-BCA6E1032884}"/>
          </ac:spMkLst>
        </pc:spChg>
        <pc:spChg chg="mod">
          <ac:chgData name="Jean QUENTIN" userId="6962deb3-b639-4acd-8091-a0516ea2376b" providerId="ADAL" clId="{146BD8F6-FDDD-49D3-A1A6-146C954086FF}" dt="2021-05-24T13:36:23.737" v="6673" actId="790"/>
          <ac:spMkLst>
            <pc:docMk/>
            <pc:sldMk cId="1716130790" sldId="10333"/>
            <ac:spMk id="49" creationId="{A48214A2-6901-4C32-A1D9-AC8647806D11}"/>
          </ac:spMkLst>
        </pc:spChg>
        <pc:spChg chg="mod">
          <ac:chgData name="Jean QUENTIN" userId="6962deb3-b639-4acd-8091-a0516ea2376b" providerId="ADAL" clId="{146BD8F6-FDDD-49D3-A1A6-146C954086FF}" dt="2021-05-24T13:36:23.721" v="6671" actId="790"/>
          <ac:spMkLst>
            <pc:docMk/>
            <pc:sldMk cId="1716130790" sldId="10333"/>
            <ac:spMk id="62" creationId="{0BBA4EDC-168D-4EC0-8146-416B61F8B8DF}"/>
          </ac:spMkLst>
        </pc:spChg>
        <pc:spChg chg="mod">
          <ac:chgData name="Jean QUENTIN" userId="6962deb3-b639-4acd-8091-a0516ea2376b" providerId="ADAL" clId="{146BD8F6-FDDD-49D3-A1A6-146C954086FF}" dt="2021-05-24T13:36:23.737" v="6674" actId="790"/>
          <ac:spMkLst>
            <pc:docMk/>
            <pc:sldMk cId="1716130790" sldId="10333"/>
            <ac:spMk id="64" creationId="{D18473C9-8757-432D-9AB2-988A0819821F}"/>
          </ac:spMkLst>
        </pc:spChg>
      </pc:sldChg>
      <pc:sldChg chg="modSp mod">
        <pc:chgData name="Jean QUENTIN" userId="6962deb3-b639-4acd-8091-a0516ea2376b" providerId="ADAL" clId="{146BD8F6-FDDD-49D3-A1A6-146C954086FF}" dt="2021-05-24T13:36:21.284" v="5603" actId="790"/>
        <pc:sldMkLst>
          <pc:docMk/>
          <pc:sldMk cId="1424870296" sldId="10335"/>
        </pc:sldMkLst>
        <pc:spChg chg="mod">
          <ac:chgData name="Jean QUENTIN" userId="6962deb3-b639-4acd-8091-a0516ea2376b" providerId="ADAL" clId="{146BD8F6-FDDD-49D3-A1A6-146C954086FF}" dt="2021-05-24T13:36:21.199" v="5581" actId="790"/>
          <ac:spMkLst>
            <pc:docMk/>
            <pc:sldMk cId="1424870296" sldId="10335"/>
            <ac:spMk id="2" creationId="{13177ED9-F236-4FEB-A676-BB6F2C98ABD8}"/>
          </ac:spMkLst>
        </pc:spChg>
        <pc:spChg chg="mod">
          <ac:chgData name="Jean QUENTIN" userId="6962deb3-b639-4acd-8091-a0516ea2376b" providerId="ADAL" clId="{146BD8F6-FDDD-49D3-A1A6-146C954086FF}" dt="2021-05-24T13:36:21.284" v="5603" actId="790"/>
          <ac:spMkLst>
            <pc:docMk/>
            <pc:sldMk cId="1424870296" sldId="10335"/>
            <ac:spMk id="3" creationId="{A69D2220-5822-4C7B-AC0B-BB560C608D4E}"/>
          </ac:spMkLst>
        </pc:spChg>
        <pc:spChg chg="mod">
          <ac:chgData name="Jean QUENTIN" userId="6962deb3-b639-4acd-8091-a0516ea2376b" providerId="ADAL" clId="{146BD8F6-FDDD-49D3-A1A6-146C954086FF}" dt="2021-05-24T13:36:21.199" v="5582" actId="790"/>
          <ac:spMkLst>
            <pc:docMk/>
            <pc:sldMk cId="1424870296" sldId="10335"/>
            <ac:spMk id="17" creationId="{BFF3869E-C746-432E-B5CA-FCF542B2C3B9}"/>
          </ac:spMkLst>
        </pc:spChg>
        <pc:spChg chg="mod">
          <ac:chgData name="Jean QUENTIN" userId="6962deb3-b639-4acd-8091-a0516ea2376b" providerId="ADAL" clId="{146BD8F6-FDDD-49D3-A1A6-146C954086FF}" dt="2021-05-24T13:36:21.215" v="5583" actId="790"/>
          <ac:spMkLst>
            <pc:docMk/>
            <pc:sldMk cId="1424870296" sldId="10335"/>
            <ac:spMk id="19" creationId="{92BEB8F1-C1CF-4E36-805E-A6856F8CDD12}"/>
          </ac:spMkLst>
        </pc:spChg>
        <pc:spChg chg="mod">
          <ac:chgData name="Jean QUENTIN" userId="6962deb3-b639-4acd-8091-a0516ea2376b" providerId="ADAL" clId="{146BD8F6-FDDD-49D3-A1A6-146C954086FF}" dt="2021-05-24T13:36:21.215" v="5584" actId="790"/>
          <ac:spMkLst>
            <pc:docMk/>
            <pc:sldMk cId="1424870296" sldId="10335"/>
            <ac:spMk id="57" creationId="{AACC9758-A2ED-4421-A4F8-A76E33C47C70}"/>
          </ac:spMkLst>
        </pc:spChg>
        <pc:spChg chg="mod">
          <ac:chgData name="Jean QUENTIN" userId="6962deb3-b639-4acd-8091-a0516ea2376b" providerId="ADAL" clId="{146BD8F6-FDDD-49D3-A1A6-146C954086FF}" dt="2021-05-24T13:36:21.215" v="5585" actId="790"/>
          <ac:spMkLst>
            <pc:docMk/>
            <pc:sldMk cId="1424870296" sldId="10335"/>
            <ac:spMk id="67" creationId="{F56A9879-6797-4938-987E-8B0EA9BBCD37}"/>
          </ac:spMkLst>
        </pc:spChg>
        <pc:spChg chg="mod">
          <ac:chgData name="Jean QUENTIN" userId="6962deb3-b639-4acd-8091-a0516ea2376b" providerId="ADAL" clId="{146BD8F6-FDDD-49D3-A1A6-146C954086FF}" dt="2021-05-24T13:36:21.284" v="5602" actId="790"/>
          <ac:spMkLst>
            <pc:docMk/>
            <pc:sldMk cId="1424870296" sldId="10335"/>
            <ac:spMk id="71" creationId="{CBB8A796-2090-4136-81B3-DD25F2B14E0D}"/>
          </ac:spMkLst>
        </pc:spChg>
        <pc:spChg chg="mod">
          <ac:chgData name="Jean QUENTIN" userId="6962deb3-b639-4acd-8091-a0516ea2376b" providerId="ADAL" clId="{146BD8F6-FDDD-49D3-A1A6-146C954086FF}" dt="2021-05-24T13:36:21.215" v="5586" actId="790"/>
          <ac:spMkLst>
            <pc:docMk/>
            <pc:sldMk cId="1424870296" sldId="10335"/>
            <ac:spMk id="77" creationId="{2AD3025A-834E-47AF-BF62-355274B6372C}"/>
          </ac:spMkLst>
        </pc:spChg>
        <pc:spChg chg="mod">
          <ac:chgData name="Jean QUENTIN" userId="6962deb3-b639-4acd-8091-a0516ea2376b" providerId="ADAL" clId="{146BD8F6-FDDD-49D3-A1A6-146C954086FF}" dt="2021-05-24T13:36:21.215" v="5587" actId="790"/>
          <ac:spMkLst>
            <pc:docMk/>
            <pc:sldMk cId="1424870296" sldId="10335"/>
            <ac:spMk id="78" creationId="{AE4EF315-F328-4682-8B75-485D8875BA5E}"/>
          </ac:spMkLst>
        </pc:spChg>
        <pc:spChg chg="mod">
          <ac:chgData name="Jean QUENTIN" userId="6962deb3-b639-4acd-8091-a0516ea2376b" providerId="ADAL" clId="{146BD8F6-FDDD-49D3-A1A6-146C954086FF}" dt="2021-05-24T13:36:21.215" v="5588" actId="790"/>
          <ac:spMkLst>
            <pc:docMk/>
            <pc:sldMk cId="1424870296" sldId="10335"/>
            <ac:spMk id="83" creationId="{79B13BAC-5AF8-4002-A1EB-410345754704}"/>
          </ac:spMkLst>
        </pc:spChg>
        <pc:spChg chg="mod">
          <ac:chgData name="Jean QUENTIN" userId="6962deb3-b639-4acd-8091-a0516ea2376b" providerId="ADAL" clId="{146BD8F6-FDDD-49D3-A1A6-146C954086FF}" dt="2021-05-24T13:36:21.231" v="5594" actId="790"/>
          <ac:spMkLst>
            <pc:docMk/>
            <pc:sldMk cId="1424870296" sldId="10335"/>
            <ac:spMk id="86" creationId="{C61072E4-514A-4B47-8169-8FCBDA18612C}"/>
          </ac:spMkLst>
        </pc:spChg>
        <pc:spChg chg="mod">
          <ac:chgData name="Jean QUENTIN" userId="6962deb3-b639-4acd-8091-a0516ea2376b" providerId="ADAL" clId="{146BD8F6-FDDD-49D3-A1A6-146C954086FF}" dt="2021-05-24T13:36:21.231" v="5589" actId="790"/>
          <ac:spMkLst>
            <pc:docMk/>
            <pc:sldMk cId="1424870296" sldId="10335"/>
            <ac:spMk id="87" creationId="{CC75CEBD-D0F7-494C-B0E8-E10F7802B25A}"/>
          </ac:spMkLst>
        </pc:spChg>
        <pc:spChg chg="mod">
          <ac:chgData name="Jean QUENTIN" userId="6962deb3-b639-4acd-8091-a0516ea2376b" providerId="ADAL" clId="{146BD8F6-FDDD-49D3-A1A6-146C954086FF}" dt="2021-05-24T13:36:21.231" v="5590" actId="790"/>
          <ac:spMkLst>
            <pc:docMk/>
            <pc:sldMk cId="1424870296" sldId="10335"/>
            <ac:spMk id="88" creationId="{002A8146-6C05-413C-9359-F34D34BD36CC}"/>
          </ac:spMkLst>
        </pc:spChg>
        <pc:spChg chg="mod">
          <ac:chgData name="Jean QUENTIN" userId="6962deb3-b639-4acd-8091-a0516ea2376b" providerId="ADAL" clId="{146BD8F6-FDDD-49D3-A1A6-146C954086FF}" dt="2021-05-24T13:36:21.231" v="5591" actId="790"/>
          <ac:spMkLst>
            <pc:docMk/>
            <pc:sldMk cId="1424870296" sldId="10335"/>
            <ac:spMk id="89" creationId="{CC8692CD-2725-4A24-8138-E9D717F44FBF}"/>
          </ac:spMkLst>
        </pc:spChg>
        <pc:spChg chg="mod">
          <ac:chgData name="Jean QUENTIN" userId="6962deb3-b639-4acd-8091-a0516ea2376b" providerId="ADAL" clId="{146BD8F6-FDDD-49D3-A1A6-146C954086FF}" dt="2021-05-24T13:36:21.231" v="5592" actId="790"/>
          <ac:spMkLst>
            <pc:docMk/>
            <pc:sldMk cId="1424870296" sldId="10335"/>
            <ac:spMk id="100" creationId="{9FCC959C-37AB-4DE6-96D6-8D512E39D78C}"/>
          </ac:spMkLst>
        </pc:spChg>
        <pc:spChg chg="mod">
          <ac:chgData name="Jean QUENTIN" userId="6962deb3-b639-4acd-8091-a0516ea2376b" providerId="ADAL" clId="{146BD8F6-FDDD-49D3-A1A6-146C954086FF}" dt="2021-05-24T13:36:21.231" v="5593" actId="790"/>
          <ac:spMkLst>
            <pc:docMk/>
            <pc:sldMk cId="1424870296" sldId="10335"/>
            <ac:spMk id="102" creationId="{6D0B3FD5-2182-421F-9A88-C1673460DB2B}"/>
          </ac:spMkLst>
        </pc:spChg>
        <pc:spChg chg="mod">
          <ac:chgData name="Jean QUENTIN" userId="6962deb3-b639-4acd-8091-a0516ea2376b" providerId="ADAL" clId="{146BD8F6-FDDD-49D3-A1A6-146C954086FF}" dt="2021-05-24T13:36:21.246" v="5595" actId="790"/>
          <ac:spMkLst>
            <pc:docMk/>
            <pc:sldMk cId="1424870296" sldId="10335"/>
            <ac:spMk id="104" creationId="{C4AE2C1F-9FB2-4440-8BB3-2C0E7D9EDCE0}"/>
          </ac:spMkLst>
        </pc:spChg>
        <pc:spChg chg="mod">
          <ac:chgData name="Jean QUENTIN" userId="6962deb3-b639-4acd-8091-a0516ea2376b" providerId="ADAL" clId="{146BD8F6-FDDD-49D3-A1A6-146C954086FF}" dt="2021-05-24T13:36:21.246" v="5596" actId="790"/>
          <ac:spMkLst>
            <pc:docMk/>
            <pc:sldMk cId="1424870296" sldId="10335"/>
            <ac:spMk id="105" creationId="{04EF4D1A-C037-42D0-B892-5838973F1158}"/>
          </ac:spMkLst>
        </pc:spChg>
        <pc:spChg chg="mod">
          <ac:chgData name="Jean QUENTIN" userId="6962deb3-b639-4acd-8091-a0516ea2376b" providerId="ADAL" clId="{146BD8F6-FDDD-49D3-A1A6-146C954086FF}" dt="2021-05-24T13:36:21.246" v="5597" actId="790"/>
          <ac:spMkLst>
            <pc:docMk/>
            <pc:sldMk cId="1424870296" sldId="10335"/>
            <ac:spMk id="106" creationId="{1A98F378-0609-47B5-A22F-B3DF98061CA5}"/>
          </ac:spMkLst>
        </pc:spChg>
        <pc:spChg chg="mod">
          <ac:chgData name="Jean QUENTIN" userId="6962deb3-b639-4acd-8091-a0516ea2376b" providerId="ADAL" clId="{146BD8F6-FDDD-49D3-A1A6-146C954086FF}" dt="2021-05-24T13:36:21.246" v="5598" actId="790"/>
          <ac:spMkLst>
            <pc:docMk/>
            <pc:sldMk cId="1424870296" sldId="10335"/>
            <ac:spMk id="107" creationId="{CD736F70-A922-478A-A935-A6627A6FA958}"/>
          </ac:spMkLst>
        </pc:spChg>
        <pc:spChg chg="mod">
          <ac:chgData name="Jean QUENTIN" userId="6962deb3-b639-4acd-8091-a0516ea2376b" providerId="ADAL" clId="{146BD8F6-FDDD-49D3-A1A6-146C954086FF}" dt="2021-05-24T13:36:21.246" v="5599" actId="790"/>
          <ac:spMkLst>
            <pc:docMk/>
            <pc:sldMk cId="1424870296" sldId="10335"/>
            <ac:spMk id="108" creationId="{E83BE468-E05E-4A0B-886A-54474D37CF16}"/>
          </ac:spMkLst>
        </pc:spChg>
        <pc:spChg chg="mod">
          <ac:chgData name="Jean QUENTIN" userId="6962deb3-b639-4acd-8091-a0516ea2376b" providerId="ADAL" clId="{146BD8F6-FDDD-49D3-A1A6-146C954086FF}" dt="2021-05-24T13:36:21.246" v="5600" actId="790"/>
          <ac:spMkLst>
            <pc:docMk/>
            <pc:sldMk cId="1424870296" sldId="10335"/>
            <ac:spMk id="115" creationId="{A0C7CAD2-4A72-4C8D-8B97-E7D950CB9A60}"/>
          </ac:spMkLst>
        </pc:spChg>
        <pc:spChg chg="mod">
          <ac:chgData name="Jean QUENTIN" userId="6962deb3-b639-4acd-8091-a0516ea2376b" providerId="ADAL" clId="{146BD8F6-FDDD-49D3-A1A6-146C954086FF}" dt="2021-05-24T13:36:21.284" v="5601" actId="790"/>
          <ac:spMkLst>
            <pc:docMk/>
            <pc:sldMk cId="1424870296" sldId="10335"/>
            <ac:spMk id="127" creationId="{0897E6F9-F2AF-4184-8F04-7C90039CB31C}"/>
          </ac:spMkLst>
        </pc:spChg>
      </pc:sldChg>
      <pc:sldChg chg="modSp mod">
        <pc:chgData name="Jean QUENTIN" userId="6962deb3-b639-4acd-8091-a0516ea2376b" providerId="ADAL" clId="{146BD8F6-FDDD-49D3-A1A6-146C954086FF}" dt="2021-05-24T13:36:24.560" v="6874" actId="790"/>
        <pc:sldMkLst>
          <pc:docMk/>
          <pc:sldMk cId="2753453439" sldId="10337"/>
        </pc:sldMkLst>
        <pc:spChg chg="mod">
          <ac:chgData name="Jean QUENTIN" userId="6962deb3-b639-4acd-8091-a0516ea2376b" providerId="ADAL" clId="{146BD8F6-FDDD-49D3-A1A6-146C954086FF}" dt="2021-05-24T13:36:24.445" v="6842" actId="790"/>
          <ac:spMkLst>
            <pc:docMk/>
            <pc:sldMk cId="2753453439" sldId="10337"/>
            <ac:spMk id="2" creationId="{BA3E4240-1B8B-4AAA-9DCA-9FE236464846}"/>
          </ac:spMkLst>
        </pc:spChg>
        <pc:spChg chg="mod">
          <ac:chgData name="Jean QUENTIN" userId="6962deb3-b639-4acd-8091-a0516ea2376b" providerId="ADAL" clId="{146BD8F6-FDDD-49D3-A1A6-146C954086FF}" dt="2021-05-24T13:36:24.449" v="6843" actId="790"/>
          <ac:spMkLst>
            <pc:docMk/>
            <pc:sldMk cId="2753453439" sldId="10337"/>
            <ac:spMk id="3" creationId="{1773FC09-D385-45A1-AC2E-146DDDE8BD0A}"/>
          </ac:spMkLst>
        </pc:spChg>
        <pc:spChg chg="mod">
          <ac:chgData name="Jean QUENTIN" userId="6962deb3-b639-4acd-8091-a0516ea2376b" providerId="ADAL" clId="{146BD8F6-FDDD-49D3-A1A6-146C954086FF}" dt="2021-05-24T13:36:24.452" v="6844" actId="790"/>
          <ac:spMkLst>
            <pc:docMk/>
            <pc:sldMk cId="2753453439" sldId="10337"/>
            <ac:spMk id="9" creationId="{8EBE87B3-F04E-491F-82E3-AD5C42A920E2}"/>
          </ac:spMkLst>
        </pc:spChg>
        <pc:spChg chg="mod">
          <ac:chgData name="Jean QUENTIN" userId="6962deb3-b639-4acd-8091-a0516ea2376b" providerId="ADAL" clId="{146BD8F6-FDDD-49D3-A1A6-146C954086FF}" dt="2021-05-24T13:36:24.456" v="6845" actId="790"/>
          <ac:spMkLst>
            <pc:docMk/>
            <pc:sldMk cId="2753453439" sldId="10337"/>
            <ac:spMk id="10" creationId="{8B80541E-0CB8-4F46-AA31-1D2CE8ECE50F}"/>
          </ac:spMkLst>
        </pc:spChg>
        <pc:spChg chg="mod">
          <ac:chgData name="Jean QUENTIN" userId="6962deb3-b639-4acd-8091-a0516ea2376b" providerId="ADAL" clId="{146BD8F6-FDDD-49D3-A1A6-146C954086FF}" dt="2021-05-24T13:36:24.457" v="6846" actId="790"/>
          <ac:spMkLst>
            <pc:docMk/>
            <pc:sldMk cId="2753453439" sldId="10337"/>
            <ac:spMk id="12" creationId="{5632CA9B-96AD-46F9-9A8A-B6E6800443DD}"/>
          </ac:spMkLst>
        </pc:spChg>
        <pc:spChg chg="mod">
          <ac:chgData name="Jean QUENTIN" userId="6962deb3-b639-4acd-8091-a0516ea2376b" providerId="ADAL" clId="{146BD8F6-FDDD-49D3-A1A6-146C954086FF}" dt="2021-05-24T13:36:24.459" v="6847" actId="790"/>
          <ac:spMkLst>
            <pc:docMk/>
            <pc:sldMk cId="2753453439" sldId="10337"/>
            <ac:spMk id="13" creationId="{8A47A578-76B7-48A6-B910-8A54E9BC3C53}"/>
          </ac:spMkLst>
        </pc:spChg>
        <pc:spChg chg="mod">
          <ac:chgData name="Jean QUENTIN" userId="6962deb3-b639-4acd-8091-a0516ea2376b" providerId="ADAL" clId="{146BD8F6-FDDD-49D3-A1A6-146C954086FF}" dt="2021-05-24T13:36:24.461" v="6848" actId="790"/>
          <ac:spMkLst>
            <pc:docMk/>
            <pc:sldMk cId="2753453439" sldId="10337"/>
            <ac:spMk id="16" creationId="{4FCCDEAF-F1D6-472C-8877-BCF7D817DF4C}"/>
          </ac:spMkLst>
        </pc:spChg>
        <pc:spChg chg="mod">
          <ac:chgData name="Jean QUENTIN" userId="6962deb3-b639-4acd-8091-a0516ea2376b" providerId="ADAL" clId="{146BD8F6-FDDD-49D3-A1A6-146C954086FF}" dt="2021-05-24T13:36:24.463" v="6849" actId="790"/>
          <ac:spMkLst>
            <pc:docMk/>
            <pc:sldMk cId="2753453439" sldId="10337"/>
            <ac:spMk id="19" creationId="{3580A880-B883-4BD3-AF11-01D7B33C5FB8}"/>
          </ac:spMkLst>
        </pc:spChg>
        <pc:spChg chg="mod">
          <ac:chgData name="Jean QUENTIN" userId="6962deb3-b639-4acd-8091-a0516ea2376b" providerId="ADAL" clId="{146BD8F6-FDDD-49D3-A1A6-146C954086FF}" dt="2021-05-24T13:36:24.477" v="6852" actId="790"/>
          <ac:spMkLst>
            <pc:docMk/>
            <pc:sldMk cId="2753453439" sldId="10337"/>
            <ac:spMk id="21" creationId="{58337BA2-B7F0-4432-B9BF-C085B3E8B7D0}"/>
          </ac:spMkLst>
        </pc:spChg>
        <pc:spChg chg="mod">
          <ac:chgData name="Jean QUENTIN" userId="6962deb3-b639-4acd-8091-a0516ea2376b" providerId="ADAL" clId="{146BD8F6-FDDD-49D3-A1A6-146C954086FF}" dt="2021-05-24T13:36:24.479" v="6853" actId="790"/>
          <ac:spMkLst>
            <pc:docMk/>
            <pc:sldMk cId="2753453439" sldId="10337"/>
            <ac:spMk id="23" creationId="{CAB7DE97-987C-4E1B-AC28-72D620F2E2AC}"/>
          </ac:spMkLst>
        </pc:spChg>
        <pc:spChg chg="mod">
          <ac:chgData name="Jean QUENTIN" userId="6962deb3-b639-4acd-8091-a0516ea2376b" providerId="ADAL" clId="{146BD8F6-FDDD-49D3-A1A6-146C954086FF}" dt="2021-05-24T13:36:24.471" v="6850" actId="790"/>
          <ac:spMkLst>
            <pc:docMk/>
            <pc:sldMk cId="2753453439" sldId="10337"/>
            <ac:spMk id="24" creationId="{B613E2EA-B96E-46E4-BF88-51F7E87FD434}"/>
          </ac:spMkLst>
        </pc:spChg>
        <pc:spChg chg="mod">
          <ac:chgData name="Jean QUENTIN" userId="6962deb3-b639-4acd-8091-a0516ea2376b" providerId="ADAL" clId="{146BD8F6-FDDD-49D3-A1A6-146C954086FF}" dt="2021-05-24T13:36:24.476" v="6851" actId="790"/>
          <ac:spMkLst>
            <pc:docMk/>
            <pc:sldMk cId="2753453439" sldId="10337"/>
            <ac:spMk id="25" creationId="{0634D66A-E6F6-4578-8A06-11D9F3F9E648}"/>
          </ac:spMkLst>
        </pc:spChg>
        <pc:spChg chg="mod">
          <ac:chgData name="Jean QUENTIN" userId="6962deb3-b639-4acd-8091-a0516ea2376b" providerId="ADAL" clId="{146BD8F6-FDDD-49D3-A1A6-146C954086FF}" dt="2021-05-24T13:36:24.489" v="6854" actId="790"/>
          <ac:spMkLst>
            <pc:docMk/>
            <pc:sldMk cId="2753453439" sldId="10337"/>
            <ac:spMk id="31" creationId="{0C5924EB-4FAB-4EEB-8C48-044C8B950722}"/>
          </ac:spMkLst>
        </pc:spChg>
        <pc:spChg chg="mod">
          <ac:chgData name="Jean QUENTIN" userId="6962deb3-b639-4acd-8091-a0516ea2376b" providerId="ADAL" clId="{146BD8F6-FDDD-49D3-A1A6-146C954086FF}" dt="2021-05-24T13:36:24.497" v="6855" actId="790"/>
          <ac:spMkLst>
            <pc:docMk/>
            <pc:sldMk cId="2753453439" sldId="10337"/>
            <ac:spMk id="32" creationId="{F2EECF5B-E5DE-4D06-85AD-830FFDAFCB24}"/>
          </ac:spMkLst>
        </pc:spChg>
        <pc:spChg chg="mod">
          <ac:chgData name="Jean QUENTIN" userId="6962deb3-b639-4acd-8091-a0516ea2376b" providerId="ADAL" clId="{146BD8F6-FDDD-49D3-A1A6-146C954086FF}" dt="2021-05-24T13:36:24.549" v="6872" actId="790"/>
          <ac:spMkLst>
            <pc:docMk/>
            <pc:sldMk cId="2753453439" sldId="10337"/>
            <ac:spMk id="50" creationId="{3D11D9AD-56B2-4FD0-998A-C3C17321490E}"/>
          </ac:spMkLst>
        </pc:spChg>
        <pc:spChg chg="mod">
          <ac:chgData name="Jean QUENTIN" userId="6962deb3-b639-4acd-8091-a0516ea2376b" providerId="ADAL" clId="{146BD8F6-FDDD-49D3-A1A6-146C954086FF}" dt="2021-05-24T13:36:24.552" v="6873" actId="790"/>
          <ac:spMkLst>
            <pc:docMk/>
            <pc:sldMk cId="2753453439" sldId="10337"/>
            <ac:spMk id="51" creationId="{ABA09096-B3E8-4754-A77D-65D350688B5B}"/>
          </ac:spMkLst>
        </pc:spChg>
        <pc:spChg chg="mod">
          <ac:chgData name="Jean QUENTIN" userId="6962deb3-b639-4acd-8091-a0516ea2376b" providerId="ADAL" clId="{146BD8F6-FDDD-49D3-A1A6-146C954086FF}" dt="2021-05-24T13:36:24.560" v="6874" actId="790"/>
          <ac:spMkLst>
            <pc:docMk/>
            <pc:sldMk cId="2753453439" sldId="10337"/>
            <ac:spMk id="52" creationId="{269DE5CB-BABB-4CE5-BFC8-CA5EE268E23C}"/>
          </ac:spMkLst>
        </pc:spChg>
        <pc:spChg chg="mod">
          <ac:chgData name="Jean QUENTIN" userId="6962deb3-b639-4acd-8091-a0516ea2376b" providerId="ADAL" clId="{146BD8F6-FDDD-49D3-A1A6-146C954086FF}" dt="2021-05-24T13:36:24.505" v="6858" actId="790"/>
          <ac:spMkLst>
            <pc:docMk/>
            <pc:sldMk cId="2753453439" sldId="10337"/>
            <ac:spMk id="77" creationId="{D27ECD82-0676-4144-BB5A-5D730CC8DCC1}"/>
          </ac:spMkLst>
        </pc:spChg>
        <pc:spChg chg="mod">
          <ac:chgData name="Jean QUENTIN" userId="6962deb3-b639-4acd-8091-a0516ea2376b" providerId="ADAL" clId="{146BD8F6-FDDD-49D3-A1A6-146C954086FF}" dt="2021-05-24T13:36:24.503" v="6857" actId="790"/>
          <ac:spMkLst>
            <pc:docMk/>
            <pc:sldMk cId="2753453439" sldId="10337"/>
            <ac:spMk id="81" creationId="{60F8FC4C-7305-426C-8523-F98FB2B728B2}"/>
          </ac:spMkLst>
        </pc:spChg>
        <pc:spChg chg="mod">
          <ac:chgData name="Jean QUENTIN" userId="6962deb3-b639-4acd-8091-a0516ea2376b" providerId="ADAL" clId="{146BD8F6-FDDD-49D3-A1A6-146C954086FF}" dt="2021-05-24T13:36:24.507" v="6859" actId="790"/>
          <ac:spMkLst>
            <pc:docMk/>
            <pc:sldMk cId="2753453439" sldId="10337"/>
            <ac:spMk id="86" creationId="{5426AF42-AB87-4AFB-94AB-DD1D8EF561A6}"/>
          </ac:spMkLst>
        </pc:spChg>
        <pc:spChg chg="mod">
          <ac:chgData name="Jean QUENTIN" userId="6962deb3-b639-4acd-8091-a0516ea2376b" providerId="ADAL" clId="{146BD8F6-FDDD-49D3-A1A6-146C954086FF}" dt="2021-05-24T13:36:24.499" v="6856" actId="790"/>
          <ac:spMkLst>
            <pc:docMk/>
            <pc:sldMk cId="2753453439" sldId="10337"/>
            <ac:spMk id="88" creationId="{34AD6019-DF31-49B1-9576-11ED4DEEE9F3}"/>
          </ac:spMkLst>
        </pc:spChg>
        <pc:spChg chg="mod">
          <ac:chgData name="Jean QUENTIN" userId="6962deb3-b639-4acd-8091-a0516ea2376b" providerId="ADAL" clId="{146BD8F6-FDDD-49D3-A1A6-146C954086FF}" dt="2021-05-24T13:36:24.510" v="6860" actId="790"/>
          <ac:spMkLst>
            <pc:docMk/>
            <pc:sldMk cId="2753453439" sldId="10337"/>
            <ac:spMk id="89" creationId="{0E3C8382-14B0-4DD7-8CF1-F74F30CA1AB5}"/>
          </ac:spMkLst>
        </pc:spChg>
        <pc:spChg chg="mod">
          <ac:chgData name="Jean QUENTIN" userId="6962deb3-b639-4acd-8091-a0516ea2376b" providerId="ADAL" clId="{146BD8F6-FDDD-49D3-A1A6-146C954086FF}" dt="2021-05-24T13:36:24.515" v="6861" actId="790"/>
          <ac:spMkLst>
            <pc:docMk/>
            <pc:sldMk cId="2753453439" sldId="10337"/>
            <ac:spMk id="90" creationId="{08ED6D2A-682C-461A-BA1C-AC84CBEC2E76}"/>
          </ac:spMkLst>
        </pc:spChg>
        <pc:spChg chg="mod">
          <ac:chgData name="Jean QUENTIN" userId="6962deb3-b639-4acd-8091-a0516ea2376b" providerId="ADAL" clId="{146BD8F6-FDDD-49D3-A1A6-146C954086FF}" dt="2021-05-24T13:36:24.520" v="6862" actId="790"/>
          <ac:spMkLst>
            <pc:docMk/>
            <pc:sldMk cId="2753453439" sldId="10337"/>
            <ac:spMk id="91" creationId="{602468B7-98F9-47C4-8231-08793B2DF3B3}"/>
          </ac:spMkLst>
        </pc:spChg>
        <pc:spChg chg="mod">
          <ac:chgData name="Jean QUENTIN" userId="6962deb3-b639-4acd-8091-a0516ea2376b" providerId="ADAL" clId="{146BD8F6-FDDD-49D3-A1A6-146C954086FF}" dt="2021-05-24T13:36:24.522" v="6863" actId="790"/>
          <ac:spMkLst>
            <pc:docMk/>
            <pc:sldMk cId="2753453439" sldId="10337"/>
            <ac:spMk id="94" creationId="{BF5B00B0-9183-440C-A99F-1C50EFA053F6}"/>
          </ac:spMkLst>
        </pc:spChg>
        <pc:spChg chg="mod">
          <ac:chgData name="Jean QUENTIN" userId="6962deb3-b639-4acd-8091-a0516ea2376b" providerId="ADAL" clId="{146BD8F6-FDDD-49D3-A1A6-146C954086FF}" dt="2021-05-24T13:36:24.526" v="6864" actId="790"/>
          <ac:spMkLst>
            <pc:docMk/>
            <pc:sldMk cId="2753453439" sldId="10337"/>
            <ac:spMk id="95" creationId="{A1CB9407-E980-4B78-9BC3-672647E87D1B}"/>
          </ac:spMkLst>
        </pc:spChg>
        <pc:spChg chg="mod">
          <ac:chgData name="Jean QUENTIN" userId="6962deb3-b639-4acd-8091-a0516ea2376b" providerId="ADAL" clId="{146BD8F6-FDDD-49D3-A1A6-146C954086FF}" dt="2021-05-24T13:36:24.529" v="6865" actId="790"/>
          <ac:spMkLst>
            <pc:docMk/>
            <pc:sldMk cId="2753453439" sldId="10337"/>
            <ac:spMk id="96" creationId="{9C0F66FB-561C-4DB9-BAD1-4012B3F815F5}"/>
          </ac:spMkLst>
        </pc:spChg>
        <pc:spChg chg="mod">
          <ac:chgData name="Jean QUENTIN" userId="6962deb3-b639-4acd-8091-a0516ea2376b" providerId="ADAL" clId="{146BD8F6-FDDD-49D3-A1A6-146C954086FF}" dt="2021-05-24T13:36:24.533" v="6866" actId="790"/>
          <ac:spMkLst>
            <pc:docMk/>
            <pc:sldMk cId="2753453439" sldId="10337"/>
            <ac:spMk id="97" creationId="{C1B3BAF1-8B3C-4DCB-B21F-84C74A57C140}"/>
          </ac:spMkLst>
        </pc:spChg>
        <pc:spChg chg="mod">
          <ac:chgData name="Jean QUENTIN" userId="6962deb3-b639-4acd-8091-a0516ea2376b" providerId="ADAL" clId="{146BD8F6-FDDD-49D3-A1A6-146C954086FF}" dt="2021-05-24T13:36:24.535" v="6867" actId="790"/>
          <ac:spMkLst>
            <pc:docMk/>
            <pc:sldMk cId="2753453439" sldId="10337"/>
            <ac:spMk id="122" creationId="{936E4E20-1474-4024-9238-B930440AF551}"/>
          </ac:spMkLst>
        </pc:spChg>
        <pc:spChg chg="mod">
          <ac:chgData name="Jean QUENTIN" userId="6962deb3-b639-4acd-8091-a0516ea2376b" providerId="ADAL" clId="{146BD8F6-FDDD-49D3-A1A6-146C954086FF}" dt="2021-05-24T13:36:24.538" v="6868" actId="790"/>
          <ac:spMkLst>
            <pc:docMk/>
            <pc:sldMk cId="2753453439" sldId="10337"/>
            <ac:spMk id="123" creationId="{8AF57D28-A97A-490E-92DF-1C33398C1910}"/>
          </ac:spMkLst>
        </pc:spChg>
        <pc:spChg chg="mod">
          <ac:chgData name="Jean QUENTIN" userId="6962deb3-b639-4acd-8091-a0516ea2376b" providerId="ADAL" clId="{146BD8F6-FDDD-49D3-A1A6-146C954086FF}" dt="2021-05-24T13:36:24.542" v="6869" actId="790"/>
          <ac:spMkLst>
            <pc:docMk/>
            <pc:sldMk cId="2753453439" sldId="10337"/>
            <ac:spMk id="124" creationId="{C13988AF-A8ED-4936-9B43-06E1380D6037}"/>
          </ac:spMkLst>
        </pc:spChg>
        <pc:spChg chg="mod">
          <ac:chgData name="Jean QUENTIN" userId="6962deb3-b639-4acd-8091-a0516ea2376b" providerId="ADAL" clId="{146BD8F6-FDDD-49D3-A1A6-146C954086FF}" dt="2021-05-24T13:36:24.544" v="6870" actId="790"/>
          <ac:spMkLst>
            <pc:docMk/>
            <pc:sldMk cId="2753453439" sldId="10337"/>
            <ac:spMk id="125" creationId="{96B72152-7C55-4AB0-AA8F-6FD98389ADDF}"/>
          </ac:spMkLst>
        </pc:spChg>
        <pc:spChg chg="mod">
          <ac:chgData name="Jean QUENTIN" userId="6962deb3-b639-4acd-8091-a0516ea2376b" providerId="ADAL" clId="{146BD8F6-FDDD-49D3-A1A6-146C954086FF}" dt="2021-05-24T13:36:24.547" v="6871" actId="790"/>
          <ac:spMkLst>
            <pc:docMk/>
            <pc:sldMk cId="2753453439" sldId="10337"/>
            <ac:spMk id="152" creationId="{FD7ED2BD-3A04-423A-8563-A638727F3B40}"/>
          </ac:spMkLst>
        </pc:spChg>
      </pc:sldChg>
      <pc:sldChg chg="modSp mod">
        <pc:chgData name="Jean QUENTIN" userId="6962deb3-b639-4acd-8091-a0516ea2376b" providerId="ADAL" clId="{146BD8F6-FDDD-49D3-A1A6-146C954086FF}" dt="2021-05-24T13:36:23.605" v="6623" actId="790"/>
        <pc:sldMkLst>
          <pc:docMk/>
          <pc:sldMk cId="1778169431" sldId="10339"/>
        </pc:sldMkLst>
        <pc:spChg chg="mod">
          <ac:chgData name="Jean QUENTIN" userId="6962deb3-b639-4acd-8091-a0516ea2376b" providerId="ADAL" clId="{146BD8F6-FDDD-49D3-A1A6-146C954086FF}" dt="2021-05-24T13:36:23.574" v="6609" actId="790"/>
          <ac:spMkLst>
            <pc:docMk/>
            <pc:sldMk cId="1778169431" sldId="10339"/>
            <ac:spMk id="2" creationId="{BA3E4240-1B8B-4AAA-9DCA-9FE236464846}"/>
          </ac:spMkLst>
        </pc:spChg>
        <pc:spChg chg="mod">
          <ac:chgData name="Jean QUENTIN" userId="6962deb3-b639-4acd-8091-a0516ea2376b" providerId="ADAL" clId="{146BD8F6-FDDD-49D3-A1A6-146C954086FF}" dt="2021-05-24T13:36:23.574" v="6610" actId="790"/>
          <ac:spMkLst>
            <pc:docMk/>
            <pc:sldMk cId="1778169431" sldId="10339"/>
            <ac:spMk id="3" creationId="{1773FC09-D385-45A1-AC2E-146DDDE8BD0A}"/>
          </ac:spMkLst>
        </pc:spChg>
        <pc:spChg chg="mod">
          <ac:chgData name="Jean QUENTIN" userId="6962deb3-b639-4acd-8091-a0516ea2376b" providerId="ADAL" clId="{146BD8F6-FDDD-49D3-A1A6-146C954086FF}" dt="2021-05-24T13:36:23.574" v="6611" actId="790"/>
          <ac:spMkLst>
            <pc:docMk/>
            <pc:sldMk cId="1778169431" sldId="10339"/>
            <ac:spMk id="5" creationId="{3A8E474A-3257-44B4-8857-5C9C3B96387D}"/>
          </ac:spMkLst>
        </pc:spChg>
        <pc:spChg chg="mod">
          <ac:chgData name="Jean QUENTIN" userId="6962deb3-b639-4acd-8091-a0516ea2376b" providerId="ADAL" clId="{146BD8F6-FDDD-49D3-A1A6-146C954086FF}" dt="2021-05-24T13:36:23.574" v="6612" actId="790"/>
          <ac:spMkLst>
            <pc:docMk/>
            <pc:sldMk cId="1778169431" sldId="10339"/>
            <ac:spMk id="6" creationId="{5BB4B51C-31AC-499C-903B-0A0774795574}"/>
          </ac:spMkLst>
        </pc:spChg>
        <pc:spChg chg="mod">
          <ac:chgData name="Jean QUENTIN" userId="6962deb3-b639-4acd-8091-a0516ea2376b" providerId="ADAL" clId="{146BD8F6-FDDD-49D3-A1A6-146C954086FF}" dt="2021-05-24T13:36:23.574" v="6613" actId="790"/>
          <ac:spMkLst>
            <pc:docMk/>
            <pc:sldMk cId="1778169431" sldId="10339"/>
            <ac:spMk id="7" creationId="{6739545D-64AA-45AA-B185-4E8977F80958}"/>
          </ac:spMkLst>
        </pc:spChg>
        <pc:spChg chg="mod">
          <ac:chgData name="Jean QUENTIN" userId="6962deb3-b639-4acd-8091-a0516ea2376b" providerId="ADAL" clId="{146BD8F6-FDDD-49D3-A1A6-146C954086FF}" dt="2021-05-24T13:36:23.574" v="6614" actId="790"/>
          <ac:spMkLst>
            <pc:docMk/>
            <pc:sldMk cId="1778169431" sldId="10339"/>
            <ac:spMk id="8" creationId="{451CDA00-F98A-4268-8550-0458FE00F9DF}"/>
          </ac:spMkLst>
        </pc:spChg>
        <pc:spChg chg="mod">
          <ac:chgData name="Jean QUENTIN" userId="6962deb3-b639-4acd-8091-a0516ea2376b" providerId="ADAL" clId="{146BD8F6-FDDD-49D3-A1A6-146C954086FF}" dt="2021-05-24T13:36:23.590" v="6615" actId="790"/>
          <ac:spMkLst>
            <pc:docMk/>
            <pc:sldMk cId="1778169431" sldId="10339"/>
            <ac:spMk id="9" creationId="{7A068351-BCF8-4FB3-9F65-0237CBAACA9B}"/>
          </ac:spMkLst>
        </pc:spChg>
        <pc:spChg chg="mod">
          <ac:chgData name="Jean QUENTIN" userId="6962deb3-b639-4acd-8091-a0516ea2376b" providerId="ADAL" clId="{146BD8F6-FDDD-49D3-A1A6-146C954086FF}" dt="2021-05-24T13:36:23.590" v="6616" actId="790"/>
          <ac:spMkLst>
            <pc:docMk/>
            <pc:sldMk cId="1778169431" sldId="10339"/>
            <ac:spMk id="10" creationId="{81A641C9-8A56-4BE9-85F7-693EC08884C6}"/>
          </ac:spMkLst>
        </pc:spChg>
        <pc:spChg chg="mod">
          <ac:chgData name="Jean QUENTIN" userId="6962deb3-b639-4acd-8091-a0516ea2376b" providerId="ADAL" clId="{146BD8F6-FDDD-49D3-A1A6-146C954086FF}" dt="2021-05-24T13:36:23.590" v="6617" actId="790"/>
          <ac:spMkLst>
            <pc:docMk/>
            <pc:sldMk cId="1778169431" sldId="10339"/>
            <ac:spMk id="11" creationId="{8196AFDA-37FC-4A9B-A7BA-A6B1039D187C}"/>
          </ac:spMkLst>
        </pc:spChg>
        <pc:spChg chg="mod">
          <ac:chgData name="Jean QUENTIN" userId="6962deb3-b639-4acd-8091-a0516ea2376b" providerId="ADAL" clId="{146BD8F6-FDDD-49D3-A1A6-146C954086FF}" dt="2021-05-24T13:36:23.590" v="6618" actId="790"/>
          <ac:spMkLst>
            <pc:docMk/>
            <pc:sldMk cId="1778169431" sldId="10339"/>
            <ac:spMk id="12" creationId="{589397CD-CBAB-4EA3-A0A0-79CB5D12E6B1}"/>
          </ac:spMkLst>
        </pc:spChg>
        <pc:spChg chg="mod">
          <ac:chgData name="Jean QUENTIN" userId="6962deb3-b639-4acd-8091-a0516ea2376b" providerId="ADAL" clId="{146BD8F6-FDDD-49D3-A1A6-146C954086FF}" dt="2021-05-24T13:36:23.590" v="6619" actId="790"/>
          <ac:spMkLst>
            <pc:docMk/>
            <pc:sldMk cId="1778169431" sldId="10339"/>
            <ac:spMk id="13" creationId="{7F974433-5468-4D9B-9F35-FBFEE6525D09}"/>
          </ac:spMkLst>
        </pc:spChg>
        <pc:spChg chg="mod">
          <ac:chgData name="Jean QUENTIN" userId="6962deb3-b639-4acd-8091-a0516ea2376b" providerId="ADAL" clId="{146BD8F6-FDDD-49D3-A1A6-146C954086FF}" dt="2021-05-24T13:36:23.605" v="6620" actId="790"/>
          <ac:spMkLst>
            <pc:docMk/>
            <pc:sldMk cId="1778169431" sldId="10339"/>
            <ac:spMk id="14" creationId="{0C70AA0A-FEE8-4526-B8D4-7D865838D2CE}"/>
          </ac:spMkLst>
        </pc:spChg>
        <pc:spChg chg="mod">
          <ac:chgData name="Jean QUENTIN" userId="6962deb3-b639-4acd-8091-a0516ea2376b" providerId="ADAL" clId="{146BD8F6-FDDD-49D3-A1A6-146C954086FF}" dt="2021-05-24T13:36:23.605" v="6621" actId="790"/>
          <ac:spMkLst>
            <pc:docMk/>
            <pc:sldMk cId="1778169431" sldId="10339"/>
            <ac:spMk id="15" creationId="{D19E0864-EC09-4042-B497-EAFB9D44AB4F}"/>
          </ac:spMkLst>
        </pc:spChg>
        <pc:spChg chg="mod">
          <ac:chgData name="Jean QUENTIN" userId="6962deb3-b639-4acd-8091-a0516ea2376b" providerId="ADAL" clId="{146BD8F6-FDDD-49D3-A1A6-146C954086FF}" dt="2021-05-24T13:36:23.605" v="6622" actId="790"/>
          <ac:spMkLst>
            <pc:docMk/>
            <pc:sldMk cId="1778169431" sldId="10339"/>
            <ac:spMk id="16" creationId="{DC98EFBE-1FD0-4A53-AE48-5CDDB40F54BD}"/>
          </ac:spMkLst>
        </pc:spChg>
        <pc:spChg chg="mod">
          <ac:chgData name="Jean QUENTIN" userId="6962deb3-b639-4acd-8091-a0516ea2376b" providerId="ADAL" clId="{146BD8F6-FDDD-49D3-A1A6-146C954086FF}" dt="2021-05-24T13:36:23.605" v="6623" actId="790"/>
          <ac:spMkLst>
            <pc:docMk/>
            <pc:sldMk cId="1778169431" sldId="10339"/>
            <ac:spMk id="17" creationId="{AEFF0473-698F-4CEF-AF26-1FB5F8613701}"/>
          </ac:spMkLst>
        </pc:spChg>
      </pc:sldChg>
      <pc:sldChg chg="modSp mod">
        <pc:chgData name="Jean QUENTIN" userId="6962deb3-b639-4acd-8091-a0516ea2376b" providerId="ADAL" clId="{146BD8F6-FDDD-49D3-A1A6-146C954086FF}" dt="2021-05-24T13:36:23.574" v="6608" actId="790"/>
        <pc:sldMkLst>
          <pc:docMk/>
          <pc:sldMk cId="2793193694" sldId="10340"/>
        </pc:sldMkLst>
        <pc:spChg chg="mod">
          <ac:chgData name="Jean QUENTIN" userId="6962deb3-b639-4acd-8091-a0516ea2376b" providerId="ADAL" clId="{146BD8F6-FDDD-49D3-A1A6-146C954086FF}" dt="2021-05-24T13:36:23.505" v="6587" actId="790"/>
          <ac:spMkLst>
            <pc:docMk/>
            <pc:sldMk cId="2793193694" sldId="10340"/>
            <ac:spMk id="2" creationId="{C1E8DA85-2720-49AA-BBC2-AAF2C575345E}"/>
          </ac:spMkLst>
        </pc:spChg>
        <pc:spChg chg="mod">
          <ac:chgData name="Jean QUENTIN" userId="6962deb3-b639-4acd-8091-a0516ea2376b" providerId="ADAL" clId="{146BD8F6-FDDD-49D3-A1A6-146C954086FF}" dt="2021-05-24T13:36:23.505" v="6591" actId="790"/>
          <ac:spMkLst>
            <pc:docMk/>
            <pc:sldMk cId="2793193694" sldId="10340"/>
            <ac:spMk id="8" creationId="{3D386A9E-F2EA-4B0E-9CA1-D7BC7B00B375}"/>
          </ac:spMkLst>
        </pc:spChg>
        <pc:spChg chg="mod">
          <ac:chgData name="Jean QUENTIN" userId="6962deb3-b639-4acd-8091-a0516ea2376b" providerId="ADAL" clId="{146BD8F6-FDDD-49D3-A1A6-146C954086FF}" dt="2021-05-24T13:36:23.505" v="6588" actId="790"/>
          <ac:spMkLst>
            <pc:docMk/>
            <pc:sldMk cId="2793193694" sldId="10340"/>
            <ac:spMk id="11" creationId="{6CF37853-5188-46F5-8F4E-A59F2BC3FC3D}"/>
          </ac:spMkLst>
        </pc:spChg>
        <pc:spChg chg="mod">
          <ac:chgData name="Jean QUENTIN" userId="6962deb3-b639-4acd-8091-a0516ea2376b" providerId="ADAL" clId="{146BD8F6-FDDD-49D3-A1A6-146C954086FF}" dt="2021-05-24T13:36:23.505" v="6589" actId="790"/>
          <ac:spMkLst>
            <pc:docMk/>
            <pc:sldMk cId="2793193694" sldId="10340"/>
            <ac:spMk id="12" creationId="{E101B9E3-E95C-4C7C-A942-C89AA434E9B3}"/>
          </ac:spMkLst>
        </pc:spChg>
        <pc:spChg chg="mod">
          <ac:chgData name="Jean QUENTIN" userId="6962deb3-b639-4acd-8091-a0516ea2376b" providerId="ADAL" clId="{146BD8F6-FDDD-49D3-A1A6-146C954086FF}" dt="2021-05-24T13:36:23.569" v="6606" actId="790"/>
          <ac:spMkLst>
            <pc:docMk/>
            <pc:sldMk cId="2793193694" sldId="10340"/>
            <ac:spMk id="17" creationId="{7439AC65-793C-438B-8A73-EC407DFE9753}"/>
          </ac:spMkLst>
        </pc:spChg>
        <pc:spChg chg="mod">
          <ac:chgData name="Jean QUENTIN" userId="6962deb3-b639-4acd-8091-a0516ea2376b" providerId="ADAL" clId="{146BD8F6-FDDD-49D3-A1A6-146C954086FF}" dt="2021-05-24T13:36:23.505" v="6590" actId="790"/>
          <ac:spMkLst>
            <pc:docMk/>
            <pc:sldMk cId="2793193694" sldId="10340"/>
            <ac:spMk id="18" creationId="{CF9775DB-91C3-4A4C-8E86-0E43E243A686}"/>
          </ac:spMkLst>
        </pc:spChg>
        <pc:spChg chg="mod">
          <ac:chgData name="Jean QUENTIN" userId="6962deb3-b639-4acd-8091-a0516ea2376b" providerId="ADAL" clId="{146BD8F6-FDDD-49D3-A1A6-146C954086FF}" dt="2021-05-24T13:36:23.569" v="6607" actId="790"/>
          <ac:spMkLst>
            <pc:docMk/>
            <pc:sldMk cId="2793193694" sldId="10340"/>
            <ac:spMk id="19" creationId="{37F3E06D-781A-4444-9ED7-F2D912E1E7BD}"/>
          </ac:spMkLst>
        </pc:spChg>
        <pc:spChg chg="mod">
          <ac:chgData name="Jean QUENTIN" userId="6962deb3-b639-4acd-8091-a0516ea2376b" providerId="ADAL" clId="{146BD8F6-FDDD-49D3-A1A6-146C954086FF}" dt="2021-05-24T13:36:23.505" v="6586" actId="790"/>
          <ac:spMkLst>
            <pc:docMk/>
            <pc:sldMk cId="2793193694" sldId="10340"/>
            <ac:spMk id="21" creationId="{4B8981BC-9F45-45EB-961B-4A0FD739678D}"/>
          </ac:spMkLst>
        </pc:spChg>
        <pc:spChg chg="mod">
          <ac:chgData name="Jean QUENTIN" userId="6962deb3-b639-4acd-8091-a0516ea2376b" providerId="ADAL" clId="{146BD8F6-FDDD-49D3-A1A6-146C954086FF}" dt="2021-05-24T13:36:23.574" v="6608" actId="790"/>
          <ac:spMkLst>
            <pc:docMk/>
            <pc:sldMk cId="2793193694" sldId="10340"/>
            <ac:spMk id="23" creationId="{4559E308-636B-4F46-93E0-519D5428907A}"/>
          </ac:spMkLst>
        </pc:spChg>
        <pc:spChg chg="mod">
          <ac:chgData name="Jean QUENTIN" userId="6962deb3-b639-4acd-8091-a0516ea2376b" providerId="ADAL" clId="{146BD8F6-FDDD-49D3-A1A6-146C954086FF}" dt="2021-05-24T13:36:23.521" v="6592" actId="790"/>
          <ac:spMkLst>
            <pc:docMk/>
            <pc:sldMk cId="2793193694" sldId="10340"/>
            <ac:spMk id="24" creationId="{0D1454FC-A81D-4F1B-962E-A1060E6498D1}"/>
          </ac:spMkLst>
        </pc:spChg>
        <pc:spChg chg="mod">
          <ac:chgData name="Jean QUENTIN" userId="6962deb3-b639-4acd-8091-a0516ea2376b" providerId="ADAL" clId="{146BD8F6-FDDD-49D3-A1A6-146C954086FF}" dt="2021-05-24T13:36:23.521" v="6593" actId="790"/>
          <ac:spMkLst>
            <pc:docMk/>
            <pc:sldMk cId="2793193694" sldId="10340"/>
            <ac:spMk id="25" creationId="{4B641404-C693-442F-8435-ABE64E96E16E}"/>
          </ac:spMkLst>
        </pc:spChg>
        <pc:spChg chg="mod">
          <ac:chgData name="Jean QUENTIN" userId="6962deb3-b639-4acd-8091-a0516ea2376b" providerId="ADAL" clId="{146BD8F6-FDDD-49D3-A1A6-146C954086FF}" dt="2021-05-24T13:36:23.521" v="6594" actId="790"/>
          <ac:spMkLst>
            <pc:docMk/>
            <pc:sldMk cId="2793193694" sldId="10340"/>
            <ac:spMk id="26" creationId="{41DA57DA-3310-4A12-AC6A-019C3E628C92}"/>
          </ac:spMkLst>
        </pc:spChg>
        <pc:spChg chg="mod">
          <ac:chgData name="Jean QUENTIN" userId="6962deb3-b639-4acd-8091-a0516ea2376b" providerId="ADAL" clId="{146BD8F6-FDDD-49D3-A1A6-146C954086FF}" dt="2021-05-24T13:36:23.521" v="6595" actId="790"/>
          <ac:spMkLst>
            <pc:docMk/>
            <pc:sldMk cId="2793193694" sldId="10340"/>
            <ac:spMk id="29" creationId="{B310F51C-AF1F-4D3C-9204-44425A6D7C56}"/>
          </ac:spMkLst>
        </pc:spChg>
        <pc:spChg chg="mod">
          <ac:chgData name="Jean QUENTIN" userId="6962deb3-b639-4acd-8091-a0516ea2376b" providerId="ADAL" clId="{146BD8F6-FDDD-49D3-A1A6-146C954086FF}" dt="2021-05-24T13:36:23.538" v="6596" actId="790"/>
          <ac:spMkLst>
            <pc:docMk/>
            <pc:sldMk cId="2793193694" sldId="10340"/>
            <ac:spMk id="35" creationId="{F008F4A4-B4C2-449A-8C54-37BA9E2A34A9}"/>
          </ac:spMkLst>
        </pc:spChg>
        <pc:spChg chg="mod">
          <ac:chgData name="Jean QUENTIN" userId="6962deb3-b639-4acd-8091-a0516ea2376b" providerId="ADAL" clId="{146BD8F6-FDDD-49D3-A1A6-146C954086FF}" dt="2021-05-24T13:36:23.538" v="6597" actId="790"/>
          <ac:spMkLst>
            <pc:docMk/>
            <pc:sldMk cId="2793193694" sldId="10340"/>
            <ac:spMk id="38" creationId="{F69F78B9-9604-4FAF-8E28-4FC893CD05E7}"/>
          </ac:spMkLst>
        </pc:spChg>
        <pc:spChg chg="mod">
          <ac:chgData name="Jean QUENTIN" userId="6962deb3-b639-4acd-8091-a0516ea2376b" providerId="ADAL" clId="{146BD8F6-FDDD-49D3-A1A6-146C954086FF}" dt="2021-05-24T13:36:23.538" v="6598" actId="790"/>
          <ac:spMkLst>
            <pc:docMk/>
            <pc:sldMk cId="2793193694" sldId="10340"/>
            <ac:spMk id="57" creationId="{92DA2DD1-6C01-4267-8F26-90BE097010E0}"/>
          </ac:spMkLst>
        </pc:spChg>
        <pc:spChg chg="mod">
          <ac:chgData name="Jean QUENTIN" userId="6962deb3-b639-4acd-8091-a0516ea2376b" providerId="ADAL" clId="{146BD8F6-FDDD-49D3-A1A6-146C954086FF}" dt="2021-05-24T13:36:23.538" v="6599" actId="790"/>
          <ac:spMkLst>
            <pc:docMk/>
            <pc:sldMk cId="2793193694" sldId="10340"/>
            <ac:spMk id="60" creationId="{1E740F49-8151-47B5-951B-F574EA988FED}"/>
          </ac:spMkLst>
        </pc:spChg>
        <pc:spChg chg="mod">
          <ac:chgData name="Jean QUENTIN" userId="6962deb3-b639-4acd-8091-a0516ea2376b" providerId="ADAL" clId="{146BD8F6-FDDD-49D3-A1A6-146C954086FF}" dt="2021-05-24T13:36:23.538" v="6600" actId="790"/>
          <ac:spMkLst>
            <pc:docMk/>
            <pc:sldMk cId="2793193694" sldId="10340"/>
            <ac:spMk id="61" creationId="{8798DE2C-88BC-4AEF-97D4-189D5F34F1B0}"/>
          </ac:spMkLst>
        </pc:spChg>
        <pc:spChg chg="mod">
          <ac:chgData name="Jean QUENTIN" userId="6962deb3-b639-4acd-8091-a0516ea2376b" providerId="ADAL" clId="{146BD8F6-FDDD-49D3-A1A6-146C954086FF}" dt="2021-05-24T13:36:23.538" v="6601" actId="790"/>
          <ac:spMkLst>
            <pc:docMk/>
            <pc:sldMk cId="2793193694" sldId="10340"/>
            <ac:spMk id="73" creationId="{4028A207-3C15-40A6-AA53-8F9A50C526E4}"/>
          </ac:spMkLst>
        </pc:spChg>
        <pc:spChg chg="mod">
          <ac:chgData name="Jean QUENTIN" userId="6962deb3-b639-4acd-8091-a0516ea2376b" providerId="ADAL" clId="{146BD8F6-FDDD-49D3-A1A6-146C954086FF}" dt="2021-05-24T13:36:23.554" v="6602" actId="790"/>
          <ac:spMkLst>
            <pc:docMk/>
            <pc:sldMk cId="2793193694" sldId="10340"/>
            <ac:spMk id="74" creationId="{05A868B3-1529-41F1-A53B-16D575503C8E}"/>
          </ac:spMkLst>
        </pc:spChg>
        <pc:spChg chg="mod">
          <ac:chgData name="Jean QUENTIN" userId="6962deb3-b639-4acd-8091-a0516ea2376b" providerId="ADAL" clId="{146BD8F6-FDDD-49D3-A1A6-146C954086FF}" dt="2021-05-24T13:36:23.554" v="6603" actId="790"/>
          <ac:spMkLst>
            <pc:docMk/>
            <pc:sldMk cId="2793193694" sldId="10340"/>
            <ac:spMk id="90" creationId="{0A600A53-2639-42F3-8782-334C23C05609}"/>
          </ac:spMkLst>
        </pc:spChg>
        <pc:spChg chg="mod">
          <ac:chgData name="Jean QUENTIN" userId="6962deb3-b639-4acd-8091-a0516ea2376b" providerId="ADAL" clId="{146BD8F6-FDDD-49D3-A1A6-146C954086FF}" dt="2021-05-24T13:36:23.554" v="6604" actId="790"/>
          <ac:spMkLst>
            <pc:docMk/>
            <pc:sldMk cId="2793193694" sldId="10340"/>
            <ac:spMk id="94" creationId="{8DF6D850-54BB-45B9-A3E6-B2A1985FFA2F}"/>
          </ac:spMkLst>
        </pc:spChg>
        <pc:spChg chg="mod">
          <ac:chgData name="Jean QUENTIN" userId="6962deb3-b639-4acd-8091-a0516ea2376b" providerId="ADAL" clId="{146BD8F6-FDDD-49D3-A1A6-146C954086FF}" dt="2021-05-24T13:36:23.554" v="6605" actId="790"/>
          <ac:spMkLst>
            <pc:docMk/>
            <pc:sldMk cId="2793193694" sldId="10340"/>
            <ac:spMk id="95" creationId="{8F394641-1866-48DB-8E75-A824BD922D4F}"/>
          </ac:spMkLst>
        </pc:spChg>
      </pc:sldChg>
      <pc:sldChg chg="modSp mod">
        <pc:chgData name="Jean QUENTIN" userId="6962deb3-b639-4acd-8091-a0516ea2376b" providerId="ADAL" clId="{146BD8F6-FDDD-49D3-A1A6-146C954086FF}" dt="2021-05-24T13:36:22.672" v="6259" actId="790"/>
        <pc:sldMkLst>
          <pc:docMk/>
          <pc:sldMk cId="2888621618" sldId="10350"/>
        </pc:sldMkLst>
        <pc:spChg chg="mod">
          <ac:chgData name="Jean QUENTIN" userId="6962deb3-b639-4acd-8091-a0516ea2376b" providerId="ADAL" clId="{146BD8F6-FDDD-49D3-A1A6-146C954086FF}" dt="2021-05-24T13:36:22.650" v="6252" actId="790"/>
          <ac:spMkLst>
            <pc:docMk/>
            <pc:sldMk cId="2888621618" sldId="10350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22.650" v="6253" actId="790"/>
          <ac:spMkLst>
            <pc:docMk/>
            <pc:sldMk cId="2888621618" sldId="10350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22.665" v="6254" actId="790"/>
          <ac:spMkLst>
            <pc:docMk/>
            <pc:sldMk cId="2888621618" sldId="10350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22.672" v="6259" actId="790"/>
          <ac:spMkLst>
            <pc:docMk/>
            <pc:sldMk cId="2888621618" sldId="10350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22.665" v="6255" actId="790"/>
          <ac:spMkLst>
            <pc:docMk/>
            <pc:sldMk cId="2888621618" sldId="10350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22.672" v="6256" actId="790"/>
          <ac:spMkLst>
            <pc:docMk/>
            <pc:sldMk cId="2888621618" sldId="10350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22.672" v="6257" actId="790"/>
          <ac:spMkLst>
            <pc:docMk/>
            <pc:sldMk cId="2888621618" sldId="10350"/>
            <ac:spMk id="22" creationId="{C002634F-3FA9-4AC3-90E2-0D253FC97BF7}"/>
          </ac:spMkLst>
        </pc:spChg>
        <pc:spChg chg="mod">
          <ac:chgData name="Jean QUENTIN" userId="6962deb3-b639-4acd-8091-a0516ea2376b" providerId="ADAL" clId="{146BD8F6-FDDD-49D3-A1A6-146C954086FF}" dt="2021-05-24T13:36:22.672" v="6258" actId="790"/>
          <ac:spMkLst>
            <pc:docMk/>
            <pc:sldMk cId="2888621618" sldId="10350"/>
            <ac:spMk id="26" creationId="{D70D99D8-5440-4867-B8A0-57942A3EA3D2}"/>
          </ac:spMkLst>
        </pc:spChg>
      </pc:sldChg>
      <pc:sldChg chg="modSp mod">
        <pc:chgData name="Jean QUENTIN" userId="6962deb3-b639-4acd-8091-a0516ea2376b" providerId="ADAL" clId="{146BD8F6-FDDD-49D3-A1A6-146C954086FF}" dt="2021-05-24T13:36:19.858" v="4852" actId="790"/>
        <pc:sldMkLst>
          <pc:docMk/>
          <pc:sldMk cId="1088427134" sldId="10355"/>
        </pc:sldMkLst>
        <pc:spChg chg="mod">
          <ac:chgData name="Jean QUENTIN" userId="6962deb3-b639-4acd-8091-a0516ea2376b" providerId="ADAL" clId="{146BD8F6-FDDD-49D3-A1A6-146C954086FF}" dt="2021-05-24T13:36:19.742" v="4778" actId="790"/>
          <ac:spMkLst>
            <pc:docMk/>
            <pc:sldMk cId="1088427134" sldId="10355"/>
            <ac:spMk id="2" creationId="{531041C5-E8A2-412F-8DD7-D013B496B687}"/>
          </ac:spMkLst>
        </pc:spChg>
        <pc:spChg chg="mod">
          <ac:chgData name="Jean QUENTIN" userId="6962deb3-b639-4acd-8091-a0516ea2376b" providerId="ADAL" clId="{146BD8F6-FDDD-49D3-A1A6-146C954086FF}" dt="2021-05-24T13:36:19.742" v="4779" actId="790"/>
          <ac:spMkLst>
            <pc:docMk/>
            <pc:sldMk cId="1088427134" sldId="10355"/>
            <ac:spMk id="3" creationId="{D941C407-20D6-482D-8915-AB38B57418D3}"/>
          </ac:spMkLst>
        </pc:spChg>
        <pc:spChg chg="mod">
          <ac:chgData name="Jean QUENTIN" userId="6962deb3-b639-4acd-8091-a0516ea2376b" providerId="ADAL" clId="{146BD8F6-FDDD-49D3-A1A6-146C954086FF}" dt="2021-05-24T13:36:19.742" v="4780" actId="790"/>
          <ac:spMkLst>
            <pc:docMk/>
            <pc:sldMk cId="1088427134" sldId="10355"/>
            <ac:spMk id="4" creationId="{32F85835-036E-4F3E-8BFF-2ABE5E844311}"/>
          </ac:spMkLst>
        </pc:spChg>
        <pc:spChg chg="mod">
          <ac:chgData name="Jean QUENTIN" userId="6962deb3-b639-4acd-8091-a0516ea2376b" providerId="ADAL" clId="{146BD8F6-FDDD-49D3-A1A6-146C954086FF}" dt="2021-05-24T13:36:19.742" v="4781" actId="790"/>
          <ac:spMkLst>
            <pc:docMk/>
            <pc:sldMk cId="1088427134" sldId="10355"/>
            <ac:spMk id="5" creationId="{B82F449A-DABE-4C5F-AC72-1CD88F08F3F8}"/>
          </ac:spMkLst>
        </pc:spChg>
        <pc:spChg chg="mod">
          <ac:chgData name="Jean QUENTIN" userId="6962deb3-b639-4acd-8091-a0516ea2376b" providerId="ADAL" clId="{146BD8F6-FDDD-49D3-A1A6-146C954086FF}" dt="2021-05-24T13:36:19.742" v="4782" actId="790"/>
          <ac:spMkLst>
            <pc:docMk/>
            <pc:sldMk cId="1088427134" sldId="10355"/>
            <ac:spMk id="25" creationId="{EC1EF9D0-C614-4BB0-BC35-3EDAADC576F4}"/>
          </ac:spMkLst>
        </pc:spChg>
        <pc:spChg chg="mod">
          <ac:chgData name="Jean QUENTIN" userId="6962deb3-b639-4acd-8091-a0516ea2376b" providerId="ADAL" clId="{146BD8F6-FDDD-49D3-A1A6-146C954086FF}" dt="2021-05-24T13:36:19.742" v="4783" actId="790"/>
          <ac:spMkLst>
            <pc:docMk/>
            <pc:sldMk cId="1088427134" sldId="10355"/>
            <ac:spMk id="26" creationId="{72FA2C53-05D0-4DE0-9F71-130CA5ED4ADD}"/>
          </ac:spMkLst>
        </pc:spChg>
        <pc:spChg chg="mod">
          <ac:chgData name="Jean QUENTIN" userId="6962deb3-b639-4acd-8091-a0516ea2376b" providerId="ADAL" clId="{146BD8F6-FDDD-49D3-A1A6-146C954086FF}" dt="2021-05-24T13:36:19.742" v="4784" actId="790"/>
          <ac:spMkLst>
            <pc:docMk/>
            <pc:sldMk cId="1088427134" sldId="10355"/>
            <ac:spMk id="27" creationId="{05E366BE-F44E-48DC-86D8-D5B5BFCE83C9}"/>
          </ac:spMkLst>
        </pc:spChg>
        <pc:spChg chg="mod">
          <ac:chgData name="Jean QUENTIN" userId="6962deb3-b639-4acd-8091-a0516ea2376b" providerId="ADAL" clId="{146BD8F6-FDDD-49D3-A1A6-146C954086FF}" dt="2021-05-24T13:36:19.742" v="4785" actId="790"/>
          <ac:spMkLst>
            <pc:docMk/>
            <pc:sldMk cId="1088427134" sldId="10355"/>
            <ac:spMk id="31" creationId="{1957402C-8DED-4E94-8B10-1B28D135CC49}"/>
          </ac:spMkLst>
        </pc:spChg>
        <pc:spChg chg="mod">
          <ac:chgData name="Jean QUENTIN" userId="6962deb3-b639-4acd-8091-a0516ea2376b" providerId="ADAL" clId="{146BD8F6-FDDD-49D3-A1A6-146C954086FF}" dt="2021-05-24T13:36:19.842" v="4849" actId="790"/>
          <ac:spMkLst>
            <pc:docMk/>
            <pc:sldMk cId="1088427134" sldId="10355"/>
            <ac:spMk id="44" creationId="{2F442C3A-48CA-47C5-A86D-6E48373F82F1}"/>
          </ac:spMkLst>
        </pc:spChg>
        <pc:spChg chg="mod">
          <ac:chgData name="Jean QUENTIN" userId="6962deb3-b639-4acd-8091-a0516ea2376b" providerId="ADAL" clId="{146BD8F6-FDDD-49D3-A1A6-146C954086FF}" dt="2021-05-24T13:36:19.742" v="4786" actId="790"/>
          <ac:spMkLst>
            <pc:docMk/>
            <pc:sldMk cId="1088427134" sldId="10355"/>
            <ac:spMk id="69" creationId="{F3DA172A-54AD-441E-9D06-5E433C2498C6}"/>
          </ac:spMkLst>
        </pc:spChg>
        <pc:spChg chg="mod">
          <ac:chgData name="Jean QUENTIN" userId="6962deb3-b639-4acd-8091-a0516ea2376b" providerId="ADAL" clId="{146BD8F6-FDDD-49D3-A1A6-146C954086FF}" dt="2021-05-24T13:36:19.780" v="4805" actId="790"/>
          <ac:spMkLst>
            <pc:docMk/>
            <pc:sldMk cId="1088427134" sldId="10355"/>
            <ac:spMk id="191" creationId="{25EF4FC4-4C8D-42FD-A802-5FC92801CA49}"/>
          </ac:spMkLst>
        </pc:spChg>
        <pc:spChg chg="mod">
          <ac:chgData name="Jean QUENTIN" userId="6962deb3-b639-4acd-8091-a0516ea2376b" providerId="ADAL" clId="{146BD8F6-FDDD-49D3-A1A6-146C954086FF}" dt="2021-05-24T13:36:19.780" v="4806" actId="790"/>
          <ac:spMkLst>
            <pc:docMk/>
            <pc:sldMk cId="1088427134" sldId="10355"/>
            <ac:spMk id="192" creationId="{D4FBD805-0616-4E8A-9995-1A885D682879}"/>
          </ac:spMkLst>
        </pc:spChg>
        <pc:spChg chg="mod">
          <ac:chgData name="Jean QUENTIN" userId="6962deb3-b639-4acd-8091-a0516ea2376b" providerId="ADAL" clId="{146BD8F6-FDDD-49D3-A1A6-146C954086FF}" dt="2021-05-24T13:36:19.780" v="4807" actId="790"/>
          <ac:spMkLst>
            <pc:docMk/>
            <pc:sldMk cId="1088427134" sldId="10355"/>
            <ac:spMk id="193" creationId="{D73CFB65-43C9-4808-858F-27EAAD925909}"/>
          </ac:spMkLst>
        </pc:spChg>
        <pc:spChg chg="mod">
          <ac:chgData name="Jean QUENTIN" userId="6962deb3-b639-4acd-8091-a0516ea2376b" providerId="ADAL" clId="{146BD8F6-FDDD-49D3-A1A6-146C954086FF}" dt="2021-05-24T13:36:19.780" v="4808" actId="790"/>
          <ac:spMkLst>
            <pc:docMk/>
            <pc:sldMk cId="1088427134" sldId="10355"/>
            <ac:spMk id="194" creationId="{D07427E5-AAFA-4CC6-BC00-FD82DF5407AA}"/>
          </ac:spMkLst>
        </pc:spChg>
        <pc:spChg chg="mod">
          <ac:chgData name="Jean QUENTIN" userId="6962deb3-b639-4acd-8091-a0516ea2376b" providerId="ADAL" clId="{146BD8F6-FDDD-49D3-A1A6-146C954086FF}" dt="2021-05-24T13:36:19.858" v="4852" actId="790"/>
          <ac:spMkLst>
            <pc:docMk/>
            <pc:sldMk cId="1088427134" sldId="10355"/>
            <ac:spMk id="195" creationId="{1D8E904A-12F9-46A4-95EA-1ACD9EDBA1AF}"/>
          </ac:spMkLst>
        </pc:spChg>
        <pc:spChg chg="mod">
          <ac:chgData name="Jean QUENTIN" userId="6962deb3-b639-4acd-8091-a0516ea2376b" providerId="ADAL" clId="{146BD8F6-FDDD-49D3-A1A6-146C954086FF}" dt="2021-05-24T13:36:19.780" v="4809" actId="790"/>
          <ac:spMkLst>
            <pc:docMk/>
            <pc:sldMk cId="1088427134" sldId="10355"/>
            <ac:spMk id="203" creationId="{F9AD22C0-4F2D-4666-B38C-06A5E859DF05}"/>
          </ac:spMkLst>
        </pc:spChg>
        <pc:spChg chg="mod">
          <ac:chgData name="Jean QUENTIN" userId="6962deb3-b639-4acd-8091-a0516ea2376b" providerId="ADAL" clId="{146BD8F6-FDDD-49D3-A1A6-146C954086FF}" dt="2021-05-24T13:36:19.780" v="4810" actId="790"/>
          <ac:spMkLst>
            <pc:docMk/>
            <pc:sldMk cId="1088427134" sldId="10355"/>
            <ac:spMk id="204" creationId="{76DFBFA9-56A4-42F3-A143-9F451BBC4CAB}"/>
          </ac:spMkLst>
        </pc:spChg>
        <pc:spChg chg="mod">
          <ac:chgData name="Jean QUENTIN" userId="6962deb3-b639-4acd-8091-a0516ea2376b" providerId="ADAL" clId="{146BD8F6-FDDD-49D3-A1A6-146C954086FF}" dt="2021-05-24T13:36:19.780" v="4811" actId="790"/>
          <ac:spMkLst>
            <pc:docMk/>
            <pc:sldMk cId="1088427134" sldId="10355"/>
            <ac:spMk id="205" creationId="{000202B9-950B-4FE7-9197-51EB41572E4A}"/>
          </ac:spMkLst>
        </pc:spChg>
        <pc:spChg chg="mod">
          <ac:chgData name="Jean QUENTIN" userId="6962deb3-b639-4acd-8091-a0516ea2376b" providerId="ADAL" clId="{146BD8F6-FDDD-49D3-A1A6-146C954086FF}" dt="2021-05-24T13:36:19.780" v="4812" actId="790"/>
          <ac:spMkLst>
            <pc:docMk/>
            <pc:sldMk cId="1088427134" sldId="10355"/>
            <ac:spMk id="206" creationId="{1D2982B8-1F76-4421-968D-2CDC637BDD84}"/>
          </ac:spMkLst>
        </pc:spChg>
        <pc:spChg chg="mod">
          <ac:chgData name="Jean QUENTIN" userId="6962deb3-b639-4acd-8091-a0516ea2376b" providerId="ADAL" clId="{146BD8F6-FDDD-49D3-A1A6-146C954086FF}" dt="2021-05-24T13:36:19.758" v="4789" actId="790"/>
          <ac:spMkLst>
            <pc:docMk/>
            <pc:sldMk cId="1088427134" sldId="10355"/>
            <ac:spMk id="210" creationId="{FAD83A7F-F110-47F4-9764-8294FCD34C3B}"/>
          </ac:spMkLst>
        </pc:spChg>
        <pc:spChg chg="mod">
          <ac:chgData name="Jean QUENTIN" userId="6962deb3-b639-4acd-8091-a0516ea2376b" providerId="ADAL" clId="{146BD8F6-FDDD-49D3-A1A6-146C954086FF}" dt="2021-05-24T13:36:19.780" v="4813" actId="790"/>
          <ac:spMkLst>
            <pc:docMk/>
            <pc:sldMk cId="1088427134" sldId="10355"/>
            <ac:spMk id="211" creationId="{3DE0F630-041E-4A46-B492-486ED5FA0EC8}"/>
          </ac:spMkLst>
        </pc:spChg>
        <pc:spChg chg="mod">
          <ac:chgData name="Jean QUENTIN" userId="6962deb3-b639-4acd-8091-a0516ea2376b" providerId="ADAL" clId="{146BD8F6-FDDD-49D3-A1A6-146C954086FF}" dt="2021-05-24T13:36:19.780" v="4814" actId="790"/>
          <ac:spMkLst>
            <pc:docMk/>
            <pc:sldMk cId="1088427134" sldId="10355"/>
            <ac:spMk id="212" creationId="{00D9FC3F-7E1D-41CB-A5AD-4ECBE14FA2DF}"/>
          </ac:spMkLst>
        </pc:spChg>
        <pc:spChg chg="mod">
          <ac:chgData name="Jean QUENTIN" userId="6962deb3-b639-4acd-8091-a0516ea2376b" providerId="ADAL" clId="{146BD8F6-FDDD-49D3-A1A6-146C954086FF}" dt="2021-05-24T13:36:19.780" v="4815" actId="790"/>
          <ac:spMkLst>
            <pc:docMk/>
            <pc:sldMk cId="1088427134" sldId="10355"/>
            <ac:spMk id="213" creationId="{1CB17802-D8AE-406C-B7DA-DF23B6357713}"/>
          </ac:spMkLst>
        </pc:spChg>
        <pc:spChg chg="mod">
          <ac:chgData name="Jean QUENTIN" userId="6962deb3-b639-4acd-8091-a0516ea2376b" providerId="ADAL" clId="{146BD8F6-FDDD-49D3-A1A6-146C954086FF}" dt="2021-05-24T13:36:19.780" v="4816" actId="790"/>
          <ac:spMkLst>
            <pc:docMk/>
            <pc:sldMk cId="1088427134" sldId="10355"/>
            <ac:spMk id="226" creationId="{B2F4D423-6384-4EED-8A8F-FBFFC962C44E}"/>
          </ac:spMkLst>
        </pc:spChg>
        <pc:spChg chg="mod">
          <ac:chgData name="Jean QUENTIN" userId="6962deb3-b639-4acd-8091-a0516ea2376b" providerId="ADAL" clId="{146BD8F6-FDDD-49D3-A1A6-146C954086FF}" dt="2021-05-24T13:36:19.780" v="4817" actId="790"/>
          <ac:spMkLst>
            <pc:docMk/>
            <pc:sldMk cId="1088427134" sldId="10355"/>
            <ac:spMk id="227" creationId="{899E4511-9356-4F55-9021-2AC75CA374F5}"/>
          </ac:spMkLst>
        </pc:spChg>
        <pc:spChg chg="mod">
          <ac:chgData name="Jean QUENTIN" userId="6962deb3-b639-4acd-8091-a0516ea2376b" providerId="ADAL" clId="{146BD8F6-FDDD-49D3-A1A6-146C954086FF}" dt="2021-05-24T13:36:19.780" v="4818" actId="790"/>
          <ac:spMkLst>
            <pc:docMk/>
            <pc:sldMk cId="1088427134" sldId="10355"/>
            <ac:spMk id="228" creationId="{5DE47477-F83C-4343-97B4-528F4E6EEC5E}"/>
          </ac:spMkLst>
        </pc:spChg>
        <pc:spChg chg="mod">
          <ac:chgData name="Jean QUENTIN" userId="6962deb3-b639-4acd-8091-a0516ea2376b" providerId="ADAL" clId="{146BD8F6-FDDD-49D3-A1A6-146C954086FF}" dt="2021-05-24T13:36:19.796" v="4819" actId="790"/>
          <ac:spMkLst>
            <pc:docMk/>
            <pc:sldMk cId="1088427134" sldId="10355"/>
            <ac:spMk id="229" creationId="{4EFF5158-0EBE-46C9-A27A-E2B1C6DDC5DB}"/>
          </ac:spMkLst>
        </pc:spChg>
        <pc:spChg chg="mod">
          <ac:chgData name="Jean QUENTIN" userId="6962deb3-b639-4acd-8091-a0516ea2376b" providerId="ADAL" clId="{146BD8F6-FDDD-49D3-A1A6-146C954086FF}" dt="2021-05-24T13:36:19.796" v="4820" actId="790"/>
          <ac:spMkLst>
            <pc:docMk/>
            <pc:sldMk cId="1088427134" sldId="10355"/>
            <ac:spMk id="234" creationId="{3930DCC7-BF1B-4C19-90DF-366A4AC6B52A}"/>
          </ac:spMkLst>
        </pc:spChg>
        <pc:spChg chg="mod">
          <ac:chgData name="Jean QUENTIN" userId="6962deb3-b639-4acd-8091-a0516ea2376b" providerId="ADAL" clId="{146BD8F6-FDDD-49D3-A1A6-146C954086FF}" dt="2021-05-24T13:36:19.758" v="4790" actId="790"/>
          <ac:spMkLst>
            <pc:docMk/>
            <pc:sldMk cId="1088427134" sldId="10355"/>
            <ac:spMk id="283" creationId="{D5958965-F487-477F-AC5D-E301F9C98F5C}"/>
          </ac:spMkLst>
        </pc:spChg>
        <pc:spChg chg="mod">
          <ac:chgData name="Jean QUENTIN" userId="6962deb3-b639-4acd-8091-a0516ea2376b" providerId="ADAL" clId="{146BD8F6-FDDD-49D3-A1A6-146C954086FF}" dt="2021-05-24T13:36:19.758" v="4791" actId="790"/>
          <ac:spMkLst>
            <pc:docMk/>
            <pc:sldMk cId="1088427134" sldId="10355"/>
            <ac:spMk id="284" creationId="{79B8AED8-86E0-47EF-A5DF-21380B992BB9}"/>
          </ac:spMkLst>
        </pc:spChg>
        <pc:spChg chg="mod">
          <ac:chgData name="Jean QUENTIN" userId="6962deb3-b639-4acd-8091-a0516ea2376b" providerId="ADAL" clId="{146BD8F6-FDDD-49D3-A1A6-146C954086FF}" dt="2021-05-24T13:36:19.758" v="4792" actId="790"/>
          <ac:spMkLst>
            <pc:docMk/>
            <pc:sldMk cId="1088427134" sldId="10355"/>
            <ac:spMk id="286" creationId="{BEFD37FC-1101-4DBE-8A18-40476D5D20B0}"/>
          </ac:spMkLst>
        </pc:spChg>
        <pc:spChg chg="mod">
          <ac:chgData name="Jean QUENTIN" userId="6962deb3-b639-4acd-8091-a0516ea2376b" providerId="ADAL" clId="{146BD8F6-FDDD-49D3-A1A6-146C954086FF}" dt="2021-05-24T13:36:19.764" v="4793" actId="790"/>
          <ac:spMkLst>
            <pc:docMk/>
            <pc:sldMk cId="1088427134" sldId="10355"/>
            <ac:spMk id="287" creationId="{2BBBBAAC-2283-4552-A7AE-9E69EDE10E06}"/>
          </ac:spMkLst>
        </pc:spChg>
        <pc:spChg chg="mod">
          <ac:chgData name="Jean QUENTIN" userId="6962deb3-b639-4acd-8091-a0516ea2376b" providerId="ADAL" clId="{146BD8F6-FDDD-49D3-A1A6-146C954086FF}" dt="2021-05-24T13:36:19.764" v="4794" actId="790"/>
          <ac:spMkLst>
            <pc:docMk/>
            <pc:sldMk cId="1088427134" sldId="10355"/>
            <ac:spMk id="289" creationId="{08FFC2AC-F2C1-4E9F-8966-4F86C52D4348}"/>
          </ac:spMkLst>
        </pc:spChg>
        <pc:spChg chg="mod">
          <ac:chgData name="Jean QUENTIN" userId="6962deb3-b639-4acd-8091-a0516ea2376b" providerId="ADAL" clId="{146BD8F6-FDDD-49D3-A1A6-146C954086FF}" dt="2021-05-24T13:36:19.764" v="4795" actId="790"/>
          <ac:spMkLst>
            <pc:docMk/>
            <pc:sldMk cId="1088427134" sldId="10355"/>
            <ac:spMk id="293" creationId="{617A7A8A-DF61-4D21-A457-8B0899095289}"/>
          </ac:spMkLst>
        </pc:spChg>
        <pc:spChg chg="mod">
          <ac:chgData name="Jean QUENTIN" userId="6962deb3-b639-4acd-8091-a0516ea2376b" providerId="ADAL" clId="{146BD8F6-FDDD-49D3-A1A6-146C954086FF}" dt="2021-05-24T13:36:19.764" v="4796" actId="790"/>
          <ac:spMkLst>
            <pc:docMk/>
            <pc:sldMk cId="1088427134" sldId="10355"/>
            <ac:spMk id="294" creationId="{C2F5995A-D732-4968-B25E-B7B65E43D48B}"/>
          </ac:spMkLst>
        </pc:spChg>
        <pc:spChg chg="mod">
          <ac:chgData name="Jean QUENTIN" userId="6962deb3-b639-4acd-8091-a0516ea2376b" providerId="ADAL" clId="{146BD8F6-FDDD-49D3-A1A6-146C954086FF}" dt="2021-05-24T13:36:19.764" v="4797" actId="790"/>
          <ac:spMkLst>
            <pc:docMk/>
            <pc:sldMk cId="1088427134" sldId="10355"/>
            <ac:spMk id="295" creationId="{ED22F590-D8D1-428D-826E-EE3A067F96A3}"/>
          </ac:spMkLst>
        </pc:spChg>
        <pc:spChg chg="mod">
          <ac:chgData name="Jean QUENTIN" userId="6962deb3-b639-4acd-8091-a0516ea2376b" providerId="ADAL" clId="{146BD8F6-FDDD-49D3-A1A6-146C954086FF}" dt="2021-05-24T13:36:19.764" v="4798" actId="790"/>
          <ac:spMkLst>
            <pc:docMk/>
            <pc:sldMk cId="1088427134" sldId="10355"/>
            <ac:spMk id="296" creationId="{00361E1D-A8D2-4D0A-AA96-0271BCF5E084}"/>
          </ac:spMkLst>
        </pc:spChg>
        <pc:spChg chg="mod">
          <ac:chgData name="Jean QUENTIN" userId="6962deb3-b639-4acd-8091-a0516ea2376b" providerId="ADAL" clId="{146BD8F6-FDDD-49D3-A1A6-146C954086FF}" dt="2021-05-24T13:36:19.764" v="4799" actId="790"/>
          <ac:spMkLst>
            <pc:docMk/>
            <pc:sldMk cId="1088427134" sldId="10355"/>
            <ac:spMk id="297" creationId="{77DC1682-4763-4F4E-8898-D304D40CEE88}"/>
          </ac:spMkLst>
        </pc:spChg>
        <pc:spChg chg="mod">
          <ac:chgData name="Jean QUENTIN" userId="6962deb3-b639-4acd-8091-a0516ea2376b" providerId="ADAL" clId="{146BD8F6-FDDD-49D3-A1A6-146C954086FF}" dt="2021-05-24T13:36:19.764" v="4800" actId="790"/>
          <ac:spMkLst>
            <pc:docMk/>
            <pc:sldMk cId="1088427134" sldId="10355"/>
            <ac:spMk id="298" creationId="{7F85B45B-4746-467D-A51B-2B59987A647B}"/>
          </ac:spMkLst>
        </pc:spChg>
        <pc:spChg chg="mod">
          <ac:chgData name="Jean QUENTIN" userId="6962deb3-b639-4acd-8091-a0516ea2376b" providerId="ADAL" clId="{146BD8F6-FDDD-49D3-A1A6-146C954086FF}" dt="2021-05-24T13:36:19.764" v="4801" actId="790"/>
          <ac:spMkLst>
            <pc:docMk/>
            <pc:sldMk cId="1088427134" sldId="10355"/>
            <ac:spMk id="299" creationId="{8EA1E97D-8D4C-45B3-B0ED-0309A53B6DBC}"/>
          </ac:spMkLst>
        </pc:spChg>
        <pc:spChg chg="mod">
          <ac:chgData name="Jean QUENTIN" userId="6962deb3-b639-4acd-8091-a0516ea2376b" providerId="ADAL" clId="{146BD8F6-FDDD-49D3-A1A6-146C954086FF}" dt="2021-05-24T13:36:19.764" v="4802" actId="790"/>
          <ac:spMkLst>
            <pc:docMk/>
            <pc:sldMk cId="1088427134" sldId="10355"/>
            <ac:spMk id="300" creationId="{B638FE26-EA5A-4C48-B32A-22345AB071AE}"/>
          </ac:spMkLst>
        </pc:spChg>
        <pc:spChg chg="mod">
          <ac:chgData name="Jean QUENTIN" userId="6962deb3-b639-4acd-8091-a0516ea2376b" providerId="ADAL" clId="{146BD8F6-FDDD-49D3-A1A6-146C954086FF}" dt="2021-05-24T13:36:19.764" v="4803" actId="790"/>
          <ac:spMkLst>
            <pc:docMk/>
            <pc:sldMk cId="1088427134" sldId="10355"/>
            <ac:spMk id="301" creationId="{89E4857A-7344-4991-94C0-6D8D83A8C52F}"/>
          </ac:spMkLst>
        </pc:spChg>
        <pc:spChg chg="mod">
          <ac:chgData name="Jean QUENTIN" userId="6962deb3-b639-4acd-8091-a0516ea2376b" providerId="ADAL" clId="{146BD8F6-FDDD-49D3-A1A6-146C954086FF}" dt="2021-05-24T13:36:19.780" v="4804" actId="790"/>
          <ac:spMkLst>
            <pc:docMk/>
            <pc:sldMk cId="1088427134" sldId="10355"/>
            <ac:spMk id="302" creationId="{34B0C0D9-C504-43C9-BA61-0E82CE469A32}"/>
          </ac:spMkLst>
        </pc:spChg>
        <pc:spChg chg="mod">
          <ac:chgData name="Jean QUENTIN" userId="6962deb3-b639-4acd-8091-a0516ea2376b" providerId="ADAL" clId="{146BD8F6-FDDD-49D3-A1A6-146C954086FF}" dt="2021-05-24T13:36:19.842" v="4840" actId="790"/>
          <ac:spMkLst>
            <pc:docMk/>
            <pc:sldMk cId="1088427134" sldId="10355"/>
            <ac:spMk id="348" creationId="{CFCBCDDB-EA95-49A6-B547-6019E50F386C}"/>
          </ac:spMkLst>
        </pc:spChg>
        <pc:spChg chg="mod">
          <ac:chgData name="Jean QUENTIN" userId="6962deb3-b639-4acd-8091-a0516ea2376b" providerId="ADAL" clId="{146BD8F6-FDDD-49D3-A1A6-146C954086FF}" dt="2021-05-24T13:36:19.842" v="4841" actId="790"/>
          <ac:spMkLst>
            <pc:docMk/>
            <pc:sldMk cId="1088427134" sldId="10355"/>
            <ac:spMk id="349" creationId="{395A3F28-98E0-4ABF-A444-F427F580278A}"/>
          </ac:spMkLst>
        </pc:spChg>
        <pc:spChg chg="mod">
          <ac:chgData name="Jean QUENTIN" userId="6962deb3-b639-4acd-8091-a0516ea2376b" providerId="ADAL" clId="{146BD8F6-FDDD-49D3-A1A6-146C954086FF}" dt="2021-05-24T13:36:19.842" v="4842" actId="790"/>
          <ac:spMkLst>
            <pc:docMk/>
            <pc:sldMk cId="1088427134" sldId="10355"/>
            <ac:spMk id="350" creationId="{F2865F77-BAC4-4AED-B624-0B522BF3F767}"/>
          </ac:spMkLst>
        </pc:spChg>
        <pc:spChg chg="mod">
          <ac:chgData name="Jean QUENTIN" userId="6962deb3-b639-4acd-8091-a0516ea2376b" providerId="ADAL" clId="{146BD8F6-FDDD-49D3-A1A6-146C954086FF}" dt="2021-05-24T13:36:19.842" v="4843" actId="790"/>
          <ac:spMkLst>
            <pc:docMk/>
            <pc:sldMk cId="1088427134" sldId="10355"/>
            <ac:spMk id="351" creationId="{0669AB15-C923-4679-B7DC-569D79DDE370}"/>
          </ac:spMkLst>
        </pc:spChg>
        <pc:spChg chg="mod">
          <ac:chgData name="Jean QUENTIN" userId="6962deb3-b639-4acd-8091-a0516ea2376b" providerId="ADAL" clId="{146BD8F6-FDDD-49D3-A1A6-146C954086FF}" dt="2021-05-24T13:36:19.842" v="4844" actId="790"/>
          <ac:spMkLst>
            <pc:docMk/>
            <pc:sldMk cId="1088427134" sldId="10355"/>
            <ac:spMk id="352" creationId="{F6B285D2-708B-421E-B5A7-4D9C77F08F6E}"/>
          </ac:spMkLst>
        </pc:spChg>
        <pc:spChg chg="mod">
          <ac:chgData name="Jean QUENTIN" userId="6962deb3-b639-4acd-8091-a0516ea2376b" providerId="ADAL" clId="{146BD8F6-FDDD-49D3-A1A6-146C954086FF}" dt="2021-05-24T13:36:19.842" v="4845" actId="790"/>
          <ac:spMkLst>
            <pc:docMk/>
            <pc:sldMk cId="1088427134" sldId="10355"/>
            <ac:spMk id="353" creationId="{390E82EC-150E-4DD4-892A-477625840C31}"/>
          </ac:spMkLst>
        </pc:spChg>
        <pc:spChg chg="mod">
          <ac:chgData name="Jean QUENTIN" userId="6962deb3-b639-4acd-8091-a0516ea2376b" providerId="ADAL" clId="{146BD8F6-FDDD-49D3-A1A6-146C954086FF}" dt="2021-05-24T13:36:19.842" v="4846" actId="790"/>
          <ac:spMkLst>
            <pc:docMk/>
            <pc:sldMk cId="1088427134" sldId="10355"/>
            <ac:spMk id="354" creationId="{E856EDF6-9B33-4E84-9395-01F2C852986E}"/>
          </ac:spMkLst>
        </pc:spChg>
        <pc:spChg chg="mod">
          <ac:chgData name="Jean QUENTIN" userId="6962deb3-b639-4acd-8091-a0516ea2376b" providerId="ADAL" clId="{146BD8F6-FDDD-49D3-A1A6-146C954086FF}" dt="2021-05-24T13:36:19.842" v="4847" actId="790"/>
          <ac:spMkLst>
            <pc:docMk/>
            <pc:sldMk cId="1088427134" sldId="10355"/>
            <ac:spMk id="355" creationId="{F6FE6982-C59D-4903-A697-09F5B2458B91}"/>
          </ac:spMkLst>
        </pc:spChg>
        <pc:spChg chg="mod">
          <ac:chgData name="Jean QUENTIN" userId="6962deb3-b639-4acd-8091-a0516ea2376b" providerId="ADAL" clId="{146BD8F6-FDDD-49D3-A1A6-146C954086FF}" dt="2021-05-24T13:36:19.842" v="4848" actId="790"/>
          <ac:spMkLst>
            <pc:docMk/>
            <pc:sldMk cId="1088427134" sldId="10355"/>
            <ac:spMk id="366" creationId="{93DF475D-D416-47B1-B3AE-DF8F8DFDB5CE}"/>
          </ac:spMkLst>
        </pc:spChg>
        <pc:spChg chg="mod">
          <ac:chgData name="Jean QUENTIN" userId="6962deb3-b639-4acd-8091-a0516ea2376b" providerId="ADAL" clId="{146BD8F6-FDDD-49D3-A1A6-146C954086FF}" dt="2021-05-24T13:36:19.842" v="4850" actId="790"/>
          <ac:spMkLst>
            <pc:docMk/>
            <pc:sldMk cId="1088427134" sldId="10355"/>
            <ac:spMk id="431" creationId="{C43A5D41-8E95-4FE9-AA7F-FE80E1B41664}"/>
          </ac:spMkLst>
        </pc:spChg>
        <pc:spChg chg="mod">
          <ac:chgData name="Jean QUENTIN" userId="6962deb3-b639-4acd-8091-a0516ea2376b" providerId="ADAL" clId="{146BD8F6-FDDD-49D3-A1A6-146C954086FF}" dt="2021-05-24T13:36:19.858" v="4851" actId="790"/>
          <ac:spMkLst>
            <pc:docMk/>
            <pc:sldMk cId="1088427134" sldId="10355"/>
            <ac:spMk id="432" creationId="{03857C1B-D6C5-45FC-9704-4AD21AA68E0E}"/>
          </ac:spMkLst>
        </pc:spChg>
        <pc:spChg chg="mod">
          <ac:chgData name="Jean QUENTIN" userId="6962deb3-b639-4acd-8091-a0516ea2376b" providerId="ADAL" clId="{146BD8F6-FDDD-49D3-A1A6-146C954086FF}" dt="2021-05-24T13:36:19.742" v="4787" actId="790"/>
          <ac:spMkLst>
            <pc:docMk/>
            <pc:sldMk cId="1088427134" sldId="10355"/>
            <ac:spMk id="524" creationId="{9DA0C13D-FDE2-432F-842A-8FDF5BC8E38A}"/>
          </ac:spMkLst>
        </pc:spChg>
        <pc:spChg chg="mod">
          <ac:chgData name="Jean QUENTIN" userId="6962deb3-b639-4acd-8091-a0516ea2376b" providerId="ADAL" clId="{146BD8F6-FDDD-49D3-A1A6-146C954086FF}" dt="2021-05-24T13:36:19.758" v="4788" actId="790"/>
          <ac:spMkLst>
            <pc:docMk/>
            <pc:sldMk cId="1088427134" sldId="10355"/>
            <ac:spMk id="526" creationId="{1E61C816-480E-4818-B936-DD577AC6BF1D}"/>
          </ac:spMkLst>
        </pc:spChg>
        <pc:spChg chg="mod">
          <ac:chgData name="Jean QUENTIN" userId="6962deb3-b639-4acd-8091-a0516ea2376b" providerId="ADAL" clId="{146BD8F6-FDDD-49D3-A1A6-146C954086FF}" dt="2021-05-24T13:36:19.811" v="4821" actId="790"/>
          <ac:spMkLst>
            <pc:docMk/>
            <pc:sldMk cId="1088427134" sldId="10355"/>
            <ac:spMk id="566" creationId="{5034B735-5470-44C8-9214-2F36EE84557A}"/>
          </ac:spMkLst>
        </pc:spChg>
        <pc:spChg chg="mod">
          <ac:chgData name="Jean QUENTIN" userId="6962deb3-b639-4acd-8091-a0516ea2376b" providerId="ADAL" clId="{146BD8F6-FDDD-49D3-A1A6-146C954086FF}" dt="2021-05-24T13:36:19.811" v="4822" actId="790"/>
          <ac:spMkLst>
            <pc:docMk/>
            <pc:sldMk cId="1088427134" sldId="10355"/>
            <ac:spMk id="567" creationId="{7A7AC5FD-4972-4698-9C29-EBE0BC229D2C}"/>
          </ac:spMkLst>
        </pc:spChg>
        <pc:spChg chg="mod">
          <ac:chgData name="Jean QUENTIN" userId="6962deb3-b639-4acd-8091-a0516ea2376b" providerId="ADAL" clId="{146BD8F6-FDDD-49D3-A1A6-146C954086FF}" dt="2021-05-24T13:36:19.811" v="4823" actId="790"/>
          <ac:spMkLst>
            <pc:docMk/>
            <pc:sldMk cId="1088427134" sldId="10355"/>
            <ac:spMk id="568" creationId="{1BB99FC1-A755-41C4-A5B0-42BF784157D7}"/>
          </ac:spMkLst>
        </pc:spChg>
        <pc:spChg chg="mod">
          <ac:chgData name="Jean QUENTIN" userId="6962deb3-b639-4acd-8091-a0516ea2376b" providerId="ADAL" clId="{146BD8F6-FDDD-49D3-A1A6-146C954086FF}" dt="2021-05-24T13:36:19.811" v="4824" actId="790"/>
          <ac:spMkLst>
            <pc:docMk/>
            <pc:sldMk cId="1088427134" sldId="10355"/>
            <ac:spMk id="569" creationId="{03B48CD2-8D5F-467F-95E5-9374434808F1}"/>
          </ac:spMkLst>
        </pc:spChg>
        <pc:spChg chg="mod">
          <ac:chgData name="Jean QUENTIN" userId="6962deb3-b639-4acd-8091-a0516ea2376b" providerId="ADAL" clId="{146BD8F6-FDDD-49D3-A1A6-146C954086FF}" dt="2021-05-24T13:36:19.811" v="4825" actId="790"/>
          <ac:spMkLst>
            <pc:docMk/>
            <pc:sldMk cId="1088427134" sldId="10355"/>
            <ac:spMk id="570" creationId="{A6FC9F8E-9407-4068-9614-2C9B33825B85}"/>
          </ac:spMkLst>
        </pc:spChg>
        <pc:spChg chg="mod">
          <ac:chgData name="Jean QUENTIN" userId="6962deb3-b639-4acd-8091-a0516ea2376b" providerId="ADAL" clId="{146BD8F6-FDDD-49D3-A1A6-146C954086FF}" dt="2021-05-24T13:36:19.811" v="4826" actId="790"/>
          <ac:spMkLst>
            <pc:docMk/>
            <pc:sldMk cId="1088427134" sldId="10355"/>
            <ac:spMk id="571" creationId="{83A1A957-09EF-441E-B0F3-BEA3575C3310}"/>
          </ac:spMkLst>
        </pc:spChg>
        <pc:spChg chg="mod">
          <ac:chgData name="Jean QUENTIN" userId="6962deb3-b639-4acd-8091-a0516ea2376b" providerId="ADAL" clId="{146BD8F6-FDDD-49D3-A1A6-146C954086FF}" dt="2021-05-24T13:36:19.811" v="4827" actId="790"/>
          <ac:spMkLst>
            <pc:docMk/>
            <pc:sldMk cId="1088427134" sldId="10355"/>
            <ac:spMk id="572" creationId="{C8642C5B-766C-444E-B472-4CCCA91833BB}"/>
          </ac:spMkLst>
        </pc:spChg>
        <pc:spChg chg="mod">
          <ac:chgData name="Jean QUENTIN" userId="6962deb3-b639-4acd-8091-a0516ea2376b" providerId="ADAL" clId="{146BD8F6-FDDD-49D3-A1A6-146C954086FF}" dt="2021-05-24T13:36:19.827" v="4828" actId="790"/>
          <ac:spMkLst>
            <pc:docMk/>
            <pc:sldMk cId="1088427134" sldId="10355"/>
            <ac:spMk id="573" creationId="{641495BC-10DB-4F75-90D3-435B0EA4AA1D}"/>
          </ac:spMkLst>
        </pc:spChg>
        <pc:spChg chg="mod">
          <ac:chgData name="Jean QUENTIN" userId="6962deb3-b639-4acd-8091-a0516ea2376b" providerId="ADAL" clId="{146BD8F6-FDDD-49D3-A1A6-146C954086FF}" dt="2021-05-24T13:36:19.827" v="4829" actId="790"/>
          <ac:spMkLst>
            <pc:docMk/>
            <pc:sldMk cId="1088427134" sldId="10355"/>
            <ac:spMk id="574" creationId="{B378CEDE-C4B2-43EE-A7C1-F2D15C120DFA}"/>
          </ac:spMkLst>
        </pc:spChg>
        <pc:spChg chg="mod">
          <ac:chgData name="Jean QUENTIN" userId="6962deb3-b639-4acd-8091-a0516ea2376b" providerId="ADAL" clId="{146BD8F6-FDDD-49D3-A1A6-146C954086FF}" dt="2021-05-24T13:36:19.827" v="4830" actId="790"/>
          <ac:spMkLst>
            <pc:docMk/>
            <pc:sldMk cId="1088427134" sldId="10355"/>
            <ac:spMk id="575" creationId="{670C47CD-4DA7-4D9F-AE7A-05B5C0EE79A0}"/>
          </ac:spMkLst>
        </pc:spChg>
        <pc:spChg chg="mod">
          <ac:chgData name="Jean QUENTIN" userId="6962deb3-b639-4acd-8091-a0516ea2376b" providerId="ADAL" clId="{146BD8F6-FDDD-49D3-A1A6-146C954086FF}" dt="2021-05-24T13:36:19.827" v="4831" actId="790"/>
          <ac:spMkLst>
            <pc:docMk/>
            <pc:sldMk cId="1088427134" sldId="10355"/>
            <ac:spMk id="576" creationId="{5CFF709F-67CB-4B7D-B62B-5F093186EFD9}"/>
          </ac:spMkLst>
        </pc:spChg>
        <pc:spChg chg="mod">
          <ac:chgData name="Jean QUENTIN" userId="6962deb3-b639-4acd-8091-a0516ea2376b" providerId="ADAL" clId="{146BD8F6-FDDD-49D3-A1A6-146C954086FF}" dt="2021-05-24T13:36:19.827" v="4832" actId="790"/>
          <ac:spMkLst>
            <pc:docMk/>
            <pc:sldMk cId="1088427134" sldId="10355"/>
            <ac:spMk id="577" creationId="{9F35AA8E-A2FF-4273-BC1C-808C2425AE43}"/>
          </ac:spMkLst>
        </pc:spChg>
        <pc:spChg chg="mod">
          <ac:chgData name="Jean QUENTIN" userId="6962deb3-b639-4acd-8091-a0516ea2376b" providerId="ADAL" clId="{146BD8F6-FDDD-49D3-A1A6-146C954086FF}" dt="2021-05-24T13:36:19.827" v="4833" actId="790"/>
          <ac:spMkLst>
            <pc:docMk/>
            <pc:sldMk cId="1088427134" sldId="10355"/>
            <ac:spMk id="578" creationId="{EB266672-983F-4822-A4D2-45E27A858222}"/>
          </ac:spMkLst>
        </pc:spChg>
        <pc:spChg chg="mod">
          <ac:chgData name="Jean QUENTIN" userId="6962deb3-b639-4acd-8091-a0516ea2376b" providerId="ADAL" clId="{146BD8F6-FDDD-49D3-A1A6-146C954086FF}" dt="2021-05-24T13:36:19.827" v="4834" actId="790"/>
          <ac:spMkLst>
            <pc:docMk/>
            <pc:sldMk cId="1088427134" sldId="10355"/>
            <ac:spMk id="579" creationId="{134F9CF9-9DCE-4D1A-B7EA-16DD017406BC}"/>
          </ac:spMkLst>
        </pc:spChg>
        <pc:spChg chg="mod">
          <ac:chgData name="Jean QUENTIN" userId="6962deb3-b639-4acd-8091-a0516ea2376b" providerId="ADAL" clId="{146BD8F6-FDDD-49D3-A1A6-146C954086FF}" dt="2021-05-24T13:36:19.827" v="4835" actId="790"/>
          <ac:spMkLst>
            <pc:docMk/>
            <pc:sldMk cId="1088427134" sldId="10355"/>
            <ac:spMk id="580" creationId="{2B70C116-8232-4E9E-89F2-5E9CBA392143}"/>
          </ac:spMkLst>
        </pc:spChg>
        <pc:spChg chg="mod">
          <ac:chgData name="Jean QUENTIN" userId="6962deb3-b639-4acd-8091-a0516ea2376b" providerId="ADAL" clId="{146BD8F6-FDDD-49D3-A1A6-146C954086FF}" dt="2021-05-24T13:36:19.827" v="4836" actId="790"/>
          <ac:spMkLst>
            <pc:docMk/>
            <pc:sldMk cId="1088427134" sldId="10355"/>
            <ac:spMk id="581" creationId="{5016B878-0E7C-4DEC-84B3-C49F41F62BB3}"/>
          </ac:spMkLst>
        </pc:spChg>
        <pc:spChg chg="mod">
          <ac:chgData name="Jean QUENTIN" userId="6962deb3-b639-4acd-8091-a0516ea2376b" providerId="ADAL" clId="{146BD8F6-FDDD-49D3-A1A6-146C954086FF}" dt="2021-05-24T13:36:19.827" v="4837" actId="790"/>
          <ac:spMkLst>
            <pc:docMk/>
            <pc:sldMk cId="1088427134" sldId="10355"/>
            <ac:spMk id="582" creationId="{4CB40702-3157-4D6C-AFE1-DD055FDCDC4A}"/>
          </ac:spMkLst>
        </pc:spChg>
        <pc:spChg chg="mod">
          <ac:chgData name="Jean QUENTIN" userId="6962deb3-b639-4acd-8091-a0516ea2376b" providerId="ADAL" clId="{146BD8F6-FDDD-49D3-A1A6-146C954086FF}" dt="2021-05-24T13:36:19.827" v="4838" actId="790"/>
          <ac:spMkLst>
            <pc:docMk/>
            <pc:sldMk cId="1088427134" sldId="10355"/>
            <ac:spMk id="583" creationId="{0AA0C37F-F2C9-4B44-992D-2D401C00937D}"/>
          </ac:spMkLst>
        </pc:spChg>
        <pc:spChg chg="mod">
          <ac:chgData name="Jean QUENTIN" userId="6962deb3-b639-4acd-8091-a0516ea2376b" providerId="ADAL" clId="{146BD8F6-FDDD-49D3-A1A6-146C954086FF}" dt="2021-05-24T13:36:19.827" v="4839" actId="790"/>
          <ac:spMkLst>
            <pc:docMk/>
            <pc:sldMk cId="1088427134" sldId="10355"/>
            <ac:spMk id="584" creationId="{C34DD91A-F396-429A-8248-138E16DBB82B}"/>
          </ac:spMkLst>
        </pc:spChg>
      </pc:sldChg>
      <pc:sldChg chg="addSp delSp modSp mod">
        <pc:chgData name="Jean QUENTIN" userId="6962deb3-b639-4acd-8091-a0516ea2376b" providerId="ADAL" clId="{146BD8F6-FDDD-49D3-A1A6-146C954086FF}" dt="2021-05-25T12:47:46.156" v="14346" actId="1037"/>
        <pc:sldMkLst>
          <pc:docMk/>
          <pc:sldMk cId="3990787528" sldId="10361"/>
        </pc:sldMkLst>
        <pc:spChg chg="mod">
          <ac:chgData name="Jean QUENTIN" userId="6962deb3-b639-4acd-8091-a0516ea2376b" providerId="ADAL" clId="{146BD8F6-FDDD-49D3-A1A6-146C954086FF}" dt="2021-05-24T13:36:21.447" v="5672" actId="790"/>
          <ac:spMkLst>
            <pc:docMk/>
            <pc:sldMk cId="3990787528" sldId="10361"/>
            <ac:spMk id="2" creationId="{E1481475-1FC6-4DD8-A95B-DCEE48FE195A}"/>
          </ac:spMkLst>
        </pc:spChg>
        <pc:spChg chg="mod">
          <ac:chgData name="Jean QUENTIN" userId="6962deb3-b639-4acd-8091-a0516ea2376b" providerId="ADAL" clId="{146BD8F6-FDDD-49D3-A1A6-146C954086FF}" dt="2021-05-24T13:36:21.485" v="5690" actId="790"/>
          <ac:spMkLst>
            <pc:docMk/>
            <pc:sldMk cId="3990787528" sldId="10361"/>
            <ac:spMk id="5" creationId="{F46E7AF5-AD69-4AFF-8E99-CD21B448E633}"/>
          </ac:spMkLst>
        </pc:spChg>
        <pc:spChg chg="mod">
          <ac:chgData name="Jean QUENTIN" userId="6962deb3-b639-4acd-8091-a0516ea2376b" providerId="ADAL" clId="{146BD8F6-FDDD-49D3-A1A6-146C954086FF}" dt="2021-05-24T13:36:21.447" v="5673" actId="790"/>
          <ac:spMkLst>
            <pc:docMk/>
            <pc:sldMk cId="3990787528" sldId="10361"/>
            <ac:spMk id="7" creationId="{42AC80FE-61C2-4CCD-8197-49DB0376671F}"/>
          </ac:spMkLst>
        </pc:spChg>
        <pc:spChg chg="mod">
          <ac:chgData name="Jean QUENTIN" userId="6962deb3-b639-4acd-8091-a0516ea2376b" providerId="ADAL" clId="{146BD8F6-FDDD-49D3-A1A6-146C954086FF}" dt="2021-05-24T13:36:21.500" v="5693" actId="790"/>
          <ac:spMkLst>
            <pc:docMk/>
            <pc:sldMk cId="3990787528" sldId="10361"/>
            <ac:spMk id="8" creationId="{E10ED5A0-5661-49D4-8837-C5C101229F3B}"/>
          </ac:spMkLst>
        </pc:spChg>
        <pc:spChg chg="mod">
          <ac:chgData name="Jean QUENTIN" userId="6962deb3-b639-4acd-8091-a0516ea2376b" providerId="ADAL" clId="{146BD8F6-FDDD-49D3-A1A6-146C954086FF}" dt="2021-05-24T13:36:21.462" v="5674" actId="790"/>
          <ac:spMkLst>
            <pc:docMk/>
            <pc:sldMk cId="3990787528" sldId="10361"/>
            <ac:spMk id="12" creationId="{B86E6A94-8641-434F-8002-7184D99557B6}"/>
          </ac:spMkLst>
        </pc:spChg>
        <pc:spChg chg="mod">
          <ac:chgData name="Jean QUENTIN" userId="6962deb3-b639-4acd-8091-a0516ea2376b" providerId="ADAL" clId="{146BD8F6-FDDD-49D3-A1A6-146C954086FF}" dt="2021-05-24T13:36:21.462" v="5675" actId="790"/>
          <ac:spMkLst>
            <pc:docMk/>
            <pc:sldMk cId="3990787528" sldId="10361"/>
            <ac:spMk id="14" creationId="{45C4B741-EE07-4E09-933D-96C6F8C328DA}"/>
          </ac:spMkLst>
        </pc:spChg>
        <pc:spChg chg="mod">
          <ac:chgData name="Jean QUENTIN" userId="6962deb3-b639-4acd-8091-a0516ea2376b" providerId="ADAL" clId="{146BD8F6-FDDD-49D3-A1A6-146C954086FF}" dt="2021-05-24T13:36:21.462" v="5676" actId="790"/>
          <ac:spMkLst>
            <pc:docMk/>
            <pc:sldMk cId="3990787528" sldId="10361"/>
            <ac:spMk id="17" creationId="{EE30131A-2764-4409-9471-08D20C6B41B7}"/>
          </ac:spMkLst>
        </pc:spChg>
        <pc:spChg chg="mod">
          <ac:chgData name="Jean QUENTIN" userId="6962deb3-b639-4acd-8091-a0516ea2376b" providerId="ADAL" clId="{146BD8F6-FDDD-49D3-A1A6-146C954086FF}" dt="2021-05-24T13:36:21.469" v="5677" actId="790"/>
          <ac:spMkLst>
            <pc:docMk/>
            <pc:sldMk cId="3990787528" sldId="10361"/>
            <ac:spMk id="25" creationId="{9EDBF09F-F1CB-459E-96BE-64B7990905B5}"/>
          </ac:spMkLst>
        </pc:spChg>
        <pc:spChg chg="mod">
          <ac:chgData name="Jean QUENTIN" userId="6962deb3-b639-4acd-8091-a0516ea2376b" providerId="ADAL" clId="{146BD8F6-FDDD-49D3-A1A6-146C954086FF}" dt="2021-05-24T13:36:21.469" v="5678" actId="790"/>
          <ac:spMkLst>
            <pc:docMk/>
            <pc:sldMk cId="3990787528" sldId="10361"/>
            <ac:spMk id="30" creationId="{44C62624-0F5A-42BD-A47E-BCAFCEBBE195}"/>
          </ac:spMkLst>
        </pc:spChg>
        <pc:spChg chg="mod">
          <ac:chgData name="Jean QUENTIN" userId="6962deb3-b639-4acd-8091-a0516ea2376b" providerId="ADAL" clId="{146BD8F6-FDDD-49D3-A1A6-146C954086FF}" dt="2021-05-24T13:36:21.469" v="5679" actId="790"/>
          <ac:spMkLst>
            <pc:docMk/>
            <pc:sldMk cId="3990787528" sldId="10361"/>
            <ac:spMk id="47" creationId="{3632F3D2-16C2-4F36-8671-4E5BD35DD3FC}"/>
          </ac:spMkLst>
        </pc:spChg>
        <pc:spChg chg="mod">
          <ac:chgData name="Jean QUENTIN" userId="6962deb3-b639-4acd-8091-a0516ea2376b" providerId="ADAL" clId="{146BD8F6-FDDD-49D3-A1A6-146C954086FF}" dt="2021-05-24T13:36:21.469" v="5680" actId="790"/>
          <ac:spMkLst>
            <pc:docMk/>
            <pc:sldMk cId="3990787528" sldId="10361"/>
            <ac:spMk id="62" creationId="{3399CC65-0E8C-4FA1-9CFF-5A3D13519D60}"/>
          </ac:spMkLst>
        </pc:spChg>
        <pc:spChg chg="mod">
          <ac:chgData name="Jean QUENTIN" userId="6962deb3-b639-4acd-8091-a0516ea2376b" providerId="ADAL" clId="{146BD8F6-FDDD-49D3-A1A6-146C954086FF}" dt="2021-05-24T13:36:21.469" v="5681" actId="790"/>
          <ac:spMkLst>
            <pc:docMk/>
            <pc:sldMk cId="3990787528" sldId="10361"/>
            <ac:spMk id="63" creationId="{0E8161A6-7BE8-477D-BB6A-07B78137186B}"/>
          </ac:spMkLst>
        </pc:spChg>
        <pc:spChg chg="mod">
          <ac:chgData name="Jean QUENTIN" userId="6962deb3-b639-4acd-8091-a0516ea2376b" providerId="ADAL" clId="{146BD8F6-FDDD-49D3-A1A6-146C954086FF}" dt="2021-05-24T13:36:21.469" v="5682" actId="790"/>
          <ac:spMkLst>
            <pc:docMk/>
            <pc:sldMk cId="3990787528" sldId="10361"/>
            <ac:spMk id="64" creationId="{6CF11445-FB8D-4EBB-8DC6-4790ABD159BC}"/>
          </ac:spMkLst>
        </pc:spChg>
        <pc:spChg chg="mod">
          <ac:chgData name="Jean QUENTIN" userId="6962deb3-b639-4acd-8091-a0516ea2376b" providerId="ADAL" clId="{146BD8F6-FDDD-49D3-A1A6-146C954086FF}" dt="2021-05-24T13:36:21.469" v="5683" actId="790"/>
          <ac:spMkLst>
            <pc:docMk/>
            <pc:sldMk cId="3990787528" sldId="10361"/>
            <ac:spMk id="65" creationId="{FAA9234A-9E8F-44F8-87C6-4B20B87F2A07}"/>
          </ac:spMkLst>
        </pc:spChg>
        <pc:spChg chg="mod">
          <ac:chgData name="Jean QUENTIN" userId="6962deb3-b639-4acd-8091-a0516ea2376b" providerId="ADAL" clId="{146BD8F6-FDDD-49D3-A1A6-146C954086FF}" dt="2021-05-24T13:36:21.469" v="5684" actId="790"/>
          <ac:spMkLst>
            <pc:docMk/>
            <pc:sldMk cId="3990787528" sldId="10361"/>
            <ac:spMk id="66" creationId="{3C171EAA-E96D-440D-AFAE-D876244B274E}"/>
          </ac:spMkLst>
        </pc:spChg>
        <pc:spChg chg="mod">
          <ac:chgData name="Jean QUENTIN" userId="6962deb3-b639-4acd-8091-a0516ea2376b" providerId="ADAL" clId="{146BD8F6-FDDD-49D3-A1A6-146C954086FF}" dt="2021-05-24T13:36:21.469" v="5685" actId="790"/>
          <ac:spMkLst>
            <pc:docMk/>
            <pc:sldMk cId="3990787528" sldId="10361"/>
            <ac:spMk id="67" creationId="{1C5EC1EF-B53F-4FC1-88A8-B8FC149A30DD}"/>
          </ac:spMkLst>
        </pc:spChg>
        <pc:spChg chg="mod">
          <ac:chgData name="Jean QUENTIN" userId="6962deb3-b639-4acd-8091-a0516ea2376b" providerId="ADAL" clId="{146BD8F6-FDDD-49D3-A1A6-146C954086FF}" dt="2021-05-24T13:36:21.485" v="5686" actId="790"/>
          <ac:spMkLst>
            <pc:docMk/>
            <pc:sldMk cId="3990787528" sldId="10361"/>
            <ac:spMk id="73" creationId="{368450D3-F23A-4029-B1E6-A46C77A6A2BC}"/>
          </ac:spMkLst>
        </pc:spChg>
        <pc:spChg chg="mod">
          <ac:chgData name="Jean QUENTIN" userId="6962deb3-b639-4acd-8091-a0516ea2376b" providerId="ADAL" clId="{146BD8F6-FDDD-49D3-A1A6-146C954086FF}" dt="2021-05-25T12:47:46.156" v="14346" actId="1037"/>
          <ac:spMkLst>
            <pc:docMk/>
            <pc:sldMk cId="3990787528" sldId="10361"/>
            <ac:spMk id="74" creationId="{CC5D3C8F-2199-4F59-9D5B-AD1B8496B82A}"/>
          </ac:spMkLst>
        </pc:spChg>
        <pc:spChg chg="mod">
          <ac:chgData name="Jean QUENTIN" userId="6962deb3-b639-4acd-8091-a0516ea2376b" providerId="ADAL" clId="{146BD8F6-FDDD-49D3-A1A6-146C954086FF}" dt="2021-05-24T13:36:21.447" v="5671" actId="790"/>
          <ac:spMkLst>
            <pc:docMk/>
            <pc:sldMk cId="3990787528" sldId="10361"/>
            <ac:spMk id="77" creationId="{30B397E9-55E0-4C0A-8473-FA28414106F1}"/>
          </ac:spMkLst>
        </pc:spChg>
        <pc:spChg chg="mod">
          <ac:chgData name="Jean QUENTIN" userId="6962deb3-b639-4acd-8091-a0516ea2376b" providerId="ADAL" clId="{146BD8F6-FDDD-49D3-A1A6-146C954086FF}" dt="2021-05-24T13:36:21.485" v="5688" actId="790"/>
          <ac:spMkLst>
            <pc:docMk/>
            <pc:sldMk cId="3990787528" sldId="10361"/>
            <ac:spMk id="78" creationId="{D387169E-C144-473E-BECE-421F0F5D82C5}"/>
          </ac:spMkLst>
        </pc:spChg>
        <pc:spChg chg="mod">
          <ac:chgData name="Jean QUENTIN" userId="6962deb3-b639-4acd-8091-a0516ea2376b" providerId="ADAL" clId="{146BD8F6-FDDD-49D3-A1A6-146C954086FF}" dt="2021-05-25T12:43:24.536" v="14316" actId="27107"/>
          <ac:spMkLst>
            <pc:docMk/>
            <pc:sldMk cId="3990787528" sldId="10361"/>
            <ac:spMk id="79" creationId="{C6BCD8BA-FD50-414E-8E10-969A70DBF09F}"/>
          </ac:spMkLst>
        </pc:spChg>
        <pc:spChg chg="mod">
          <ac:chgData name="Jean QUENTIN" userId="6962deb3-b639-4acd-8091-a0516ea2376b" providerId="ADAL" clId="{146BD8F6-FDDD-49D3-A1A6-146C954086FF}" dt="2021-05-24T13:36:21.500" v="5695" actId="790"/>
          <ac:spMkLst>
            <pc:docMk/>
            <pc:sldMk cId="3990787528" sldId="10361"/>
            <ac:spMk id="80" creationId="{A5190C3C-DD49-44EE-9EA0-A0C3CEA9D193}"/>
          </ac:spMkLst>
        </pc:spChg>
        <pc:spChg chg="mod">
          <ac:chgData name="Jean QUENTIN" userId="6962deb3-b639-4acd-8091-a0516ea2376b" providerId="ADAL" clId="{146BD8F6-FDDD-49D3-A1A6-146C954086FF}" dt="2021-05-24T13:36:21.485" v="5691" actId="790"/>
          <ac:spMkLst>
            <pc:docMk/>
            <pc:sldMk cId="3990787528" sldId="10361"/>
            <ac:spMk id="86" creationId="{C98AB48F-B81A-4068-863B-54101303C664}"/>
          </ac:spMkLst>
        </pc:spChg>
        <pc:spChg chg="mod">
          <ac:chgData name="Jean QUENTIN" userId="6962deb3-b639-4acd-8091-a0516ea2376b" providerId="ADAL" clId="{146BD8F6-FDDD-49D3-A1A6-146C954086FF}" dt="2021-05-24T13:36:21.485" v="5689" actId="790"/>
          <ac:spMkLst>
            <pc:docMk/>
            <pc:sldMk cId="3990787528" sldId="10361"/>
            <ac:spMk id="93" creationId="{2D10063C-A37E-4938-ADE5-D06A69E4F58F}"/>
          </ac:spMkLst>
        </pc:spChg>
        <pc:spChg chg="mod">
          <ac:chgData name="Jean QUENTIN" userId="6962deb3-b639-4acd-8091-a0516ea2376b" providerId="ADAL" clId="{146BD8F6-FDDD-49D3-A1A6-146C954086FF}" dt="2021-05-24T13:36:21.485" v="5692" actId="790"/>
          <ac:spMkLst>
            <pc:docMk/>
            <pc:sldMk cId="3990787528" sldId="10361"/>
            <ac:spMk id="101" creationId="{6159CB1C-01D8-47B1-BB59-74EC9867438A}"/>
          </ac:spMkLst>
        </pc:spChg>
        <pc:picChg chg="mod">
          <ac:chgData name="Jean QUENTIN" userId="6962deb3-b639-4acd-8091-a0516ea2376b" providerId="ADAL" clId="{146BD8F6-FDDD-49D3-A1A6-146C954086FF}" dt="2021-05-25T12:46:47.285" v="14333" actId="1076"/>
          <ac:picMkLst>
            <pc:docMk/>
            <pc:sldMk cId="3990787528" sldId="10361"/>
            <ac:picMk id="71" creationId="{08952A3A-C2DB-43B3-957F-D435DE2DA941}"/>
          </ac:picMkLst>
        </pc:picChg>
        <pc:cxnChg chg="del mod">
          <ac:chgData name="Jean QUENTIN" userId="6962deb3-b639-4acd-8091-a0516ea2376b" providerId="ADAL" clId="{146BD8F6-FDDD-49D3-A1A6-146C954086FF}" dt="2021-05-25T12:44:57.312" v="14317" actId="478"/>
          <ac:cxnSpMkLst>
            <pc:docMk/>
            <pc:sldMk cId="3990787528" sldId="10361"/>
            <ac:cxnSpMk id="11" creationId="{6BE9CFC3-3D1E-4946-8413-89EC7959971A}"/>
          </ac:cxnSpMkLst>
        </pc:cxnChg>
        <pc:cxnChg chg="add mod">
          <ac:chgData name="Jean QUENTIN" userId="6962deb3-b639-4acd-8091-a0516ea2376b" providerId="ADAL" clId="{146BD8F6-FDDD-49D3-A1A6-146C954086FF}" dt="2021-05-25T12:47:46.156" v="14346" actId="1037"/>
          <ac:cxnSpMkLst>
            <pc:docMk/>
            <pc:sldMk cId="3990787528" sldId="10361"/>
            <ac:cxnSpMk id="75" creationId="{BB1CC832-0A2A-400B-9863-89397800653C}"/>
          </ac:cxnSpMkLst>
        </pc:cxnChg>
      </pc:sldChg>
      <pc:sldChg chg="modSp mod">
        <pc:chgData name="Jean QUENTIN" userId="6962deb3-b639-4acd-8091-a0516ea2376b" providerId="ADAL" clId="{146BD8F6-FDDD-49D3-A1A6-146C954086FF}" dt="2021-05-24T13:36:20.212" v="5112" actId="790"/>
        <pc:sldMkLst>
          <pc:docMk/>
          <pc:sldMk cId="2862391582" sldId="10362"/>
        </pc:sldMkLst>
        <pc:spChg chg="mod">
          <ac:chgData name="Jean QUENTIN" userId="6962deb3-b639-4acd-8091-a0516ea2376b" providerId="ADAL" clId="{146BD8F6-FDDD-49D3-A1A6-146C954086FF}" dt="2021-05-24T13:36:20.128" v="5053" actId="790"/>
          <ac:spMkLst>
            <pc:docMk/>
            <pc:sldMk cId="2862391582" sldId="10362"/>
            <ac:spMk id="2" creationId="{806A24BD-A309-4114-BCBE-1F8520216A75}"/>
          </ac:spMkLst>
        </pc:spChg>
        <pc:spChg chg="mod">
          <ac:chgData name="Jean QUENTIN" userId="6962deb3-b639-4acd-8091-a0516ea2376b" providerId="ADAL" clId="{146BD8F6-FDDD-49D3-A1A6-146C954086FF}" dt="2021-05-24T13:36:20.128" v="5054" actId="790"/>
          <ac:spMkLst>
            <pc:docMk/>
            <pc:sldMk cId="2862391582" sldId="10362"/>
            <ac:spMk id="6" creationId="{4E6E5141-7FBC-4E06-91AB-778C41045C7B}"/>
          </ac:spMkLst>
        </pc:spChg>
        <pc:spChg chg="mod">
          <ac:chgData name="Jean QUENTIN" userId="6962deb3-b639-4acd-8091-a0516ea2376b" providerId="ADAL" clId="{146BD8F6-FDDD-49D3-A1A6-146C954086FF}" dt="2021-05-24T13:36:20.128" v="5055" actId="790"/>
          <ac:spMkLst>
            <pc:docMk/>
            <pc:sldMk cId="2862391582" sldId="10362"/>
            <ac:spMk id="7" creationId="{8D09AD6F-BFA9-4E94-83DF-0661F98B9019}"/>
          </ac:spMkLst>
        </pc:spChg>
        <pc:spChg chg="mod">
          <ac:chgData name="Jean QUENTIN" userId="6962deb3-b639-4acd-8091-a0516ea2376b" providerId="ADAL" clId="{146BD8F6-FDDD-49D3-A1A6-146C954086FF}" dt="2021-05-24T13:36:20.128" v="5056" actId="790"/>
          <ac:spMkLst>
            <pc:docMk/>
            <pc:sldMk cId="2862391582" sldId="10362"/>
            <ac:spMk id="8" creationId="{77A429D6-B3A3-42B0-BAD3-1B353FC28B08}"/>
          </ac:spMkLst>
        </pc:spChg>
        <pc:spChg chg="mod">
          <ac:chgData name="Jean QUENTIN" userId="6962deb3-b639-4acd-8091-a0516ea2376b" providerId="ADAL" clId="{146BD8F6-FDDD-49D3-A1A6-146C954086FF}" dt="2021-05-24T13:36:20.128" v="5057" actId="790"/>
          <ac:spMkLst>
            <pc:docMk/>
            <pc:sldMk cId="2862391582" sldId="10362"/>
            <ac:spMk id="9" creationId="{C1790DA0-3655-475E-9CEE-4FBE153BB3F2}"/>
          </ac:spMkLst>
        </pc:spChg>
        <pc:spChg chg="mod">
          <ac:chgData name="Jean QUENTIN" userId="6962deb3-b639-4acd-8091-a0516ea2376b" providerId="ADAL" clId="{146BD8F6-FDDD-49D3-A1A6-146C954086FF}" dt="2021-05-24T13:36:20.165" v="5081" actId="790"/>
          <ac:spMkLst>
            <pc:docMk/>
            <pc:sldMk cId="2862391582" sldId="10362"/>
            <ac:spMk id="12" creationId="{D8C440F0-5663-4EAC-8964-248F32036591}"/>
          </ac:spMkLst>
        </pc:spChg>
        <pc:spChg chg="mod">
          <ac:chgData name="Jean QUENTIN" userId="6962deb3-b639-4acd-8091-a0516ea2376b" providerId="ADAL" clId="{146BD8F6-FDDD-49D3-A1A6-146C954086FF}" dt="2021-05-24T13:36:20.143" v="5058" actId="790"/>
          <ac:spMkLst>
            <pc:docMk/>
            <pc:sldMk cId="2862391582" sldId="10362"/>
            <ac:spMk id="14" creationId="{B8D529E0-B56F-42E9-9413-B04B09D1BC35}"/>
          </ac:spMkLst>
        </pc:spChg>
        <pc:spChg chg="mod">
          <ac:chgData name="Jean QUENTIN" userId="6962deb3-b639-4acd-8091-a0516ea2376b" providerId="ADAL" clId="{146BD8F6-FDDD-49D3-A1A6-146C954086FF}" dt="2021-05-24T13:36:20.143" v="5059" actId="790"/>
          <ac:spMkLst>
            <pc:docMk/>
            <pc:sldMk cId="2862391582" sldId="10362"/>
            <ac:spMk id="15" creationId="{BD17CEC9-4298-48C2-A07A-B6966AE88E71}"/>
          </ac:spMkLst>
        </pc:spChg>
        <pc:spChg chg="mod">
          <ac:chgData name="Jean QUENTIN" userId="6962deb3-b639-4acd-8091-a0516ea2376b" providerId="ADAL" clId="{146BD8F6-FDDD-49D3-A1A6-146C954086FF}" dt="2021-05-24T13:36:20.143" v="5060" actId="790"/>
          <ac:spMkLst>
            <pc:docMk/>
            <pc:sldMk cId="2862391582" sldId="10362"/>
            <ac:spMk id="16" creationId="{B886F05E-DC2A-4B28-89B2-BAEBC0591254}"/>
          </ac:spMkLst>
        </pc:spChg>
        <pc:spChg chg="mod">
          <ac:chgData name="Jean QUENTIN" userId="6962deb3-b639-4acd-8091-a0516ea2376b" providerId="ADAL" clId="{146BD8F6-FDDD-49D3-A1A6-146C954086FF}" dt="2021-05-24T13:36:20.143" v="5061" actId="790"/>
          <ac:spMkLst>
            <pc:docMk/>
            <pc:sldMk cId="2862391582" sldId="10362"/>
            <ac:spMk id="17" creationId="{FD9BD1A8-B133-4ED7-9402-59FE79DE23EC}"/>
          </ac:spMkLst>
        </pc:spChg>
        <pc:spChg chg="mod">
          <ac:chgData name="Jean QUENTIN" userId="6962deb3-b639-4acd-8091-a0516ea2376b" providerId="ADAL" clId="{146BD8F6-FDDD-49D3-A1A6-146C954086FF}" dt="2021-05-24T13:36:20.143" v="5062" actId="790"/>
          <ac:spMkLst>
            <pc:docMk/>
            <pc:sldMk cId="2862391582" sldId="10362"/>
            <ac:spMk id="18" creationId="{4373ED4E-D1FF-488D-BEFE-69AC7F528CA4}"/>
          </ac:spMkLst>
        </pc:spChg>
        <pc:spChg chg="mod">
          <ac:chgData name="Jean QUENTIN" userId="6962deb3-b639-4acd-8091-a0516ea2376b" providerId="ADAL" clId="{146BD8F6-FDDD-49D3-A1A6-146C954086FF}" dt="2021-05-24T13:36:20.143" v="5063" actId="790"/>
          <ac:spMkLst>
            <pc:docMk/>
            <pc:sldMk cId="2862391582" sldId="10362"/>
            <ac:spMk id="19" creationId="{BC760060-ABD5-412D-8045-EF97EC543341}"/>
          </ac:spMkLst>
        </pc:spChg>
        <pc:spChg chg="mod">
          <ac:chgData name="Jean QUENTIN" userId="6962deb3-b639-4acd-8091-a0516ea2376b" providerId="ADAL" clId="{146BD8F6-FDDD-49D3-A1A6-146C954086FF}" dt="2021-05-24T13:36:20.143" v="5064" actId="790"/>
          <ac:spMkLst>
            <pc:docMk/>
            <pc:sldMk cId="2862391582" sldId="10362"/>
            <ac:spMk id="20" creationId="{388BECFA-DD33-47B0-8DCF-EFF4D8D243DB}"/>
          </ac:spMkLst>
        </pc:spChg>
        <pc:spChg chg="mod">
          <ac:chgData name="Jean QUENTIN" userId="6962deb3-b639-4acd-8091-a0516ea2376b" providerId="ADAL" clId="{146BD8F6-FDDD-49D3-A1A6-146C954086FF}" dt="2021-05-24T13:36:20.143" v="5065" actId="790"/>
          <ac:spMkLst>
            <pc:docMk/>
            <pc:sldMk cId="2862391582" sldId="10362"/>
            <ac:spMk id="21" creationId="{F90680D2-5DA9-4AD6-8E64-FE8EA1410BC0}"/>
          </ac:spMkLst>
        </pc:spChg>
        <pc:spChg chg="mod">
          <ac:chgData name="Jean QUENTIN" userId="6962deb3-b639-4acd-8091-a0516ea2376b" providerId="ADAL" clId="{146BD8F6-FDDD-49D3-A1A6-146C954086FF}" dt="2021-05-24T13:36:20.143" v="5066" actId="790"/>
          <ac:spMkLst>
            <pc:docMk/>
            <pc:sldMk cId="2862391582" sldId="10362"/>
            <ac:spMk id="22" creationId="{F54D9E31-C7E1-4619-8AB2-AF3F57E25D8C}"/>
          </ac:spMkLst>
        </pc:spChg>
        <pc:spChg chg="mod">
          <ac:chgData name="Jean QUENTIN" userId="6962deb3-b639-4acd-8091-a0516ea2376b" providerId="ADAL" clId="{146BD8F6-FDDD-49D3-A1A6-146C954086FF}" dt="2021-05-24T13:36:20.143" v="5067" actId="790"/>
          <ac:spMkLst>
            <pc:docMk/>
            <pc:sldMk cId="2862391582" sldId="10362"/>
            <ac:spMk id="23" creationId="{E942F219-9D1D-4A73-B97D-EC48BD66AF15}"/>
          </ac:spMkLst>
        </pc:spChg>
        <pc:spChg chg="mod">
          <ac:chgData name="Jean QUENTIN" userId="6962deb3-b639-4acd-8091-a0516ea2376b" providerId="ADAL" clId="{146BD8F6-FDDD-49D3-A1A6-146C954086FF}" dt="2021-05-24T13:36:20.143" v="5068" actId="790"/>
          <ac:spMkLst>
            <pc:docMk/>
            <pc:sldMk cId="2862391582" sldId="10362"/>
            <ac:spMk id="24" creationId="{C2FF144E-7C70-4F58-8690-D05F03C7B743}"/>
          </ac:spMkLst>
        </pc:spChg>
        <pc:spChg chg="mod">
          <ac:chgData name="Jean QUENTIN" userId="6962deb3-b639-4acd-8091-a0516ea2376b" providerId="ADAL" clId="{146BD8F6-FDDD-49D3-A1A6-146C954086FF}" dt="2021-05-24T13:36:20.165" v="5083" actId="790"/>
          <ac:spMkLst>
            <pc:docMk/>
            <pc:sldMk cId="2862391582" sldId="10362"/>
            <ac:spMk id="25" creationId="{C1B3C97E-2579-4FEA-8968-54D9B75B13A4}"/>
          </ac:spMkLst>
        </pc:spChg>
        <pc:spChg chg="mod">
          <ac:chgData name="Jean QUENTIN" userId="6962deb3-b639-4acd-8091-a0516ea2376b" providerId="ADAL" clId="{146BD8F6-FDDD-49D3-A1A6-146C954086FF}" dt="2021-05-24T13:36:20.159" v="5069" actId="790"/>
          <ac:spMkLst>
            <pc:docMk/>
            <pc:sldMk cId="2862391582" sldId="10362"/>
            <ac:spMk id="43" creationId="{C59EF210-5B50-40A7-A6B4-DDAD799020BA}"/>
          </ac:spMkLst>
        </pc:spChg>
        <pc:spChg chg="mod">
          <ac:chgData name="Jean QUENTIN" userId="6962deb3-b639-4acd-8091-a0516ea2376b" providerId="ADAL" clId="{146BD8F6-FDDD-49D3-A1A6-146C954086FF}" dt="2021-05-24T13:36:20.159" v="5070" actId="790"/>
          <ac:spMkLst>
            <pc:docMk/>
            <pc:sldMk cId="2862391582" sldId="10362"/>
            <ac:spMk id="45" creationId="{A30046C9-7286-442E-B5D2-9182D2F71B12}"/>
          </ac:spMkLst>
        </pc:spChg>
        <pc:spChg chg="mod">
          <ac:chgData name="Jean QUENTIN" userId="6962deb3-b639-4acd-8091-a0516ea2376b" providerId="ADAL" clId="{146BD8F6-FDDD-49D3-A1A6-146C954086FF}" dt="2021-05-24T13:36:20.159" v="5071" actId="790"/>
          <ac:spMkLst>
            <pc:docMk/>
            <pc:sldMk cId="2862391582" sldId="10362"/>
            <ac:spMk id="56" creationId="{F37F2C7C-4651-46F1-B548-F75D15102AEA}"/>
          </ac:spMkLst>
        </pc:spChg>
        <pc:spChg chg="mod">
          <ac:chgData name="Jean QUENTIN" userId="6962deb3-b639-4acd-8091-a0516ea2376b" providerId="ADAL" clId="{146BD8F6-FDDD-49D3-A1A6-146C954086FF}" dt="2021-05-24T13:36:20.159" v="5072" actId="790"/>
          <ac:spMkLst>
            <pc:docMk/>
            <pc:sldMk cId="2862391582" sldId="10362"/>
            <ac:spMk id="61" creationId="{86718822-02E2-4F9A-B0D6-5A2C08F0884A}"/>
          </ac:spMkLst>
        </pc:spChg>
        <pc:spChg chg="mod">
          <ac:chgData name="Jean QUENTIN" userId="6962deb3-b639-4acd-8091-a0516ea2376b" providerId="ADAL" clId="{146BD8F6-FDDD-49D3-A1A6-146C954086FF}" dt="2021-05-24T13:36:20.165" v="5073" actId="790"/>
          <ac:spMkLst>
            <pc:docMk/>
            <pc:sldMk cId="2862391582" sldId="10362"/>
            <ac:spMk id="74" creationId="{DD8929B4-3FC0-4A80-B005-DECF49E5F03E}"/>
          </ac:spMkLst>
        </pc:spChg>
        <pc:spChg chg="mod">
          <ac:chgData name="Jean QUENTIN" userId="6962deb3-b639-4acd-8091-a0516ea2376b" providerId="ADAL" clId="{146BD8F6-FDDD-49D3-A1A6-146C954086FF}" dt="2021-05-24T13:36:20.165" v="5074" actId="790"/>
          <ac:spMkLst>
            <pc:docMk/>
            <pc:sldMk cId="2862391582" sldId="10362"/>
            <ac:spMk id="85" creationId="{2D2CFECC-1DAE-45A7-BC98-5B3781537431}"/>
          </ac:spMkLst>
        </pc:spChg>
        <pc:spChg chg="mod">
          <ac:chgData name="Jean QUENTIN" userId="6962deb3-b639-4acd-8091-a0516ea2376b" providerId="ADAL" clId="{146BD8F6-FDDD-49D3-A1A6-146C954086FF}" dt="2021-05-24T13:36:20.165" v="5075" actId="790"/>
          <ac:spMkLst>
            <pc:docMk/>
            <pc:sldMk cId="2862391582" sldId="10362"/>
            <ac:spMk id="91" creationId="{7D5F7D48-55E2-4B20-BCE4-576336C3156A}"/>
          </ac:spMkLst>
        </pc:spChg>
        <pc:spChg chg="mod">
          <ac:chgData name="Jean QUENTIN" userId="6962deb3-b639-4acd-8091-a0516ea2376b" providerId="ADAL" clId="{146BD8F6-FDDD-49D3-A1A6-146C954086FF}" dt="2021-05-24T13:36:20.212" v="5107" actId="790"/>
          <ac:spMkLst>
            <pc:docMk/>
            <pc:sldMk cId="2862391582" sldId="10362"/>
            <ac:spMk id="92" creationId="{72983CA2-D9C5-407E-8141-A247F8B9F12F}"/>
          </ac:spMkLst>
        </pc:spChg>
        <pc:spChg chg="mod">
          <ac:chgData name="Jean QUENTIN" userId="6962deb3-b639-4acd-8091-a0516ea2376b" providerId="ADAL" clId="{146BD8F6-FDDD-49D3-A1A6-146C954086FF}" dt="2021-05-24T13:36:20.212" v="5108" actId="790"/>
          <ac:spMkLst>
            <pc:docMk/>
            <pc:sldMk cId="2862391582" sldId="10362"/>
            <ac:spMk id="94" creationId="{AD365887-4EA5-44FF-844A-EA638570B896}"/>
          </ac:spMkLst>
        </pc:spChg>
        <pc:spChg chg="mod">
          <ac:chgData name="Jean QUENTIN" userId="6962deb3-b639-4acd-8091-a0516ea2376b" providerId="ADAL" clId="{146BD8F6-FDDD-49D3-A1A6-146C954086FF}" dt="2021-05-24T13:36:20.212" v="5109" actId="790"/>
          <ac:spMkLst>
            <pc:docMk/>
            <pc:sldMk cId="2862391582" sldId="10362"/>
            <ac:spMk id="96" creationId="{951D29B9-C9CB-4AD1-99A7-07FCB18D93AE}"/>
          </ac:spMkLst>
        </pc:spChg>
        <pc:spChg chg="mod">
          <ac:chgData name="Jean QUENTIN" userId="6962deb3-b639-4acd-8091-a0516ea2376b" providerId="ADAL" clId="{146BD8F6-FDDD-49D3-A1A6-146C954086FF}" dt="2021-05-24T13:36:20.212" v="5103" actId="790"/>
          <ac:spMkLst>
            <pc:docMk/>
            <pc:sldMk cId="2862391582" sldId="10362"/>
            <ac:spMk id="97" creationId="{6F2FCB3E-67C3-40EE-A924-F4E49D27B4E5}"/>
          </ac:spMkLst>
        </pc:spChg>
        <pc:spChg chg="mod">
          <ac:chgData name="Jean QUENTIN" userId="6962deb3-b639-4acd-8091-a0516ea2376b" providerId="ADAL" clId="{146BD8F6-FDDD-49D3-A1A6-146C954086FF}" dt="2021-05-24T13:36:20.181" v="5086" actId="790"/>
          <ac:spMkLst>
            <pc:docMk/>
            <pc:sldMk cId="2862391582" sldId="10362"/>
            <ac:spMk id="98" creationId="{8D6AADE9-BCE8-4859-8089-8C1D69502AF3}"/>
          </ac:spMkLst>
        </pc:spChg>
        <pc:spChg chg="mod">
          <ac:chgData name="Jean QUENTIN" userId="6962deb3-b639-4acd-8091-a0516ea2376b" providerId="ADAL" clId="{146BD8F6-FDDD-49D3-A1A6-146C954086FF}" dt="2021-05-24T13:36:20.181" v="5087" actId="790"/>
          <ac:spMkLst>
            <pc:docMk/>
            <pc:sldMk cId="2862391582" sldId="10362"/>
            <ac:spMk id="99" creationId="{7BA2AB86-68BC-43EA-9484-09E9E41EBE3D}"/>
          </ac:spMkLst>
        </pc:spChg>
        <pc:spChg chg="mod">
          <ac:chgData name="Jean QUENTIN" userId="6962deb3-b639-4acd-8091-a0516ea2376b" providerId="ADAL" clId="{146BD8F6-FDDD-49D3-A1A6-146C954086FF}" dt="2021-05-24T13:36:20.212" v="5104" actId="790"/>
          <ac:spMkLst>
            <pc:docMk/>
            <pc:sldMk cId="2862391582" sldId="10362"/>
            <ac:spMk id="101" creationId="{9E3EE37D-07CB-4DE8-B18C-DD97C37CE973}"/>
          </ac:spMkLst>
        </pc:spChg>
        <pc:spChg chg="mod">
          <ac:chgData name="Jean QUENTIN" userId="6962deb3-b639-4acd-8091-a0516ea2376b" providerId="ADAL" clId="{146BD8F6-FDDD-49D3-A1A6-146C954086FF}" dt="2021-05-24T13:36:20.212" v="5105" actId="790"/>
          <ac:spMkLst>
            <pc:docMk/>
            <pc:sldMk cId="2862391582" sldId="10362"/>
            <ac:spMk id="102" creationId="{4D9D690B-0949-4460-B42A-20A237A4E900}"/>
          </ac:spMkLst>
        </pc:spChg>
        <pc:spChg chg="mod">
          <ac:chgData name="Jean QUENTIN" userId="6962deb3-b639-4acd-8091-a0516ea2376b" providerId="ADAL" clId="{146BD8F6-FDDD-49D3-A1A6-146C954086FF}" dt="2021-05-24T13:36:20.212" v="5106" actId="790"/>
          <ac:spMkLst>
            <pc:docMk/>
            <pc:sldMk cId="2862391582" sldId="10362"/>
            <ac:spMk id="103" creationId="{7F9CBE8E-EB78-4F02-BF0B-E84AE7CAC7E2}"/>
          </ac:spMkLst>
        </pc:spChg>
        <pc:spChg chg="mod">
          <ac:chgData name="Jean QUENTIN" userId="6962deb3-b639-4acd-8091-a0516ea2376b" providerId="ADAL" clId="{146BD8F6-FDDD-49D3-A1A6-146C954086FF}" dt="2021-05-24T13:36:20.212" v="5110" actId="790"/>
          <ac:spMkLst>
            <pc:docMk/>
            <pc:sldMk cId="2862391582" sldId="10362"/>
            <ac:spMk id="104" creationId="{E6C933C6-9D7F-4A2B-A15C-7358CD8741C9}"/>
          </ac:spMkLst>
        </pc:spChg>
        <pc:spChg chg="mod">
          <ac:chgData name="Jean QUENTIN" userId="6962deb3-b639-4acd-8091-a0516ea2376b" providerId="ADAL" clId="{146BD8F6-FDDD-49D3-A1A6-146C954086FF}" dt="2021-05-24T13:36:20.212" v="5111" actId="790"/>
          <ac:spMkLst>
            <pc:docMk/>
            <pc:sldMk cId="2862391582" sldId="10362"/>
            <ac:spMk id="105" creationId="{B70D15D7-8784-42EB-9166-2515025BF185}"/>
          </ac:spMkLst>
        </pc:spChg>
        <pc:spChg chg="mod">
          <ac:chgData name="Jean QUENTIN" userId="6962deb3-b639-4acd-8091-a0516ea2376b" providerId="ADAL" clId="{146BD8F6-FDDD-49D3-A1A6-146C954086FF}" dt="2021-05-24T13:36:20.212" v="5112" actId="790"/>
          <ac:spMkLst>
            <pc:docMk/>
            <pc:sldMk cId="2862391582" sldId="10362"/>
            <ac:spMk id="106" creationId="{F7358FE8-EC77-45A6-9CA9-3415CAB459EF}"/>
          </ac:spMkLst>
        </pc:spChg>
        <pc:spChg chg="mod">
          <ac:chgData name="Jean QUENTIN" userId="6962deb3-b639-4acd-8091-a0516ea2376b" providerId="ADAL" clId="{146BD8F6-FDDD-49D3-A1A6-146C954086FF}" dt="2021-05-24T13:36:20.165" v="5076" actId="790"/>
          <ac:spMkLst>
            <pc:docMk/>
            <pc:sldMk cId="2862391582" sldId="10362"/>
            <ac:spMk id="110" creationId="{D112EAE9-1C24-4AF0-B3DD-273BF2FF5A59}"/>
          </ac:spMkLst>
        </pc:spChg>
        <pc:spChg chg="mod">
          <ac:chgData name="Jean QUENTIN" userId="6962deb3-b639-4acd-8091-a0516ea2376b" providerId="ADAL" clId="{146BD8F6-FDDD-49D3-A1A6-146C954086FF}" dt="2021-05-24T13:36:20.165" v="5077" actId="790"/>
          <ac:spMkLst>
            <pc:docMk/>
            <pc:sldMk cId="2862391582" sldId="10362"/>
            <ac:spMk id="111" creationId="{9B916422-AB4B-4397-9CE1-E4BDD0AED7FE}"/>
          </ac:spMkLst>
        </pc:spChg>
        <pc:spChg chg="mod">
          <ac:chgData name="Jean QUENTIN" userId="6962deb3-b639-4acd-8091-a0516ea2376b" providerId="ADAL" clId="{146BD8F6-FDDD-49D3-A1A6-146C954086FF}" dt="2021-05-24T13:36:20.165" v="5078" actId="790"/>
          <ac:spMkLst>
            <pc:docMk/>
            <pc:sldMk cId="2862391582" sldId="10362"/>
            <ac:spMk id="132" creationId="{1A3DE5F6-DC50-4B3E-8712-4F7931E9D3D4}"/>
          </ac:spMkLst>
        </pc:spChg>
        <pc:spChg chg="mod">
          <ac:chgData name="Jean QUENTIN" userId="6962deb3-b639-4acd-8091-a0516ea2376b" providerId="ADAL" clId="{146BD8F6-FDDD-49D3-A1A6-146C954086FF}" dt="2021-05-24T13:36:20.165" v="5079" actId="790"/>
          <ac:spMkLst>
            <pc:docMk/>
            <pc:sldMk cId="2862391582" sldId="10362"/>
            <ac:spMk id="133" creationId="{DC661DF3-2B60-4258-8A3C-6DA55E7974BD}"/>
          </ac:spMkLst>
        </pc:spChg>
        <pc:spChg chg="mod">
          <ac:chgData name="Jean QUENTIN" userId="6962deb3-b639-4acd-8091-a0516ea2376b" providerId="ADAL" clId="{146BD8F6-FDDD-49D3-A1A6-146C954086FF}" dt="2021-05-24T13:36:20.165" v="5080" actId="790"/>
          <ac:spMkLst>
            <pc:docMk/>
            <pc:sldMk cId="2862391582" sldId="10362"/>
            <ac:spMk id="134" creationId="{D5795A40-7B7E-4315-876A-A38D6610B661}"/>
          </ac:spMkLst>
        </pc:spChg>
        <pc:spChg chg="mod">
          <ac:chgData name="Jean QUENTIN" userId="6962deb3-b639-4acd-8091-a0516ea2376b" providerId="ADAL" clId="{146BD8F6-FDDD-49D3-A1A6-146C954086FF}" dt="2021-05-24T13:36:20.181" v="5088" actId="790"/>
          <ac:spMkLst>
            <pc:docMk/>
            <pc:sldMk cId="2862391582" sldId="10362"/>
            <ac:spMk id="135" creationId="{B7212166-4E04-47ED-9DA9-C1A5FADABEC1}"/>
          </ac:spMkLst>
        </pc:spChg>
        <pc:spChg chg="mod">
          <ac:chgData name="Jean QUENTIN" userId="6962deb3-b639-4acd-8091-a0516ea2376b" providerId="ADAL" clId="{146BD8F6-FDDD-49D3-A1A6-146C954086FF}" dt="2021-05-24T13:36:20.165" v="5082" actId="790"/>
          <ac:spMkLst>
            <pc:docMk/>
            <pc:sldMk cId="2862391582" sldId="10362"/>
            <ac:spMk id="137" creationId="{AF67C425-8708-4B3E-9B2A-E5C85D989489}"/>
          </ac:spMkLst>
        </pc:spChg>
        <pc:spChg chg="mod">
          <ac:chgData name="Jean QUENTIN" userId="6962deb3-b639-4acd-8091-a0516ea2376b" providerId="ADAL" clId="{146BD8F6-FDDD-49D3-A1A6-146C954086FF}" dt="2021-05-24T13:36:20.181" v="5089" actId="790"/>
          <ac:spMkLst>
            <pc:docMk/>
            <pc:sldMk cId="2862391582" sldId="10362"/>
            <ac:spMk id="144" creationId="{A12B0534-66DF-4768-8E62-0C019FA2B7A6}"/>
          </ac:spMkLst>
        </pc:spChg>
        <pc:spChg chg="mod">
          <ac:chgData name="Jean QUENTIN" userId="6962deb3-b639-4acd-8091-a0516ea2376b" providerId="ADAL" clId="{146BD8F6-FDDD-49D3-A1A6-146C954086FF}" dt="2021-05-24T13:36:20.181" v="5090" actId="790"/>
          <ac:spMkLst>
            <pc:docMk/>
            <pc:sldMk cId="2862391582" sldId="10362"/>
            <ac:spMk id="147" creationId="{73C5DEEC-4B4E-4C6B-9A80-A63E183C6F34}"/>
          </ac:spMkLst>
        </pc:spChg>
        <pc:spChg chg="mod">
          <ac:chgData name="Jean QUENTIN" userId="6962deb3-b639-4acd-8091-a0516ea2376b" providerId="ADAL" clId="{146BD8F6-FDDD-49D3-A1A6-146C954086FF}" dt="2021-05-24T13:36:20.212" v="5101" actId="790"/>
          <ac:spMkLst>
            <pc:docMk/>
            <pc:sldMk cId="2862391582" sldId="10362"/>
            <ac:spMk id="151" creationId="{945919F5-1F6F-4979-90CA-397384E59334}"/>
          </ac:spMkLst>
        </pc:spChg>
        <pc:spChg chg="mod">
          <ac:chgData name="Jean QUENTIN" userId="6962deb3-b639-4acd-8091-a0516ea2376b" providerId="ADAL" clId="{146BD8F6-FDDD-49D3-A1A6-146C954086FF}" dt="2021-05-24T13:36:20.212" v="5102" actId="790"/>
          <ac:spMkLst>
            <pc:docMk/>
            <pc:sldMk cId="2862391582" sldId="10362"/>
            <ac:spMk id="152" creationId="{2D48A5B8-C2CC-4F3A-B66A-BB33615C274E}"/>
          </ac:spMkLst>
        </pc:spChg>
        <pc:spChg chg="mod">
          <ac:chgData name="Jean QUENTIN" userId="6962deb3-b639-4acd-8091-a0516ea2376b" providerId="ADAL" clId="{146BD8F6-FDDD-49D3-A1A6-146C954086FF}" dt="2021-05-24T13:36:20.181" v="5091" actId="790"/>
          <ac:spMkLst>
            <pc:docMk/>
            <pc:sldMk cId="2862391582" sldId="10362"/>
            <ac:spMk id="156" creationId="{04F55C0D-DF11-4BD5-B439-C7F43A8E1B01}"/>
          </ac:spMkLst>
        </pc:spChg>
        <pc:spChg chg="mod">
          <ac:chgData name="Jean QUENTIN" userId="6962deb3-b639-4acd-8091-a0516ea2376b" providerId="ADAL" clId="{146BD8F6-FDDD-49D3-A1A6-146C954086FF}" dt="2021-05-24T13:36:20.181" v="5092" actId="790"/>
          <ac:spMkLst>
            <pc:docMk/>
            <pc:sldMk cId="2862391582" sldId="10362"/>
            <ac:spMk id="157" creationId="{34EE808F-991C-41BC-AE3E-FB1CDE55FB3C}"/>
          </ac:spMkLst>
        </pc:spChg>
        <pc:spChg chg="mod">
          <ac:chgData name="Jean QUENTIN" userId="6962deb3-b639-4acd-8091-a0516ea2376b" providerId="ADAL" clId="{146BD8F6-FDDD-49D3-A1A6-146C954086FF}" dt="2021-05-24T13:36:20.165" v="5084" actId="790"/>
          <ac:spMkLst>
            <pc:docMk/>
            <pc:sldMk cId="2862391582" sldId="10362"/>
            <ac:spMk id="160" creationId="{A8A94204-7780-44D2-9F69-E6D88D81CCC9}"/>
          </ac:spMkLst>
        </pc:spChg>
        <pc:spChg chg="mod">
          <ac:chgData name="Jean QUENTIN" userId="6962deb3-b639-4acd-8091-a0516ea2376b" providerId="ADAL" clId="{146BD8F6-FDDD-49D3-A1A6-146C954086FF}" dt="2021-05-24T13:36:20.165" v="5085" actId="790"/>
          <ac:spMkLst>
            <pc:docMk/>
            <pc:sldMk cId="2862391582" sldId="10362"/>
            <ac:spMk id="162" creationId="{7C77AD03-3049-47E7-8DA8-DA2A5283D6AD}"/>
          </ac:spMkLst>
        </pc:spChg>
        <pc:spChg chg="mod">
          <ac:chgData name="Jean QUENTIN" userId="6962deb3-b639-4acd-8091-a0516ea2376b" providerId="ADAL" clId="{146BD8F6-FDDD-49D3-A1A6-146C954086FF}" dt="2021-05-24T13:36:20.197" v="5093" actId="790"/>
          <ac:spMkLst>
            <pc:docMk/>
            <pc:sldMk cId="2862391582" sldId="10362"/>
            <ac:spMk id="174" creationId="{12430AE9-0E10-42CC-990F-04E0A3759BB1}"/>
          </ac:spMkLst>
        </pc:spChg>
        <pc:spChg chg="mod">
          <ac:chgData name="Jean QUENTIN" userId="6962deb3-b639-4acd-8091-a0516ea2376b" providerId="ADAL" clId="{146BD8F6-FDDD-49D3-A1A6-146C954086FF}" dt="2021-05-24T13:36:20.197" v="5094" actId="790"/>
          <ac:spMkLst>
            <pc:docMk/>
            <pc:sldMk cId="2862391582" sldId="10362"/>
            <ac:spMk id="180" creationId="{0C6109FE-0AC9-4F7F-B93A-7EF8FF18A985}"/>
          </ac:spMkLst>
        </pc:spChg>
        <pc:spChg chg="mod">
          <ac:chgData name="Jean QUENTIN" userId="6962deb3-b639-4acd-8091-a0516ea2376b" providerId="ADAL" clId="{146BD8F6-FDDD-49D3-A1A6-146C954086FF}" dt="2021-05-24T13:36:20.197" v="5095" actId="790"/>
          <ac:spMkLst>
            <pc:docMk/>
            <pc:sldMk cId="2862391582" sldId="10362"/>
            <ac:spMk id="181" creationId="{223AA644-A18B-43C3-911A-7F8939308A57}"/>
          </ac:spMkLst>
        </pc:spChg>
        <pc:spChg chg="mod">
          <ac:chgData name="Jean QUENTIN" userId="6962deb3-b639-4acd-8091-a0516ea2376b" providerId="ADAL" clId="{146BD8F6-FDDD-49D3-A1A6-146C954086FF}" dt="2021-05-24T13:36:20.197" v="5096" actId="790"/>
          <ac:spMkLst>
            <pc:docMk/>
            <pc:sldMk cId="2862391582" sldId="10362"/>
            <ac:spMk id="187" creationId="{4B8EA5D2-6F51-489A-8CBF-5F9334968CB1}"/>
          </ac:spMkLst>
        </pc:spChg>
        <pc:spChg chg="mod">
          <ac:chgData name="Jean QUENTIN" userId="6962deb3-b639-4acd-8091-a0516ea2376b" providerId="ADAL" clId="{146BD8F6-FDDD-49D3-A1A6-146C954086FF}" dt="2021-05-24T13:36:20.197" v="5097" actId="790"/>
          <ac:spMkLst>
            <pc:docMk/>
            <pc:sldMk cId="2862391582" sldId="10362"/>
            <ac:spMk id="188" creationId="{CBFDB5A1-F4BF-4077-B85B-DCBB511D131F}"/>
          </ac:spMkLst>
        </pc:spChg>
        <pc:spChg chg="mod">
          <ac:chgData name="Jean QUENTIN" userId="6962deb3-b639-4acd-8091-a0516ea2376b" providerId="ADAL" clId="{146BD8F6-FDDD-49D3-A1A6-146C954086FF}" dt="2021-05-24T13:36:20.197" v="5098" actId="790"/>
          <ac:spMkLst>
            <pc:docMk/>
            <pc:sldMk cId="2862391582" sldId="10362"/>
            <ac:spMk id="198" creationId="{F6626565-104F-49E7-B218-F59B4BB9EB76}"/>
          </ac:spMkLst>
        </pc:spChg>
        <pc:spChg chg="mod">
          <ac:chgData name="Jean QUENTIN" userId="6962deb3-b639-4acd-8091-a0516ea2376b" providerId="ADAL" clId="{146BD8F6-FDDD-49D3-A1A6-146C954086FF}" dt="2021-05-24T13:36:20.197" v="5099" actId="790"/>
          <ac:spMkLst>
            <pc:docMk/>
            <pc:sldMk cId="2862391582" sldId="10362"/>
            <ac:spMk id="199" creationId="{BDADADA8-65C5-4199-B657-1CB59DC43BA2}"/>
          </ac:spMkLst>
        </pc:spChg>
        <pc:spChg chg="mod">
          <ac:chgData name="Jean QUENTIN" userId="6962deb3-b639-4acd-8091-a0516ea2376b" providerId="ADAL" clId="{146BD8F6-FDDD-49D3-A1A6-146C954086FF}" dt="2021-05-24T13:36:20.197" v="5100" actId="790"/>
          <ac:spMkLst>
            <pc:docMk/>
            <pc:sldMk cId="2862391582" sldId="10362"/>
            <ac:spMk id="200" creationId="{256A7760-4652-4603-A3AE-75556821C16C}"/>
          </ac:spMkLst>
        </pc:spChg>
      </pc:sldChg>
      <pc:sldChg chg="modSp mod">
        <pc:chgData name="Jean QUENTIN" userId="6962deb3-b639-4acd-8091-a0516ea2376b" providerId="ADAL" clId="{146BD8F6-FDDD-49D3-A1A6-146C954086FF}" dt="2021-05-24T13:36:20.382" v="5236" actId="790"/>
        <pc:sldMkLst>
          <pc:docMk/>
          <pc:sldMk cId="3056474185" sldId="10363"/>
        </pc:sldMkLst>
        <pc:spChg chg="mod">
          <ac:chgData name="Jean QUENTIN" userId="6962deb3-b639-4acd-8091-a0516ea2376b" providerId="ADAL" clId="{146BD8F6-FDDD-49D3-A1A6-146C954086FF}" dt="2021-05-24T13:36:20.313" v="5176" actId="790"/>
          <ac:spMkLst>
            <pc:docMk/>
            <pc:sldMk cId="3056474185" sldId="10363"/>
            <ac:spMk id="2" creationId="{806A24BD-A309-4114-BCBE-1F8520216A75}"/>
          </ac:spMkLst>
        </pc:spChg>
        <pc:spChg chg="mod">
          <ac:chgData name="Jean QUENTIN" userId="6962deb3-b639-4acd-8091-a0516ea2376b" providerId="ADAL" clId="{146BD8F6-FDDD-49D3-A1A6-146C954086FF}" dt="2021-05-24T13:36:20.313" v="5177" actId="790"/>
          <ac:spMkLst>
            <pc:docMk/>
            <pc:sldMk cId="3056474185" sldId="10363"/>
            <ac:spMk id="6" creationId="{4E6E5141-7FBC-4E06-91AB-778C41045C7B}"/>
          </ac:spMkLst>
        </pc:spChg>
        <pc:spChg chg="mod">
          <ac:chgData name="Jean QUENTIN" userId="6962deb3-b639-4acd-8091-a0516ea2376b" providerId="ADAL" clId="{146BD8F6-FDDD-49D3-A1A6-146C954086FF}" dt="2021-05-24T13:36:20.313" v="5178" actId="790"/>
          <ac:spMkLst>
            <pc:docMk/>
            <pc:sldMk cId="3056474185" sldId="10363"/>
            <ac:spMk id="7" creationId="{8D09AD6F-BFA9-4E94-83DF-0661F98B9019}"/>
          </ac:spMkLst>
        </pc:spChg>
        <pc:spChg chg="mod">
          <ac:chgData name="Jean QUENTIN" userId="6962deb3-b639-4acd-8091-a0516ea2376b" providerId="ADAL" clId="{146BD8F6-FDDD-49D3-A1A6-146C954086FF}" dt="2021-05-24T13:36:20.313" v="5179" actId="790"/>
          <ac:spMkLst>
            <pc:docMk/>
            <pc:sldMk cId="3056474185" sldId="10363"/>
            <ac:spMk id="8" creationId="{77A429D6-B3A3-42B0-BAD3-1B353FC28B08}"/>
          </ac:spMkLst>
        </pc:spChg>
        <pc:spChg chg="mod">
          <ac:chgData name="Jean QUENTIN" userId="6962deb3-b639-4acd-8091-a0516ea2376b" providerId="ADAL" clId="{146BD8F6-FDDD-49D3-A1A6-146C954086FF}" dt="2021-05-24T13:36:20.313" v="5180" actId="790"/>
          <ac:spMkLst>
            <pc:docMk/>
            <pc:sldMk cId="3056474185" sldId="10363"/>
            <ac:spMk id="9" creationId="{C1790DA0-3655-475E-9CEE-4FBE153BB3F2}"/>
          </ac:spMkLst>
        </pc:spChg>
        <pc:spChg chg="mod">
          <ac:chgData name="Jean QUENTIN" userId="6962deb3-b639-4acd-8091-a0516ea2376b" providerId="ADAL" clId="{146BD8F6-FDDD-49D3-A1A6-146C954086FF}" dt="2021-05-24T13:36:20.328" v="5189" actId="790"/>
          <ac:spMkLst>
            <pc:docMk/>
            <pc:sldMk cId="3056474185" sldId="10363"/>
            <ac:spMk id="12" creationId="{D8C440F0-5663-4EAC-8964-248F32036591}"/>
          </ac:spMkLst>
        </pc:spChg>
        <pc:spChg chg="mod">
          <ac:chgData name="Jean QUENTIN" userId="6962deb3-b639-4acd-8091-a0516ea2376b" providerId="ADAL" clId="{146BD8F6-FDDD-49D3-A1A6-146C954086FF}" dt="2021-05-24T13:36:20.328" v="5192" actId="790"/>
          <ac:spMkLst>
            <pc:docMk/>
            <pc:sldMk cId="3056474185" sldId="10363"/>
            <ac:spMk id="14" creationId="{B8D529E0-B56F-42E9-9413-B04B09D1BC35}"/>
          </ac:spMkLst>
        </pc:spChg>
        <pc:spChg chg="mod">
          <ac:chgData name="Jean QUENTIN" userId="6962deb3-b639-4acd-8091-a0516ea2376b" providerId="ADAL" clId="{146BD8F6-FDDD-49D3-A1A6-146C954086FF}" dt="2021-05-24T13:36:20.328" v="5193" actId="790"/>
          <ac:spMkLst>
            <pc:docMk/>
            <pc:sldMk cId="3056474185" sldId="10363"/>
            <ac:spMk id="15" creationId="{BD17CEC9-4298-48C2-A07A-B6966AE88E71}"/>
          </ac:spMkLst>
        </pc:spChg>
        <pc:spChg chg="mod">
          <ac:chgData name="Jean QUENTIN" userId="6962deb3-b639-4acd-8091-a0516ea2376b" providerId="ADAL" clId="{146BD8F6-FDDD-49D3-A1A6-146C954086FF}" dt="2021-05-24T13:36:20.328" v="5194" actId="790"/>
          <ac:spMkLst>
            <pc:docMk/>
            <pc:sldMk cId="3056474185" sldId="10363"/>
            <ac:spMk id="16" creationId="{B886F05E-DC2A-4B28-89B2-BAEBC0591254}"/>
          </ac:spMkLst>
        </pc:spChg>
        <pc:spChg chg="mod">
          <ac:chgData name="Jean QUENTIN" userId="6962deb3-b639-4acd-8091-a0516ea2376b" providerId="ADAL" clId="{146BD8F6-FDDD-49D3-A1A6-146C954086FF}" dt="2021-05-24T13:36:20.328" v="5195" actId="790"/>
          <ac:spMkLst>
            <pc:docMk/>
            <pc:sldMk cId="3056474185" sldId="10363"/>
            <ac:spMk id="17" creationId="{FD9BD1A8-B133-4ED7-9402-59FE79DE23EC}"/>
          </ac:spMkLst>
        </pc:spChg>
        <pc:spChg chg="mod">
          <ac:chgData name="Jean QUENTIN" userId="6962deb3-b639-4acd-8091-a0516ea2376b" providerId="ADAL" clId="{146BD8F6-FDDD-49D3-A1A6-146C954086FF}" dt="2021-05-24T13:36:20.313" v="5181" actId="790"/>
          <ac:spMkLst>
            <pc:docMk/>
            <pc:sldMk cId="3056474185" sldId="10363"/>
            <ac:spMk id="22" creationId="{F54D9E31-C7E1-4619-8AB2-AF3F57E25D8C}"/>
          </ac:spMkLst>
        </pc:spChg>
        <pc:spChg chg="mod">
          <ac:chgData name="Jean QUENTIN" userId="6962deb3-b639-4acd-8091-a0516ea2376b" providerId="ADAL" clId="{146BD8F6-FDDD-49D3-A1A6-146C954086FF}" dt="2021-05-24T13:36:20.313" v="5182" actId="790"/>
          <ac:spMkLst>
            <pc:docMk/>
            <pc:sldMk cId="3056474185" sldId="10363"/>
            <ac:spMk id="23" creationId="{E942F219-9D1D-4A73-B97D-EC48BD66AF15}"/>
          </ac:spMkLst>
        </pc:spChg>
        <pc:spChg chg="mod">
          <ac:chgData name="Jean QUENTIN" userId="6962deb3-b639-4acd-8091-a0516ea2376b" providerId="ADAL" clId="{146BD8F6-FDDD-49D3-A1A6-146C954086FF}" dt="2021-05-24T13:36:20.328" v="5183" actId="790"/>
          <ac:spMkLst>
            <pc:docMk/>
            <pc:sldMk cId="3056474185" sldId="10363"/>
            <ac:spMk id="24" creationId="{C2FF144E-7C70-4F58-8690-D05F03C7B743}"/>
          </ac:spMkLst>
        </pc:spChg>
        <pc:spChg chg="mod">
          <ac:chgData name="Jean QUENTIN" userId="6962deb3-b639-4acd-8091-a0516ea2376b" providerId="ADAL" clId="{146BD8F6-FDDD-49D3-A1A6-146C954086FF}" dt="2021-05-24T13:36:20.328" v="5184" actId="790"/>
          <ac:spMkLst>
            <pc:docMk/>
            <pc:sldMk cId="3056474185" sldId="10363"/>
            <ac:spMk id="43" creationId="{C59EF210-5B50-40A7-A6B4-DDAD799020BA}"/>
          </ac:spMkLst>
        </pc:spChg>
        <pc:spChg chg="mod">
          <ac:chgData name="Jean QUENTIN" userId="6962deb3-b639-4acd-8091-a0516ea2376b" providerId="ADAL" clId="{146BD8F6-FDDD-49D3-A1A6-146C954086FF}" dt="2021-05-24T13:36:20.328" v="5185" actId="790"/>
          <ac:spMkLst>
            <pc:docMk/>
            <pc:sldMk cId="3056474185" sldId="10363"/>
            <ac:spMk id="45" creationId="{A30046C9-7286-442E-B5D2-9182D2F71B12}"/>
          </ac:spMkLst>
        </pc:spChg>
        <pc:spChg chg="mod">
          <ac:chgData name="Jean QUENTIN" userId="6962deb3-b639-4acd-8091-a0516ea2376b" providerId="ADAL" clId="{146BD8F6-FDDD-49D3-A1A6-146C954086FF}" dt="2021-05-24T13:36:20.344" v="5196" actId="790"/>
          <ac:spMkLst>
            <pc:docMk/>
            <pc:sldMk cId="3056474185" sldId="10363"/>
            <ac:spMk id="56" creationId="{F37F2C7C-4651-46F1-B548-F75D15102AEA}"/>
          </ac:spMkLst>
        </pc:spChg>
        <pc:spChg chg="mod">
          <ac:chgData name="Jean QUENTIN" userId="6962deb3-b639-4acd-8091-a0516ea2376b" providerId="ADAL" clId="{146BD8F6-FDDD-49D3-A1A6-146C954086FF}" dt="2021-05-24T13:36:20.344" v="5197" actId="790"/>
          <ac:spMkLst>
            <pc:docMk/>
            <pc:sldMk cId="3056474185" sldId="10363"/>
            <ac:spMk id="61" creationId="{86718822-02E2-4F9A-B0D6-5A2C08F0884A}"/>
          </ac:spMkLst>
        </pc:spChg>
        <pc:spChg chg="mod">
          <ac:chgData name="Jean QUENTIN" userId="6962deb3-b639-4acd-8091-a0516ea2376b" providerId="ADAL" clId="{146BD8F6-FDDD-49D3-A1A6-146C954086FF}" dt="2021-05-24T13:36:20.344" v="5205" actId="790"/>
          <ac:spMkLst>
            <pc:docMk/>
            <pc:sldMk cId="3056474185" sldId="10363"/>
            <ac:spMk id="75" creationId="{E503932E-C2F2-4396-9010-F3646363CE5D}"/>
          </ac:spMkLst>
        </pc:spChg>
        <pc:spChg chg="mod">
          <ac:chgData name="Jean QUENTIN" userId="6962deb3-b639-4acd-8091-a0516ea2376b" providerId="ADAL" clId="{146BD8F6-FDDD-49D3-A1A6-146C954086FF}" dt="2021-05-24T13:36:20.344" v="5206" actId="790"/>
          <ac:spMkLst>
            <pc:docMk/>
            <pc:sldMk cId="3056474185" sldId="10363"/>
            <ac:spMk id="76" creationId="{5047C4BE-64CE-4854-8080-6277D70AEC59}"/>
          </ac:spMkLst>
        </pc:spChg>
        <pc:spChg chg="mod">
          <ac:chgData name="Jean QUENTIN" userId="6962deb3-b639-4acd-8091-a0516ea2376b" providerId="ADAL" clId="{146BD8F6-FDDD-49D3-A1A6-146C954086FF}" dt="2021-05-24T13:36:20.344" v="5207" actId="790"/>
          <ac:spMkLst>
            <pc:docMk/>
            <pc:sldMk cId="3056474185" sldId="10363"/>
            <ac:spMk id="77" creationId="{CCC10CC2-64B8-476B-9B18-28173B93FCBF}"/>
          </ac:spMkLst>
        </pc:spChg>
        <pc:spChg chg="mod">
          <ac:chgData name="Jean QUENTIN" userId="6962deb3-b639-4acd-8091-a0516ea2376b" providerId="ADAL" clId="{146BD8F6-FDDD-49D3-A1A6-146C954086FF}" dt="2021-05-24T13:36:20.366" v="5218" actId="790"/>
          <ac:spMkLst>
            <pc:docMk/>
            <pc:sldMk cId="3056474185" sldId="10363"/>
            <ac:spMk id="81" creationId="{13945402-02D0-4872-8AAF-B64E57336041}"/>
          </ac:spMkLst>
        </pc:spChg>
        <pc:spChg chg="mod">
          <ac:chgData name="Jean QUENTIN" userId="6962deb3-b639-4acd-8091-a0516ea2376b" providerId="ADAL" clId="{146BD8F6-FDDD-49D3-A1A6-146C954086FF}" dt="2021-05-24T13:36:20.366" v="5220" actId="790"/>
          <ac:spMkLst>
            <pc:docMk/>
            <pc:sldMk cId="3056474185" sldId="10363"/>
            <ac:spMk id="82" creationId="{28D7EB63-9464-445E-8CFF-E1396E03383A}"/>
          </ac:spMkLst>
        </pc:spChg>
        <pc:spChg chg="mod">
          <ac:chgData name="Jean QUENTIN" userId="6962deb3-b639-4acd-8091-a0516ea2376b" providerId="ADAL" clId="{146BD8F6-FDDD-49D3-A1A6-146C954086FF}" dt="2021-05-24T13:36:20.366" v="5221" actId="790"/>
          <ac:spMkLst>
            <pc:docMk/>
            <pc:sldMk cId="3056474185" sldId="10363"/>
            <ac:spMk id="83" creationId="{41BE5C96-44CD-4EEB-9982-85281464F14D}"/>
          </ac:spMkLst>
        </pc:spChg>
        <pc:spChg chg="mod">
          <ac:chgData name="Jean QUENTIN" userId="6962deb3-b639-4acd-8091-a0516ea2376b" providerId="ADAL" clId="{146BD8F6-FDDD-49D3-A1A6-146C954086FF}" dt="2021-05-24T13:36:20.366" v="5222" actId="790"/>
          <ac:spMkLst>
            <pc:docMk/>
            <pc:sldMk cId="3056474185" sldId="10363"/>
            <ac:spMk id="84" creationId="{C8690E1B-99C6-46A0-B5DC-90C2CE09DDE2}"/>
          </ac:spMkLst>
        </pc:spChg>
        <pc:spChg chg="mod">
          <ac:chgData name="Jean QUENTIN" userId="6962deb3-b639-4acd-8091-a0516ea2376b" providerId="ADAL" clId="{146BD8F6-FDDD-49D3-A1A6-146C954086FF}" dt="2021-05-24T13:36:20.382" v="5223" actId="790"/>
          <ac:spMkLst>
            <pc:docMk/>
            <pc:sldMk cId="3056474185" sldId="10363"/>
            <ac:spMk id="85" creationId="{A58C5887-CED1-46F2-9DC6-1A8BC868ED98}"/>
          </ac:spMkLst>
        </pc:spChg>
        <pc:spChg chg="mod">
          <ac:chgData name="Jean QUENTIN" userId="6962deb3-b639-4acd-8091-a0516ea2376b" providerId="ADAL" clId="{146BD8F6-FDDD-49D3-A1A6-146C954086FF}" dt="2021-05-24T13:36:20.344" v="5199" actId="790"/>
          <ac:spMkLst>
            <pc:docMk/>
            <pc:sldMk cId="3056474185" sldId="10363"/>
            <ac:spMk id="89" creationId="{0053E10B-EF20-4790-930A-27CDB580C41E}"/>
          </ac:spMkLst>
        </pc:spChg>
        <pc:spChg chg="mod">
          <ac:chgData name="Jean QUENTIN" userId="6962deb3-b639-4acd-8091-a0516ea2376b" providerId="ADAL" clId="{146BD8F6-FDDD-49D3-A1A6-146C954086FF}" dt="2021-05-24T13:36:20.360" v="5208" actId="790"/>
          <ac:spMkLst>
            <pc:docMk/>
            <pc:sldMk cId="3056474185" sldId="10363"/>
            <ac:spMk id="90" creationId="{39390C9C-6887-462F-90D2-1539942362C4}"/>
          </ac:spMkLst>
        </pc:spChg>
        <pc:spChg chg="mod">
          <ac:chgData name="Jean QUENTIN" userId="6962deb3-b639-4acd-8091-a0516ea2376b" providerId="ADAL" clId="{146BD8F6-FDDD-49D3-A1A6-146C954086FF}" dt="2021-05-24T13:36:20.360" v="5209" actId="790"/>
          <ac:spMkLst>
            <pc:docMk/>
            <pc:sldMk cId="3056474185" sldId="10363"/>
            <ac:spMk id="92" creationId="{810A05CD-3CDC-4778-8CF3-2D331904A50E}"/>
          </ac:spMkLst>
        </pc:spChg>
        <pc:spChg chg="mod">
          <ac:chgData name="Jean QUENTIN" userId="6962deb3-b639-4acd-8091-a0516ea2376b" providerId="ADAL" clId="{146BD8F6-FDDD-49D3-A1A6-146C954086FF}" dt="2021-05-24T13:36:20.360" v="5210" actId="790"/>
          <ac:spMkLst>
            <pc:docMk/>
            <pc:sldMk cId="3056474185" sldId="10363"/>
            <ac:spMk id="93" creationId="{BCC85884-BEF3-4A74-9C31-5252A2AE964C}"/>
          </ac:spMkLst>
        </pc:spChg>
        <pc:spChg chg="mod">
          <ac:chgData name="Jean QUENTIN" userId="6962deb3-b639-4acd-8091-a0516ea2376b" providerId="ADAL" clId="{146BD8F6-FDDD-49D3-A1A6-146C954086FF}" dt="2021-05-24T13:36:20.360" v="5211" actId="790"/>
          <ac:spMkLst>
            <pc:docMk/>
            <pc:sldMk cId="3056474185" sldId="10363"/>
            <ac:spMk id="94" creationId="{9ED613B1-4950-469D-AF1E-7A9A224F1089}"/>
          </ac:spMkLst>
        </pc:spChg>
        <pc:spChg chg="mod">
          <ac:chgData name="Jean QUENTIN" userId="6962deb3-b639-4acd-8091-a0516ea2376b" providerId="ADAL" clId="{146BD8F6-FDDD-49D3-A1A6-146C954086FF}" dt="2021-05-24T13:36:20.360" v="5212" actId="790"/>
          <ac:spMkLst>
            <pc:docMk/>
            <pc:sldMk cId="3056474185" sldId="10363"/>
            <ac:spMk id="95" creationId="{EFF4D5B6-DFB2-472A-A61F-4B7C9BBA0AD1}"/>
          </ac:spMkLst>
        </pc:spChg>
        <pc:spChg chg="mod">
          <ac:chgData name="Jean QUENTIN" userId="6962deb3-b639-4acd-8091-a0516ea2376b" providerId="ADAL" clId="{146BD8F6-FDDD-49D3-A1A6-146C954086FF}" dt="2021-05-24T13:36:20.366" v="5216" actId="790"/>
          <ac:spMkLst>
            <pc:docMk/>
            <pc:sldMk cId="3056474185" sldId="10363"/>
            <ac:spMk id="98" creationId="{8D6AADE9-BCE8-4859-8089-8C1D69502AF3}"/>
          </ac:spMkLst>
        </pc:spChg>
        <pc:spChg chg="mod">
          <ac:chgData name="Jean QUENTIN" userId="6962deb3-b639-4acd-8091-a0516ea2376b" providerId="ADAL" clId="{146BD8F6-FDDD-49D3-A1A6-146C954086FF}" dt="2021-05-24T13:36:20.382" v="5224" actId="790"/>
          <ac:spMkLst>
            <pc:docMk/>
            <pc:sldMk cId="3056474185" sldId="10363"/>
            <ac:spMk id="100" creationId="{4C2B8D89-E7A0-4A29-AA5D-4ACFB0EFA88C}"/>
          </ac:spMkLst>
        </pc:spChg>
        <pc:spChg chg="mod">
          <ac:chgData name="Jean QUENTIN" userId="6962deb3-b639-4acd-8091-a0516ea2376b" providerId="ADAL" clId="{146BD8F6-FDDD-49D3-A1A6-146C954086FF}" dt="2021-05-24T13:36:20.344" v="5200" actId="790"/>
          <ac:spMkLst>
            <pc:docMk/>
            <pc:sldMk cId="3056474185" sldId="10363"/>
            <ac:spMk id="101" creationId="{B25D321F-61DD-411F-991C-2CB37FFE1364}"/>
          </ac:spMkLst>
        </pc:spChg>
        <pc:spChg chg="mod">
          <ac:chgData name="Jean QUENTIN" userId="6962deb3-b639-4acd-8091-a0516ea2376b" providerId="ADAL" clId="{146BD8F6-FDDD-49D3-A1A6-146C954086FF}" dt="2021-05-24T13:36:20.382" v="5225" actId="790"/>
          <ac:spMkLst>
            <pc:docMk/>
            <pc:sldMk cId="3056474185" sldId="10363"/>
            <ac:spMk id="102" creationId="{73E0101C-2D21-489E-9E39-237DF3AEF5DA}"/>
          </ac:spMkLst>
        </pc:spChg>
        <pc:spChg chg="mod">
          <ac:chgData name="Jean QUENTIN" userId="6962deb3-b639-4acd-8091-a0516ea2376b" providerId="ADAL" clId="{146BD8F6-FDDD-49D3-A1A6-146C954086FF}" dt="2021-05-24T13:36:20.366" v="5219" actId="790"/>
          <ac:spMkLst>
            <pc:docMk/>
            <pc:sldMk cId="3056474185" sldId="10363"/>
            <ac:spMk id="103" creationId="{4C048F76-9197-4599-A698-79EFF04AC9E2}"/>
          </ac:spMkLst>
        </pc:spChg>
        <pc:spChg chg="mod">
          <ac:chgData name="Jean QUENTIN" userId="6962deb3-b639-4acd-8091-a0516ea2376b" providerId="ADAL" clId="{146BD8F6-FDDD-49D3-A1A6-146C954086FF}" dt="2021-05-24T13:36:20.366" v="5217" actId="790"/>
          <ac:spMkLst>
            <pc:docMk/>
            <pc:sldMk cId="3056474185" sldId="10363"/>
            <ac:spMk id="104" creationId="{24F11FDF-107F-4506-968F-7ED686528B02}"/>
          </ac:spMkLst>
        </pc:spChg>
        <pc:spChg chg="mod">
          <ac:chgData name="Jean QUENTIN" userId="6962deb3-b639-4acd-8091-a0516ea2376b" providerId="ADAL" clId="{146BD8F6-FDDD-49D3-A1A6-146C954086FF}" dt="2021-05-24T13:36:20.382" v="5226" actId="790"/>
          <ac:spMkLst>
            <pc:docMk/>
            <pc:sldMk cId="3056474185" sldId="10363"/>
            <ac:spMk id="108" creationId="{330FA343-063B-4EA0-831A-E5322936360D}"/>
          </ac:spMkLst>
        </pc:spChg>
        <pc:spChg chg="mod">
          <ac:chgData name="Jean QUENTIN" userId="6962deb3-b639-4acd-8091-a0516ea2376b" providerId="ADAL" clId="{146BD8F6-FDDD-49D3-A1A6-146C954086FF}" dt="2021-05-24T13:36:20.328" v="5186" actId="790"/>
          <ac:spMkLst>
            <pc:docMk/>
            <pc:sldMk cId="3056474185" sldId="10363"/>
            <ac:spMk id="110" creationId="{D112EAE9-1C24-4AF0-B3DD-273BF2FF5A59}"/>
          </ac:spMkLst>
        </pc:spChg>
        <pc:spChg chg="mod">
          <ac:chgData name="Jean QUENTIN" userId="6962deb3-b639-4acd-8091-a0516ea2376b" providerId="ADAL" clId="{146BD8F6-FDDD-49D3-A1A6-146C954086FF}" dt="2021-05-24T13:36:20.328" v="5187" actId="790"/>
          <ac:spMkLst>
            <pc:docMk/>
            <pc:sldMk cId="3056474185" sldId="10363"/>
            <ac:spMk id="111" creationId="{9B916422-AB4B-4397-9CE1-E4BDD0AED7FE}"/>
          </ac:spMkLst>
        </pc:spChg>
        <pc:spChg chg="mod">
          <ac:chgData name="Jean QUENTIN" userId="6962deb3-b639-4acd-8091-a0516ea2376b" providerId="ADAL" clId="{146BD8F6-FDDD-49D3-A1A6-146C954086FF}" dt="2021-05-24T13:36:20.382" v="5227" actId="790"/>
          <ac:spMkLst>
            <pc:docMk/>
            <pc:sldMk cId="3056474185" sldId="10363"/>
            <ac:spMk id="112" creationId="{9F513876-6A87-4993-A0F1-0F689FDBBF01}"/>
          </ac:spMkLst>
        </pc:spChg>
        <pc:spChg chg="mod">
          <ac:chgData name="Jean QUENTIN" userId="6962deb3-b639-4acd-8091-a0516ea2376b" providerId="ADAL" clId="{146BD8F6-FDDD-49D3-A1A6-146C954086FF}" dt="2021-05-24T13:36:20.360" v="5213" actId="790"/>
          <ac:spMkLst>
            <pc:docMk/>
            <pc:sldMk cId="3056474185" sldId="10363"/>
            <ac:spMk id="115" creationId="{6F1D7D9A-4EAA-45B4-B3C8-BA5E9C1F7277}"/>
          </ac:spMkLst>
        </pc:spChg>
        <pc:spChg chg="mod">
          <ac:chgData name="Jean QUENTIN" userId="6962deb3-b639-4acd-8091-a0516ea2376b" providerId="ADAL" clId="{146BD8F6-FDDD-49D3-A1A6-146C954086FF}" dt="2021-05-24T13:36:20.366" v="5214" actId="790"/>
          <ac:spMkLst>
            <pc:docMk/>
            <pc:sldMk cId="3056474185" sldId="10363"/>
            <ac:spMk id="116" creationId="{761CB428-B68A-41BA-9FC0-07DEC7039CCA}"/>
          </ac:spMkLst>
        </pc:spChg>
        <pc:spChg chg="mod">
          <ac:chgData name="Jean QUENTIN" userId="6962deb3-b639-4acd-8091-a0516ea2376b" providerId="ADAL" clId="{146BD8F6-FDDD-49D3-A1A6-146C954086FF}" dt="2021-05-24T13:36:20.382" v="5228" actId="790"/>
          <ac:spMkLst>
            <pc:docMk/>
            <pc:sldMk cId="3056474185" sldId="10363"/>
            <ac:spMk id="117" creationId="{C9DD2D9D-0989-4B91-8196-A5A0B7065E99}"/>
          </ac:spMkLst>
        </pc:spChg>
        <pc:spChg chg="mod">
          <ac:chgData name="Jean QUENTIN" userId="6962deb3-b639-4acd-8091-a0516ea2376b" providerId="ADAL" clId="{146BD8F6-FDDD-49D3-A1A6-146C954086FF}" dt="2021-05-24T13:36:20.366" v="5215" actId="790"/>
          <ac:spMkLst>
            <pc:docMk/>
            <pc:sldMk cId="3056474185" sldId="10363"/>
            <ac:spMk id="118" creationId="{759A0193-71DB-456E-B77A-940E35134FB3}"/>
          </ac:spMkLst>
        </pc:spChg>
        <pc:spChg chg="mod">
          <ac:chgData name="Jean QUENTIN" userId="6962deb3-b639-4acd-8091-a0516ea2376b" providerId="ADAL" clId="{146BD8F6-FDDD-49D3-A1A6-146C954086FF}" dt="2021-05-24T13:36:20.344" v="5201" actId="790"/>
          <ac:spMkLst>
            <pc:docMk/>
            <pc:sldMk cId="3056474185" sldId="10363"/>
            <ac:spMk id="119" creationId="{FD3CFAEA-9629-4A61-8FC4-3292A4700536}"/>
          </ac:spMkLst>
        </pc:spChg>
        <pc:spChg chg="mod">
          <ac:chgData name="Jean QUENTIN" userId="6962deb3-b639-4acd-8091-a0516ea2376b" providerId="ADAL" clId="{146BD8F6-FDDD-49D3-A1A6-146C954086FF}" dt="2021-05-24T13:36:20.344" v="5202" actId="790"/>
          <ac:spMkLst>
            <pc:docMk/>
            <pc:sldMk cId="3056474185" sldId="10363"/>
            <ac:spMk id="120" creationId="{93D09E23-6D6F-4F07-ACFD-DE8D09AD17A8}"/>
          </ac:spMkLst>
        </pc:spChg>
        <pc:spChg chg="mod">
          <ac:chgData name="Jean QUENTIN" userId="6962deb3-b639-4acd-8091-a0516ea2376b" providerId="ADAL" clId="{146BD8F6-FDDD-49D3-A1A6-146C954086FF}" dt="2021-05-24T13:36:20.344" v="5203" actId="790"/>
          <ac:spMkLst>
            <pc:docMk/>
            <pc:sldMk cId="3056474185" sldId="10363"/>
            <ac:spMk id="121" creationId="{7E6B106B-E8E9-4EB0-86EC-9A7E1C474545}"/>
          </ac:spMkLst>
        </pc:spChg>
        <pc:spChg chg="mod">
          <ac:chgData name="Jean QUENTIN" userId="6962deb3-b639-4acd-8091-a0516ea2376b" providerId="ADAL" clId="{146BD8F6-FDDD-49D3-A1A6-146C954086FF}" dt="2021-05-24T13:36:20.382" v="5229" actId="790"/>
          <ac:spMkLst>
            <pc:docMk/>
            <pc:sldMk cId="3056474185" sldId="10363"/>
            <ac:spMk id="122" creationId="{9D5F634F-72FC-4CD5-A0FE-78EDB7DE2470}"/>
          </ac:spMkLst>
        </pc:spChg>
        <pc:spChg chg="mod">
          <ac:chgData name="Jean QUENTIN" userId="6962deb3-b639-4acd-8091-a0516ea2376b" providerId="ADAL" clId="{146BD8F6-FDDD-49D3-A1A6-146C954086FF}" dt="2021-05-24T13:36:20.382" v="5230" actId="790"/>
          <ac:spMkLst>
            <pc:docMk/>
            <pc:sldMk cId="3056474185" sldId="10363"/>
            <ac:spMk id="123" creationId="{67DC4BF4-E52A-4F77-A7A3-194C8AD16717}"/>
          </ac:spMkLst>
        </pc:spChg>
        <pc:spChg chg="mod">
          <ac:chgData name="Jean QUENTIN" userId="6962deb3-b639-4acd-8091-a0516ea2376b" providerId="ADAL" clId="{146BD8F6-FDDD-49D3-A1A6-146C954086FF}" dt="2021-05-24T13:36:20.382" v="5231" actId="790"/>
          <ac:spMkLst>
            <pc:docMk/>
            <pc:sldMk cId="3056474185" sldId="10363"/>
            <ac:spMk id="124" creationId="{634C708A-905F-4423-AD59-7FAB100F7710}"/>
          </ac:spMkLst>
        </pc:spChg>
        <pc:spChg chg="mod">
          <ac:chgData name="Jean QUENTIN" userId="6962deb3-b639-4acd-8091-a0516ea2376b" providerId="ADAL" clId="{146BD8F6-FDDD-49D3-A1A6-146C954086FF}" dt="2021-05-24T13:36:20.344" v="5204" actId="790"/>
          <ac:spMkLst>
            <pc:docMk/>
            <pc:sldMk cId="3056474185" sldId="10363"/>
            <ac:spMk id="125" creationId="{9058D2CA-361E-4588-B7EB-6034093739B5}"/>
          </ac:spMkLst>
        </pc:spChg>
        <pc:spChg chg="mod">
          <ac:chgData name="Jean QUENTIN" userId="6962deb3-b639-4acd-8091-a0516ea2376b" providerId="ADAL" clId="{146BD8F6-FDDD-49D3-A1A6-146C954086FF}" dt="2021-05-24T13:36:20.382" v="5232" actId="790"/>
          <ac:spMkLst>
            <pc:docMk/>
            <pc:sldMk cId="3056474185" sldId="10363"/>
            <ac:spMk id="126" creationId="{30A82CFE-7F48-4AA8-AADE-7BBCDBC04817}"/>
          </ac:spMkLst>
        </pc:spChg>
        <pc:spChg chg="mod">
          <ac:chgData name="Jean QUENTIN" userId="6962deb3-b639-4acd-8091-a0516ea2376b" providerId="ADAL" clId="{146BD8F6-FDDD-49D3-A1A6-146C954086FF}" dt="2021-05-24T13:36:20.382" v="5233" actId="790"/>
          <ac:spMkLst>
            <pc:docMk/>
            <pc:sldMk cId="3056474185" sldId="10363"/>
            <ac:spMk id="127" creationId="{A697451B-FBB0-4497-90C1-88CC1F6975AB}"/>
          </ac:spMkLst>
        </pc:spChg>
        <pc:spChg chg="mod">
          <ac:chgData name="Jean QUENTIN" userId="6962deb3-b639-4acd-8091-a0516ea2376b" providerId="ADAL" clId="{146BD8F6-FDDD-49D3-A1A6-146C954086FF}" dt="2021-05-24T13:36:20.382" v="5234" actId="790"/>
          <ac:spMkLst>
            <pc:docMk/>
            <pc:sldMk cId="3056474185" sldId="10363"/>
            <ac:spMk id="128" creationId="{AB336A6F-5AD1-42F2-A67F-C963C0D53CE2}"/>
          </ac:spMkLst>
        </pc:spChg>
        <pc:spChg chg="mod">
          <ac:chgData name="Jean QUENTIN" userId="6962deb3-b639-4acd-8091-a0516ea2376b" providerId="ADAL" clId="{146BD8F6-FDDD-49D3-A1A6-146C954086FF}" dt="2021-05-24T13:36:20.382" v="5235" actId="790"/>
          <ac:spMkLst>
            <pc:docMk/>
            <pc:sldMk cId="3056474185" sldId="10363"/>
            <ac:spMk id="129" creationId="{43EDDEAC-5EE6-45CB-B7D0-ECB8A76067E6}"/>
          </ac:spMkLst>
        </pc:spChg>
        <pc:spChg chg="mod">
          <ac:chgData name="Jean QUENTIN" userId="6962deb3-b639-4acd-8091-a0516ea2376b" providerId="ADAL" clId="{146BD8F6-FDDD-49D3-A1A6-146C954086FF}" dt="2021-05-24T13:36:20.382" v="5236" actId="790"/>
          <ac:spMkLst>
            <pc:docMk/>
            <pc:sldMk cId="3056474185" sldId="10363"/>
            <ac:spMk id="130" creationId="{E99408E4-6EC9-44F1-90E4-29DE6526F3E7}"/>
          </ac:spMkLst>
        </pc:spChg>
        <pc:spChg chg="mod">
          <ac:chgData name="Jean QUENTIN" userId="6962deb3-b639-4acd-8091-a0516ea2376b" providerId="ADAL" clId="{146BD8F6-FDDD-49D3-A1A6-146C954086FF}" dt="2021-05-24T13:36:20.328" v="5188" actId="790"/>
          <ac:spMkLst>
            <pc:docMk/>
            <pc:sldMk cId="3056474185" sldId="10363"/>
            <ac:spMk id="134" creationId="{D5795A40-7B7E-4315-876A-A38D6610B661}"/>
          </ac:spMkLst>
        </pc:spChg>
        <pc:spChg chg="mod">
          <ac:chgData name="Jean QUENTIN" userId="6962deb3-b639-4acd-8091-a0516ea2376b" providerId="ADAL" clId="{146BD8F6-FDDD-49D3-A1A6-146C954086FF}" dt="2021-05-24T13:36:20.328" v="5190" actId="790"/>
          <ac:spMkLst>
            <pc:docMk/>
            <pc:sldMk cId="3056474185" sldId="10363"/>
            <ac:spMk id="160" creationId="{A8A94204-7780-44D2-9F69-E6D88D81CCC9}"/>
          </ac:spMkLst>
        </pc:spChg>
        <pc:spChg chg="mod">
          <ac:chgData name="Jean QUENTIN" userId="6962deb3-b639-4acd-8091-a0516ea2376b" providerId="ADAL" clId="{146BD8F6-FDDD-49D3-A1A6-146C954086FF}" dt="2021-05-24T13:36:20.328" v="5191" actId="790"/>
          <ac:spMkLst>
            <pc:docMk/>
            <pc:sldMk cId="3056474185" sldId="10363"/>
            <ac:spMk id="162" creationId="{7C77AD03-3049-47E7-8DA8-DA2A5283D6AD}"/>
          </ac:spMkLst>
        </pc:spChg>
        <pc:spChg chg="mod">
          <ac:chgData name="Jean QUENTIN" userId="6962deb3-b639-4acd-8091-a0516ea2376b" providerId="ADAL" clId="{146BD8F6-FDDD-49D3-A1A6-146C954086FF}" dt="2021-05-24T13:36:20.344" v="5198" actId="790"/>
          <ac:spMkLst>
            <pc:docMk/>
            <pc:sldMk cId="3056474185" sldId="10363"/>
            <ac:spMk id="188" creationId="{CBFDB5A1-F4BF-4077-B85B-DCBB511D131F}"/>
          </ac:spMkLst>
        </pc:spChg>
      </pc:sldChg>
      <pc:sldChg chg="modSp mod">
        <pc:chgData name="Jean QUENTIN" userId="6962deb3-b639-4acd-8091-a0516ea2376b" providerId="ADAL" clId="{146BD8F6-FDDD-49D3-A1A6-146C954086FF}" dt="2021-05-24T13:36:20.460" v="5278" actId="790"/>
        <pc:sldMkLst>
          <pc:docMk/>
          <pc:sldMk cId="511254166" sldId="10364"/>
        </pc:sldMkLst>
        <pc:spChg chg="mod">
          <ac:chgData name="Jean QUENTIN" userId="6962deb3-b639-4acd-8091-a0516ea2376b" providerId="ADAL" clId="{146BD8F6-FDDD-49D3-A1A6-146C954086FF}" dt="2021-05-24T13:36:20.397" v="5237" actId="790"/>
          <ac:spMkLst>
            <pc:docMk/>
            <pc:sldMk cId="511254166" sldId="10364"/>
            <ac:spMk id="2" creationId="{806A24BD-A309-4114-BCBE-1F8520216A75}"/>
          </ac:spMkLst>
        </pc:spChg>
        <pc:spChg chg="mod">
          <ac:chgData name="Jean QUENTIN" userId="6962deb3-b639-4acd-8091-a0516ea2376b" providerId="ADAL" clId="{146BD8F6-FDDD-49D3-A1A6-146C954086FF}" dt="2021-05-24T13:36:20.397" v="5238" actId="790"/>
          <ac:spMkLst>
            <pc:docMk/>
            <pc:sldMk cId="511254166" sldId="10364"/>
            <ac:spMk id="6" creationId="{4E6E5141-7FBC-4E06-91AB-778C41045C7B}"/>
          </ac:spMkLst>
        </pc:spChg>
        <pc:spChg chg="mod">
          <ac:chgData name="Jean QUENTIN" userId="6962deb3-b639-4acd-8091-a0516ea2376b" providerId="ADAL" clId="{146BD8F6-FDDD-49D3-A1A6-146C954086FF}" dt="2021-05-24T13:36:20.397" v="5239" actId="790"/>
          <ac:spMkLst>
            <pc:docMk/>
            <pc:sldMk cId="511254166" sldId="10364"/>
            <ac:spMk id="7" creationId="{8D09AD6F-BFA9-4E94-83DF-0661F98B9019}"/>
          </ac:spMkLst>
        </pc:spChg>
        <pc:spChg chg="mod">
          <ac:chgData name="Jean QUENTIN" userId="6962deb3-b639-4acd-8091-a0516ea2376b" providerId="ADAL" clId="{146BD8F6-FDDD-49D3-A1A6-146C954086FF}" dt="2021-05-24T13:36:20.397" v="5240" actId="790"/>
          <ac:spMkLst>
            <pc:docMk/>
            <pc:sldMk cId="511254166" sldId="10364"/>
            <ac:spMk id="8" creationId="{77A429D6-B3A3-42B0-BAD3-1B353FC28B08}"/>
          </ac:spMkLst>
        </pc:spChg>
        <pc:spChg chg="mod">
          <ac:chgData name="Jean QUENTIN" userId="6962deb3-b639-4acd-8091-a0516ea2376b" providerId="ADAL" clId="{146BD8F6-FDDD-49D3-A1A6-146C954086FF}" dt="2021-05-24T13:36:20.397" v="5241" actId="790"/>
          <ac:spMkLst>
            <pc:docMk/>
            <pc:sldMk cId="511254166" sldId="10364"/>
            <ac:spMk id="9" creationId="{C1790DA0-3655-475E-9CEE-4FBE153BB3F2}"/>
          </ac:spMkLst>
        </pc:spChg>
        <pc:spChg chg="mod">
          <ac:chgData name="Jean QUENTIN" userId="6962deb3-b639-4acd-8091-a0516ea2376b" providerId="ADAL" clId="{146BD8F6-FDDD-49D3-A1A6-146C954086FF}" dt="2021-05-24T13:36:20.413" v="5255" actId="790"/>
          <ac:spMkLst>
            <pc:docMk/>
            <pc:sldMk cId="511254166" sldId="10364"/>
            <ac:spMk id="12" creationId="{D8C440F0-5663-4EAC-8964-248F32036591}"/>
          </ac:spMkLst>
        </pc:spChg>
        <pc:spChg chg="mod">
          <ac:chgData name="Jean QUENTIN" userId="6962deb3-b639-4acd-8091-a0516ea2376b" providerId="ADAL" clId="{146BD8F6-FDDD-49D3-A1A6-146C954086FF}" dt="2021-05-24T13:36:20.397" v="5242" actId="790"/>
          <ac:spMkLst>
            <pc:docMk/>
            <pc:sldMk cId="511254166" sldId="10364"/>
            <ac:spMk id="15" creationId="{BD17CEC9-4298-48C2-A07A-B6966AE88E71}"/>
          </ac:spMkLst>
        </pc:spChg>
        <pc:spChg chg="mod">
          <ac:chgData name="Jean QUENTIN" userId="6962deb3-b639-4acd-8091-a0516ea2376b" providerId="ADAL" clId="{146BD8F6-FDDD-49D3-A1A6-146C954086FF}" dt="2021-05-24T13:36:20.397" v="5243" actId="790"/>
          <ac:spMkLst>
            <pc:docMk/>
            <pc:sldMk cId="511254166" sldId="10364"/>
            <ac:spMk id="22" creationId="{F54D9E31-C7E1-4619-8AB2-AF3F57E25D8C}"/>
          </ac:spMkLst>
        </pc:spChg>
        <pc:spChg chg="mod">
          <ac:chgData name="Jean QUENTIN" userId="6962deb3-b639-4acd-8091-a0516ea2376b" providerId="ADAL" clId="{146BD8F6-FDDD-49D3-A1A6-146C954086FF}" dt="2021-05-24T13:36:20.397" v="5244" actId="790"/>
          <ac:spMkLst>
            <pc:docMk/>
            <pc:sldMk cId="511254166" sldId="10364"/>
            <ac:spMk id="23" creationId="{E942F219-9D1D-4A73-B97D-EC48BD66AF15}"/>
          </ac:spMkLst>
        </pc:spChg>
        <pc:spChg chg="mod">
          <ac:chgData name="Jean QUENTIN" userId="6962deb3-b639-4acd-8091-a0516ea2376b" providerId="ADAL" clId="{146BD8F6-FDDD-49D3-A1A6-146C954086FF}" dt="2021-05-24T13:36:20.413" v="5245" actId="790"/>
          <ac:spMkLst>
            <pc:docMk/>
            <pc:sldMk cId="511254166" sldId="10364"/>
            <ac:spMk id="24" creationId="{C2FF144E-7C70-4F58-8690-D05F03C7B743}"/>
          </ac:spMkLst>
        </pc:spChg>
        <pc:spChg chg="mod">
          <ac:chgData name="Jean QUENTIN" userId="6962deb3-b639-4acd-8091-a0516ea2376b" providerId="ADAL" clId="{146BD8F6-FDDD-49D3-A1A6-146C954086FF}" dt="2021-05-24T13:36:20.413" v="5246" actId="790"/>
          <ac:spMkLst>
            <pc:docMk/>
            <pc:sldMk cId="511254166" sldId="10364"/>
            <ac:spMk id="43" creationId="{C59EF210-5B50-40A7-A6B4-DDAD799020BA}"/>
          </ac:spMkLst>
        </pc:spChg>
        <pc:spChg chg="mod">
          <ac:chgData name="Jean QUENTIN" userId="6962deb3-b639-4acd-8091-a0516ea2376b" providerId="ADAL" clId="{146BD8F6-FDDD-49D3-A1A6-146C954086FF}" dt="2021-05-24T13:36:20.413" v="5247" actId="790"/>
          <ac:spMkLst>
            <pc:docMk/>
            <pc:sldMk cId="511254166" sldId="10364"/>
            <ac:spMk id="45" creationId="{A30046C9-7286-442E-B5D2-9182D2F71B12}"/>
          </ac:spMkLst>
        </pc:spChg>
        <pc:spChg chg="mod">
          <ac:chgData name="Jean QUENTIN" userId="6962deb3-b639-4acd-8091-a0516ea2376b" providerId="ADAL" clId="{146BD8F6-FDDD-49D3-A1A6-146C954086FF}" dt="2021-05-24T13:36:20.413" v="5248" actId="790"/>
          <ac:spMkLst>
            <pc:docMk/>
            <pc:sldMk cId="511254166" sldId="10364"/>
            <ac:spMk id="56" creationId="{F37F2C7C-4651-46F1-B548-F75D15102AEA}"/>
          </ac:spMkLst>
        </pc:spChg>
        <pc:spChg chg="mod">
          <ac:chgData name="Jean QUENTIN" userId="6962deb3-b639-4acd-8091-a0516ea2376b" providerId="ADAL" clId="{146BD8F6-FDDD-49D3-A1A6-146C954086FF}" dt="2021-05-24T13:36:20.444" v="5271" actId="790"/>
          <ac:spMkLst>
            <pc:docMk/>
            <pc:sldMk cId="511254166" sldId="10364"/>
            <ac:spMk id="59" creationId="{E9DD7081-9497-4CB5-9A8D-3B1D818747D9}"/>
          </ac:spMkLst>
        </pc:spChg>
        <pc:spChg chg="mod">
          <ac:chgData name="Jean QUENTIN" userId="6962deb3-b639-4acd-8091-a0516ea2376b" providerId="ADAL" clId="{146BD8F6-FDDD-49D3-A1A6-146C954086FF}" dt="2021-05-24T13:36:20.444" v="5272" actId="790"/>
          <ac:spMkLst>
            <pc:docMk/>
            <pc:sldMk cId="511254166" sldId="10364"/>
            <ac:spMk id="60" creationId="{6486CA03-FF59-4183-9DA0-8D77062A94DB}"/>
          </ac:spMkLst>
        </pc:spChg>
        <pc:spChg chg="mod">
          <ac:chgData name="Jean QUENTIN" userId="6962deb3-b639-4acd-8091-a0516ea2376b" providerId="ADAL" clId="{146BD8F6-FDDD-49D3-A1A6-146C954086FF}" dt="2021-05-24T13:36:20.413" v="5249" actId="790"/>
          <ac:spMkLst>
            <pc:docMk/>
            <pc:sldMk cId="511254166" sldId="10364"/>
            <ac:spMk id="61" creationId="{86718822-02E2-4F9A-B0D6-5A2C08F0884A}"/>
          </ac:spMkLst>
        </pc:spChg>
        <pc:spChg chg="mod">
          <ac:chgData name="Jean QUENTIN" userId="6962deb3-b639-4acd-8091-a0516ea2376b" providerId="ADAL" clId="{146BD8F6-FDDD-49D3-A1A6-146C954086FF}" dt="2021-05-24T13:36:20.444" v="5273" actId="790"/>
          <ac:spMkLst>
            <pc:docMk/>
            <pc:sldMk cId="511254166" sldId="10364"/>
            <ac:spMk id="64" creationId="{1089F2A6-D239-4C3A-AD45-C08911A80D82}"/>
          </ac:spMkLst>
        </pc:spChg>
        <pc:spChg chg="mod">
          <ac:chgData name="Jean QUENTIN" userId="6962deb3-b639-4acd-8091-a0516ea2376b" providerId="ADAL" clId="{146BD8F6-FDDD-49D3-A1A6-146C954086FF}" dt="2021-05-24T13:36:20.444" v="5274" actId="790"/>
          <ac:spMkLst>
            <pc:docMk/>
            <pc:sldMk cId="511254166" sldId="10364"/>
            <ac:spMk id="65" creationId="{2675BB59-C17E-400B-9555-ADF6AE8ABB41}"/>
          </ac:spMkLst>
        </pc:spChg>
        <pc:spChg chg="mod">
          <ac:chgData name="Jean QUENTIN" userId="6962deb3-b639-4acd-8091-a0516ea2376b" providerId="ADAL" clId="{146BD8F6-FDDD-49D3-A1A6-146C954086FF}" dt="2021-05-24T13:36:20.444" v="5275" actId="790"/>
          <ac:spMkLst>
            <pc:docMk/>
            <pc:sldMk cId="511254166" sldId="10364"/>
            <ac:spMk id="66" creationId="{68124A35-6E5D-40F6-A0BB-91A8B4125C7B}"/>
          </ac:spMkLst>
        </pc:spChg>
        <pc:spChg chg="mod">
          <ac:chgData name="Jean QUENTIN" userId="6962deb3-b639-4acd-8091-a0516ea2376b" providerId="ADAL" clId="{146BD8F6-FDDD-49D3-A1A6-146C954086FF}" dt="2021-05-24T13:36:20.444" v="5276" actId="790"/>
          <ac:spMkLst>
            <pc:docMk/>
            <pc:sldMk cId="511254166" sldId="10364"/>
            <ac:spMk id="67" creationId="{14DBD2BF-71F7-477C-BD84-A4BEF3A1255F}"/>
          </ac:spMkLst>
        </pc:spChg>
        <pc:spChg chg="mod">
          <ac:chgData name="Jean QUENTIN" userId="6962deb3-b639-4acd-8091-a0516ea2376b" providerId="ADAL" clId="{146BD8F6-FDDD-49D3-A1A6-146C954086FF}" dt="2021-05-24T13:36:20.460" v="5277" actId="790"/>
          <ac:spMkLst>
            <pc:docMk/>
            <pc:sldMk cId="511254166" sldId="10364"/>
            <ac:spMk id="68" creationId="{D3B7C6B4-06E8-42C2-83C4-8C0C0FCA814E}"/>
          </ac:spMkLst>
        </pc:spChg>
        <pc:spChg chg="mod">
          <ac:chgData name="Jean QUENTIN" userId="6962deb3-b639-4acd-8091-a0516ea2376b" providerId="ADAL" clId="{146BD8F6-FDDD-49D3-A1A6-146C954086FF}" dt="2021-05-24T13:36:20.460" v="5278" actId="790"/>
          <ac:spMkLst>
            <pc:docMk/>
            <pc:sldMk cId="511254166" sldId="10364"/>
            <ac:spMk id="69" creationId="{32EDACA9-787C-4252-8EE4-4D23F3D66534}"/>
          </ac:spMkLst>
        </pc:spChg>
        <pc:spChg chg="mod">
          <ac:chgData name="Jean QUENTIN" userId="6962deb3-b639-4acd-8091-a0516ea2376b" providerId="ADAL" clId="{146BD8F6-FDDD-49D3-A1A6-146C954086FF}" dt="2021-05-24T13:36:20.429" v="5256" actId="790"/>
          <ac:spMkLst>
            <pc:docMk/>
            <pc:sldMk cId="511254166" sldId="10364"/>
            <ac:spMk id="87" creationId="{B12B01F7-2C02-43C2-81BF-CA4C399D06F4}"/>
          </ac:spMkLst>
        </pc:spChg>
        <pc:spChg chg="mod">
          <ac:chgData name="Jean QUENTIN" userId="6962deb3-b639-4acd-8091-a0516ea2376b" providerId="ADAL" clId="{146BD8F6-FDDD-49D3-A1A6-146C954086FF}" dt="2021-05-24T13:36:20.429" v="5257" actId="790"/>
          <ac:spMkLst>
            <pc:docMk/>
            <pc:sldMk cId="511254166" sldId="10364"/>
            <ac:spMk id="88" creationId="{23735882-1AA1-4E74-8AC7-A468BFE35F3C}"/>
          </ac:spMkLst>
        </pc:spChg>
        <pc:spChg chg="mod">
          <ac:chgData name="Jean QUENTIN" userId="6962deb3-b639-4acd-8091-a0516ea2376b" providerId="ADAL" clId="{146BD8F6-FDDD-49D3-A1A6-146C954086FF}" dt="2021-05-24T13:36:20.429" v="5258" actId="790"/>
          <ac:spMkLst>
            <pc:docMk/>
            <pc:sldMk cId="511254166" sldId="10364"/>
            <ac:spMk id="92" creationId="{175224E4-B9F3-466D-BBE2-3AD95EAFDEF3}"/>
          </ac:spMkLst>
        </pc:spChg>
        <pc:spChg chg="mod">
          <ac:chgData name="Jean QUENTIN" userId="6962deb3-b639-4acd-8091-a0516ea2376b" providerId="ADAL" clId="{146BD8F6-FDDD-49D3-A1A6-146C954086FF}" dt="2021-05-24T13:36:20.429" v="5259" actId="790"/>
          <ac:spMkLst>
            <pc:docMk/>
            <pc:sldMk cId="511254166" sldId="10364"/>
            <ac:spMk id="93" creationId="{071E6E2D-787C-478A-B85D-6B8795BCABBF}"/>
          </ac:spMkLst>
        </pc:spChg>
        <pc:spChg chg="mod">
          <ac:chgData name="Jean QUENTIN" userId="6962deb3-b639-4acd-8091-a0516ea2376b" providerId="ADAL" clId="{146BD8F6-FDDD-49D3-A1A6-146C954086FF}" dt="2021-05-24T13:36:20.429" v="5260" actId="790"/>
          <ac:spMkLst>
            <pc:docMk/>
            <pc:sldMk cId="511254166" sldId="10364"/>
            <ac:spMk id="94" creationId="{51D1811C-B66B-419E-9ABA-EA4C922F5446}"/>
          </ac:spMkLst>
        </pc:spChg>
        <pc:spChg chg="mod">
          <ac:chgData name="Jean QUENTIN" userId="6962deb3-b639-4acd-8091-a0516ea2376b" providerId="ADAL" clId="{146BD8F6-FDDD-49D3-A1A6-146C954086FF}" dt="2021-05-24T13:36:20.429" v="5261" actId="790"/>
          <ac:spMkLst>
            <pc:docMk/>
            <pc:sldMk cId="511254166" sldId="10364"/>
            <ac:spMk id="95" creationId="{F3B897A9-107D-4E9F-A970-BDA202F8026B}"/>
          </ac:spMkLst>
        </pc:spChg>
        <pc:spChg chg="mod">
          <ac:chgData name="Jean QUENTIN" userId="6962deb3-b639-4acd-8091-a0516ea2376b" providerId="ADAL" clId="{146BD8F6-FDDD-49D3-A1A6-146C954086FF}" dt="2021-05-24T13:36:20.429" v="5262" actId="790"/>
          <ac:spMkLst>
            <pc:docMk/>
            <pc:sldMk cId="511254166" sldId="10364"/>
            <ac:spMk id="96" creationId="{8D78B14F-64C7-43F3-8AF6-03F038FEC429}"/>
          </ac:spMkLst>
        </pc:spChg>
        <pc:spChg chg="mod">
          <ac:chgData name="Jean QUENTIN" userId="6962deb3-b639-4acd-8091-a0516ea2376b" providerId="ADAL" clId="{146BD8F6-FDDD-49D3-A1A6-146C954086FF}" dt="2021-05-24T13:36:20.429" v="5263" actId="790"/>
          <ac:spMkLst>
            <pc:docMk/>
            <pc:sldMk cId="511254166" sldId="10364"/>
            <ac:spMk id="103" creationId="{F2635A05-557C-4DF8-9DAB-C0A75150008D}"/>
          </ac:spMkLst>
        </pc:spChg>
        <pc:spChg chg="mod">
          <ac:chgData name="Jean QUENTIN" userId="6962deb3-b639-4acd-8091-a0516ea2376b" providerId="ADAL" clId="{146BD8F6-FDDD-49D3-A1A6-146C954086FF}" dt="2021-05-24T13:36:20.429" v="5264" actId="790"/>
          <ac:spMkLst>
            <pc:docMk/>
            <pc:sldMk cId="511254166" sldId="10364"/>
            <ac:spMk id="104" creationId="{1AA4E0C4-1C43-4B17-A6A7-3CBF5A7A550C}"/>
          </ac:spMkLst>
        </pc:spChg>
        <pc:spChg chg="mod">
          <ac:chgData name="Jean QUENTIN" userId="6962deb3-b639-4acd-8091-a0516ea2376b" providerId="ADAL" clId="{146BD8F6-FDDD-49D3-A1A6-146C954086FF}" dt="2021-05-24T13:36:20.413" v="5250" actId="790"/>
          <ac:spMkLst>
            <pc:docMk/>
            <pc:sldMk cId="511254166" sldId="10364"/>
            <ac:spMk id="110" creationId="{D112EAE9-1C24-4AF0-B3DD-273BF2FF5A59}"/>
          </ac:spMkLst>
        </pc:spChg>
        <pc:spChg chg="mod">
          <ac:chgData name="Jean QUENTIN" userId="6962deb3-b639-4acd-8091-a0516ea2376b" providerId="ADAL" clId="{146BD8F6-FDDD-49D3-A1A6-146C954086FF}" dt="2021-05-24T13:36:20.413" v="5251" actId="790"/>
          <ac:spMkLst>
            <pc:docMk/>
            <pc:sldMk cId="511254166" sldId="10364"/>
            <ac:spMk id="111" creationId="{9B916422-AB4B-4397-9CE1-E4BDD0AED7FE}"/>
          </ac:spMkLst>
        </pc:spChg>
        <pc:spChg chg="mod">
          <ac:chgData name="Jean QUENTIN" userId="6962deb3-b639-4acd-8091-a0516ea2376b" providerId="ADAL" clId="{146BD8F6-FDDD-49D3-A1A6-146C954086FF}" dt="2021-05-24T13:36:20.444" v="5265" actId="790"/>
          <ac:spMkLst>
            <pc:docMk/>
            <pc:sldMk cId="511254166" sldId="10364"/>
            <ac:spMk id="115" creationId="{DC7E2D8A-29A3-44C4-8371-FF818D017905}"/>
          </ac:spMkLst>
        </pc:spChg>
        <pc:spChg chg="mod">
          <ac:chgData name="Jean QUENTIN" userId="6962deb3-b639-4acd-8091-a0516ea2376b" providerId="ADAL" clId="{146BD8F6-FDDD-49D3-A1A6-146C954086FF}" dt="2021-05-24T13:36:20.444" v="5266" actId="790"/>
          <ac:spMkLst>
            <pc:docMk/>
            <pc:sldMk cId="511254166" sldId="10364"/>
            <ac:spMk id="116" creationId="{0FD3FE0D-C57C-45A0-B908-600B41E06491}"/>
          </ac:spMkLst>
        </pc:spChg>
        <pc:spChg chg="mod">
          <ac:chgData name="Jean QUENTIN" userId="6962deb3-b639-4acd-8091-a0516ea2376b" providerId="ADAL" clId="{146BD8F6-FDDD-49D3-A1A6-146C954086FF}" dt="2021-05-24T13:36:20.444" v="5267" actId="790"/>
          <ac:spMkLst>
            <pc:docMk/>
            <pc:sldMk cId="511254166" sldId="10364"/>
            <ac:spMk id="121" creationId="{E99EBA96-FB36-49CA-ACEA-74F5EC949F8F}"/>
          </ac:spMkLst>
        </pc:spChg>
        <pc:spChg chg="mod">
          <ac:chgData name="Jean QUENTIN" userId="6962deb3-b639-4acd-8091-a0516ea2376b" providerId="ADAL" clId="{146BD8F6-FDDD-49D3-A1A6-146C954086FF}" dt="2021-05-24T13:36:20.444" v="5268" actId="790"/>
          <ac:spMkLst>
            <pc:docMk/>
            <pc:sldMk cId="511254166" sldId="10364"/>
            <ac:spMk id="122" creationId="{42742870-E854-4251-A47C-41413DEDB0F1}"/>
          </ac:spMkLst>
        </pc:spChg>
        <pc:spChg chg="mod">
          <ac:chgData name="Jean QUENTIN" userId="6962deb3-b639-4acd-8091-a0516ea2376b" providerId="ADAL" clId="{146BD8F6-FDDD-49D3-A1A6-146C954086FF}" dt="2021-05-24T13:36:20.444" v="5269" actId="790"/>
          <ac:spMkLst>
            <pc:docMk/>
            <pc:sldMk cId="511254166" sldId="10364"/>
            <ac:spMk id="123" creationId="{D96542B9-EDC6-4ED8-A3C6-D367FDA0E05C}"/>
          </ac:spMkLst>
        </pc:spChg>
        <pc:spChg chg="mod">
          <ac:chgData name="Jean QUENTIN" userId="6962deb3-b639-4acd-8091-a0516ea2376b" providerId="ADAL" clId="{146BD8F6-FDDD-49D3-A1A6-146C954086FF}" dt="2021-05-24T13:36:20.413" v="5252" actId="790"/>
          <ac:spMkLst>
            <pc:docMk/>
            <pc:sldMk cId="511254166" sldId="10364"/>
            <ac:spMk id="132" creationId="{1A3DE5F6-DC50-4B3E-8712-4F7931E9D3D4}"/>
          </ac:spMkLst>
        </pc:spChg>
        <pc:spChg chg="mod">
          <ac:chgData name="Jean QUENTIN" userId="6962deb3-b639-4acd-8091-a0516ea2376b" providerId="ADAL" clId="{146BD8F6-FDDD-49D3-A1A6-146C954086FF}" dt="2021-05-24T13:36:20.413" v="5253" actId="790"/>
          <ac:spMkLst>
            <pc:docMk/>
            <pc:sldMk cId="511254166" sldId="10364"/>
            <ac:spMk id="133" creationId="{DC661DF3-2B60-4258-8A3C-6DA55E7974BD}"/>
          </ac:spMkLst>
        </pc:spChg>
        <pc:spChg chg="mod">
          <ac:chgData name="Jean QUENTIN" userId="6962deb3-b639-4acd-8091-a0516ea2376b" providerId="ADAL" clId="{146BD8F6-FDDD-49D3-A1A6-146C954086FF}" dt="2021-05-24T13:36:20.413" v="5254" actId="790"/>
          <ac:spMkLst>
            <pc:docMk/>
            <pc:sldMk cId="511254166" sldId="10364"/>
            <ac:spMk id="134" creationId="{D5795A40-7B7E-4315-876A-A38D6610B661}"/>
          </ac:spMkLst>
        </pc:spChg>
        <pc:spChg chg="mod">
          <ac:chgData name="Jean QUENTIN" userId="6962deb3-b639-4acd-8091-a0516ea2376b" providerId="ADAL" clId="{146BD8F6-FDDD-49D3-A1A6-146C954086FF}" dt="2021-05-24T13:36:20.444" v="5270" actId="790"/>
          <ac:spMkLst>
            <pc:docMk/>
            <pc:sldMk cId="511254166" sldId="10364"/>
            <ac:spMk id="151" creationId="{945919F5-1F6F-4979-90CA-397384E59334}"/>
          </ac:spMkLst>
        </pc:spChg>
      </pc:sldChg>
      <pc:sldChg chg="modSp mod">
        <pc:chgData name="Jean QUENTIN" userId="6962deb3-b639-4acd-8091-a0516ea2376b" providerId="ADAL" clId="{146BD8F6-FDDD-49D3-A1A6-146C954086FF}" dt="2021-05-24T13:36:20.313" v="5175" actId="790"/>
        <pc:sldMkLst>
          <pc:docMk/>
          <pc:sldMk cId="3481177109" sldId="10365"/>
        </pc:sldMkLst>
        <pc:spChg chg="mod">
          <ac:chgData name="Jean QUENTIN" userId="6962deb3-b639-4acd-8091-a0516ea2376b" providerId="ADAL" clId="{146BD8F6-FDDD-49D3-A1A6-146C954086FF}" dt="2021-05-24T13:36:20.212" v="5113" actId="790"/>
          <ac:spMkLst>
            <pc:docMk/>
            <pc:sldMk cId="3481177109" sldId="10365"/>
            <ac:spMk id="2" creationId="{806A24BD-A309-4114-BCBE-1F8520216A75}"/>
          </ac:spMkLst>
        </pc:spChg>
        <pc:spChg chg="mod">
          <ac:chgData name="Jean QUENTIN" userId="6962deb3-b639-4acd-8091-a0516ea2376b" providerId="ADAL" clId="{146BD8F6-FDDD-49D3-A1A6-146C954086FF}" dt="2021-05-24T13:36:20.266" v="5147" actId="790"/>
          <ac:spMkLst>
            <pc:docMk/>
            <pc:sldMk cId="3481177109" sldId="10365"/>
            <ac:spMk id="5" creationId="{13E5CBFB-209B-4F56-956E-E99A02FE36C6}"/>
          </ac:spMkLst>
        </pc:spChg>
        <pc:spChg chg="mod">
          <ac:chgData name="Jean QUENTIN" userId="6962deb3-b639-4acd-8091-a0516ea2376b" providerId="ADAL" clId="{146BD8F6-FDDD-49D3-A1A6-146C954086FF}" dt="2021-05-24T13:36:20.212" v="5114" actId="790"/>
          <ac:spMkLst>
            <pc:docMk/>
            <pc:sldMk cId="3481177109" sldId="10365"/>
            <ac:spMk id="6" creationId="{4E6E5141-7FBC-4E06-91AB-778C41045C7B}"/>
          </ac:spMkLst>
        </pc:spChg>
        <pc:spChg chg="mod">
          <ac:chgData name="Jean QUENTIN" userId="6962deb3-b639-4acd-8091-a0516ea2376b" providerId="ADAL" clId="{146BD8F6-FDDD-49D3-A1A6-146C954086FF}" dt="2021-05-24T13:36:20.228" v="5115" actId="790"/>
          <ac:spMkLst>
            <pc:docMk/>
            <pc:sldMk cId="3481177109" sldId="10365"/>
            <ac:spMk id="7" creationId="{8D09AD6F-BFA9-4E94-83DF-0661F98B9019}"/>
          </ac:spMkLst>
        </pc:spChg>
        <pc:spChg chg="mod">
          <ac:chgData name="Jean QUENTIN" userId="6962deb3-b639-4acd-8091-a0516ea2376b" providerId="ADAL" clId="{146BD8F6-FDDD-49D3-A1A6-146C954086FF}" dt="2021-05-24T13:36:20.228" v="5116" actId="790"/>
          <ac:spMkLst>
            <pc:docMk/>
            <pc:sldMk cId="3481177109" sldId="10365"/>
            <ac:spMk id="8" creationId="{77A429D6-B3A3-42B0-BAD3-1B353FC28B08}"/>
          </ac:spMkLst>
        </pc:spChg>
        <pc:spChg chg="mod">
          <ac:chgData name="Jean QUENTIN" userId="6962deb3-b639-4acd-8091-a0516ea2376b" providerId="ADAL" clId="{146BD8F6-FDDD-49D3-A1A6-146C954086FF}" dt="2021-05-24T13:36:20.228" v="5117" actId="790"/>
          <ac:spMkLst>
            <pc:docMk/>
            <pc:sldMk cId="3481177109" sldId="10365"/>
            <ac:spMk id="9" creationId="{C1790DA0-3655-475E-9CEE-4FBE153BB3F2}"/>
          </ac:spMkLst>
        </pc:spChg>
        <pc:spChg chg="mod">
          <ac:chgData name="Jean QUENTIN" userId="6962deb3-b639-4acd-8091-a0516ea2376b" providerId="ADAL" clId="{146BD8F6-FDDD-49D3-A1A6-146C954086FF}" dt="2021-05-24T13:36:20.266" v="5141" actId="790"/>
          <ac:spMkLst>
            <pc:docMk/>
            <pc:sldMk cId="3481177109" sldId="10365"/>
            <ac:spMk id="12" creationId="{D8C440F0-5663-4EAC-8964-248F32036591}"/>
          </ac:spMkLst>
        </pc:spChg>
        <pc:spChg chg="mod">
          <ac:chgData name="Jean QUENTIN" userId="6962deb3-b639-4acd-8091-a0516ea2376b" providerId="ADAL" clId="{146BD8F6-FDDD-49D3-A1A6-146C954086FF}" dt="2021-05-24T13:36:20.266" v="5149" actId="790"/>
          <ac:spMkLst>
            <pc:docMk/>
            <pc:sldMk cId="3481177109" sldId="10365"/>
            <ac:spMk id="13" creationId="{58C15C1C-7B0D-4DD0-BF55-D67B02416600}"/>
          </ac:spMkLst>
        </pc:spChg>
        <pc:spChg chg="mod">
          <ac:chgData name="Jean QUENTIN" userId="6962deb3-b639-4acd-8091-a0516ea2376b" providerId="ADAL" clId="{146BD8F6-FDDD-49D3-A1A6-146C954086FF}" dt="2021-05-24T13:36:20.228" v="5118" actId="790"/>
          <ac:spMkLst>
            <pc:docMk/>
            <pc:sldMk cId="3481177109" sldId="10365"/>
            <ac:spMk id="14" creationId="{B8D529E0-B56F-42E9-9413-B04B09D1BC35}"/>
          </ac:spMkLst>
        </pc:spChg>
        <pc:spChg chg="mod">
          <ac:chgData name="Jean QUENTIN" userId="6962deb3-b639-4acd-8091-a0516ea2376b" providerId="ADAL" clId="{146BD8F6-FDDD-49D3-A1A6-146C954086FF}" dt="2021-05-24T13:36:20.228" v="5119" actId="790"/>
          <ac:spMkLst>
            <pc:docMk/>
            <pc:sldMk cId="3481177109" sldId="10365"/>
            <ac:spMk id="15" creationId="{BD17CEC9-4298-48C2-A07A-B6966AE88E71}"/>
          </ac:spMkLst>
        </pc:spChg>
        <pc:spChg chg="mod">
          <ac:chgData name="Jean QUENTIN" userId="6962deb3-b639-4acd-8091-a0516ea2376b" providerId="ADAL" clId="{146BD8F6-FDDD-49D3-A1A6-146C954086FF}" dt="2021-05-24T13:36:20.228" v="5120" actId="790"/>
          <ac:spMkLst>
            <pc:docMk/>
            <pc:sldMk cId="3481177109" sldId="10365"/>
            <ac:spMk id="16" creationId="{B886F05E-DC2A-4B28-89B2-BAEBC0591254}"/>
          </ac:spMkLst>
        </pc:spChg>
        <pc:spChg chg="mod">
          <ac:chgData name="Jean QUENTIN" userId="6962deb3-b639-4acd-8091-a0516ea2376b" providerId="ADAL" clId="{146BD8F6-FDDD-49D3-A1A6-146C954086FF}" dt="2021-05-24T13:36:20.228" v="5121" actId="790"/>
          <ac:spMkLst>
            <pc:docMk/>
            <pc:sldMk cId="3481177109" sldId="10365"/>
            <ac:spMk id="17" creationId="{FD9BD1A8-B133-4ED7-9402-59FE79DE23EC}"/>
          </ac:spMkLst>
        </pc:spChg>
        <pc:spChg chg="mod">
          <ac:chgData name="Jean QUENTIN" userId="6962deb3-b639-4acd-8091-a0516ea2376b" providerId="ADAL" clId="{146BD8F6-FDDD-49D3-A1A6-146C954086FF}" dt="2021-05-24T13:36:20.228" v="5122" actId="790"/>
          <ac:spMkLst>
            <pc:docMk/>
            <pc:sldMk cId="3481177109" sldId="10365"/>
            <ac:spMk id="18" creationId="{4373ED4E-D1FF-488D-BEFE-69AC7F528CA4}"/>
          </ac:spMkLst>
        </pc:spChg>
        <pc:spChg chg="mod">
          <ac:chgData name="Jean QUENTIN" userId="6962deb3-b639-4acd-8091-a0516ea2376b" providerId="ADAL" clId="{146BD8F6-FDDD-49D3-A1A6-146C954086FF}" dt="2021-05-24T13:36:20.228" v="5123" actId="790"/>
          <ac:spMkLst>
            <pc:docMk/>
            <pc:sldMk cId="3481177109" sldId="10365"/>
            <ac:spMk id="19" creationId="{BC760060-ABD5-412D-8045-EF97EC543341}"/>
          </ac:spMkLst>
        </pc:spChg>
        <pc:spChg chg="mod">
          <ac:chgData name="Jean QUENTIN" userId="6962deb3-b639-4acd-8091-a0516ea2376b" providerId="ADAL" clId="{146BD8F6-FDDD-49D3-A1A6-146C954086FF}" dt="2021-05-24T13:36:20.228" v="5124" actId="790"/>
          <ac:spMkLst>
            <pc:docMk/>
            <pc:sldMk cId="3481177109" sldId="10365"/>
            <ac:spMk id="20" creationId="{388BECFA-DD33-47B0-8DCF-EFF4D8D243DB}"/>
          </ac:spMkLst>
        </pc:spChg>
        <pc:spChg chg="mod">
          <ac:chgData name="Jean QUENTIN" userId="6962deb3-b639-4acd-8091-a0516ea2376b" providerId="ADAL" clId="{146BD8F6-FDDD-49D3-A1A6-146C954086FF}" dt="2021-05-24T13:36:20.228" v="5125" actId="790"/>
          <ac:spMkLst>
            <pc:docMk/>
            <pc:sldMk cId="3481177109" sldId="10365"/>
            <ac:spMk id="21" creationId="{F90680D2-5DA9-4AD6-8E64-FE8EA1410BC0}"/>
          </ac:spMkLst>
        </pc:spChg>
        <pc:spChg chg="mod">
          <ac:chgData name="Jean QUENTIN" userId="6962deb3-b639-4acd-8091-a0516ea2376b" providerId="ADAL" clId="{146BD8F6-FDDD-49D3-A1A6-146C954086FF}" dt="2021-05-24T13:36:20.228" v="5126" actId="790"/>
          <ac:spMkLst>
            <pc:docMk/>
            <pc:sldMk cId="3481177109" sldId="10365"/>
            <ac:spMk id="22" creationId="{F54D9E31-C7E1-4619-8AB2-AF3F57E25D8C}"/>
          </ac:spMkLst>
        </pc:spChg>
        <pc:spChg chg="mod">
          <ac:chgData name="Jean QUENTIN" userId="6962deb3-b639-4acd-8091-a0516ea2376b" providerId="ADAL" clId="{146BD8F6-FDDD-49D3-A1A6-146C954086FF}" dt="2021-05-24T13:36:20.244" v="5127" actId="790"/>
          <ac:spMkLst>
            <pc:docMk/>
            <pc:sldMk cId="3481177109" sldId="10365"/>
            <ac:spMk id="23" creationId="{E942F219-9D1D-4A73-B97D-EC48BD66AF15}"/>
          </ac:spMkLst>
        </pc:spChg>
        <pc:spChg chg="mod">
          <ac:chgData name="Jean QUENTIN" userId="6962deb3-b639-4acd-8091-a0516ea2376b" providerId="ADAL" clId="{146BD8F6-FDDD-49D3-A1A6-146C954086FF}" dt="2021-05-24T13:36:20.244" v="5128" actId="790"/>
          <ac:spMkLst>
            <pc:docMk/>
            <pc:sldMk cId="3481177109" sldId="10365"/>
            <ac:spMk id="24" creationId="{C2FF144E-7C70-4F58-8690-D05F03C7B743}"/>
          </ac:spMkLst>
        </pc:spChg>
        <pc:spChg chg="mod">
          <ac:chgData name="Jean QUENTIN" userId="6962deb3-b639-4acd-8091-a0516ea2376b" providerId="ADAL" clId="{146BD8F6-FDDD-49D3-A1A6-146C954086FF}" dt="2021-05-24T13:36:20.266" v="5143" actId="790"/>
          <ac:spMkLst>
            <pc:docMk/>
            <pc:sldMk cId="3481177109" sldId="10365"/>
            <ac:spMk id="25" creationId="{C1B3C97E-2579-4FEA-8968-54D9B75B13A4}"/>
          </ac:spMkLst>
        </pc:spChg>
        <pc:spChg chg="mod">
          <ac:chgData name="Jean QUENTIN" userId="6962deb3-b639-4acd-8091-a0516ea2376b" providerId="ADAL" clId="{146BD8F6-FDDD-49D3-A1A6-146C954086FF}" dt="2021-05-24T13:36:20.244" v="5129" actId="790"/>
          <ac:spMkLst>
            <pc:docMk/>
            <pc:sldMk cId="3481177109" sldId="10365"/>
            <ac:spMk id="43" creationId="{C59EF210-5B50-40A7-A6B4-DDAD799020BA}"/>
          </ac:spMkLst>
        </pc:spChg>
        <pc:spChg chg="mod">
          <ac:chgData name="Jean QUENTIN" userId="6962deb3-b639-4acd-8091-a0516ea2376b" providerId="ADAL" clId="{146BD8F6-FDDD-49D3-A1A6-146C954086FF}" dt="2021-05-24T13:36:20.244" v="5130" actId="790"/>
          <ac:spMkLst>
            <pc:docMk/>
            <pc:sldMk cId="3481177109" sldId="10365"/>
            <ac:spMk id="45" creationId="{A30046C9-7286-442E-B5D2-9182D2F71B12}"/>
          </ac:spMkLst>
        </pc:spChg>
        <pc:spChg chg="mod">
          <ac:chgData name="Jean QUENTIN" userId="6962deb3-b639-4acd-8091-a0516ea2376b" providerId="ADAL" clId="{146BD8F6-FDDD-49D3-A1A6-146C954086FF}" dt="2021-05-24T13:36:20.244" v="5131" actId="790"/>
          <ac:spMkLst>
            <pc:docMk/>
            <pc:sldMk cId="3481177109" sldId="10365"/>
            <ac:spMk id="56" creationId="{F37F2C7C-4651-46F1-B548-F75D15102AEA}"/>
          </ac:spMkLst>
        </pc:spChg>
        <pc:spChg chg="mod">
          <ac:chgData name="Jean QUENTIN" userId="6962deb3-b639-4acd-8091-a0516ea2376b" providerId="ADAL" clId="{146BD8F6-FDDD-49D3-A1A6-146C954086FF}" dt="2021-05-24T13:36:20.244" v="5132" actId="790"/>
          <ac:spMkLst>
            <pc:docMk/>
            <pc:sldMk cId="3481177109" sldId="10365"/>
            <ac:spMk id="61" creationId="{86718822-02E2-4F9A-B0D6-5A2C08F0884A}"/>
          </ac:spMkLst>
        </pc:spChg>
        <pc:spChg chg="mod">
          <ac:chgData name="Jean QUENTIN" userId="6962deb3-b639-4acd-8091-a0516ea2376b" providerId="ADAL" clId="{146BD8F6-FDDD-49D3-A1A6-146C954086FF}" dt="2021-05-24T13:36:20.244" v="5133" actId="790"/>
          <ac:spMkLst>
            <pc:docMk/>
            <pc:sldMk cId="3481177109" sldId="10365"/>
            <ac:spMk id="74" creationId="{DD8929B4-3FC0-4A80-B005-DECF49E5F03E}"/>
          </ac:spMkLst>
        </pc:spChg>
        <pc:spChg chg="mod">
          <ac:chgData name="Jean QUENTIN" userId="6962deb3-b639-4acd-8091-a0516ea2376b" providerId="ADAL" clId="{146BD8F6-FDDD-49D3-A1A6-146C954086FF}" dt="2021-05-24T13:36:20.297" v="5168" actId="790"/>
          <ac:spMkLst>
            <pc:docMk/>
            <pc:sldMk cId="3481177109" sldId="10365"/>
            <ac:spMk id="84" creationId="{F3F4C91C-743E-4444-AECA-0D6841521732}"/>
          </ac:spMkLst>
        </pc:spChg>
        <pc:spChg chg="mod">
          <ac:chgData name="Jean QUENTIN" userId="6962deb3-b639-4acd-8091-a0516ea2376b" providerId="ADAL" clId="{146BD8F6-FDDD-49D3-A1A6-146C954086FF}" dt="2021-05-24T13:36:20.244" v="5134" actId="790"/>
          <ac:spMkLst>
            <pc:docMk/>
            <pc:sldMk cId="3481177109" sldId="10365"/>
            <ac:spMk id="85" creationId="{2D2CFECC-1DAE-45A7-BC98-5B3781537431}"/>
          </ac:spMkLst>
        </pc:spChg>
        <pc:spChg chg="mod">
          <ac:chgData name="Jean QUENTIN" userId="6962deb3-b639-4acd-8091-a0516ea2376b" providerId="ADAL" clId="{146BD8F6-FDDD-49D3-A1A6-146C954086FF}" dt="2021-05-24T13:36:20.297" v="5169" actId="790"/>
          <ac:spMkLst>
            <pc:docMk/>
            <pc:sldMk cId="3481177109" sldId="10365"/>
            <ac:spMk id="86" creationId="{652974F9-0AD6-4BFB-AFF5-C0C3FC6F5C77}"/>
          </ac:spMkLst>
        </pc:spChg>
        <pc:spChg chg="mod">
          <ac:chgData name="Jean QUENTIN" userId="6962deb3-b639-4acd-8091-a0516ea2376b" providerId="ADAL" clId="{146BD8F6-FDDD-49D3-A1A6-146C954086FF}" dt="2021-05-24T13:36:20.281" v="5152" actId="790"/>
          <ac:spMkLst>
            <pc:docMk/>
            <pc:sldMk cId="3481177109" sldId="10365"/>
            <ac:spMk id="89" creationId="{B47A3DB8-9139-48EF-A1D5-332DFA662FE1}"/>
          </ac:spMkLst>
        </pc:spChg>
        <pc:spChg chg="mod">
          <ac:chgData name="Jean QUENTIN" userId="6962deb3-b639-4acd-8091-a0516ea2376b" providerId="ADAL" clId="{146BD8F6-FDDD-49D3-A1A6-146C954086FF}" dt="2021-05-24T13:36:20.281" v="5153" actId="790"/>
          <ac:spMkLst>
            <pc:docMk/>
            <pc:sldMk cId="3481177109" sldId="10365"/>
            <ac:spMk id="90" creationId="{C66CF5E1-B6D0-4D96-BE64-98F9EAE4B375}"/>
          </ac:spMkLst>
        </pc:spChg>
        <pc:spChg chg="mod">
          <ac:chgData name="Jean QUENTIN" userId="6962deb3-b639-4acd-8091-a0516ea2376b" providerId="ADAL" clId="{146BD8F6-FDDD-49D3-A1A6-146C954086FF}" dt="2021-05-24T13:36:20.244" v="5135" actId="790"/>
          <ac:spMkLst>
            <pc:docMk/>
            <pc:sldMk cId="3481177109" sldId="10365"/>
            <ac:spMk id="91" creationId="{7D5F7D48-55E2-4B20-BCE4-576336C3156A}"/>
          </ac:spMkLst>
        </pc:spChg>
        <pc:spChg chg="mod">
          <ac:chgData name="Jean QUENTIN" userId="6962deb3-b639-4acd-8091-a0516ea2376b" providerId="ADAL" clId="{146BD8F6-FDDD-49D3-A1A6-146C954086FF}" dt="2021-05-24T13:36:20.281" v="5154" actId="790"/>
          <ac:spMkLst>
            <pc:docMk/>
            <pc:sldMk cId="3481177109" sldId="10365"/>
            <ac:spMk id="92" creationId="{67FF61C9-18C3-4997-B836-C9A4DE5C0B1A}"/>
          </ac:spMkLst>
        </pc:spChg>
        <pc:spChg chg="mod">
          <ac:chgData name="Jean QUENTIN" userId="6962deb3-b639-4acd-8091-a0516ea2376b" providerId="ADAL" clId="{146BD8F6-FDDD-49D3-A1A6-146C954086FF}" dt="2021-05-24T13:36:20.297" v="5170" actId="790"/>
          <ac:spMkLst>
            <pc:docMk/>
            <pc:sldMk cId="3481177109" sldId="10365"/>
            <ac:spMk id="98" creationId="{9CBF02D0-6E6C-443D-BD28-BADFE60CE816}"/>
          </ac:spMkLst>
        </pc:spChg>
        <pc:spChg chg="mod">
          <ac:chgData name="Jean QUENTIN" userId="6962deb3-b639-4acd-8091-a0516ea2376b" providerId="ADAL" clId="{146BD8F6-FDDD-49D3-A1A6-146C954086FF}" dt="2021-05-24T13:36:20.297" v="5164" actId="790"/>
          <ac:spMkLst>
            <pc:docMk/>
            <pc:sldMk cId="3481177109" sldId="10365"/>
            <ac:spMk id="99" creationId="{0728E46C-D470-4FB7-8B67-755380F9091D}"/>
          </ac:spMkLst>
        </pc:spChg>
        <pc:spChg chg="mod">
          <ac:chgData name="Jean QUENTIN" userId="6962deb3-b639-4acd-8091-a0516ea2376b" providerId="ADAL" clId="{146BD8F6-FDDD-49D3-A1A6-146C954086FF}" dt="2021-05-24T13:36:20.297" v="5165" actId="790"/>
          <ac:spMkLst>
            <pc:docMk/>
            <pc:sldMk cId="3481177109" sldId="10365"/>
            <ac:spMk id="100" creationId="{0A7B2634-5762-429B-9619-91CD098127C7}"/>
          </ac:spMkLst>
        </pc:spChg>
        <pc:spChg chg="mod">
          <ac:chgData name="Jean QUENTIN" userId="6962deb3-b639-4acd-8091-a0516ea2376b" providerId="ADAL" clId="{146BD8F6-FDDD-49D3-A1A6-146C954086FF}" dt="2021-05-24T13:36:20.281" v="5155" actId="790"/>
          <ac:spMkLst>
            <pc:docMk/>
            <pc:sldMk cId="3481177109" sldId="10365"/>
            <ac:spMk id="101" creationId="{47E5C573-2437-48D3-83C0-A62206F6167E}"/>
          </ac:spMkLst>
        </pc:spChg>
        <pc:spChg chg="mod">
          <ac:chgData name="Jean QUENTIN" userId="6962deb3-b639-4acd-8091-a0516ea2376b" providerId="ADAL" clId="{146BD8F6-FDDD-49D3-A1A6-146C954086FF}" dt="2021-05-24T13:36:20.281" v="5156" actId="790"/>
          <ac:spMkLst>
            <pc:docMk/>
            <pc:sldMk cId="3481177109" sldId="10365"/>
            <ac:spMk id="102" creationId="{0EF112A9-506F-46B1-918C-7F37B35F42FF}"/>
          </ac:spMkLst>
        </pc:spChg>
        <pc:spChg chg="mod">
          <ac:chgData name="Jean QUENTIN" userId="6962deb3-b639-4acd-8091-a0516ea2376b" providerId="ADAL" clId="{146BD8F6-FDDD-49D3-A1A6-146C954086FF}" dt="2021-05-24T13:36:20.259" v="5136" actId="790"/>
          <ac:spMkLst>
            <pc:docMk/>
            <pc:sldMk cId="3481177109" sldId="10365"/>
            <ac:spMk id="110" creationId="{D112EAE9-1C24-4AF0-B3DD-273BF2FF5A59}"/>
          </ac:spMkLst>
        </pc:spChg>
        <pc:spChg chg="mod">
          <ac:chgData name="Jean QUENTIN" userId="6962deb3-b639-4acd-8091-a0516ea2376b" providerId="ADAL" clId="{146BD8F6-FDDD-49D3-A1A6-146C954086FF}" dt="2021-05-24T13:36:20.259" v="5137" actId="790"/>
          <ac:spMkLst>
            <pc:docMk/>
            <pc:sldMk cId="3481177109" sldId="10365"/>
            <ac:spMk id="111" creationId="{9B916422-AB4B-4397-9CE1-E4BDD0AED7FE}"/>
          </ac:spMkLst>
        </pc:spChg>
        <pc:spChg chg="mod">
          <ac:chgData name="Jean QUENTIN" userId="6962deb3-b639-4acd-8091-a0516ea2376b" providerId="ADAL" clId="{146BD8F6-FDDD-49D3-A1A6-146C954086FF}" dt="2021-05-24T13:36:20.297" v="5166" actId="790"/>
          <ac:spMkLst>
            <pc:docMk/>
            <pc:sldMk cId="3481177109" sldId="10365"/>
            <ac:spMk id="112" creationId="{ABC009E4-55F3-444B-BF59-1D6AF27B8ADA}"/>
          </ac:spMkLst>
        </pc:spChg>
        <pc:spChg chg="mod">
          <ac:chgData name="Jean QUENTIN" userId="6962deb3-b639-4acd-8091-a0516ea2376b" providerId="ADAL" clId="{146BD8F6-FDDD-49D3-A1A6-146C954086FF}" dt="2021-05-24T13:36:20.281" v="5157" actId="790"/>
          <ac:spMkLst>
            <pc:docMk/>
            <pc:sldMk cId="3481177109" sldId="10365"/>
            <ac:spMk id="113" creationId="{8AB2B031-55F1-456D-A367-EF921531395A}"/>
          </ac:spMkLst>
        </pc:spChg>
        <pc:spChg chg="mod">
          <ac:chgData name="Jean QUENTIN" userId="6962deb3-b639-4acd-8091-a0516ea2376b" providerId="ADAL" clId="{146BD8F6-FDDD-49D3-A1A6-146C954086FF}" dt="2021-05-24T13:36:20.281" v="5158" actId="790"/>
          <ac:spMkLst>
            <pc:docMk/>
            <pc:sldMk cId="3481177109" sldId="10365"/>
            <ac:spMk id="114" creationId="{06590379-9741-4022-9133-AEC4DE224495}"/>
          </ac:spMkLst>
        </pc:spChg>
        <pc:spChg chg="mod">
          <ac:chgData name="Jean QUENTIN" userId="6962deb3-b639-4acd-8091-a0516ea2376b" providerId="ADAL" clId="{146BD8F6-FDDD-49D3-A1A6-146C954086FF}" dt="2021-05-24T13:36:20.297" v="5167" actId="790"/>
          <ac:spMkLst>
            <pc:docMk/>
            <pc:sldMk cId="3481177109" sldId="10365"/>
            <ac:spMk id="115" creationId="{28E51741-D57B-49B8-9576-30A70003A743}"/>
          </ac:spMkLst>
        </pc:spChg>
        <pc:spChg chg="mod">
          <ac:chgData name="Jean QUENTIN" userId="6962deb3-b639-4acd-8091-a0516ea2376b" providerId="ADAL" clId="{146BD8F6-FDDD-49D3-A1A6-146C954086FF}" dt="2021-05-24T13:36:20.313" v="5171" actId="790"/>
          <ac:spMkLst>
            <pc:docMk/>
            <pc:sldMk cId="3481177109" sldId="10365"/>
            <ac:spMk id="116" creationId="{8488B800-D5B0-40AD-B3A9-9617E760D44D}"/>
          </ac:spMkLst>
        </pc:spChg>
        <pc:spChg chg="mod">
          <ac:chgData name="Jean QUENTIN" userId="6962deb3-b639-4acd-8091-a0516ea2376b" providerId="ADAL" clId="{146BD8F6-FDDD-49D3-A1A6-146C954086FF}" dt="2021-05-24T13:36:20.313" v="5172" actId="790"/>
          <ac:spMkLst>
            <pc:docMk/>
            <pc:sldMk cId="3481177109" sldId="10365"/>
            <ac:spMk id="117" creationId="{77034DE9-3F95-4BC1-95CC-263F30060D00}"/>
          </ac:spMkLst>
        </pc:spChg>
        <pc:spChg chg="mod">
          <ac:chgData name="Jean QUENTIN" userId="6962deb3-b639-4acd-8091-a0516ea2376b" providerId="ADAL" clId="{146BD8F6-FDDD-49D3-A1A6-146C954086FF}" dt="2021-05-24T13:36:20.297" v="5159" actId="790"/>
          <ac:spMkLst>
            <pc:docMk/>
            <pc:sldMk cId="3481177109" sldId="10365"/>
            <ac:spMk id="118" creationId="{0F1E82D3-6478-4EF5-A235-941CA9AC7A9D}"/>
          </ac:spMkLst>
        </pc:spChg>
        <pc:spChg chg="mod">
          <ac:chgData name="Jean QUENTIN" userId="6962deb3-b639-4acd-8091-a0516ea2376b" providerId="ADAL" clId="{146BD8F6-FDDD-49D3-A1A6-146C954086FF}" dt="2021-05-24T13:36:20.297" v="5160" actId="790"/>
          <ac:spMkLst>
            <pc:docMk/>
            <pc:sldMk cId="3481177109" sldId="10365"/>
            <ac:spMk id="119" creationId="{B0FD5BF3-7754-42E2-BF6F-CA0E68277C45}"/>
          </ac:spMkLst>
        </pc:spChg>
        <pc:spChg chg="mod">
          <ac:chgData name="Jean QUENTIN" userId="6962deb3-b639-4acd-8091-a0516ea2376b" providerId="ADAL" clId="{146BD8F6-FDDD-49D3-A1A6-146C954086FF}" dt="2021-05-24T13:36:20.297" v="5161" actId="790"/>
          <ac:spMkLst>
            <pc:docMk/>
            <pc:sldMk cId="3481177109" sldId="10365"/>
            <ac:spMk id="120" creationId="{69E76E60-0392-4B3A-80C6-9F0B75723180}"/>
          </ac:spMkLst>
        </pc:spChg>
        <pc:spChg chg="mod">
          <ac:chgData name="Jean QUENTIN" userId="6962deb3-b639-4acd-8091-a0516ea2376b" providerId="ADAL" clId="{146BD8F6-FDDD-49D3-A1A6-146C954086FF}" dt="2021-05-24T13:36:20.313" v="5173" actId="790"/>
          <ac:spMkLst>
            <pc:docMk/>
            <pc:sldMk cId="3481177109" sldId="10365"/>
            <ac:spMk id="121" creationId="{265FE9A3-D207-4BB8-971F-530C2E3230F4}"/>
          </ac:spMkLst>
        </pc:spChg>
        <pc:spChg chg="mod">
          <ac:chgData name="Jean QUENTIN" userId="6962deb3-b639-4acd-8091-a0516ea2376b" providerId="ADAL" clId="{146BD8F6-FDDD-49D3-A1A6-146C954086FF}" dt="2021-05-24T13:36:20.313" v="5174" actId="790"/>
          <ac:spMkLst>
            <pc:docMk/>
            <pc:sldMk cId="3481177109" sldId="10365"/>
            <ac:spMk id="122" creationId="{DA342386-E20C-4E21-A3A1-6FC6959D5FE0}"/>
          </ac:spMkLst>
        </pc:spChg>
        <pc:spChg chg="mod">
          <ac:chgData name="Jean QUENTIN" userId="6962deb3-b639-4acd-8091-a0516ea2376b" providerId="ADAL" clId="{146BD8F6-FDDD-49D3-A1A6-146C954086FF}" dt="2021-05-24T13:36:20.313" v="5175" actId="790"/>
          <ac:spMkLst>
            <pc:docMk/>
            <pc:sldMk cId="3481177109" sldId="10365"/>
            <ac:spMk id="123" creationId="{7B7FAAE5-C0B8-4F91-A90C-5DA3A9782F98}"/>
          </ac:spMkLst>
        </pc:spChg>
        <pc:spChg chg="mod">
          <ac:chgData name="Jean QUENTIN" userId="6962deb3-b639-4acd-8091-a0516ea2376b" providerId="ADAL" clId="{146BD8F6-FDDD-49D3-A1A6-146C954086FF}" dt="2021-05-24T13:36:20.259" v="5138" actId="790"/>
          <ac:spMkLst>
            <pc:docMk/>
            <pc:sldMk cId="3481177109" sldId="10365"/>
            <ac:spMk id="132" creationId="{1A3DE5F6-DC50-4B3E-8712-4F7931E9D3D4}"/>
          </ac:spMkLst>
        </pc:spChg>
        <pc:spChg chg="mod">
          <ac:chgData name="Jean QUENTIN" userId="6962deb3-b639-4acd-8091-a0516ea2376b" providerId="ADAL" clId="{146BD8F6-FDDD-49D3-A1A6-146C954086FF}" dt="2021-05-24T13:36:20.259" v="5139" actId="790"/>
          <ac:spMkLst>
            <pc:docMk/>
            <pc:sldMk cId="3481177109" sldId="10365"/>
            <ac:spMk id="133" creationId="{DC661DF3-2B60-4258-8A3C-6DA55E7974BD}"/>
          </ac:spMkLst>
        </pc:spChg>
        <pc:spChg chg="mod">
          <ac:chgData name="Jean QUENTIN" userId="6962deb3-b639-4acd-8091-a0516ea2376b" providerId="ADAL" clId="{146BD8F6-FDDD-49D3-A1A6-146C954086FF}" dt="2021-05-24T13:36:20.259" v="5140" actId="790"/>
          <ac:spMkLst>
            <pc:docMk/>
            <pc:sldMk cId="3481177109" sldId="10365"/>
            <ac:spMk id="134" creationId="{D5795A40-7B7E-4315-876A-A38D6610B661}"/>
          </ac:spMkLst>
        </pc:spChg>
        <pc:spChg chg="mod">
          <ac:chgData name="Jean QUENTIN" userId="6962deb3-b639-4acd-8091-a0516ea2376b" providerId="ADAL" clId="{146BD8F6-FDDD-49D3-A1A6-146C954086FF}" dt="2021-05-24T13:36:20.266" v="5146" actId="790"/>
          <ac:spMkLst>
            <pc:docMk/>
            <pc:sldMk cId="3481177109" sldId="10365"/>
            <ac:spMk id="135" creationId="{B7212166-4E04-47ED-9DA9-C1A5FADABEC1}"/>
          </ac:spMkLst>
        </pc:spChg>
        <pc:spChg chg="mod">
          <ac:chgData name="Jean QUENTIN" userId="6962deb3-b639-4acd-8091-a0516ea2376b" providerId="ADAL" clId="{146BD8F6-FDDD-49D3-A1A6-146C954086FF}" dt="2021-05-24T13:36:20.266" v="5142" actId="790"/>
          <ac:spMkLst>
            <pc:docMk/>
            <pc:sldMk cId="3481177109" sldId="10365"/>
            <ac:spMk id="137" creationId="{AF67C425-8708-4B3E-9B2A-E5C85D989489}"/>
          </ac:spMkLst>
        </pc:spChg>
        <pc:spChg chg="mod">
          <ac:chgData name="Jean QUENTIN" userId="6962deb3-b639-4acd-8091-a0516ea2376b" providerId="ADAL" clId="{146BD8F6-FDDD-49D3-A1A6-146C954086FF}" dt="2021-05-24T13:36:20.266" v="5148" actId="790"/>
          <ac:spMkLst>
            <pc:docMk/>
            <pc:sldMk cId="3481177109" sldId="10365"/>
            <ac:spMk id="144" creationId="{A12B0534-66DF-4768-8E62-0C019FA2B7A6}"/>
          </ac:spMkLst>
        </pc:spChg>
        <pc:spChg chg="mod">
          <ac:chgData name="Jean QUENTIN" userId="6962deb3-b639-4acd-8091-a0516ea2376b" providerId="ADAL" clId="{146BD8F6-FDDD-49D3-A1A6-146C954086FF}" dt="2021-05-24T13:36:20.266" v="5150" actId="790"/>
          <ac:spMkLst>
            <pc:docMk/>
            <pc:sldMk cId="3481177109" sldId="10365"/>
            <ac:spMk id="147" creationId="{73C5DEEC-4B4E-4C6B-9A80-A63E183C6F34}"/>
          </ac:spMkLst>
        </pc:spChg>
        <pc:spChg chg="mod">
          <ac:chgData name="Jean QUENTIN" userId="6962deb3-b639-4acd-8091-a0516ea2376b" providerId="ADAL" clId="{146BD8F6-FDDD-49D3-A1A6-146C954086FF}" dt="2021-05-24T13:36:20.297" v="5162" actId="790"/>
          <ac:spMkLst>
            <pc:docMk/>
            <pc:sldMk cId="3481177109" sldId="10365"/>
            <ac:spMk id="151" creationId="{945919F5-1F6F-4979-90CA-397384E59334}"/>
          </ac:spMkLst>
        </pc:spChg>
        <pc:spChg chg="mod">
          <ac:chgData name="Jean QUENTIN" userId="6962deb3-b639-4acd-8091-a0516ea2376b" providerId="ADAL" clId="{146BD8F6-FDDD-49D3-A1A6-146C954086FF}" dt="2021-05-24T13:36:20.297" v="5163" actId="790"/>
          <ac:spMkLst>
            <pc:docMk/>
            <pc:sldMk cId="3481177109" sldId="10365"/>
            <ac:spMk id="152" creationId="{2D48A5B8-C2CC-4F3A-B66A-BB33615C274E}"/>
          </ac:spMkLst>
        </pc:spChg>
        <pc:spChg chg="mod">
          <ac:chgData name="Jean QUENTIN" userId="6962deb3-b639-4acd-8091-a0516ea2376b" providerId="ADAL" clId="{146BD8F6-FDDD-49D3-A1A6-146C954086FF}" dt="2021-05-24T13:36:20.266" v="5144" actId="790"/>
          <ac:spMkLst>
            <pc:docMk/>
            <pc:sldMk cId="3481177109" sldId="10365"/>
            <ac:spMk id="160" creationId="{A8A94204-7780-44D2-9F69-E6D88D81CCC9}"/>
          </ac:spMkLst>
        </pc:spChg>
        <pc:spChg chg="mod">
          <ac:chgData name="Jean QUENTIN" userId="6962deb3-b639-4acd-8091-a0516ea2376b" providerId="ADAL" clId="{146BD8F6-FDDD-49D3-A1A6-146C954086FF}" dt="2021-05-24T13:36:20.266" v="5145" actId="790"/>
          <ac:spMkLst>
            <pc:docMk/>
            <pc:sldMk cId="3481177109" sldId="10365"/>
            <ac:spMk id="162" creationId="{7C77AD03-3049-47E7-8DA8-DA2A5283D6AD}"/>
          </ac:spMkLst>
        </pc:spChg>
        <pc:spChg chg="mod">
          <ac:chgData name="Jean QUENTIN" userId="6962deb3-b639-4acd-8091-a0516ea2376b" providerId="ADAL" clId="{146BD8F6-FDDD-49D3-A1A6-146C954086FF}" dt="2021-05-24T13:36:20.281" v="5151" actId="790"/>
          <ac:spMkLst>
            <pc:docMk/>
            <pc:sldMk cId="3481177109" sldId="10365"/>
            <ac:spMk id="174" creationId="{12430AE9-0E10-42CC-990F-04E0A3759BB1}"/>
          </ac:spMkLst>
        </pc:spChg>
      </pc:sldChg>
      <pc:sldChg chg="modSp mod">
        <pc:chgData name="Jean QUENTIN" userId="6962deb3-b639-4acd-8091-a0516ea2376b" providerId="ADAL" clId="{146BD8F6-FDDD-49D3-A1A6-146C954086FF}" dt="2021-05-25T09:07:32.360" v="12611" actId="20577"/>
        <pc:sldMkLst>
          <pc:docMk/>
          <pc:sldMk cId="330702512" sldId="10369"/>
        </pc:sldMkLst>
        <pc:spChg chg="mod">
          <ac:chgData name="Jean QUENTIN" userId="6962deb3-b639-4acd-8091-a0516ea2376b" providerId="ADAL" clId="{146BD8F6-FDDD-49D3-A1A6-146C954086FF}" dt="2021-05-24T13:36:19.695" v="4758" actId="790"/>
          <ac:spMkLst>
            <pc:docMk/>
            <pc:sldMk cId="330702512" sldId="10369"/>
            <ac:spMk id="6" creationId="{32B89438-97F1-4509-BECF-A6230F6CA9E2}"/>
          </ac:spMkLst>
        </pc:spChg>
        <pc:spChg chg="mod">
          <ac:chgData name="Jean QUENTIN" userId="6962deb3-b639-4acd-8091-a0516ea2376b" providerId="ADAL" clId="{146BD8F6-FDDD-49D3-A1A6-146C954086FF}" dt="2021-05-24T13:36:19.695" v="4759" actId="790"/>
          <ac:spMkLst>
            <pc:docMk/>
            <pc:sldMk cId="330702512" sldId="10369"/>
            <ac:spMk id="7" creationId="{A08FD634-B1E0-4CD7-9E4C-B07F748E8EDF}"/>
          </ac:spMkLst>
        </pc:spChg>
        <pc:spChg chg="mod">
          <ac:chgData name="Jean QUENTIN" userId="6962deb3-b639-4acd-8091-a0516ea2376b" providerId="ADAL" clId="{146BD8F6-FDDD-49D3-A1A6-146C954086FF}" dt="2021-05-24T13:36:19.695" v="4760" actId="790"/>
          <ac:spMkLst>
            <pc:docMk/>
            <pc:sldMk cId="330702512" sldId="10369"/>
            <ac:spMk id="8" creationId="{DB8F7A95-5BC4-428F-9B48-30CF639B22BC}"/>
          </ac:spMkLst>
        </pc:spChg>
        <pc:spChg chg="mod">
          <ac:chgData name="Jean QUENTIN" userId="6962deb3-b639-4acd-8091-a0516ea2376b" providerId="ADAL" clId="{146BD8F6-FDDD-49D3-A1A6-146C954086FF}" dt="2021-05-24T13:36:19.695" v="4761" actId="790"/>
          <ac:spMkLst>
            <pc:docMk/>
            <pc:sldMk cId="330702512" sldId="10369"/>
            <ac:spMk id="9" creationId="{C8EE7641-24CB-4213-99EB-847946D0175C}"/>
          </ac:spMkLst>
        </pc:spChg>
        <pc:spChg chg="mod">
          <ac:chgData name="Jean QUENTIN" userId="6962deb3-b639-4acd-8091-a0516ea2376b" providerId="ADAL" clId="{146BD8F6-FDDD-49D3-A1A6-146C954086FF}" dt="2021-05-25T09:07:32.360" v="12611" actId="20577"/>
          <ac:spMkLst>
            <pc:docMk/>
            <pc:sldMk cId="330702512" sldId="10369"/>
            <ac:spMk id="11" creationId="{2FAA6969-30E2-4F5B-AA44-122B557F5258}"/>
          </ac:spMkLst>
        </pc:spChg>
        <pc:spChg chg="mod">
          <ac:chgData name="Jean QUENTIN" userId="6962deb3-b639-4acd-8091-a0516ea2376b" providerId="ADAL" clId="{146BD8F6-FDDD-49D3-A1A6-146C954086FF}" dt="2021-05-24T13:36:19.695" v="4762" actId="790"/>
          <ac:spMkLst>
            <pc:docMk/>
            <pc:sldMk cId="330702512" sldId="10369"/>
            <ac:spMk id="12" creationId="{CAE59F71-3A11-45D3-91ED-BB7437BAF64F}"/>
          </ac:spMkLst>
        </pc:spChg>
        <pc:spChg chg="mod">
          <ac:chgData name="Jean QUENTIN" userId="6962deb3-b639-4acd-8091-a0516ea2376b" providerId="ADAL" clId="{146BD8F6-FDDD-49D3-A1A6-146C954086FF}" dt="2021-05-24T13:36:19.695" v="4763" actId="790"/>
          <ac:spMkLst>
            <pc:docMk/>
            <pc:sldMk cId="330702512" sldId="10369"/>
            <ac:spMk id="13" creationId="{97B677E7-CA86-4646-8BEC-57A1E9192264}"/>
          </ac:spMkLst>
        </pc:spChg>
        <pc:spChg chg="mod">
          <ac:chgData name="Jean QUENTIN" userId="6962deb3-b639-4acd-8091-a0516ea2376b" providerId="ADAL" clId="{146BD8F6-FDDD-49D3-A1A6-146C954086FF}" dt="2021-05-24T13:36:19.711" v="4764" actId="790"/>
          <ac:spMkLst>
            <pc:docMk/>
            <pc:sldMk cId="330702512" sldId="10369"/>
            <ac:spMk id="14" creationId="{26947D34-5013-4CB6-A3AF-DC921FFA9E88}"/>
          </ac:spMkLst>
        </pc:spChg>
        <pc:spChg chg="mod">
          <ac:chgData name="Jean QUENTIN" userId="6962deb3-b639-4acd-8091-a0516ea2376b" providerId="ADAL" clId="{146BD8F6-FDDD-49D3-A1A6-146C954086FF}" dt="2021-05-24T13:36:19.711" v="4765" actId="790"/>
          <ac:spMkLst>
            <pc:docMk/>
            <pc:sldMk cId="330702512" sldId="10369"/>
            <ac:spMk id="19" creationId="{75701275-CEEB-4CD6-A422-23B5CDE34CE8}"/>
          </ac:spMkLst>
        </pc:spChg>
        <pc:spChg chg="mod">
          <ac:chgData name="Jean QUENTIN" userId="6962deb3-b639-4acd-8091-a0516ea2376b" providerId="ADAL" clId="{146BD8F6-FDDD-49D3-A1A6-146C954086FF}" dt="2021-05-24T13:36:19.711" v="4766" actId="790"/>
          <ac:spMkLst>
            <pc:docMk/>
            <pc:sldMk cId="330702512" sldId="10369"/>
            <ac:spMk id="20" creationId="{92817152-9E7E-48EA-8A2A-34E92B8BB36D}"/>
          </ac:spMkLst>
        </pc:spChg>
        <pc:spChg chg="mod">
          <ac:chgData name="Jean QUENTIN" userId="6962deb3-b639-4acd-8091-a0516ea2376b" providerId="ADAL" clId="{146BD8F6-FDDD-49D3-A1A6-146C954086FF}" dt="2021-05-24T13:36:19.711" v="4767" actId="790"/>
          <ac:spMkLst>
            <pc:docMk/>
            <pc:sldMk cId="330702512" sldId="10369"/>
            <ac:spMk id="22" creationId="{8C718D08-FD9C-424C-BFCF-B4F41BB37EAA}"/>
          </ac:spMkLst>
        </pc:spChg>
        <pc:spChg chg="mod">
          <ac:chgData name="Jean QUENTIN" userId="6962deb3-b639-4acd-8091-a0516ea2376b" providerId="ADAL" clId="{146BD8F6-FDDD-49D3-A1A6-146C954086FF}" dt="2021-05-24T13:36:19.711" v="4768" actId="790"/>
          <ac:spMkLst>
            <pc:docMk/>
            <pc:sldMk cId="330702512" sldId="10369"/>
            <ac:spMk id="23" creationId="{BDFC3A87-06F7-4E23-859D-9C7286A7466E}"/>
          </ac:spMkLst>
        </pc:spChg>
        <pc:spChg chg="mod">
          <ac:chgData name="Jean QUENTIN" userId="6962deb3-b639-4acd-8091-a0516ea2376b" providerId="ADAL" clId="{146BD8F6-FDDD-49D3-A1A6-146C954086FF}" dt="2021-05-24T13:36:19.711" v="4769" actId="790"/>
          <ac:spMkLst>
            <pc:docMk/>
            <pc:sldMk cId="330702512" sldId="10369"/>
            <ac:spMk id="25" creationId="{66B5B82A-38EB-47E4-B4A1-53762F7FFB3D}"/>
          </ac:spMkLst>
        </pc:spChg>
      </pc:sldChg>
      <pc:sldChg chg="modSp mod">
        <pc:chgData name="Jean QUENTIN" userId="6962deb3-b639-4acd-8091-a0516ea2376b" providerId="ADAL" clId="{146BD8F6-FDDD-49D3-A1A6-146C954086FF}" dt="2021-05-24T13:36:19.511" v="4651" actId="790"/>
        <pc:sldMkLst>
          <pc:docMk/>
          <pc:sldMk cId="2955721572" sldId="10370"/>
        </pc:sldMkLst>
        <pc:spChg chg="mod">
          <ac:chgData name="Jean QUENTIN" userId="6962deb3-b639-4acd-8091-a0516ea2376b" providerId="ADAL" clId="{146BD8F6-FDDD-49D3-A1A6-146C954086FF}" dt="2021-05-24T13:36:19.410" v="4602" actId="790"/>
          <ac:spMkLst>
            <pc:docMk/>
            <pc:sldMk cId="2955721572" sldId="10370"/>
            <ac:spMk id="7" creationId="{F59BFDDC-63FF-4CDF-9FA9-5814668C648B}"/>
          </ac:spMkLst>
        </pc:spChg>
        <pc:spChg chg="mod">
          <ac:chgData name="Jean QUENTIN" userId="6962deb3-b639-4acd-8091-a0516ea2376b" providerId="ADAL" clId="{146BD8F6-FDDD-49D3-A1A6-146C954086FF}" dt="2021-05-24T13:36:19.426" v="4608" actId="790"/>
          <ac:spMkLst>
            <pc:docMk/>
            <pc:sldMk cId="2955721572" sldId="10370"/>
            <ac:spMk id="15" creationId="{DD93510C-F212-4B9C-B4AA-7688C56AA57B}"/>
          </ac:spMkLst>
        </pc:spChg>
        <pc:spChg chg="mod">
          <ac:chgData name="Jean QUENTIN" userId="6962deb3-b639-4acd-8091-a0516ea2376b" providerId="ADAL" clId="{146BD8F6-FDDD-49D3-A1A6-146C954086FF}" dt="2021-05-24T13:36:19.426" v="4609" actId="790"/>
          <ac:spMkLst>
            <pc:docMk/>
            <pc:sldMk cId="2955721572" sldId="10370"/>
            <ac:spMk id="16" creationId="{DD2F7369-0B19-45E4-9E7D-D7A9CBB36DBF}"/>
          </ac:spMkLst>
        </pc:spChg>
        <pc:spChg chg="mod">
          <ac:chgData name="Jean QUENTIN" userId="6962deb3-b639-4acd-8091-a0516ea2376b" providerId="ADAL" clId="{146BD8F6-FDDD-49D3-A1A6-146C954086FF}" dt="2021-05-24T13:36:19.426" v="4610" actId="790"/>
          <ac:spMkLst>
            <pc:docMk/>
            <pc:sldMk cId="2955721572" sldId="10370"/>
            <ac:spMk id="17" creationId="{35A2D263-F1E8-4336-805C-3A3C90578B9A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28" creationId="{84CBC10A-6A42-42B9-BE37-B11792C94F6F}"/>
          </ac:spMkLst>
        </pc:spChg>
        <pc:spChg chg="mod">
          <ac:chgData name="Jean QUENTIN" userId="6962deb3-b639-4acd-8091-a0516ea2376b" providerId="ADAL" clId="{146BD8F6-FDDD-49D3-A1A6-146C954086FF}" dt="2021-05-24T13:36:19.410" v="4604" actId="790"/>
          <ac:spMkLst>
            <pc:docMk/>
            <pc:sldMk cId="2955721572" sldId="10370"/>
            <ac:spMk id="30" creationId="{E210ECA7-4EC0-43B6-8991-3EE93D92563A}"/>
          </ac:spMkLst>
        </pc:spChg>
        <pc:spChg chg="mod">
          <ac:chgData name="Jean QUENTIN" userId="6962deb3-b639-4acd-8091-a0516ea2376b" providerId="ADAL" clId="{146BD8F6-FDDD-49D3-A1A6-146C954086FF}" dt="2021-05-24T13:36:19.426" v="4605" actId="790"/>
          <ac:spMkLst>
            <pc:docMk/>
            <pc:sldMk cId="2955721572" sldId="10370"/>
            <ac:spMk id="32" creationId="{3D718E0A-6EB5-4EB6-A469-033DED5862ED}"/>
          </ac:spMkLst>
        </pc:spChg>
        <pc:spChg chg="mod">
          <ac:chgData name="Jean QUENTIN" userId="6962deb3-b639-4acd-8091-a0516ea2376b" providerId="ADAL" clId="{146BD8F6-FDDD-49D3-A1A6-146C954086FF}" dt="2021-05-24T13:36:19.426" v="4606" actId="790"/>
          <ac:spMkLst>
            <pc:docMk/>
            <pc:sldMk cId="2955721572" sldId="10370"/>
            <ac:spMk id="33" creationId="{1425BC84-9BD6-40AE-8AA7-A449BE2DC074}"/>
          </ac:spMkLst>
        </pc:spChg>
        <pc:spChg chg="mod">
          <ac:chgData name="Jean QUENTIN" userId="6962deb3-b639-4acd-8091-a0516ea2376b" providerId="ADAL" clId="{146BD8F6-FDDD-49D3-A1A6-146C954086FF}" dt="2021-05-24T13:36:19.426" v="4607" actId="790"/>
          <ac:spMkLst>
            <pc:docMk/>
            <pc:sldMk cId="2955721572" sldId="10370"/>
            <ac:spMk id="34" creationId="{96BFF402-7EE2-467A-A9EE-FC406996A703}"/>
          </ac:spMkLst>
        </pc:spChg>
        <pc:spChg chg="mod">
          <ac:chgData name="Jean QUENTIN" userId="6962deb3-b639-4acd-8091-a0516ea2376b" providerId="ADAL" clId="{146BD8F6-FDDD-49D3-A1A6-146C954086FF}" dt="2021-05-24T13:36:19.426" v="4611" actId="790"/>
          <ac:spMkLst>
            <pc:docMk/>
            <pc:sldMk cId="2955721572" sldId="10370"/>
            <ac:spMk id="35" creationId="{6C60F887-CB3D-485B-83EC-84CECF5356FB}"/>
          </ac:spMkLst>
        </pc:spChg>
        <pc:spChg chg="mod">
          <ac:chgData name="Jean QUENTIN" userId="6962deb3-b639-4acd-8091-a0516ea2376b" providerId="ADAL" clId="{146BD8F6-FDDD-49D3-A1A6-146C954086FF}" dt="2021-05-24T13:36:19.426" v="4612" actId="790"/>
          <ac:spMkLst>
            <pc:docMk/>
            <pc:sldMk cId="2955721572" sldId="10370"/>
            <ac:spMk id="36" creationId="{5703B377-341D-4D43-B2C4-5232194F7B9E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37" creationId="{C934CA39-7F12-42AF-AA86-C5167076A35A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38" creationId="{452E344B-7C21-4BDE-904B-39C0BFC505AC}"/>
          </ac:spMkLst>
        </pc:spChg>
        <pc:spChg chg="mod">
          <ac:chgData name="Jean QUENTIN" userId="6962deb3-b639-4acd-8091-a0516ea2376b" providerId="ADAL" clId="{146BD8F6-FDDD-49D3-A1A6-146C954086FF}" dt="2021-05-24T13:36:19.410" v="4603" actId="790"/>
          <ac:spMkLst>
            <pc:docMk/>
            <pc:sldMk cId="2955721572" sldId="10370"/>
            <ac:spMk id="39" creationId="{E13A1A57-0854-4DD7-BDFE-7BC27BD1A81F}"/>
          </ac:spMkLst>
        </pc:spChg>
        <pc:spChg chg="mod">
          <ac:chgData name="Jean QUENTIN" userId="6962deb3-b639-4acd-8091-a0516ea2376b" providerId="ADAL" clId="{146BD8F6-FDDD-49D3-A1A6-146C954086FF}" dt="2021-05-24T13:36:19.410" v="4600" actId="790"/>
          <ac:spMkLst>
            <pc:docMk/>
            <pc:sldMk cId="2955721572" sldId="10370"/>
            <ac:spMk id="40" creationId="{60EEC324-686F-4C2B-9A86-1FD757E7F20F}"/>
          </ac:spMkLst>
        </pc:spChg>
        <pc:spChg chg="mod">
          <ac:chgData name="Jean QUENTIN" userId="6962deb3-b639-4acd-8091-a0516ea2376b" providerId="ADAL" clId="{146BD8F6-FDDD-49D3-A1A6-146C954086FF}" dt="2021-05-24T13:36:19.410" v="4601" actId="790"/>
          <ac:spMkLst>
            <pc:docMk/>
            <pc:sldMk cId="2955721572" sldId="10370"/>
            <ac:spMk id="41" creationId="{6D8FCCD4-2F77-45E9-9A16-B87F84493FF2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42" creationId="{0FA68AF0-331B-4CD8-A352-565D51E60856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43" creationId="{96882462-047C-4CD2-BFCB-36DE6A762AF6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44" creationId="{91355EFE-22B5-4DAE-9922-54FB005F3686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45" creationId="{79AC5043-8C9B-4113-9B57-01A6A5976FF1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49" creationId="{E272D768-5954-4811-9B77-A2DBB3093923}"/>
          </ac:spMkLst>
        </pc:spChg>
        <pc:spChg chg="mod">
          <ac:chgData name="Jean QUENTIN" userId="6962deb3-b639-4acd-8091-a0516ea2376b" providerId="ADAL" clId="{146BD8F6-FDDD-49D3-A1A6-146C954086FF}" dt="2021-05-24T13:36:19.442" v="4613" actId="790"/>
          <ac:spMkLst>
            <pc:docMk/>
            <pc:sldMk cId="2955721572" sldId="10370"/>
            <ac:spMk id="51" creationId="{770595CE-56EA-4DD0-846F-DD1BB6804D57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56" creationId="{180E75F3-C4A9-41DC-B8EC-952CEF5578FD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57" creationId="{03DE8CCF-DFF0-4497-A74C-F816C32BD0DB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58" creationId="{CDF2ECFC-114C-4918-904D-5EFCC9DD0409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59" creationId="{D311E32F-0612-4E3A-B049-8A5B47C240A0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0" creationId="{AA735AB0-C46B-45ED-8702-674DA6E0A486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1" creationId="{EB80BBBE-CEB3-4C06-9495-B9B083D95703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2" creationId="{674AC7F7-AED5-4AE4-AD56-332578FA6BF0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3" creationId="{4FDB094A-F767-4239-B572-6574444D58D0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4" creationId="{B27D9DA9-03D8-4359-8BFF-8C579D9C3EBD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5" creationId="{3B9D148A-CCFC-4BD3-9B28-B601631094AA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6" creationId="{C634E4DB-D945-42C2-8204-BB899DBA83FC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67" creationId="{2A920EC4-88E7-45BE-A39C-1450712C012A}"/>
          </ac:spMkLst>
        </pc:spChg>
        <pc:spChg chg="mod">
          <ac:chgData name="Jean QUENTIN" userId="6962deb3-b639-4acd-8091-a0516ea2376b" providerId="ADAL" clId="{146BD8F6-FDDD-49D3-A1A6-146C954086FF}" dt="2021-05-24T13:36:19.464" v="4614" actId="790"/>
          <ac:spMkLst>
            <pc:docMk/>
            <pc:sldMk cId="2955721572" sldId="10370"/>
            <ac:spMk id="68" creationId="{CB225B7D-E3BA-4249-84F2-8A9A346D1009}"/>
          </ac:spMkLst>
        </pc:spChg>
        <pc:spChg chg="mod">
          <ac:chgData name="Jean QUENTIN" userId="6962deb3-b639-4acd-8091-a0516ea2376b" providerId="ADAL" clId="{146BD8F6-FDDD-49D3-A1A6-146C954086FF}" dt="2021-05-24T13:36:19.464" v="4615" actId="790"/>
          <ac:spMkLst>
            <pc:docMk/>
            <pc:sldMk cId="2955721572" sldId="10370"/>
            <ac:spMk id="69" creationId="{4CD8C0CC-AD38-47AC-900B-0B49D1D26529}"/>
          </ac:spMkLst>
        </pc:spChg>
        <pc:spChg chg="mod">
          <ac:chgData name="Jean QUENTIN" userId="6962deb3-b639-4acd-8091-a0516ea2376b" providerId="ADAL" clId="{146BD8F6-FDDD-49D3-A1A6-146C954086FF}" dt="2021-05-24T13:36:19.464" v="4616" actId="790"/>
          <ac:spMkLst>
            <pc:docMk/>
            <pc:sldMk cId="2955721572" sldId="10370"/>
            <ac:spMk id="70" creationId="{EE95C7F8-515C-463E-8B44-7A99A290449C}"/>
          </ac:spMkLst>
        </pc:spChg>
        <pc:spChg chg="mod">
          <ac:chgData name="Jean QUENTIN" userId="6962deb3-b639-4acd-8091-a0516ea2376b" providerId="ADAL" clId="{146BD8F6-FDDD-49D3-A1A6-146C954086FF}" dt="2021-05-24T13:36:19.464" v="4617" actId="790"/>
          <ac:spMkLst>
            <pc:docMk/>
            <pc:sldMk cId="2955721572" sldId="10370"/>
            <ac:spMk id="71" creationId="{4DCA7A5D-8D39-4876-8242-00D476A95DFD}"/>
          </ac:spMkLst>
        </pc:spChg>
        <pc:spChg chg="mod">
          <ac:chgData name="Jean QUENTIN" userId="6962deb3-b639-4acd-8091-a0516ea2376b" providerId="ADAL" clId="{146BD8F6-FDDD-49D3-A1A6-146C954086FF}" dt="2021-05-24T13:36:19.464" v="4618" actId="790"/>
          <ac:spMkLst>
            <pc:docMk/>
            <pc:sldMk cId="2955721572" sldId="10370"/>
            <ac:spMk id="72" creationId="{73813AF5-2244-4CD9-9242-D0A844407EEA}"/>
          </ac:spMkLst>
        </pc:spChg>
        <pc:spChg chg="mod">
          <ac:chgData name="Jean QUENTIN" userId="6962deb3-b639-4acd-8091-a0516ea2376b" providerId="ADAL" clId="{146BD8F6-FDDD-49D3-A1A6-146C954086FF}" dt="2021-05-24T13:36:19.464" v="4619" actId="790"/>
          <ac:spMkLst>
            <pc:docMk/>
            <pc:sldMk cId="2955721572" sldId="10370"/>
            <ac:spMk id="73" creationId="{6F8B7784-0C35-461C-98F9-25894FE9E4D7}"/>
          </ac:spMkLst>
        </pc:spChg>
        <pc:spChg chg="mod">
          <ac:chgData name="Jean QUENTIN" userId="6962deb3-b639-4acd-8091-a0516ea2376b" providerId="ADAL" clId="{146BD8F6-FDDD-49D3-A1A6-146C954086FF}" dt="2021-05-24T13:36:19.464" v="4620" actId="790"/>
          <ac:spMkLst>
            <pc:docMk/>
            <pc:sldMk cId="2955721572" sldId="10370"/>
            <ac:spMk id="75" creationId="{052AA076-442D-4A70-9110-9952620C7892}"/>
          </ac:spMkLst>
        </pc:spChg>
        <pc:spChg chg="mod">
          <ac:chgData name="Jean QUENTIN" userId="6962deb3-b639-4acd-8091-a0516ea2376b" providerId="ADAL" clId="{146BD8F6-FDDD-49D3-A1A6-146C954086FF}" dt="2021-05-24T13:36:19.464" v="4621" actId="790"/>
          <ac:spMkLst>
            <pc:docMk/>
            <pc:sldMk cId="2955721572" sldId="10370"/>
            <ac:spMk id="76" creationId="{0CCE2D43-2F7B-4A75-BB81-6B42A1503859}"/>
          </ac:spMkLst>
        </pc:spChg>
        <pc:spChg chg="mod">
          <ac:chgData name="Jean QUENTIN" userId="6962deb3-b639-4acd-8091-a0516ea2376b" providerId="ADAL" clId="{146BD8F6-FDDD-49D3-A1A6-146C954086FF}" dt="2021-05-24T13:36:19.464" v="4622" actId="790"/>
          <ac:spMkLst>
            <pc:docMk/>
            <pc:sldMk cId="2955721572" sldId="10370"/>
            <ac:spMk id="77" creationId="{AA2343ED-B79C-4D54-B7A9-305C67F4F72B}"/>
          </ac:spMkLst>
        </pc:spChg>
        <pc:spChg chg="mod">
          <ac:chgData name="Jean QUENTIN" userId="6962deb3-b639-4acd-8091-a0516ea2376b" providerId="ADAL" clId="{146BD8F6-FDDD-49D3-A1A6-146C954086FF}" dt="2021-05-24T13:36:19.464" v="4623" actId="790"/>
          <ac:spMkLst>
            <pc:docMk/>
            <pc:sldMk cId="2955721572" sldId="10370"/>
            <ac:spMk id="78" creationId="{09EB7E70-E288-4D1F-874B-64A138590EE5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80" creationId="{65AD6E41-DB93-47CA-B4F8-6C57A96980D7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81" creationId="{3F6E2C25-413C-4E9C-B938-657C2E12B26B}"/>
          </ac:spMkLst>
        </pc:spChg>
        <pc:spChg chg="mod">
          <ac:chgData name="Jean QUENTIN" userId="6962deb3-b639-4acd-8091-a0516ea2376b" providerId="ADAL" clId="{146BD8F6-FDDD-49D3-A1A6-146C954086FF}" dt="2021-05-24T12:49:46.161" v="1960" actId="1076"/>
          <ac:spMkLst>
            <pc:docMk/>
            <pc:sldMk cId="2955721572" sldId="10370"/>
            <ac:spMk id="82" creationId="{F4A69BA4-588D-4A0F-84CE-8EA2485FF667}"/>
          </ac:spMkLst>
        </pc:spChg>
        <pc:spChg chg="mod">
          <ac:chgData name="Jean QUENTIN" userId="6962deb3-b639-4acd-8091-a0516ea2376b" providerId="ADAL" clId="{146BD8F6-FDDD-49D3-A1A6-146C954086FF}" dt="2021-05-24T13:36:19.479" v="4624" actId="790"/>
          <ac:spMkLst>
            <pc:docMk/>
            <pc:sldMk cId="2955721572" sldId="10370"/>
            <ac:spMk id="87" creationId="{D71FFEC0-7794-4D28-981E-1403FA8895E5}"/>
          </ac:spMkLst>
        </pc:spChg>
        <pc:spChg chg="mod">
          <ac:chgData name="Jean QUENTIN" userId="6962deb3-b639-4acd-8091-a0516ea2376b" providerId="ADAL" clId="{146BD8F6-FDDD-49D3-A1A6-146C954086FF}" dt="2021-05-24T13:36:19.479" v="4625" actId="790"/>
          <ac:spMkLst>
            <pc:docMk/>
            <pc:sldMk cId="2955721572" sldId="10370"/>
            <ac:spMk id="88" creationId="{DA06BE83-AD0A-48CF-B904-30432E68B274}"/>
          </ac:spMkLst>
        </pc:spChg>
        <pc:spChg chg="mod">
          <ac:chgData name="Jean QUENTIN" userId="6962deb3-b639-4acd-8091-a0516ea2376b" providerId="ADAL" clId="{146BD8F6-FDDD-49D3-A1A6-146C954086FF}" dt="2021-05-24T13:36:19.479" v="4626" actId="790"/>
          <ac:spMkLst>
            <pc:docMk/>
            <pc:sldMk cId="2955721572" sldId="10370"/>
            <ac:spMk id="89" creationId="{005E1D50-BFC5-4CA1-B008-782BA0A20D2E}"/>
          </ac:spMkLst>
        </pc:spChg>
        <pc:spChg chg="mod">
          <ac:chgData name="Jean QUENTIN" userId="6962deb3-b639-4acd-8091-a0516ea2376b" providerId="ADAL" clId="{146BD8F6-FDDD-49D3-A1A6-146C954086FF}" dt="2021-05-24T13:36:19.479" v="4627" actId="790"/>
          <ac:spMkLst>
            <pc:docMk/>
            <pc:sldMk cId="2955721572" sldId="10370"/>
            <ac:spMk id="90" creationId="{92D1D856-8175-4620-AD40-7791DEAEA0FE}"/>
          </ac:spMkLst>
        </pc:spChg>
        <pc:spChg chg="mod">
          <ac:chgData name="Jean QUENTIN" userId="6962deb3-b639-4acd-8091-a0516ea2376b" providerId="ADAL" clId="{146BD8F6-FDDD-49D3-A1A6-146C954086FF}" dt="2021-05-24T13:36:19.479" v="4628" actId="790"/>
          <ac:spMkLst>
            <pc:docMk/>
            <pc:sldMk cId="2955721572" sldId="10370"/>
            <ac:spMk id="91" creationId="{EC8A4F76-FD93-4C6B-934A-FB7C1AC379E2}"/>
          </ac:spMkLst>
        </pc:spChg>
        <pc:spChg chg="mod">
          <ac:chgData name="Jean QUENTIN" userId="6962deb3-b639-4acd-8091-a0516ea2376b" providerId="ADAL" clId="{146BD8F6-FDDD-49D3-A1A6-146C954086FF}" dt="2021-05-24T13:36:19.479" v="4629" actId="790"/>
          <ac:spMkLst>
            <pc:docMk/>
            <pc:sldMk cId="2955721572" sldId="10370"/>
            <ac:spMk id="92" creationId="{5DBD9F8B-563B-43A1-B3BB-A3552A3D3A79}"/>
          </ac:spMkLst>
        </pc:spChg>
        <pc:spChg chg="mod">
          <ac:chgData name="Jean QUENTIN" userId="6962deb3-b639-4acd-8091-a0516ea2376b" providerId="ADAL" clId="{146BD8F6-FDDD-49D3-A1A6-146C954086FF}" dt="2021-05-24T13:36:19.479" v="4630" actId="790"/>
          <ac:spMkLst>
            <pc:docMk/>
            <pc:sldMk cId="2955721572" sldId="10370"/>
            <ac:spMk id="93" creationId="{DD0AA138-44E1-4579-83DC-80DCF5B37037}"/>
          </ac:spMkLst>
        </pc:spChg>
        <pc:spChg chg="mod">
          <ac:chgData name="Jean QUENTIN" userId="6962deb3-b639-4acd-8091-a0516ea2376b" providerId="ADAL" clId="{146BD8F6-FDDD-49D3-A1A6-146C954086FF}" dt="2021-05-24T13:36:19.479" v="4631" actId="790"/>
          <ac:spMkLst>
            <pc:docMk/>
            <pc:sldMk cId="2955721572" sldId="10370"/>
            <ac:spMk id="95" creationId="{1FB352C0-1F8E-4E4D-A3F3-D87C6F1D5C4F}"/>
          </ac:spMkLst>
        </pc:spChg>
        <pc:spChg chg="mod">
          <ac:chgData name="Jean QUENTIN" userId="6962deb3-b639-4acd-8091-a0516ea2376b" providerId="ADAL" clId="{146BD8F6-FDDD-49D3-A1A6-146C954086FF}" dt="2021-05-24T13:36:19.495" v="4632" actId="790"/>
          <ac:spMkLst>
            <pc:docMk/>
            <pc:sldMk cId="2955721572" sldId="10370"/>
            <ac:spMk id="97" creationId="{15DB12A6-B5E2-43FF-932E-F0EA8EE26E58}"/>
          </ac:spMkLst>
        </pc:spChg>
        <pc:spChg chg="mod">
          <ac:chgData name="Jean QUENTIN" userId="6962deb3-b639-4acd-8091-a0516ea2376b" providerId="ADAL" clId="{146BD8F6-FDDD-49D3-A1A6-146C954086FF}" dt="2021-05-24T13:36:19.495" v="4633" actId="790"/>
          <ac:spMkLst>
            <pc:docMk/>
            <pc:sldMk cId="2955721572" sldId="10370"/>
            <ac:spMk id="99" creationId="{926DA456-7CF3-485F-BCBE-865D187117DA}"/>
          </ac:spMkLst>
        </pc:spChg>
        <pc:spChg chg="mod">
          <ac:chgData name="Jean QUENTIN" userId="6962deb3-b639-4acd-8091-a0516ea2376b" providerId="ADAL" clId="{146BD8F6-FDDD-49D3-A1A6-146C954086FF}" dt="2021-05-24T13:36:19.495" v="4634" actId="790"/>
          <ac:spMkLst>
            <pc:docMk/>
            <pc:sldMk cId="2955721572" sldId="10370"/>
            <ac:spMk id="101" creationId="{7F7BB965-1646-4AC3-9773-7C202DC198CB}"/>
          </ac:spMkLst>
        </pc:spChg>
        <pc:spChg chg="mod">
          <ac:chgData name="Jean QUENTIN" userId="6962deb3-b639-4acd-8091-a0516ea2376b" providerId="ADAL" clId="{146BD8F6-FDDD-49D3-A1A6-146C954086FF}" dt="2021-05-24T13:36:19.495" v="4635" actId="790"/>
          <ac:spMkLst>
            <pc:docMk/>
            <pc:sldMk cId="2955721572" sldId="10370"/>
            <ac:spMk id="103" creationId="{651785F5-4779-4A80-B920-961EC7066FA3}"/>
          </ac:spMkLst>
        </pc:spChg>
        <pc:spChg chg="mod">
          <ac:chgData name="Jean QUENTIN" userId="6962deb3-b639-4acd-8091-a0516ea2376b" providerId="ADAL" clId="{146BD8F6-FDDD-49D3-A1A6-146C954086FF}" dt="2021-05-24T13:36:19.495" v="4636" actId="790"/>
          <ac:spMkLst>
            <pc:docMk/>
            <pc:sldMk cId="2955721572" sldId="10370"/>
            <ac:spMk id="105" creationId="{0ACAFE08-962E-4BC8-8D72-1E07950C5209}"/>
          </ac:spMkLst>
        </pc:spChg>
        <pc:spChg chg="mod">
          <ac:chgData name="Jean QUENTIN" userId="6962deb3-b639-4acd-8091-a0516ea2376b" providerId="ADAL" clId="{146BD8F6-FDDD-49D3-A1A6-146C954086FF}" dt="2021-05-24T13:36:19.495" v="4637" actId="790"/>
          <ac:spMkLst>
            <pc:docMk/>
            <pc:sldMk cId="2955721572" sldId="10370"/>
            <ac:spMk id="106" creationId="{415C1887-4D6A-4BFA-A542-AB31F35B094F}"/>
          </ac:spMkLst>
        </pc:spChg>
        <pc:spChg chg="mod">
          <ac:chgData name="Jean QUENTIN" userId="6962deb3-b639-4acd-8091-a0516ea2376b" providerId="ADAL" clId="{146BD8F6-FDDD-49D3-A1A6-146C954086FF}" dt="2021-05-24T13:36:19.495" v="4638" actId="790"/>
          <ac:spMkLst>
            <pc:docMk/>
            <pc:sldMk cId="2955721572" sldId="10370"/>
            <ac:spMk id="109" creationId="{36D5C66A-85B6-4A41-A70D-74703A42ADC6}"/>
          </ac:spMkLst>
        </pc:spChg>
        <pc:spChg chg="mod">
          <ac:chgData name="Jean QUENTIN" userId="6962deb3-b639-4acd-8091-a0516ea2376b" providerId="ADAL" clId="{146BD8F6-FDDD-49D3-A1A6-146C954086FF}" dt="2021-05-24T13:36:19.495" v="4639" actId="790"/>
          <ac:spMkLst>
            <pc:docMk/>
            <pc:sldMk cId="2955721572" sldId="10370"/>
            <ac:spMk id="110" creationId="{47E92894-6CE3-43BE-80DC-0F76B5DF980F}"/>
          </ac:spMkLst>
        </pc:spChg>
        <pc:spChg chg="mod">
          <ac:chgData name="Jean QUENTIN" userId="6962deb3-b639-4acd-8091-a0516ea2376b" providerId="ADAL" clId="{146BD8F6-FDDD-49D3-A1A6-146C954086FF}" dt="2021-05-24T13:36:19.495" v="4640" actId="790"/>
          <ac:spMkLst>
            <pc:docMk/>
            <pc:sldMk cId="2955721572" sldId="10370"/>
            <ac:spMk id="113" creationId="{0C095A33-38E5-462F-8A7A-E62A8E98D55C}"/>
          </ac:spMkLst>
        </pc:spChg>
        <pc:spChg chg="mod">
          <ac:chgData name="Jean QUENTIN" userId="6962deb3-b639-4acd-8091-a0516ea2376b" providerId="ADAL" clId="{146BD8F6-FDDD-49D3-A1A6-146C954086FF}" dt="2021-05-24T13:36:19.495" v="4641" actId="790"/>
          <ac:spMkLst>
            <pc:docMk/>
            <pc:sldMk cId="2955721572" sldId="10370"/>
            <ac:spMk id="114" creationId="{A85051FB-B96C-4561-9949-AE0A210DCEF7}"/>
          </ac:spMkLst>
        </pc:spChg>
        <pc:spChg chg="mod">
          <ac:chgData name="Jean QUENTIN" userId="6962deb3-b639-4acd-8091-a0516ea2376b" providerId="ADAL" clId="{146BD8F6-FDDD-49D3-A1A6-146C954086FF}" dt="2021-05-24T13:36:19.495" v="4642" actId="790"/>
          <ac:spMkLst>
            <pc:docMk/>
            <pc:sldMk cId="2955721572" sldId="10370"/>
            <ac:spMk id="117" creationId="{DBAD1338-6574-407E-A6BE-CF70C12CF161}"/>
          </ac:spMkLst>
        </pc:spChg>
        <pc:spChg chg="mod">
          <ac:chgData name="Jean QUENTIN" userId="6962deb3-b639-4acd-8091-a0516ea2376b" providerId="ADAL" clId="{146BD8F6-FDDD-49D3-A1A6-146C954086FF}" dt="2021-05-24T13:36:19.511" v="4643" actId="790"/>
          <ac:spMkLst>
            <pc:docMk/>
            <pc:sldMk cId="2955721572" sldId="10370"/>
            <ac:spMk id="118" creationId="{6CC80E4F-5AF6-43ED-BF86-E4E441DAE0FE}"/>
          </ac:spMkLst>
        </pc:spChg>
        <pc:spChg chg="mod">
          <ac:chgData name="Jean QUENTIN" userId="6962deb3-b639-4acd-8091-a0516ea2376b" providerId="ADAL" clId="{146BD8F6-FDDD-49D3-A1A6-146C954086FF}" dt="2021-05-24T13:36:19.511" v="4644" actId="790"/>
          <ac:spMkLst>
            <pc:docMk/>
            <pc:sldMk cId="2955721572" sldId="10370"/>
            <ac:spMk id="119" creationId="{7C8B8644-EF6E-4905-A0F5-5C2CD0B264C9}"/>
          </ac:spMkLst>
        </pc:spChg>
        <pc:spChg chg="mod">
          <ac:chgData name="Jean QUENTIN" userId="6962deb3-b639-4acd-8091-a0516ea2376b" providerId="ADAL" clId="{146BD8F6-FDDD-49D3-A1A6-146C954086FF}" dt="2021-05-24T13:36:19.511" v="4645" actId="790"/>
          <ac:spMkLst>
            <pc:docMk/>
            <pc:sldMk cId="2955721572" sldId="10370"/>
            <ac:spMk id="120" creationId="{EF6A0361-72CE-4976-81E6-23CA720B0E0B}"/>
          </ac:spMkLst>
        </pc:spChg>
        <pc:spChg chg="mod">
          <ac:chgData name="Jean QUENTIN" userId="6962deb3-b639-4acd-8091-a0516ea2376b" providerId="ADAL" clId="{146BD8F6-FDDD-49D3-A1A6-146C954086FF}" dt="2021-05-24T13:36:19.511" v="4646" actId="790"/>
          <ac:spMkLst>
            <pc:docMk/>
            <pc:sldMk cId="2955721572" sldId="10370"/>
            <ac:spMk id="121" creationId="{BFDCD2F7-D0DE-423D-8845-692BDD508BA2}"/>
          </ac:spMkLst>
        </pc:spChg>
        <pc:spChg chg="mod">
          <ac:chgData name="Jean QUENTIN" userId="6962deb3-b639-4acd-8091-a0516ea2376b" providerId="ADAL" clId="{146BD8F6-FDDD-49D3-A1A6-146C954086FF}" dt="2021-05-24T13:36:19.511" v="4647" actId="790"/>
          <ac:spMkLst>
            <pc:docMk/>
            <pc:sldMk cId="2955721572" sldId="10370"/>
            <ac:spMk id="122" creationId="{C3E37837-414F-4553-98C1-7875D7F39D63}"/>
          </ac:spMkLst>
        </pc:spChg>
        <pc:spChg chg="mod">
          <ac:chgData name="Jean QUENTIN" userId="6962deb3-b639-4acd-8091-a0516ea2376b" providerId="ADAL" clId="{146BD8F6-FDDD-49D3-A1A6-146C954086FF}" dt="2021-05-24T13:36:19.511" v="4648" actId="790"/>
          <ac:spMkLst>
            <pc:docMk/>
            <pc:sldMk cId="2955721572" sldId="10370"/>
            <ac:spMk id="123" creationId="{3EAEB141-8F44-4AC0-B379-C26EBB56770F}"/>
          </ac:spMkLst>
        </pc:spChg>
        <pc:spChg chg="mod">
          <ac:chgData name="Jean QUENTIN" userId="6962deb3-b639-4acd-8091-a0516ea2376b" providerId="ADAL" clId="{146BD8F6-FDDD-49D3-A1A6-146C954086FF}" dt="2021-05-24T13:36:19.511" v="4649" actId="790"/>
          <ac:spMkLst>
            <pc:docMk/>
            <pc:sldMk cId="2955721572" sldId="10370"/>
            <ac:spMk id="124" creationId="{F8B1BC02-5DA3-4414-A10C-B724559E0F9C}"/>
          </ac:spMkLst>
        </pc:spChg>
        <pc:spChg chg="mod">
          <ac:chgData name="Jean QUENTIN" userId="6962deb3-b639-4acd-8091-a0516ea2376b" providerId="ADAL" clId="{146BD8F6-FDDD-49D3-A1A6-146C954086FF}" dt="2021-05-24T13:36:19.511" v="4650" actId="790"/>
          <ac:spMkLst>
            <pc:docMk/>
            <pc:sldMk cId="2955721572" sldId="10370"/>
            <ac:spMk id="125" creationId="{065F8B71-F0F7-4D59-AB65-1218AEE2DAB7}"/>
          </ac:spMkLst>
        </pc:spChg>
        <pc:spChg chg="mod">
          <ac:chgData name="Jean QUENTIN" userId="6962deb3-b639-4acd-8091-a0516ea2376b" providerId="ADAL" clId="{146BD8F6-FDDD-49D3-A1A6-146C954086FF}" dt="2021-05-24T13:36:19.511" v="4651" actId="790"/>
          <ac:spMkLst>
            <pc:docMk/>
            <pc:sldMk cId="2955721572" sldId="10370"/>
            <ac:spMk id="126" creationId="{EEE45712-275C-4D06-97CB-221815075B44}"/>
          </ac:spMkLst>
        </pc:spChg>
        <pc:grpChg chg="mod">
          <ac:chgData name="Jean QUENTIN" userId="6962deb3-b639-4acd-8091-a0516ea2376b" providerId="ADAL" clId="{146BD8F6-FDDD-49D3-A1A6-146C954086FF}" dt="2021-05-24T12:49:46.161" v="1960" actId="1076"/>
          <ac:grpSpMkLst>
            <pc:docMk/>
            <pc:sldMk cId="2955721572" sldId="10370"/>
            <ac:grpSpMk id="3" creationId="{EF08A9E8-911B-4121-9CC9-208BA3EFFFE2}"/>
          </ac:grpSpMkLst>
        </pc:grpChg>
        <pc:grpChg chg="mod">
          <ac:chgData name="Jean QUENTIN" userId="6962deb3-b639-4acd-8091-a0516ea2376b" providerId="ADAL" clId="{146BD8F6-FDDD-49D3-A1A6-146C954086FF}" dt="2021-05-24T12:49:46.161" v="1960" actId="1076"/>
          <ac:grpSpMkLst>
            <pc:docMk/>
            <pc:sldMk cId="2955721572" sldId="10370"/>
            <ac:grpSpMk id="18" creationId="{B2B6ABD1-4F41-4160-9A2F-64B126A033F2}"/>
          </ac:grpSpMkLst>
        </pc:grpChg>
        <pc:grpChg chg="mod">
          <ac:chgData name="Jean QUENTIN" userId="6962deb3-b639-4acd-8091-a0516ea2376b" providerId="ADAL" clId="{146BD8F6-FDDD-49D3-A1A6-146C954086FF}" dt="2021-05-24T12:49:46.161" v="1960" actId="1076"/>
          <ac:grpSpMkLst>
            <pc:docMk/>
            <pc:sldMk cId="2955721572" sldId="10370"/>
            <ac:grpSpMk id="47" creationId="{0EFC1A36-A1D6-4087-A50A-F2BFB63B9C97}"/>
          </ac:grpSpMkLst>
        </pc:grpChg>
        <pc:grpChg chg="mod">
          <ac:chgData name="Jean QUENTIN" userId="6962deb3-b639-4acd-8091-a0516ea2376b" providerId="ADAL" clId="{146BD8F6-FDDD-49D3-A1A6-146C954086FF}" dt="2021-05-24T12:49:46.161" v="1960" actId="1076"/>
          <ac:grpSpMkLst>
            <pc:docMk/>
            <pc:sldMk cId="2955721572" sldId="10370"/>
            <ac:grpSpMk id="55" creationId="{39D4313D-D471-4778-89D2-C90CAB93C3BF}"/>
          </ac:grpSpMkLst>
        </pc:grpChg>
        <pc:grpChg chg="mod">
          <ac:chgData name="Jean QUENTIN" userId="6962deb3-b639-4acd-8091-a0516ea2376b" providerId="ADAL" clId="{146BD8F6-FDDD-49D3-A1A6-146C954086FF}" dt="2021-05-24T12:49:46.161" v="1960" actId="1076"/>
          <ac:grpSpMkLst>
            <pc:docMk/>
            <pc:sldMk cId="2955721572" sldId="10370"/>
            <ac:grpSpMk id="79" creationId="{829D8CA5-8DD4-4742-83BA-BC14BB50E393}"/>
          </ac:grpSpMkLst>
        </pc:grp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46" creationId="{BF856EC2-C2B7-4806-8E98-0B08049D4DB1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50" creationId="{1375E0D6-DA83-449D-9AB9-86B64831DAA2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52" creationId="{7FBE2ABC-AB09-42A6-86D3-5F8E90BD2F29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53" creationId="{18ABDC6B-BC99-4833-B302-089EFA4D2684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54" creationId="{A94BB81D-7D1D-4E8B-BC5F-977E181D8344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83" creationId="{88E8A7E2-7EF9-476B-B125-00A230C74021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84" creationId="{43D4D52F-8E84-4E2C-90C1-84EFBA4A9708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85" creationId="{8FA757CB-189C-418C-BFB8-17E180177AA7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86" creationId="{6A91D2F5-2B0E-467F-BD40-9244FA4A503C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94" creationId="{9F3490FF-C86B-45BE-A1CD-D0DD20836D44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96" creationId="{239DD775-E8A4-4177-96E2-4D8568080871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98" creationId="{245F4EA0-7EC3-44F1-A260-A664200C5660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00" creationId="{A987AEB6-3E6F-488D-873E-91BB1591B64C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02" creationId="{872AC797-B117-4ADA-9A8A-8A5138AF2903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04" creationId="{C8BFB220-ED87-4C63-A957-C86807B8BEA3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07" creationId="{65698668-15FC-4A57-AFCD-24AA1BC4F852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08" creationId="{BDC015A5-5C28-49E6-8297-BC2B655E7276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11" creationId="{4180D62F-AEED-4E48-BEDA-72F65808064D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12" creationId="{4ED802E7-34D2-4509-B793-D1BB893BBF88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15" creationId="{03D8FCA3-7D04-49DB-A9D8-E792ED1984B3}"/>
          </ac:picMkLst>
        </pc:picChg>
        <pc:picChg chg="mod">
          <ac:chgData name="Jean QUENTIN" userId="6962deb3-b639-4acd-8091-a0516ea2376b" providerId="ADAL" clId="{146BD8F6-FDDD-49D3-A1A6-146C954086FF}" dt="2021-05-24T12:49:46.161" v="1960" actId="1076"/>
          <ac:picMkLst>
            <pc:docMk/>
            <pc:sldMk cId="2955721572" sldId="10370"/>
            <ac:picMk id="116" creationId="{658543A9-DC7F-4BB3-8282-2990BD5365BA}"/>
          </ac:picMkLst>
        </pc:pic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19" creationId="{9BA1090C-19AB-4509-A650-0E9BB2FD1EB7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0" creationId="{249664C7-2CB4-473F-B7C5-4FAE689FE8F4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1" creationId="{543D0658-71A3-4BAE-BB78-5133FEB46914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2" creationId="{A3C1C61B-CD8B-4E3D-AFCA-7ADB8D2B3380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3" creationId="{60CA4851-44DA-48CA-AAE8-6A90DF33C311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4" creationId="{B9EA1B8F-E517-4E88-9D72-7431FDD32D21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5" creationId="{409DBD04-1898-4BC0-BC60-4CDDC429727A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6" creationId="{988C19D7-81A7-453F-BA05-DA5B3F47C246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27" creationId="{F5DC12C6-0FC8-407B-BDD9-2E1635574E8E}"/>
          </ac:cxnSpMkLst>
        </pc:cxnChg>
        <pc:cxnChg chg="mod">
          <ac:chgData name="Jean QUENTIN" userId="6962deb3-b639-4acd-8091-a0516ea2376b" providerId="ADAL" clId="{146BD8F6-FDDD-49D3-A1A6-146C954086FF}" dt="2021-05-24T12:49:46.161" v="1960" actId="1076"/>
          <ac:cxnSpMkLst>
            <pc:docMk/>
            <pc:sldMk cId="2955721572" sldId="10370"/>
            <ac:cxnSpMk id="48" creationId="{78EF1ACE-0BDA-435F-BDBD-1321E8606107}"/>
          </ac:cxnSpMkLst>
        </pc:cxnChg>
      </pc:sldChg>
      <pc:sldChg chg="modSp mod">
        <pc:chgData name="Jean QUENTIN" userId="6962deb3-b639-4acd-8091-a0516ea2376b" providerId="ADAL" clId="{146BD8F6-FDDD-49D3-A1A6-146C954086FF}" dt="2021-05-25T12:53:16.791" v="14354" actId="20577"/>
        <pc:sldMkLst>
          <pc:docMk/>
          <pc:sldMk cId="928014684" sldId="10381"/>
        </pc:sldMkLst>
        <pc:spChg chg="mod">
          <ac:chgData name="Jean QUENTIN" userId="6962deb3-b639-4acd-8091-a0516ea2376b" providerId="ADAL" clId="{146BD8F6-FDDD-49D3-A1A6-146C954086FF}" dt="2021-05-24T13:36:21.747" v="5812" actId="790"/>
          <ac:spMkLst>
            <pc:docMk/>
            <pc:sldMk cId="928014684" sldId="10381"/>
            <ac:spMk id="2" creationId="{F650F2D3-501E-420A-B1C2-0C0D75F1F375}"/>
          </ac:spMkLst>
        </pc:spChg>
        <pc:spChg chg="mod">
          <ac:chgData name="Jean QUENTIN" userId="6962deb3-b639-4acd-8091-a0516ea2376b" providerId="ADAL" clId="{146BD8F6-FDDD-49D3-A1A6-146C954086FF}" dt="2021-05-24T13:36:21.770" v="5821" actId="790"/>
          <ac:spMkLst>
            <pc:docMk/>
            <pc:sldMk cId="928014684" sldId="10381"/>
            <ac:spMk id="5" creationId="{8D62D1CB-CECB-4FC8-AC33-69D9825C44E6}"/>
          </ac:spMkLst>
        </pc:spChg>
        <pc:spChg chg="mod">
          <ac:chgData name="Jean QUENTIN" userId="6962deb3-b639-4acd-8091-a0516ea2376b" providerId="ADAL" clId="{146BD8F6-FDDD-49D3-A1A6-146C954086FF}" dt="2021-05-24T13:36:21.770" v="5824" actId="790"/>
          <ac:spMkLst>
            <pc:docMk/>
            <pc:sldMk cId="928014684" sldId="10381"/>
            <ac:spMk id="16" creationId="{4097B478-9F5D-45B4-A186-D4A1E6BB7550}"/>
          </ac:spMkLst>
        </pc:spChg>
        <pc:spChg chg="mod">
          <ac:chgData name="Jean QUENTIN" userId="6962deb3-b639-4acd-8091-a0516ea2376b" providerId="ADAL" clId="{146BD8F6-FDDD-49D3-A1A6-146C954086FF}" dt="2021-05-24T13:36:21.770" v="5818" actId="790"/>
          <ac:spMkLst>
            <pc:docMk/>
            <pc:sldMk cId="928014684" sldId="10381"/>
            <ac:spMk id="17" creationId="{C0789EFE-9637-4F49-9BF8-ADFC35ADADA8}"/>
          </ac:spMkLst>
        </pc:spChg>
        <pc:spChg chg="mod">
          <ac:chgData name="Jean QUENTIN" userId="6962deb3-b639-4acd-8091-a0516ea2376b" providerId="ADAL" clId="{146BD8F6-FDDD-49D3-A1A6-146C954086FF}" dt="2021-05-24T13:36:21.785" v="5825" actId="790"/>
          <ac:spMkLst>
            <pc:docMk/>
            <pc:sldMk cId="928014684" sldId="10381"/>
            <ac:spMk id="23" creationId="{A42B95F8-384C-428D-A9F7-F02119EB93B6}"/>
          </ac:spMkLst>
        </pc:spChg>
        <pc:spChg chg="mod">
          <ac:chgData name="Jean QUENTIN" userId="6962deb3-b639-4acd-8091-a0516ea2376b" providerId="ADAL" clId="{146BD8F6-FDDD-49D3-A1A6-146C954086FF}" dt="2021-05-24T13:36:21.770" v="5820" actId="790"/>
          <ac:spMkLst>
            <pc:docMk/>
            <pc:sldMk cId="928014684" sldId="10381"/>
            <ac:spMk id="24" creationId="{FD650C8B-4EE8-4338-B832-2CF0044FDC39}"/>
          </ac:spMkLst>
        </pc:spChg>
        <pc:spChg chg="mod">
          <ac:chgData name="Jean QUENTIN" userId="6962deb3-b639-4acd-8091-a0516ea2376b" providerId="ADAL" clId="{146BD8F6-FDDD-49D3-A1A6-146C954086FF}" dt="2021-05-24T13:36:21.770" v="5823" actId="790"/>
          <ac:spMkLst>
            <pc:docMk/>
            <pc:sldMk cId="928014684" sldId="10381"/>
            <ac:spMk id="48" creationId="{09E15757-5F08-4D22-BA2D-052419ABF6DC}"/>
          </ac:spMkLst>
        </pc:spChg>
        <pc:spChg chg="mod">
          <ac:chgData name="Jean QUENTIN" userId="6962deb3-b639-4acd-8091-a0516ea2376b" providerId="ADAL" clId="{146BD8F6-FDDD-49D3-A1A6-146C954086FF}" dt="2021-05-24T13:36:21.785" v="5826" actId="790"/>
          <ac:spMkLst>
            <pc:docMk/>
            <pc:sldMk cId="928014684" sldId="10381"/>
            <ac:spMk id="52" creationId="{490B1055-3257-475A-8999-47D9AB2EEC11}"/>
          </ac:spMkLst>
        </pc:spChg>
        <pc:spChg chg="mod">
          <ac:chgData name="Jean QUENTIN" userId="6962deb3-b639-4acd-8091-a0516ea2376b" providerId="ADAL" clId="{146BD8F6-FDDD-49D3-A1A6-146C954086FF}" dt="2021-05-24T13:36:21.785" v="5827" actId="790"/>
          <ac:spMkLst>
            <pc:docMk/>
            <pc:sldMk cId="928014684" sldId="10381"/>
            <ac:spMk id="54" creationId="{AEAA66D8-25CA-4D12-93D1-047EE256A639}"/>
          </ac:spMkLst>
        </pc:spChg>
        <pc:spChg chg="mod">
          <ac:chgData name="Jean QUENTIN" userId="6962deb3-b639-4acd-8091-a0516ea2376b" providerId="ADAL" clId="{146BD8F6-FDDD-49D3-A1A6-146C954086FF}" dt="2021-05-24T13:36:21.785" v="5828" actId="790"/>
          <ac:spMkLst>
            <pc:docMk/>
            <pc:sldMk cId="928014684" sldId="10381"/>
            <ac:spMk id="55" creationId="{E9B602BB-1502-49FD-8A14-BA77512B9D8E}"/>
          </ac:spMkLst>
        </pc:spChg>
        <pc:spChg chg="mod">
          <ac:chgData name="Jean QUENTIN" userId="6962deb3-b639-4acd-8091-a0516ea2376b" providerId="ADAL" clId="{146BD8F6-FDDD-49D3-A1A6-146C954086FF}" dt="2021-05-24T13:36:21.785" v="5829" actId="790"/>
          <ac:spMkLst>
            <pc:docMk/>
            <pc:sldMk cId="928014684" sldId="10381"/>
            <ac:spMk id="56" creationId="{3CC8D01A-4EA7-494E-ACE3-8A0556E31076}"/>
          </ac:spMkLst>
        </pc:spChg>
        <pc:spChg chg="mod">
          <ac:chgData name="Jean QUENTIN" userId="6962deb3-b639-4acd-8091-a0516ea2376b" providerId="ADAL" clId="{146BD8F6-FDDD-49D3-A1A6-146C954086FF}" dt="2021-05-24T13:36:21.785" v="5831" actId="790"/>
          <ac:spMkLst>
            <pc:docMk/>
            <pc:sldMk cId="928014684" sldId="10381"/>
            <ac:spMk id="66" creationId="{1EC5F6DB-8E93-48B7-BE1A-16C1C840253A}"/>
          </ac:spMkLst>
        </pc:spChg>
        <pc:spChg chg="mod">
          <ac:chgData name="Jean QUENTIN" userId="6962deb3-b639-4acd-8091-a0516ea2376b" providerId="ADAL" clId="{146BD8F6-FDDD-49D3-A1A6-146C954086FF}" dt="2021-05-24T13:36:21.785" v="5830" actId="790"/>
          <ac:spMkLst>
            <pc:docMk/>
            <pc:sldMk cId="928014684" sldId="10381"/>
            <ac:spMk id="67" creationId="{D15C3F86-EA1A-4CD3-8C0D-E4E1EFDD9561}"/>
          </ac:spMkLst>
        </pc:spChg>
        <pc:spChg chg="mod">
          <ac:chgData name="Jean QUENTIN" userId="6962deb3-b639-4acd-8091-a0516ea2376b" providerId="ADAL" clId="{146BD8F6-FDDD-49D3-A1A6-146C954086FF}" dt="2021-05-24T13:36:21.801" v="5832" actId="790"/>
          <ac:spMkLst>
            <pc:docMk/>
            <pc:sldMk cId="928014684" sldId="10381"/>
            <ac:spMk id="77" creationId="{AA993906-7B0E-4FA0-A5CC-CB69B9064F5F}"/>
          </ac:spMkLst>
        </pc:spChg>
        <pc:spChg chg="mod">
          <ac:chgData name="Jean QUENTIN" userId="6962deb3-b639-4acd-8091-a0516ea2376b" providerId="ADAL" clId="{146BD8F6-FDDD-49D3-A1A6-146C954086FF}" dt="2021-05-24T13:36:21.801" v="5833" actId="790"/>
          <ac:spMkLst>
            <pc:docMk/>
            <pc:sldMk cId="928014684" sldId="10381"/>
            <ac:spMk id="78" creationId="{927B2CF9-23D7-4AC1-896F-53C294D443E0}"/>
          </ac:spMkLst>
        </pc:spChg>
        <pc:spChg chg="mod">
          <ac:chgData name="Jean QUENTIN" userId="6962deb3-b639-4acd-8091-a0516ea2376b" providerId="ADAL" clId="{146BD8F6-FDDD-49D3-A1A6-146C954086FF}" dt="2021-05-24T13:36:21.801" v="5834" actId="790"/>
          <ac:spMkLst>
            <pc:docMk/>
            <pc:sldMk cId="928014684" sldId="10381"/>
            <ac:spMk id="79" creationId="{743C0E1C-B0D6-49C7-83DA-2F31332150DB}"/>
          </ac:spMkLst>
        </pc:spChg>
        <pc:spChg chg="mod">
          <ac:chgData name="Jean QUENTIN" userId="6962deb3-b639-4acd-8091-a0516ea2376b" providerId="ADAL" clId="{146BD8F6-FDDD-49D3-A1A6-146C954086FF}" dt="2021-05-24T13:36:21.801" v="5835" actId="790"/>
          <ac:spMkLst>
            <pc:docMk/>
            <pc:sldMk cId="928014684" sldId="10381"/>
            <ac:spMk id="82" creationId="{EB785ED8-42ED-404B-B83A-FFB565585F81}"/>
          </ac:spMkLst>
        </pc:spChg>
        <pc:spChg chg="mod">
          <ac:chgData name="Jean QUENTIN" userId="6962deb3-b639-4acd-8091-a0516ea2376b" providerId="ADAL" clId="{146BD8F6-FDDD-49D3-A1A6-146C954086FF}" dt="2021-05-24T13:36:21.747" v="5813" actId="790"/>
          <ac:spMkLst>
            <pc:docMk/>
            <pc:sldMk cId="928014684" sldId="10381"/>
            <ac:spMk id="85" creationId="{8A87828B-4DA3-4320-8F89-92B54C4F4105}"/>
          </ac:spMkLst>
        </pc:spChg>
        <pc:spChg chg="mod">
          <ac:chgData name="Jean QUENTIN" userId="6962deb3-b639-4acd-8091-a0516ea2376b" providerId="ADAL" clId="{146BD8F6-FDDD-49D3-A1A6-146C954086FF}" dt="2021-05-24T13:36:21.747" v="5814" actId="790"/>
          <ac:spMkLst>
            <pc:docMk/>
            <pc:sldMk cId="928014684" sldId="10381"/>
            <ac:spMk id="94" creationId="{4ED8E281-6E50-4B86-8F57-CE6AF2076C8B}"/>
          </ac:spMkLst>
        </pc:spChg>
        <pc:spChg chg="mod">
          <ac:chgData name="Jean QUENTIN" userId="6962deb3-b639-4acd-8091-a0516ea2376b" providerId="ADAL" clId="{146BD8F6-FDDD-49D3-A1A6-146C954086FF}" dt="2021-05-24T13:36:21.763" v="5815" actId="790"/>
          <ac:spMkLst>
            <pc:docMk/>
            <pc:sldMk cId="928014684" sldId="10381"/>
            <ac:spMk id="95" creationId="{955C889B-E359-4C1C-ADE8-61F29406941A}"/>
          </ac:spMkLst>
        </pc:spChg>
        <pc:spChg chg="mod">
          <ac:chgData name="Jean QUENTIN" userId="6962deb3-b639-4acd-8091-a0516ea2376b" providerId="ADAL" clId="{146BD8F6-FDDD-49D3-A1A6-146C954086FF}" dt="2021-05-24T13:36:21.763" v="5816" actId="790"/>
          <ac:spMkLst>
            <pc:docMk/>
            <pc:sldMk cId="928014684" sldId="10381"/>
            <ac:spMk id="100" creationId="{EBD54761-3F6A-42C5-A358-9B8C9AE709E6}"/>
          </ac:spMkLst>
        </pc:spChg>
        <pc:spChg chg="mod">
          <ac:chgData name="Jean QUENTIN" userId="6962deb3-b639-4acd-8091-a0516ea2376b" providerId="ADAL" clId="{146BD8F6-FDDD-49D3-A1A6-146C954086FF}" dt="2021-05-24T13:36:21.763" v="5817" actId="790"/>
          <ac:spMkLst>
            <pc:docMk/>
            <pc:sldMk cId="928014684" sldId="10381"/>
            <ac:spMk id="101" creationId="{8F0FA4AA-6979-4163-8211-4D3E2504D922}"/>
          </ac:spMkLst>
        </pc:spChg>
        <pc:spChg chg="mod">
          <ac:chgData name="Jean QUENTIN" userId="6962deb3-b639-4acd-8091-a0516ea2376b" providerId="ADAL" clId="{146BD8F6-FDDD-49D3-A1A6-146C954086FF}" dt="2021-05-24T13:36:21.770" v="5819" actId="790"/>
          <ac:spMkLst>
            <pc:docMk/>
            <pc:sldMk cId="928014684" sldId="10381"/>
            <ac:spMk id="103" creationId="{8EC109A0-55CE-4037-8B7D-7C591AB7496F}"/>
          </ac:spMkLst>
        </pc:spChg>
        <pc:spChg chg="mod">
          <ac:chgData name="Jean QUENTIN" userId="6962deb3-b639-4acd-8091-a0516ea2376b" providerId="ADAL" clId="{146BD8F6-FDDD-49D3-A1A6-146C954086FF}" dt="2021-05-24T13:36:21.801" v="5836" actId="790"/>
          <ac:spMkLst>
            <pc:docMk/>
            <pc:sldMk cId="928014684" sldId="10381"/>
            <ac:spMk id="107" creationId="{AFE04C33-D3C3-4729-B074-628462666000}"/>
          </ac:spMkLst>
        </pc:spChg>
        <pc:spChg chg="mod">
          <ac:chgData name="Jean QUENTIN" userId="6962deb3-b639-4acd-8091-a0516ea2376b" providerId="ADAL" clId="{146BD8F6-FDDD-49D3-A1A6-146C954086FF}" dt="2021-05-24T13:36:21.816" v="5837" actId="790"/>
          <ac:spMkLst>
            <pc:docMk/>
            <pc:sldMk cId="928014684" sldId="10381"/>
            <ac:spMk id="108" creationId="{84E50665-CFCF-4CAB-82A5-40ABF0DEBFF0}"/>
          </ac:spMkLst>
        </pc:spChg>
        <pc:spChg chg="mod">
          <ac:chgData name="Jean QUENTIN" userId="6962deb3-b639-4acd-8091-a0516ea2376b" providerId="ADAL" clId="{146BD8F6-FDDD-49D3-A1A6-146C954086FF}" dt="2021-05-24T13:36:21.816" v="5838" actId="790"/>
          <ac:spMkLst>
            <pc:docMk/>
            <pc:sldMk cId="928014684" sldId="10381"/>
            <ac:spMk id="109" creationId="{D5717F27-AFA6-482B-876D-BE7AC56A69A2}"/>
          </ac:spMkLst>
        </pc:spChg>
        <pc:spChg chg="mod">
          <ac:chgData name="Jean QUENTIN" userId="6962deb3-b639-4acd-8091-a0516ea2376b" providerId="ADAL" clId="{146BD8F6-FDDD-49D3-A1A6-146C954086FF}" dt="2021-05-24T13:36:21.816" v="5839" actId="790"/>
          <ac:spMkLst>
            <pc:docMk/>
            <pc:sldMk cId="928014684" sldId="10381"/>
            <ac:spMk id="133" creationId="{D4DB8A5D-4BC4-4B09-91B3-B431A56ADCF9}"/>
          </ac:spMkLst>
        </pc:spChg>
        <pc:spChg chg="mod">
          <ac:chgData name="Jean QUENTIN" userId="6962deb3-b639-4acd-8091-a0516ea2376b" providerId="ADAL" clId="{146BD8F6-FDDD-49D3-A1A6-146C954086FF}" dt="2021-05-24T13:36:21.816" v="5840" actId="790"/>
          <ac:spMkLst>
            <pc:docMk/>
            <pc:sldMk cId="928014684" sldId="10381"/>
            <ac:spMk id="134" creationId="{FAF0EF8E-999F-4DCA-8CCA-19966A02C618}"/>
          </ac:spMkLst>
        </pc:spChg>
        <pc:spChg chg="mod">
          <ac:chgData name="Jean QUENTIN" userId="6962deb3-b639-4acd-8091-a0516ea2376b" providerId="ADAL" clId="{146BD8F6-FDDD-49D3-A1A6-146C954086FF}" dt="2021-05-24T13:36:21.816" v="5841" actId="790"/>
          <ac:spMkLst>
            <pc:docMk/>
            <pc:sldMk cId="928014684" sldId="10381"/>
            <ac:spMk id="135" creationId="{43E6C2D0-9928-431F-937D-615E132EB4BF}"/>
          </ac:spMkLst>
        </pc:spChg>
        <pc:spChg chg="mod">
          <ac:chgData name="Jean QUENTIN" userId="6962deb3-b639-4acd-8091-a0516ea2376b" providerId="ADAL" clId="{146BD8F6-FDDD-49D3-A1A6-146C954086FF}" dt="2021-05-24T13:36:21.816" v="5842" actId="790"/>
          <ac:spMkLst>
            <pc:docMk/>
            <pc:sldMk cId="928014684" sldId="10381"/>
            <ac:spMk id="136" creationId="{366D0170-AB64-4883-B9AA-312F182F8513}"/>
          </ac:spMkLst>
        </pc:spChg>
        <pc:spChg chg="mod">
          <ac:chgData name="Jean QUENTIN" userId="6962deb3-b639-4acd-8091-a0516ea2376b" providerId="ADAL" clId="{146BD8F6-FDDD-49D3-A1A6-146C954086FF}" dt="2021-05-24T13:36:21.816" v="5843" actId="790"/>
          <ac:spMkLst>
            <pc:docMk/>
            <pc:sldMk cId="928014684" sldId="10381"/>
            <ac:spMk id="137" creationId="{20E1541B-CD49-4DC3-A47D-9BF3BEE5D76B}"/>
          </ac:spMkLst>
        </pc:spChg>
        <pc:spChg chg="mod">
          <ac:chgData name="Jean QUENTIN" userId="6962deb3-b639-4acd-8091-a0516ea2376b" providerId="ADAL" clId="{146BD8F6-FDDD-49D3-A1A6-146C954086FF}" dt="2021-05-24T13:36:21.816" v="5844" actId="790"/>
          <ac:spMkLst>
            <pc:docMk/>
            <pc:sldMk cId="928014684" sldId="10381"/>
            <ac:spMk id="138" creationId="{6566282D-6A08-4D37-9C6F-C0144233C521}"/>
          </ac:spMkLst>
        </pc:spChg>
        <pc:spChg chg="mod">
          <ac:chgData name="Jean QUENTIN" userId="6962deb3-b639-4acd-8091-a0516ea2376b" providerId="ADAL" clId="{146BD8F6-FDDD-49D3-A1A6-146C954086FF}" dt="2021-05-24T13:36:21.816" v="5845" actId="790"/>
          <ac:spMkLst>
            <pc:docMk/>
            <pc:sldMk cId="928014684" sldId="10381"/>
            <ac:spMk id="139" creationId="{DD4D1A13-04C6-45D7-A267-260B6125490C}"/>
          </ac:spMkLst>
        </pc:spChg>
        <pc:spChg chg="mod">
          <ac:chgData name="Jean QUENTIN" userId="6962deb3-b639-4acd-8091-a0516ea2376b" providerId="ADAL" clId="{146BD8F6-FDDD-49D3-A1A6-146C954086FF}" dt="2021-05-24T13:36:21.816" v="5846" actId="790"/>
          <ac:spMkLst>
            <pc:docMk/>
            <pc:sldMk cId="928014684" sldId="10381"/>
            <ac:spMk id="140" creationId="{123053B8-DBB1-4ACD-9BF9-D3394E0F671C}"/>
          </ac:spMkLst>
        </pc:spChg>
        <pc:spChg chg="mod">
          <ac:chgData name="Jean QUENTIN" userId="6962deb3-b639-4acd-8091-a0516ea2376b" providerId="ADAL" clId="{146BD8F6-FDDD-49D3-A1A6-146C954086FF}" dt="2021-05-24T13:36:21.816" v="5847" actId="790"/>
          <ac:spMkLst>
            <pc:docMk/>
            <pc:sldMk cId="928014684" sldId="10381"/>
            <ac:spMk id="141" creationId="{0E9BA964-4A8C-48D4-BF3B-82E4163F61C8}"/>
          </ac:spMkLst>
        </pc:spChg>
        <pc:spChg chg="mod">
          <ac:chgData name="Jean QUENTIN" userId="6962deb3-b639-4acd-8091-a0516ea2376b" providerId="ADAL" clId="{146BD8F6-FDDD-49D3-A1A6-146C954086FF}" dt="2021-05-24T13:36:21.816" v="5848" actId="790"/>
          <ac:spMkLst>
            <pc:docMk/>
            <pc:sldMk cId="928014684" sldId="10381"/>
            <ac:spMk id="142" creationId="{22F1D114-F450-40E1-8AED-90C2B1CFD597}"/>
          </ac:spMkLst>
        </pc:spChg>
        <pc:spChg chg="mod">
          <ac:chgData name="Jean QUENTIN" userId="6962deb3-b639-4acd-8091-a0516ea2376b" providerId="ADAL" clId="{146BD8F6-FDDD-49D3-A1A6-146C954086FF}" dt="2021-05-24T13:36:21.770" v="5822" actId="790"/>
          <ac:spMkLst>
            <pc:docMk/>
            <pc:sldMk cId="928014684" sldId="10381"/>
            <ac:spMk id="164" creationId="{DA05F630-FFE9-4248-BE36-AE488020EDEB}"/>
          </ac:spMkLst>
        </pc:spChg>
        <pc:spChg chg="mod">
          <ac:chgData name="Jean QUENTIN" userId="6962deb3-b639-4acd-8091-a0516ea2376b" providerId="ADAL" clId="{146BD8F6-FDDD-49D3-A1A6-146C954086FF}" dt="2021-05-24T13:36:21.816" v="5849" actId="790"/>
          <ac:spMkLst>
            <pc:docMk/>
            <pc:sldMk cId="928014684" sldId="10381"/>
            <ac:spMk id="214" creationId="{B892CA1A-6DD2-47AE-9A86-98AF5DFD08BF}"/>
          </ac:spMkLst>
        </pc:spChg>
        <pc:spChg chg="mod">
          <ac:chgData name="Jean QUENTIN" userId="6962deb3-b639-4acd-8091-a0516ea2376b" providerId="ADAL" clId="{146BD8F6-FDDD-49D3-A1A6-146C954086FF}" dt="2021-05-24T13:36:21.816" v="5850" actId="790"/>
          <ac:spMkLst>
            <pc:docMk/>
            <pc:sldMk cId="928014684" sldId="10381"/>
            <ac:spMk id="215" creationId="{9F3BC7FC-64FE-4264-9C2D-E28C85C00F3A}"/>
          </ac:spMkLst>
        </pc:spChg>
        <pc:spChg chg="mod">
          <ac:chgData name="Jean QUENTIN" userId="6962deb3-b639-4acd-8091-a0516ea2376b" providerId="ADAL" clId="{146BD8F6-FDDD-49D3-A1A6-146C954086FF}" dt="2021-05-24T13:36:21.832" v="5851" actId="790"/>
          <ac:spMkLst>
            <pc:docMk/>
            <pc:sldMk cId="928014684" sldId="10381"/>
            <ac:spMk id="216" creationId="{5994B9E0-8703-4DC8-AD95-9850C41AC14F}"/>
          </ac:spMkLst>
        </pc:spChg>
        <pc:spChg chg="mod">
          <ac:chgData name="Jean QUENTIN" userId="6962deb3-b639-4acd-8091-a0516ea2376b" providerId="ADAL" clId="{146BD8F6-FDDD-49D3-A1A6-146C954086FF}" dt="2021-05-24T13:36:21.832" v="5852" actId="790"/>
          <ac:spMkLst>
            <pc:docMk/>
            <pc:sldMk cId="928014684" sldId="10381"/>
            <ac:spMk id="217" creationId="{04205482-E273-4AE6-A802-6F85111ADD10}"/>
          </ac:spMkLst>
        </pc:spChg>
        <pc:spChg chg="mod">
          <ac:chgData name="Jean QUENTIN" userId="6962deb3-b639-4acd-8091-a0516ea2376b" providerId="ADAL" clId="{146BD8F6-FDDD-49D3-A1A6-146C954086FF}" dt="2021-05-25T12:53:16.791" v="14354" actId="20577"/>
          <ac:spMkLst>
            <pc:docMk/>
            <pc:sldMk cId="928014684" sldId="10381"/>
            <ac:spMk id="218" creationId="{4E614FE6-7DC1-4158-A187-FB12FDC67AA7}"/>
          </ac:spMkLst>
        </pc:spChg>
      </pc:sldChg>
      <pc:sldChg chg="modSp mod">
        <pc:chgData name="Jean QUENTIN" userId="6962deb3-b639-4acd-8091-a0516ea2376b" providerId="ADAL" clId="{146BD8F6-FDDD-49D3-A1A6-146C954086FF}" dt="2021-05-24T13:36:20.729" v="5390" actId="790"/>
        <pc:sldMkLst>
          <pc:docMk/>
          <pc:sldMk cId="177760136" sldId="10387"/>
        </pc:sldMkLst>
        <pc:spChg chg="mod">
          <ac:chgData name="Jean QUENTIN" userId="6962deb3-b639-4acd-8091-a0516ea2376b" providerId="ADAL" clId="{146BD8F6-FDDD-49D3-A1A6-146C954086FF}" dt="2021-05-24T13:36:20.683" v="5371" actId="790"/>
          <ac:spMkLst>
            <pc:docMk/>
            <pc:sldMk cId="177760136" sldId="10387"/>
            <ac:spMk id="2" creationId="{436F6B45-BA2B-4C85-B5B6-28EC178522DD}"/>
          </ac:spMkLst>
        </pc:spChg>
        <pc:spChg chg="mod">
          <ac:chgData name="Jean QUENTIN" userId="6962deb3-b639-4acd-8091-a0516ea2376b" providerId="ADAL" clId="{146BD8F6-FDDD-49D3-A1A6-146C954086FF}" dt="2021-05-24T13:36:20.683" v="5372" actId="790"/>
          <ac:spMkLst>
            <pc:docMk/>
            <pc:sldMk cId="177760136" sldId="10387"/>
            <ac:spMk id="10" creationId="{A1B2D03C-5DB5-4B41-ACB2-17648D06B456}"/>
          </ac:spMkLst>
        </pc:spChg>
        <pc:spChg chg="mod">
          <ac:chgData name="Jean QUENTIN" userId="6962deb3-b639-4acd-8091-a0516ea2376b" providerId="ADAL" clId="{146BD8F6-FDDD-49D3-A1A6-146C954086FF}" dt="2021-05-24T13:36:20.683" v="5373" actId="790"/>
          <ac:spMkLst>
            <pc:docMk/>
            <pc:sldMk cId="177760136" sldId="10387"/>
            <ac:spMk id="11" creationId="{B49118EE-CD7D-4A57-BFCC-CCA3BFA5EA0C}"/>
          </ac:spMkLst>
        </pc:spChg>
        <pc:spChg chg="mod">
          <ac:chgData name="Jean QUENTIN" userId="6962deb3-b639-4acd-8091-a0516ea2376b" providerId="ADAL" clId="{146BD8F6-FDDD-49D3-A1A6-146C954086FF}" dt="2021-05-24T13:36:20.683" v="5374" actId="790"/>
          <ac:spMkLst>
            <pc:docMk/>
            <pc:sldMk cId="177760136" sldId="10387"/>
            <ac:spMk id="12" creationId="{FEB1B1AD-9BFF-4534-9FA2-838BF0A5FAA4}"/>
          </ac:spMkLst>
        </pc:spChg>
        <pc:spChg chg="mod">
          <ac:chgData name="Jean QUENTIN" userId="6962deb3-b639-4acd-8091-a0516ea2376b" providerId="ADAL" clId="{146BD8F6-FDDD-49D3-A1A6-146C954086FF}" dt="2021-05-24T13:36:20.698" v="5375" actId="790"/>
          <ac:spMkLst>
            <pc:docMk/>
            <pc:sldMk cId="177760136" sldId="10387"/>
            <ac:spMk id="14" creationId="{7BDDF5AD-5B37-4B7B-8C30-7E5CA6CB4043}"/>
          </ac:spMkLst>
        </pc:spChg>
        <pc:spChg chg="mod">
          <ac:chgData name="Jean QUENTIN" userId="6962deb3-b639-4acd-8091-a0516ea2376b" providerId="ADAL" clId="{146BD8F6-FDDD-49D3-A1A6-146C954086FF}" dt="2021-05-24T13:36:20.698" v="5376" actId="790"/>
          <ac:spMkLst>
            <pc:docMk/>
            <pc:sldMk cId="177760136" sldId="10387"/>
            <ac:spMk id="16" creationId="{6AFB6F3B-617C-4E9A-BDB1-E66CE5E7BAF2}"/>
          </ac:spMkLst>
        </pc:spChg>
        <pc:spChg chg="mod">
          <ac:chgData name="Jean QUENTIN" userId="6962deb3-b639-4acd-8091-a0516ea2376b" providerId="ADAL" clId="{146BD8F6-FDDD-49D3-A1A6-146C954086FF}" dt="2021-05-24T13:36:20.698" v="5377" actId="790"/>
          <ac:spMkLst>
            <pc:docMk/>
            <pc:sldMk cId="177760136" sldId="10387"/>
            <ac:spMk id="19" creationId="{73CC2FF0-1620-4B7A-843B-3D3C2AE458FE}"/>
          </ac:spMkLst>
        </pc:spChg>
        <pc:spChg chg="mod">
          <ac:chgData name="Jean QUENTIN" userId="6962deb3-b639-4acd-8091-a0516ea2376b" providerId="ADAL" clId="{146BD8F6-FDDD-49D3-A1A6-146C954086FF}" dt="2021-05-24T13:36:20.698" v="5378" actId="790"/>
          <ac:spMkLst>
            <pc:docMk/>
            <pc:sldMk cId="177760136" sldId="10387"/>
            <ac:spMk id="20" creationId="{8EC25760-36A2-4025-9B9B-299007EC8CF7}"/>
          </ac:spMkLst>
        </pc:spChg>
        <pc:spChg chg="mod">
          <ac:chgData name="Jean QUENTIN" userId="6962deb3-b639-4acd-8091-a0516ea2376b" providerId="ADAL" clId="{146BD8F6-FDDD-49D3-A1A6-146C954086FF}" dt="2021-05-24T13:36:20.698" v="5379" actId="790"/>
          <ac:spMkLst>
            <pc:docMk/>
            <pc:sldMk cId="177760136" sldId="10387"/>
            <ac:spMk id="21" creationId="{20863C10-21C2-486C-936F-F9040E9C8476}"/>
          </ac:spMkLst>
        </pc:spChg>
        <pc:spChg chg="mod">
          <ac:chgData name="Jean QUENTIN" userId="6962deb3-b639-4acd-8091-a0516ea2376b" providerId="ADAL" clId="{146BD8F6-FDDD-49D3-A1A6-146C954086FF}" dt="2021-05-24T13:36:20.698" v="5380" actId="790"/>
          <ac:spMkLst>
            <pc:docMk/>
            <pc:sldMk cId="177760136" sldId="10387"/>
            <ac:spMk id="22" creationId="{117F0456-6AAE-46E2-83E3-977665874781}"/>
          </ac:spMkLst>
        </pc:spChg>
        <pc:spChg chg="mod">
          <ac:chgData name="Jean QUENTIN" userId="6962deb3-b639-4acd-8091-a0516ea2376b" providerId="ADAL" clId="{146BD8F6-FDDD-49D3-A1A6-146C954086FF}" dt="2021-05-24T13:36:20.698" v="5381" actId="790"/>
          <ac:spMkLst>
            <pc:docMk/>
            <pc:sldMk cId="177760136" sldId="10387"/>
            <ac:spMk id="23" creationId="{1BFA432E-B00A-410E-968D-9E0C6059E2B0}"/>
          </ac:spMkLst>
        </pc:spChg>
        <pc:spChg chg="mod">
          <ac:chgData name="Jean QUENTIN" userId="6962deb3-b639-4acd-8091-a0516ea2376b" providerId="ADAL" clId="{146BD8F6-FDDD-49D3-A1A6-146C954086FF}" dt="2021-05-24T13:36:20.698" v="5382" actId="790"/>
          <ac:spMkLst>
            <pc:docMk/>
            <pc:sldMk cId="177760136" sldId="10387"/>
            <ac:spMk id="24" creationId="{4D142772-C0FC-4E1B-8722-0710CB2D6A27}"/>
          </ac:spMkLst>
        </pc:spChg>
        <pc:spChg chg="mod">
          <ac:chgData name="Jean QUENTIN" userId="6962deb3-b639-4acd-8091-a0516ea2376b" providerId="ADAL" clId="{146BD8F6-FDDD-49D3-A1A6-146C954086FF}" dt="2021-05-24T13:36:20.698" v="5383" actId="790"/>
          <ac:spMkLst>
            <pc:docMk/>
            <pc:sldMk cId="177760136" sldId="10387"/>
            <ac:spMk id="25" creationId="{F7E3780D-07E3-49CB-A488-8D48D2DD727B}"/>
          </ac:spMkLst>
        </pc:spChg>
        <pc:spChg chg="mod">
          <ac:chgData name="Jean QUENTIN" userId="6962deb3-b639-4acd-8091-a0516ea2376b" providerId="ADAL" clId="{146BD8F6-FDDD-49D3-A1A6-146C954086FF}" dt="2021-05-24T13:36:20.698" v="5384" actId="790"/>
          <ac:spMkLst>
            <pc:docMk/>
            <pc:sldMk cId="177760136" sldId="10387"/>
            <ac:spMk id="26" creationId="{06355F29-BF53-45D1-8A9B-DD83D357F34D}"/>
          </ac:spMkLst>
        </pc:spChg>
        <pc:spChg chg="mod">
          <ac:chgData name="Jean QUENTIN" userId="6962deb3-b639-4acd-8091-a0516ea2376b" providerId="ADAL" clId="{146BD8F6-FDDD-49D3-A1A6-146C954086FF}" dt="2021-05-24T13:36:20.714" v="5385" actId="790"/>
          <ac:spMkLst>
            <pc:docMk/>
            <pc:sldMk cId="177760136" sldId="10387"/>
            <ac:spMk id="30" creationId="{242F26BC-48D8-467A-A6CD-331EC9B568C9}"/>
          </ac:spMkLst>
        </pc:spChg>
        <pc:spChg chg="mod">
          <ac:chgData name="Jean QUENTIN" userId="6962deb3-b639-4acd-8091-a0516ea2376b" providerId="ADAL" clId="{146BD8F6-FDDD-49D3-A1A6-146C954086FF}" dt="2021-05-24T13:36:20.714" v="5386" actId="790"/>
          <ac:spMkLst>
            <pc:docMk/>
            <pc:sldMk cId="177760136" sldId="10387"/>
            <ac:spMk id="33" creationId="{0C42220C-E0C0-4442-8C78-C607D32D7C6A}"/>
          </ac:spMkLst>
        </pc:spChg>
        <pc:spChg chg="mod">
          <ac:chgData name="Jean QUENTIN" userId="6962deb3-b639-4acd-8091-a0516ea2376b" providerId="ADAL" clId="{146BD8F6-FDDD-49D3-A1A6-146C954086FF}" dt="2021-05-24T13:36:20.714" v="5387" actId="790"/>
          <ac:spMkLst>
            <pc:docMk/>
            <pc:sldMk cId="177760136" sldId="10387"/>
            <ac:spMk id="34" creationId="{C83894F5-3A2A-4D54-AE15-3AE551436F84}"/>
          </ac:spMkLst>
        </pc:spChg>
        <pc:spChg chg="mod">
          <ac:chgData name="Jean QUENTIN" userId="6962deb3-b639-4acd-8091-a0516ea2376b" providerId="ADAL" clId="{146BD8F6-FDDD-49D3-A1A6-146C954086FF}" dt="2021-05-24T13:36:20.729" v="5388" actId="790"/>
          <ac:spMkLst>
            <pc:docMk/>
            <pc:sldMk cId="177760136" sldId="10387"/>
            <ac:spMk id="35" creationId="{6E7DE376-6590-44EF-AE1D-4EFDD8EAD509}"/>
          </ac:spMkLst>
        </pc:spChg>
        <pc:spChg chg="mod">
          <ac:chgData name="Jean QUENTIN" userId="6962deb3-b639-4acd-8091-a0516ea2376b" providerId="ADAL" clId="{146BD8F6-FDDD-49D3-A1A6-146C954086FF}" dt="2021-05-24T13:36:20.729" v="5389" actId="790"/>
          <ac:spMkLst>
            <pc:docMk/>
            <pc:sldMk cId="177760136" sldId="10387"/>
            <ac:spMk id="40" creationId="{7E1EA942-DCE8-4CB4-A6CD-F002A4046CDC}"/>
          </ac:spMkLst>
        </pc:spChg>
        <pc:spChg chg="mod">
          <ac:chgData name="Jean QUENTIN" userId="6962deb3-b639-4acd-8091-a0516ea2376b" providerId="ADAL" clId="{146BD8F6-FDDD-49D3-A1A6-146C954086FF}" dt="2021-05-24T13:36:20.729" v="5390" actId="790"/>
          <ac:spMkLst>
            <pc:docMk/>
            <pc:sldMk cId="177760136" sldId="10387"/>
            <ac:spMk id="41" creationId="{543133D6-14FE-4614-9937-A1C6BE4F5B59}"/>
          </ac:spMkLst>
        </pc:spChg>
      </pc:sldChg>
      <pc:sldChg chg="modSp mod">
        <pc:chgData name="Jean QUENTIN" userId="6962deb3-b639-4acd-8091-a0516ea2376b" providerId="ADAL" clId="{146BD8F6-FDDD-49D3-A1A6-146C954086FF}" dt="2021-05-24T13:36:20.683" v="5370" actId="790"/>
        <pc:sldMkLst>
          <pc:docMk/>
          <pc:sldMk cId="2528439242" sldId="10388"/>
        </pc:sldMkLst>
        <pc:spChg chg="mod">
          <ac:chgData name="Jean QUENTIN" userId="6962deb3-b639-4acd-8091-a0516ea2376b" providerId="ADAL" clId="{146BD8F6-FDDD-49D3-A1A6-146C954086FF}" dt="2021-05-24T13:36:20.598" v="5345" actId="790"/>
          <ac:spMkLst>
            <pc:docMk/>
            <pc:sldMk cId="2528439242" sldId="10388"/>
            <ac:spMk id="2" creationId="{3B352272-A751-4371-9AD1-0EDAA488B5E8}"/>
          </ac:spMkLst>
        </pc:spChg>
        <pc:spChg chg="mod">
          <ac:chgData name="Jean QUENTIN" userId="6962deb3-b639-4acd-8091-a0516ea2376b" providerId="ADAL" clId="{146BD8F6-FDDD-49D3-A1A6-146C954086FF}" dt="2021-05-24T13:36:20.629" v="5346" actId="790"/>
          <ac:spMkLst>
            <pc:docMk/>
            <pc:sldMk cId="2528439242" sldId="10388"/>
            <ac:spMk id="5" creationId="{75A23189-992A-44C6-A85B-8751CD441843}"/>
          </ac:spMkLst>
        </pc:spChg>
        <pc:spChg chg="mod">
          <ac:chgData name="Jean QUENTIN" userId="6962deb3-b639-4acd-8091-a0516ea2376b" providerId="ADAL" clId="{146BD8F6-FDDD-49D3-A1A6-146C954086FF}" dt="2021-05-24T13:36:20.629" v="5347" actId="790"/>
          <ac:spMkLst>
            <pc:docMk/>
            <pc:sldMk cId="2528439242" sldId="10388"/>
            <ac:spMk id="10" creationId="{3CD560AD-8D0B-419C-AA90-58F40CB49620}"/>
          </ac:spMkLst>
        </pc:spChg>
        <pc:spChg chg="mod">
          <ac:chgData name="Jean QUENTIN" userId="6962deb3-b639-4acd-8091-a0516ea2376b" providerId="ADAL" clId="{146BD8F6-FDDD-49D3-A1A6-146C954086FF}" dt="2021-05-24T13:36:20.629" v="5348" actId="790"/>
          <ac:spMkLst>
            <pc:docMk/>
            <pc:sldMk cId="2528439242" sldId="10388"/>
            <ac:spMk id="44" creationId="{825CF11B-020D-44AE-8B0F-94296B87E5E2}"/>
          </ac:spMkLst>
        </pc:spChg>
        <pc:spChg chg="mod">
          <ac:chgData name="Jean QUENTIN" userId="6962deb3-b639-4acd-8091-a0516ea2376b" providerId="ADAL" clId="{146BD8F6-FDDD-49D3-A1A6-146C954086FF}" dt="2021-05-24T13:36:20.629" v="5349" actId="790"/>
          <ac:spMkLst>
            <pc:docMk/>
            <pc:sldMk cId="2528439242" sldId="10388"/>
            <ac:spMk id="45" creationId="{19C7679B-BDAB-4644-A933-4403268C4016}"/>
          </ac:spMkLst>
        </pc:spChg>
        <pc:spChg chg="mod">
          <ac:chgData name="Jean QUENTIN" userId="6962deb3-b639-4acd-8091-a0516ea2376b" providerId="ADAL" clId="{146BD8F6-FDDD-49D3-A1A6-146C954086FF}" dt="2021-05-24T13:36:20.629" v="5350" actId="790"/>
          <ac:spMkLst>
            <pc:docMk/>
            <pc:sldMk cId="2528439242" sldId="10388"/>
            <ac:spMk id="47" creationId="{C0C9DCEC-47A0-4811-8A76-D04843C86F35}"/>
          </ac:spMkLst>
        </pc:spChg>
        <pc:spChg chg="mod">
          <ac:chgData name="Jean QUENTIN" userId="6962deb3-b639-4acd-8091-a0516ea2376b" providerId="ADAL" clId="{146BD8F6-FDDD-49D3-A1A6-146C954086FF}" dt="2021-05-24T13:36:20.629" v="5351" actId="790"/>
          <ac:spMkLst>
            <pc:docMk/>
            <pc:sldMk cId="2528439242" sldId="10388"/>
            <ac:spMk id="48" creationId="{ED2AA03F-F69F-4109-991C-D4EA22467928}"/>
          </ac:spMkLst>
        </pc:spChg>
        <pc:spChg chg="mod">
          <ac:chgData name="Jean QUENTIN" userId="6962deb3-b639-4acd-8091-a0516ea2376b" providerId="ADAL" clId="{146BD8F6-FDDD-49D3-A1A6-146C954086FF}" dt="2021-05-24T13:36:20.629" v="5352" actId="790"/>
          <ac:spMkLst>
            <pc:docMk/>
            <pc:sldMk cId="2528439242" sldId="10388"/>
            <ac:spMk id="49" creationId="{E292EA57-219F-446B-84E6-3859851D00A6}"/>
          </ac:spMkLst>
        </pc:spChg>
        <pc:spChg chg="mod">
          <ac:chgData name="Jean QUENTIN" userId="6962deb3-b639-4acd-8091-a0516ea2376b" providerId="ADAL" clId="{146BD8F6-FDDD-49D3-A1A6-146C954086FF}" dt="2021-05-24T13:36:20.629" v="5353" actId="790"/>
          <ac:spMkLst>
            <pc:docMk/>
            <pc:sldMk cId="2528439242" sldId="10388"/>
            <ac:spMk id="50" creationId="{4CC5E3A4-CFC1-47E7-85E4-E4EFAE07F51B}"/>
          </ac:spMkLst>
        </pc:spChg>
        <pc:spChg chg="mod">
          <ac:chgData name="Jean QUENTIN" userId="6962deb3-b639-4acd-8091-a0516ea2376b" providerId="ADAL" clId="{146BD8F6-FDDD-49D3-A1A6-146C954086FF}" dt="2021-05-24T13:36:20.629" v="5354" actId="790"/>
          <ac:spMkLst>
            <pc:docMk/>
            <pc:sldMk cId="2528439242" sldId="10388"/>
            <ac:spMk id="53" creationId="{8BC60B44-FC35-49C3-A67D-8C09E11BF871}"/>
          </ac:spMkLst>
        </pc:spChg>
        <pc:spChg chg="mod">
          <ac:chgData name="Jean QUENTIN" userId="6962deb3-b639-4acd-8091-a0516ea2376b" providerId="ADAL" clId="{146BD8F6-FDDD-49D3-A1A6-146C954086FF}" dt="2021-05-24T13:36:20.629" v="5355" actId="790"/>
          <ac:spMkLst>
            <pc:docMk/>
            <pc:sldMk cId="2528439242" sldId="10388"/>
            <ac:spMk id="60" creationId="{42959E40-E36F-47FF-AC7E-ABFFED50E051}"/>
          </ac:spMkLst>
        </pc:spChg>
        <pc:spChg chg="mod">
          <ac:chgData name="Jean QUENTIN" userId="6962deb3-b639-4acd-8091-a0516ea2376b" providerId="ADAL" clId="{146BD8F6-FDDD-49D3-A1A6-146C954086FF}" dt="2021-05-24T13:36:20.629" v="5356" actId="790"/>
          <ac:spMkLst>
            <pc:docMk/>
            <pc:sldMk cId="2528439242" sldId="10388"/>
            <ac:spMk id="75" creationId="{AC8EE432-C25E-45E1-A3C2-234AD2EA8AAD}"/>
          </ac:spMkLst>
        </pc:spChg>
        <pc:spChg chg="mod">
          <ac:chgData name="Jean QUENTIN" userId="6962deb3-b639-4acd-8091-a0516ea2376b" providerId="ADAL" clId="{146BD8F6-FDDD-49D3-A1A6-146C954086FF}" dt="2021-05-24T13:36:20.629" v="5357" actId="790"/>
          <ac:spMkLst>
            <pc:docMk/>
            <pc:sldMk cId="2528439242" sldId="10388"/>
            <ac:spMk id="81" creationId="{4B3A7871-D042-41DF-9E79-7E565E264575}"/>
          </ac:spMkLst>
        </pc:spChg>
        <pc:spChg chg="mod">
          <ac:chgData name="Jean QUENTIN" userId="6962deb3-b639-4acd-8091-a0516ea2376b" providerId="ADAL" clId="{146BD8F6-FDDD-49D3-A1A6-146C954086FF}" dt="2021-05-24T13:36:20.645" v="5358" actId="790"/>
          <ac:spMkLst>
            <pc:docMk/>
            <pc:sldMk cId="2528439242" sldId="10388"/>
            <ac:spMk id="86" creationId="{647AB55A-67E0-4E8B-BAEA-FB47DB36A6B9}"/>
          </ac:spMkLst>
        </pc:spChg>
        <pc:spChg chg="mod">
          <ac:chgData name="Jean QUENTIN" userId="6962deb3-b639-4acd-8091-a0516ea2376b" providerId="ADAL" clId="{146BD8F6-FDDD-49D3-A1A6-146C954086FF}" dt="2021-05-24T13:36:20.582" v="5344" actId="790"/>
          <ac:spMkLst>
            <pc:docMk/>
            <pc:sldMk cId="2528439242" sldId="10388"/>
            <ac:spMk id="87" creationId="{C9E07055-AC48-4337-B5C4-6806E36F3F9E}"/>
          </ac:spMkLst>
        </pc:spChg>
        <pc:spChg chg="mod">
          <ac:chgData name="Jean QUENTIN" userId="6962deb3-b639-4acd-8091-a0516ea2376b" providerId="ADAL" clId="{146BD8F6-FDDD-49D3-A1A6-146C954086FF}" dt="2021-05-24T13:36:20.645" v="5359" actId="790"/>
          <ac:spMkLst>
            <pc:docMk/>
            <pc:sldMk cId="2528439242" sldId="10388"/>
            <ac:spMk id="88" creationId="{9D09228C-7646-4BC5-BAD2-2D61E3E54D79}"/>
          </ac:spMkLst>
        </pc:spChg>
        <pc:spChg chg="mod">
          <ac:chgData name="Jean QUENTIN" userId="6962deb3-b639-4acd-8091-a0516ea2376b" providerId="ADAL" clId="{146BD8F6-FDDD-49D3-A1A6-146C954086FF}" dt="2021-05-24T13:36:20.645" v="5360" actId="790"/>
          <ac:spMkLst>
            <pc:docMk/>
            <pc:sldMk cId="2528439242" sldId="10388"/>
            <ac:spMk id="89" creationId="{C5E212F5-085B-4C52-B70C-29F107B2D040}"/>
          </ac:spMkLst>
        </pc:spChg>
        <pc:spChg chg="mod">
          <ac:chgData name="Jean QUENTIN" userId="6962deb3-b639-4acd-8091-a0516ea2376b" providerId="ADAL" clId="{146BD8F6-FDDD-49D3-A1A6-146C954086FF}" dt="2021-05-24T13:36:20.667" v="5361" actId="790"/>
          <ac:spMkLst>
            <pc:docMk/>
            <pc:sldMk cId="2528439242" sldId="10388"/>
            <ac:spMk id="90" creationId="{AA7DC620-97D4-48DE-A664-29FE4FE4CEE0}"/>
          </ac:spMkLst>
        </pc:spChg>
        <pc:spChg chg="mod">
          <ac:chgData name="Jean QUENTIN" userId="6962deb3-b639-4acd-8091-a0516ea2376b" providerId="ADAL" clId="{146BD8F6-FDDD-49D3-A1A6-146C954086FF}" dt="2021-05-24T13:36:20.667" v="5362" actId="790"/>
          <ac:spMkLst>
            <pc:docMk/>
            <pc:sldMk cId="2528439242" sldId="10388"/>
            <ac:spMk id="91" creationId="{7DB27FE9-EB88-44E0-94CE-3C9F00A5A79B}"/>
          </ac:spMkLst>
        </pc:spChg>
        <pc:spChg chg="mod">
          <ac:chgData name="Jean QUENTIN" userId="6962deb3-b639-4acd-8091-a0516ea2376b" providerId="ADAL" clId="{146BD8F6-FDDD-49D3-A1A6-146C954086FF}" dt="2021-05-24T13:36:20.667" v="5363" actId="790"/>
          <ac:spMkLst>
            <pc:docMk/>
            <pc:sldMk cId="2528439242" sldId="10388"/>
            <ac:spMk id="93" creationId="{A2D207EF-8BD0-44D3-A624-1DFFE05EABF1}"/>
          </ac:spMkLst>
        </pc:spChg>
        <pc:spChg chg="mod">
          <ac:chgData name="Jean QUENTIN" userId="6962deb3-b639-4acd-8091-a0516ea2376b" providerId="ADAL" clId="{146BD8F6-FDDD-49D3-A1A6-146C954086FF}" dt="2021-05-24T13:36:20.667" v="5364" actId="790"/>
          <ac:spMkLst>
            <pc:docMk/>
            <pc:sldMk cId="2528439242" sldId="10388"/>
            <ac:spMk id="94" creationId="{80AADE10-9CDF-44C5-9D0C-F4BE5573C2CB}"/>
          </ac:spMkLst>
        </pc:spChg>
        <pc:spChg chg="mod">
          <ac:chgData name="Jean QUENTIN" userId="6962deb3-b639-4acd-8091-a0516ea2376b" providerId="ADAL" clId="{146BD8F6-FDDD-49D3-A1A6-146C954086FF}" dt="2021-05-24T13:36:20.667" v="5365" actId="790"/>
          <ac:spMkLst>
            <pc:docMk/>
            <pc:sldMk cId="2528439242" sldId="10388"/>
            <ac:spMk id="95" creationId="{30A06502-CA72-44B0-9989-88A02C62242D}"/>
          </ac:spMkLst>
        </pc:spChg>
        <pc:spChg chg="mod">
          <ac:chgData name="Jean QUENTIN" userId="6962deb3-b639-4acd-8091-a0516ea2376b" providerId="ADAL" clId="{146BD8F6-FDDD-49D3-A1A6-146C954086FF}" dt="2021-05-24T13:36:20.667" v="5369" actId="790"/>
          <ac:spMkLst>
            <pc:docMk/>
            <pc:sldMk cId="2528439242" sldId="10388"/>
            <ac:spMk id="96" creationId="{11D4BEF8-7D64-4110-B927-2D2241B2ACD1}"/>
          </ac:spMkLst>
        </pc:spChg>
        <pc:spChg chg="mod">
          <ac:chgData name="Jean QUENTIN" userId="6962deb3-b639-4acd-8091-a0516ea2376b" providerId="ADAL" clId="{146BD8F6-FDDD-49D3-A1A6-146C954086FF}" dt="2021-05-24T13:36:20.683" v="5370" actId="790"/>
          <ac:spMkLst>
            <pc:docMk/>
            <pc:sldMk cId="2528439242" sldId="10388"/>
            <ac:spMk id="97" creationId="{515D236C-2659-4BD5-937E-79D9E704302D}"/>
          </ac:spMkLst>
        </pc:spChg>
        <pc:spChg chg="mod">
          <ac:chgData name="Jean QUENTIN" userId="6962deb3-b639-4acd-8091-a0516ea2376b" providerId="ADAL" clId="{146BD8F6-FDDD-49D3-A1A6-146C954086FF}" dt="2021-05-24T13:36:20.667" v="5366" actId="790"/>
          <ac:spMkLst>
            <pc:docMk/>
            <pc:sldMk cId="2528439242" sldId="10388"/>
            <ac:spMk id="98" creationId="{05365063-0175-4B93-AFCD-4B0E8A70538E}"/>
          </ac:spMkLst>
        </pc:spChg>
        <pc:spChg chg="mod">
          <ac:chgData name="Jean QUENTIN" userId="6962deb3-b639-4acd-8091-a0516ea2376b" providerId="ADAL" clId="{146BD8F6-FDDD-49D3-A1A6-146C954086FF}" dt="2021-05-24T13:36:20.667" v="5367" actId="790"/>
          <ac:spMkLst>
            <pc:docMk/>
            <pc:sldMk cId="2528439242" sldId="10388"/>
            <ac:spMk id="104" creationId="{29510A5E-9BDC-4463-8D19-55AB8604B20E}"/>
          </ac:spMkLst>
        </pc:spChg>
        <pc:spChg chg="mod">
          <ac:chgData name="Jean QUENTIN" userId="6962deb3-b639-4acd-8091-a0516ea2376b" providerId="ADAL" clId="{146BD8F6-FDDD-49D3-A1A6-146C954086FF}" dt="2021-05-24T13:36:20.667" v="5368" actId="790"/>
          <ac:spMkLst>
            <pc:docMk/>
            <pc:sldMk cId="2528439242" sldId="10388"/>
            <ac:spMk id="107" creationId="{E622BEC9-977B-45CD-8F2B-0CBF440BC9B1}"/>
          </ac:spMkLst>
        </pc:spChg>
      </pc:sldChg>
      <pc:sldChg chg="modSp mod">
        <pc:chgData name="Jean QUENTIN" userId="6962deb3-b639-4acd-8091-a0516ea2376b" providerId="ADAL" clId="{146BD8F6-FDDD-49D3-A1A6-146C954086FF}" dt="2021-05-24T13:36:20.845" v="5433" actId="790"/>
        <pc:sldMkLst>
          <pc:docMk/>
          <pc:sldMk cId="2291217259" sldId="10389"/>
        </pc:sldMkLst>
        <pc:spChg chg="mod">
          <ac:chgData name="Jean QUENTIN" userId="6962deb3-b639-4acd-8091-a0516ea2376b" providerId="ADAL" clId="{146BD8F6-FDDD-49D3-A1A6-146C954086FF}" dt="2021-05-24T13:36:20.814" v="5421" actId="790"/>
          <ac:spMkLst>
            <pc:docMk/>
            <pc:sldMk cId="2291217259" sldId="10389"/>
            <ac:spMk id="2" creationId="{3B352272-A751-4371-9AD1-0EDAA488B5E8}"/>
          </ac:spMkLst>
        </pc:spChg>
        <pc:spChg chg="mod">
          <ac:chgData name="Jean QUENTIN" userId="6962deb3-b639-4acd-8091-a0516ea2376b" providerId="ADAL" clId="{146BD8F6-FDDD-49D3-A1A6-146C954086FF}" dt="2021-05-24T13:36:20.814" v="5422" actId="790"/>
          <ac:spMkLst>
            <pc:docMk/>
            <pc:sldMk cId="2291217259" sldId="10389"/>
            <ac:spMk id="3" creationId="{12B1867D-7FC0-41D7-B16A-252CAC322DC3}"/>
          </ac:spMkLst>
        </pc:spChg>
        <pc:spChg chg="mod">
          <ac:chgData name="Jean QUENTIN" userId="6962deb3-b639-4acd-8091-a0516ea2376b" providerId="ADAL" clId="{146BD8F6-FDDD-49D3-A1A6-146C954086FF}" dt="2021-05-24T13:36:20.814" v="5423" actId="790"/>
          <ac:spMkLst>
            <pc:docMk/>
            <pc:sldMk cId="2291217259" sldId="10389"/>
            <ac:spMk id="8" creationId="{978B0D85-EA24-49FC-AC13-F92A746B9E0F}"/>
          </ac:spMkLst>
        </pc:spChg>
        <pc:spChg chg="mod">
          <ac:chgData name="Jean QUENTIN" userId="6962deb3-b639-4acd-8091-a0516ea2376b" providerId="ADAL" clId="{146BD8F6-FDDD-49D3-A1A6-146C954086FF}" dt="2021-05-24T13:36:20.830" v="5424" actId="790"/>
          <ac:spMkLst>
            <pc:docMk/>
            <pc:sldMk cId="2291217259" sldId="10389"/>
            <ac:spMk id="9" creationId="{9A6993AB-2507-445A-85BB-0A267AF64F0A}"/>
          </ac:spMkLst>
        </pc:spChg>
        <pc:spChg chg="mod">
          <ac:chgData name="Jean QUENTIN" userId="6962deb3-b639-4acd-8091-a0516ea2376b" providerId="ADAL" clId="{146BD8F6-FDDD-49D3-A1A6-146C954086FF}" dt="2021-05-24T13:36:20.830" v="5425" actId="790"/>
          <ac:spMkLst>
            <pc:docMk/>
            <pc:sldMk cId="2291217259" sldId="10389"/>
            <ac:spMk id="12" creationId="{3F2CDE39-4AC6-4699-8B07-1ABF26133FE5}"/>
          </ac:spMkLst>
        </pc:spChg>
        <pc:spChg chg="mod">
          <ac:chgData name="Jean QUENTIN" userId="6962deb3-b639-4acd-8091-a0516ea2376b" providerId="ADAL" clId="{146BD8F6-FDDD-49D3-A1A6-146C954086FF}" dt="2021-05-24T13:36:20.830" v="5426" actId="790"/>
          <ac:spMkLst>
            <pc:docMk/>
            <pc:sldMk cId="2291217259" sldId="10389"/>
            <ac:spMk id="13" creationId="{64367A5B-BB94-4167-9C66-8135A52BBE42}"/>
          </ac:spMkLst>
        </pc:spChg>
        <pc:spChg chg="mod">
          <ac:chgData name="Jean QUENTIN" userId="6962deb3-b639-4acd-8091-a0516ea2376b" providerId="ADAL" clId="{146BD8F6-FDDD-49D3-A1A6-146C954086FF}" dt="2021-05-24T13:36:20.830" v="5427" actId="790"/>
          <ac:spMkLst>
            <pc:docMk/>
            <pc:sldMk cId="2291217259" sldId="10389"/>
            <ac:spMk id="24" creationId="{57ABB67D-0AFF-4868-A992-707AE87BE54E}"/>
          </ac:spMkLst>
        </pc:spChg>
        <pc:spChg chg="mod">
          <ac:chgData name="Jean QUENTIN" userId="6962deb3-b639-4acd-8091-a0516ea2376b" providerId="ADAL" clId="{146BD8F6-FDDD-49D3-A1A6-146C954086FF}" dt="2021-05-24T13:36:20.830" v="5428" actId="790"/>
          <ac:spMkLst>
            <pc:docMk/>
            <pc:sldMk cId="2291217259" sldId="10389"/>
            <ac:spMk id="25" creationId="{7CD32595-D728-448F-9B85-F3CA600A3C2B}"/>
          </ac:spMkLst>
        </pc:spChg>
        <pc:spChg chg="mod">
          <ac:chgData name="Jean QUENTIN" userId="6962deb3-b639-4acd-8091-a0516ea2376b" providerId="ADAL" clId="{146BD8F6-FDDD-49D3-A1A6-146C954086FF}" dt="2021-05-24T13:36:20.845" v="5429" actId="790"/>
          <ac:spMkLst>
            <pc:docMk/>
            <pc:sldMk cId="2291217259" sldId="10389"/>
            <ac:spMk id="26" creationId="{4B825778-5C85-4371-8748-208C09A2BE6D}"/>
          </ac:spMkLst>
        </pc:spChg>
        <pc:spChg chg="mod">
          <ac:chgData name="Jean QUENTIN" userId="6962deb3-b639-4acd-8091-a0516ea2376b" providerId="ADAL" clId="{146BD8F6-FDDD-49D3-A1A6-146C954086FF}" dt="2021-05-24T13:36:20.845" v="5430" actId="790"/>
          <ac:spMkLst>
            <pc:docMk/>
            <pc:sldMk cId="2291217259" sldId="10389"/>
            <ac:spMk id="27" creationId="{553FE55F-4861-49E1-8748-B6AA0F422D3C}"/>
          </ac:spMkLst>
        </pc:spChg>
        <pc:spChg chg="mod">
          <ac:chgData name="Jean QUENTIN" userId="6962deb3-b639-4acd-8091-a0516ea2376b" providerId="ADAL" clId="{146BD8F6-FDDD-49D3-A1A6-146C954086FF}" dt="2021-05-24T13:36:20.845" v="5431" actId="790"/>
          <ac:spMkLst>
            <pc:docMk/>
            <pc:sldMk cId="2291217259" sldId="10389"/>
            <ac:spMk id="28" creationId="{2948C625-FF0D-4674-B942-3B8C1142FD9E}"/>
          </ac:spMkLst>
        </pc:spChg>
        <pc:spChg chg="mod">
          <ac:chgData name="Jean QUENTIN" userId="6962deb3-b639-4acd-8091-a0516ea2376b" providerId="ADAL" clId="{146BD8F6-FDDD-49D3-A1A6-146C954086FF}" dt="2021-05-24T13:36:20.845" v="5432" actId="790"/>
          <ac:spMkLst>
            <pc:docMk/>
            <pc:sldMk cId="2291217259" sldId="10389"/>
            <ac:spMk id="32" creationId="{87DC370F-246E-49A6-9BEE-38641DE2212A}"/>
          </ac:spMkLst>
        </pc:spChg>
        <pc:spChg chg="mod">
          <ac:chgData name="Jean QUENTIN" userId="6962deb3-b639-4acd-8091-a0516ea2376b" providerId="ADAL" clId="{146BD8F6-FDDD-49D3-A1A6-146C954086FF}" dt="2021-05-24T13:36:20.845" v="5433" actId="790"/>
          <ac:spMkLst>
            <pc:docMk/>
            <pc:sldMk cId="2291217259" sldId="10389"/>
            <ac:spMk id="33" creationId="{333F0985-FD07-4FC4-ABD0-0CA27B7F45F6}"/>
          </ac:spMkLst>
        </pc:spChg>
      </pc:sldChg>
      <pc:sldChg chg="modSp mod">
        <pc:chgData name="Jean QUENTIN" userId="6962deb3-b639-4acd-8091-a0516ea2376b" providerId="ADAL" clId="{146BD8F6-FDDD-49D3-A1A6-146C954086FF}" dt="2021-05-24T13:36:20.582" v="5343" actId="790"/>
        <pc:sldMkLst>
          <pc:docMk/>
          <pc:sldMk cId="1963154161" sldId="10390"/>
        </pc:sldMkLst>
        <pc:spChg chg="mod">
          <ac:chgData name="Jean QUENTIN" userId="6962deb3-b639-4acd-8091-a0516ea2376b" providerId="ADAL" clId="{146BD8F6-FDDD-49D3-A1A6-146C954086FF}" dt="2021-05-24T13:36:20.513" v="5310" actId="790"/>
          <ac:spMkLst>
            <pc:docMk/>
            <pc:sldMk cId="1963154161" sldId="10390"/>
            <ac:spMk id="2" creationId="{3B352272-A751-4371-9AD1-0EDAA488B5E8}"/>
          </ac:spMkLst>
        </pc:spChg>
        <pc:spChg chg="mod">
          <ac:chgData name="Jean QUENTIN" userId="6962deb3-b639-4acd-8091-a0516ea2376b" providerId="ADAL" clId="{146BD8F6-FDDD-49D3-A1A6-146C954086FF}" dt="2021-05-24T13:36:20.513" v="5311" actId="790"/>
          <ac:spMkLst>
            <pc:docMk/>
            <pc:sldMk cId="1963154161" sldId="10390"/>
            <ac:spMk id="27" creationId="{82A97B99-F7FE-4B4A-8D64-80E6C8EF07CA}"/>
          </ac:spMkLst>
        </pc:spChg>
        <pc:spChg chg="mod">
          <ac:chgData name="Jean QUENTIN" userId="6962deb3-b639-4acd-8091-a0516ea2376b" providerId="ADAL" clId="{146BD8F6-FDDD-49D3-A1A6-146C954086FF}" dt="2021-05-24T13:36:20.513" v="5312" actId="790"/>
          <ac:spMkLst>
            <pc:docMk/>
            <pc:sldMk cId="1963154161" sldId="10390"/>
            <ac:spMk id="28" creationId="{19518F5B-5922-4379-B8C3-76136ADF97B5}"/>
          </ac:spMkLst>
        </pc:spChg>
        <pc:spChg chg="mod">
          <ac:chgData name="Jean QUENTIN" userId="6962deb3-b639-4acd-8091-a0516ea2376b" providerId="ADAL" clId="{146BD8F6-FDDD-49D3-A1A6-146C954086FF}" dt="2021-05-24T13:36:20.513" v="5313" actId="790"/>
          <ac:spMkLst>
            <pc:docMk/>
            <pc:sldMk cId="1963154161" sldId="10390"/>
            <ac:spMk id="30" creationId="{77660FB8-EA69-47A9-AEA2-E46F353BFB2B}"/>
          </ac:spMkLst>
        </pc:spChg>
        <pc:spChg chg="mod">
          <ac:chgData name="Jean QUENTIN" userId="6962deb3-b639-4acd-8091-a0516ea2376b" providerId="ADAL" clId="{146BD8F6-FDDD-49D3-A1A6-146C954086FF}" dt="2021-05-24T13:36:20.513" v="5314" actId="790"/>
          <ac:spMkLst>
            <pc:docMk/>
            <pc:sldMk cId="1963154161" sldId="10390"/>
            <ac:spMk id="31" creationId="{2945FCFB-194B-4D8E-9287-57E6954828F4}"/>
          </ac:spMkLst>
        </pc:spChg>
        <pc:spChg chg="mod">
          <ac:chgData name="Jean QUENTIN" userId="6962deb3-b639-4acd-8091-a0516ea2376b" providerId="ADAL" clId="{146BD8F6-FDDD-49D3-A1A6-146C954086FF}" dt="2021-05-24T13:36:20.529" v="5315" actId="790"/>
          <ac:spMkLst>
            <pc:docMk/>
            <pc:sldMk cId="1963154161" sldId="10390"/>
            <ac:spMk id="32" creationId="{14904770-A5AE-43F0-8FD2-DB1AA1533E73}"/>
          </ac:spMkLst>
        </pc:spChg>
        <pc:spChg chg="mod">
          <ac:chgData name="Jean QUENTIN" userId="6962deb3-b639-4acd-8091-a0516ea2376b" providerId="ADAL" clId="{146BD8F6-FDDD-49D3-A1A6-146C954086FF}" dt="2021-05-24T13:36:20.529" v="5316" actId="790"/>
          <ac:spMkLst>
            <pc:docMk/>
            <pc:sldMk cId="1963154161" sldId="10390"/>
            <ac:spMk id="33" creationId="{19D9E617-B15A-4755-83E0-08BA2DC4E237}"/>
          </ac:spMkLst>
        </pc:spChg>
        <pc:spChg chg="mod">
          <ac:chgData name="Jean QUENTIN" userId="6962deb3-b639-4acd-8091-a0516ea2376b" providerId="ADAL" clId="{146BD8F6-FDDD-49D3-A1A6-146C954086FF}" dt="2021-05-24T13:36:20.544" v="5327" actId="790"/>
          <ac:spMkLst>
            <pc:docMk/>
            <pc:sldMk cId="1963154161" sldId="10390"/>
            <ac:spMk id="41" creationId="{54C6D71C-835B-41AF-BD7B-F25384D089AB}"/>
          </ac:spMkLst>
        </pc:spChg>
        <pc:spChg chg="mod">
          <ac:chgData name="Jean QUENTIN" userId="6962deb3-b639-4acd-8091-a0516ea2376b" providerId="ADAL" clId="{146BD8F6-FDDD-49D3-A1A6-146C954086FF}" dt="2021-05-24T13:36:20.529" v="5317" actId="790"/>
          <ac:spMkLst>
            <pc:docMk/>
            <pc:sldMk cId="1963154161" sldId="10390"/>
            <ac:spMk id="43" creationId="{92F77E9E-DEF8-4DA4-9D26-0AE70C9DE90E}"/>
          </ac:spMkLst>
        </pc:spChg>
        <pc:spChg chg="mod">
          <ac:chgData name="Jean QUENTIN" userId="6962deb3-b639-4acd-8091-a0516ea2376b" providerId="ADAL" clId="{146BD8F6-FDDD-49D3-A1A6-146C954086FF}" dt="2021-05-24T13:36:20.529" v="5322" actId="790"/>
          <ac:spMkLst>
            <pc:docMk/>
            <pc:sldMk cId="1963154161" sldId="10390"/>
            <ac:spMk id="44" creationId="{116EFBFE-5EFB-41E3-95D1-78CE66639AD5}"/>
          </ac:spMkLst>
        </pc:spChg>
        <pc:spChg chg="mod">
          <ac:chgData name="Jean QUENTIN" userId="6962deb3-b639-4acd-8091-a0516ea2376b" providerId="ADAL" clId="{146BD8F6-FDDD-49D3-A1A6-146C954086FF}" dt="2021-05-24T13:36:20.529" v="5318" actId="790"/>
          <ac:spMkLst>
            <pc:docMk/>
            <pc:sldMk cId="1963154161" sldId="10390"/>
            <ac:spMk id="45" creationId="{2628F15C-FA42-46CA-A5D0-B427ED91699B}"/>
          </ac:spMkLst>
        </pc:spChg>
        <pc:spChg chg="mod">
          <ac:chgData name="Jean QUENTIN" userId="6962deb3-b639-4acd-8091-a0516ea2376b" providerId="ADAL" clId="{146BD8F6-FDDD-49D3-A1A6-146C954086FF}" dt="2021-05-24T13:36:20.529" v="5319" actId="790"/>
          <ac:spMkLst>
            <pc:docMk/>
            <pc:sldMk cId="1963154161" sldId="10390"/>
            <ac:spMk id="46" creationId="{36D9C9E6-524B-49C2-AA2D-02E040F87033}"/>
          </ac:spMkLst>
        </pc:spChg>
        <pc:spChg chg="mod">
          <ac:chgData name="Jean QUENTIN" userId="6962deb3-b639-4acd-8091-a0516ea2376b" providerId="ADAL" clId="{146BD8F6-FDDD-49D3-A1A6-146C954086FF}" dt="2021-05-24T13:36:20.529" v="5320" actId="790"/>
          <ac:spMkLst>
            <pc:docMk/>
            <pc:sldMk cId="1963154161" sldId="10390"/>
            <ac:spMk id="47" creationId="{DD7C368F-0FEE-4F0D-8F9C-DBA7253E24B1}"/>
          </ac:spMkLst>
        </pc:spChg>
        <pc:spChg chg="mod">
          <ac:chgData name="Jean QUENTIN" userId="6962deb3-b639-4acd-8091-a0516ea2376b" providerId="ADAL" clId="{146BD8F6-FDDD-49D3-A1A6-146C954086FF}" dt="2021-05-24T13:36:20.529" v="5321" actId="790"/>
          <ac:spMkLst>
            <pc:docMk/>
            <pc:sldMk cId="1963154161" sldId="10390"/>
            <ac:spMk id="52" creationId="{B16F1296-3CA8-4D05-A0CB-EB1F1345CE9D}"/>
          </ac:spMkLst>
        </pc:spChg>
        <pc:spChg chg="mod">
          <ac:chgData name="Jean QUENTIN" userId="6962deb3-b639-4acd-8091-a0516ea2376b" providerId="ADAL" clId="{146BD8F6-FDDD-49D3-A1A6-146C954086FF}" dt="2021-05-24T13:36:20.529" v="5323" actId="790"/>
          <ac:spMkLst>
            <pc:docMk/>
            <pc:sldMk cId="1963154161" sldId="10390"/>
            <ac:spMk id="54" creationId="{A2082C76-78A8-4C37-BB51-E0C640F2292A}"/>
          </ac:spMkLst>
        </pc:spChg>
        <pc:spChg chg="mod">
          <ac:chgData name="Jean QUENTIN" userId="6962deb3-b639-4acd-8091-a0516ea2376b" providerId="ADAL" clId="{146BD8F6-FDDD-49D3-A1A6-146C954086FF}" dt="2021-05-24T13:36:20.544" v="5324" actId="790"/>
          <ac:spMkLst>
            <pc:docMk/>
            <pc:sldMk cId="1963154161" sldId="10390"/>
            <ac:spMk id="55" creationId="{C6C920E7-246D-45F6-B655-A54B6C35E79B}"/>
          </ac:spMkLst>
        </pc:spChg>
        <pc:spChg chg="mod">
          <ac:chgData name="Jean QUENTIN" userId="6962deb3-b639-4acd-8091-a0516ea2376b" providerId="ADAL" clId="{146BD8F6-FDDD-49D3-A1A6-146C954086FF}" dt="2021-05-24T13:36:20.544" v="5325" actId="790"/>
          <ac:spMkLst>
            <pc:docMk/>
            <pc:sldMk cId="1963154161" sldId="10390"/>
            <ac:spMk id="56" creationId="{8DCB1BB5-D1C7-480F-B436-01199E4277B0}"/>
          </ac:spMkLst>
        </pc:spChg>
        <pc:spChg chg="mod">
          <ac:chgData name="Jean QUENTIN" userId="6962deb3-b639-4acd-8091-a0516ea2376b" providerId="ADAL" clId="{146BD8F6-FDDD-49D3-A1A6-146C954086FF}" dt="2021-05-24T13:36:20.544" v="5326" actId="790"/>
          <ac:spMkLst>
            <pc:docMk/>
            <pc:sldMk cId="1963154161" sldId="10390"/>
            <ac:spMk id="57" creationId="{B7C8E92E-FAA7-4F80-A624-AB8657706AFA}"/>
          </ac:spMkLst>
        </pc:spChg>
        <pc:spChg chg="mod">
          <ac:chgData name="Jean QUENTIN" userId="6962deb3-b639-4acd-8091-a0516ea2376b" providerId="ADAL" clId="{146BD8F6-FDDD-49D3-A1A6-146C954086FF}" dt="2021-05-24T13:36:20.544" v="5328" actId="790"/>
          <ac:spMkLst>
            <pc:docMk/>
            <pc:sldMk cId="1963154161" sldId="10390"/>
            <ac:spMk id="58" creationId="{7EC3C80C-8342-4DA2-BB03-07D115C0D737}"/>
          </ac:spMkLst>
        </pc:spChg>
        <pc:spChg chg="mod">
          <ac:chgData name="Jean QUENTIN" userId="6962deb3-b639-4acd-8091-a0516ea2376b" providerId="ADAL" clId="{146BD8F6-FDDD-49D3-A1A6-146C954086FF}" dt="2021-05-24T13:36:20.544" v="5329" actId="790"/>
          <ac:spMkLst>
            <pc:docMk/>
            <pc:sldMk cId="1963154161" sldId="10390"/>
            <ac:spMk id="59" creationId="{D718E44E-FCF2-4E7F-B0E0-D177DAD0F758}"/>
          </ac:spMkLst>
        </pc:spChg>
        <pc:spChg chg="mod">
          <ac:chgData name="Jean QUENTIN" userId="6962deb3-b639-4acd-8091-a0516ea2376b" providerId="ADAL" clId="{146BD8F6-FDDD-49D3-A1A6-146C954086FF}" dt="2021-05-24T13:36:20.544" v="5330" actId="790"/>
          <ac:spMkLst>
            <pc:docMk/>
            <pc:sldMk cId="1963154161" sldId="10390"/>
            <ac:spMk id="62" creationId="{5F61D7DE-7D72-4337-85CA-0C48811AC112}"/>
          </ac:spMkLst>
        </pc:spChg>
        <pc:spChg chg="mod">
          <ac:chgData name="Jean QUENTIN" userId="6962deb3-b639-4acd-8091-a0516ea2376b" providerId="ADAL" clId="{146BD8F6-FDDD-49D3-A1A6-146C954086FF}" dt="2021-05-24T13:36:20.544" v="5331" actId="790"/>
          <ac:spMkLst>
            <pc:docMk/>
            <pc:sldMk cId="1963154161" sldId="10390"/>
            <ac:spMk id="63" creationId="{22E66DAA-CD24-43AB-BE5E-780D7BC379AE}"/>
          </ac:spMkLst>
        </pc:spChg>
        <pc:spChg chg="mod">
          <ac:chgData name="Jean QUENTIN" userId="6962deb3-b639-4acd-8091-a0516ea2376b" providerId="ADAL" clId="{146BD8F6-FDDD-49D3-A1A6-146C954086FF}" dt="2021-05-24T13:36:20.544" v="5332" actId="790"/>
          <ac:spMkLst>
            <pc:docMk/>
            <pc:sldMk cId="1963154161" sldId="10390"/>
            <ac:spMk id="64" creationId="{6CC9CC00-4FC8-4B17-BD89-326E74CBFC14}"/>
          </ac:spMkLst>
        </pc:spChg>
        <pc:spChg chg="mod">
          <ac:chgData name="Jean QUENTIN" userId="6962deb3-b639-4acd-8091-a0516ea2376b" providerId="ADAL" clId="{146BD8F6-FDDD-49D3-A1A6-146C954086FF}" dt="2021-05-24T13:36:20.582" v="5341" actId="790"/>
          <ac:spMkLst>
            <pc:docMk/>
            <pc:sldMk cId="1963154161" sldId="10390"/>
            <ac:spMk id="65" creationId="{BD22A475-DE7F-4951-9178-30B1FB2E070D}"/>
          </ac:spMkLst>
        </pc:spChg>
        <pc:spChg chg="mod">
          <ac:chgData name="Jean QUENTIN" userId="6962deb3-b639-4acd-8091-a0516ea2376b" providerId="ADAL" clId="{146BD8F6-FDDD-49D3-A1A6-146C954086FF}" dt="2021-05-24T13:36:20.567" v="5333" actId="790"/>
          <ac:spMkLst>
            <pc:docMk/>
            <pc:sldMk cId="1963154161" sldId="10390"/>
            <ac:spMk id="67" creationId="{5A2EED6F-A68C-4C8B-9058-933E554A3399}"/>
          </ac:spMkLst>
        </pc:spChg>
        <pc:spChg chg="mod">
          <ac:chgData name="Jean QUENTIN" userId="6962deb3-b639-4acd-8091-a0516ea2376b" providerId="ADAL" clId="{146BD8F6-FDDD-49D3-A1A6-146C954086FF}" dt="2021-05-24T13:36:20.567" v="5334" actId="790"/>
          <ac:spMkLst>
            <pc:docMk/>
            <pc:sldMk cId="1963154161" sldId="10390"/>
            <ac:spMk id="69" creationId="{9426D2C0-7317-4715-89A4-B73DFFD9C218}"/>
          </ac:spMkLst>
        </pc:spChg>
        <pc:spChg chg="mod">
          <ac:chgData name="Jean QUENTIN" userId="6962deb3-b639-4acd-8091-a0516ea2376b" providerId="ADAL" clId="{146BD8F6-FDDD-49D3-A1A6-146C954086FF}" dt="2021-05-24T13:36:20.567" v="5335" actId="790"/>
          <ac:spMkLst>
            <pc:docMk/>
            <pc:sldMk cId="1963154161" sldId="10390"/>
            <ac:spMk id="71" creationId="{FCCA4A3B-0ACB-40EF-A467-43534267466C}"/>
          </ac:spMkLst>
        </pc:spChg>
        <pc:spChg chg="mod">
          <ac:chgData name="Jean QUENTIN" userId="6962deb3-b639-4acd-8091-a0516ea2376b" providerId="ADAL" clId="{146BD8F6-FDDD-49D3-A1A6-146C954086FF}" dt="2021-05-24T13:36:20.582" v="5336" actId="790"/>
          <ac:spMkLst>
            <pc:docMk/>
            <pc:sldMk cId="1963154161" sldId="10390"/>
            <ac:spMk id="74" creationId="{F88E2EA3-6091-4A8A-994C-49E2EB973B35}"/>
          </ac:spMkLst>
        </pc:spChg>
        <pc:spChg chg="mod">
          <ac:chgData name="Jean QUENTIN" userId="6962deb3-b639-4acd-8091-a0516ea2376b" providerId="ADAL" clId="{146BD8F6-FDDD-49D3-A1A6-146C954086FF}" dt="2021-05-24T13:36:20.582" v="5337" actId="790"/>
          <ac:spMkLst>
            <pc:docMk/>
            <pc:sldMk cId="1963154161" sldId="10390"/>
            <ac:spMk id="75" creationId="{16DB687C-AA72-473D-A094-DCD0C5C16671}"/>
          </ac:spMkLst>
        </pc:spChg>
        <pc:spChg chg="mod">
          <ac:chgData name="Jean QUENTIN" userId="6962deb3-b639-4acd-8091-a0516ea2376b" providerId="ADAL" clId="{146BD8F6-FDDD-49D3-A1A6-146C954086FF}" dt="2021-05-24T13:36:20.582" v="5338" actId="790"/>
          <ac:spMkLst>
            <pc:docMk/>
            <pc:sldMk cId="1963154161" sldId="10390"/>
            <ac:spMk id="79" creationId="{FE04AFC6-9715-4315-A93E-ABC27CEE6560}"/>
          </ac:spMkLst>
        </pc:spChg>
        <pc:spChg chg="mod">
          <ac:chgData name="Jean QUENTIN" userId="6962deb3-b639-4acd-8091-a0516ea2376b" providerId="ADAL" clId="{146BD8F6-FDDD-49D3-A1A6-146C954086FF}" dt="2021-05-24T13:36:20.582" v="5339" actId="790"/>
          <ac:spMkLst>
            <pc:docMk/>
            <pc:sldMk cId="1963154161" sldId="10390"/>
            <ac:spMk id="84" creationId="{56A6BEE0-27B6-4F24-BF86-F23470581D0F}"/>
          </ac:spMkLst>
        </pc:spChg>
        <pc:spChg chg="mod">
          <ac:chgData name="Jean QUENTIN" userId="6962deb3-b639-4acd-8091-a0516ea2376b" providerId="ADAL" clId="{146BD8F6-FDDD-49D3-A1A6-146C954086FF}" dt="2021-05-24T13:36:20.582" v="5340" actId="790"/>
          <ac:spMkLst>
            <pc:docMk/>
            <pc:sldMk cId="1963154161" sldId="10390"/>
            <ac:spMk id="89" creationId="{707E897B-BB28-4ADF-8F14-A1011D93E6D0}"/>
          </ac:spMkLst>
        </pc:spChg>
        <pc:spChg chg="mod">
          <ac:chgData name="Jean QUENTIN" userId="6962deb3-b639-4acd-8091-a0516ea2376b" providerId="ADAL" clId="{146BD8F6-FDDD-49D3-A1A6-146C954086FF}" dt="2021-05-24T13:36:20.582" v="5342" actId="790"/>
          <ac:spMkLst>
            <pc:docMk/>
            <pc:sldMk cId="1963154161" sldId="10390"/>
            <ac:spMk id="119" creationId="{B53369F6-F9C6-416E-8F1A-870B940A0116}"/>
          </ac:spMkLst>
        </pc:spChg>
        <pc:spChg chg="mod">
          <ac:chgData name="Jean QUENTIN" userId="6962deb3-b639-4acd-8091-a0516ea2376b" providerId="ADAL" clId="{146BD8F6-FDDD-49D3-A1A6-146C954086FF}" dt="2021-05-24T13:36:20.582" v="5343" actId="790"/>
          <ac:spMkLst>
            <pc:docMk/>
            <pc:sldMk cId="1963154161" sldId="10390"/>
            <ac:spMk id="120" creationId="{6B6976CB-6637-41B9-8C38-9423EB049FAD}"/>
          </ac:spMkLst>
        </pc:spChg>
      </pc:sldChg>
      <pc:sldChg chg="addSp delSp modSp mod">
        <pc:chgData name="Jean QUENTIN" userId="6962deb3-b639-4acd-8091-a0516ea2376b" providerId="ADAL" clId="{146BD8F6-FDDD-49D3-A1A6-146C954086FF}" dt="2021-05-25T14:34:22.648" v="14440" actId="1036"/>
        <pc:sldMkLst>
          <pc:docMk/>
          <pc:sldMk cId="957352529" sldId="10393"/>
        </pc:sldMkLst>
        <pc:spChg chg="mod">
          <ac:chgData name="Jean QUENTIN" userId="6962deb3-b639-4acd-8091-a0516ea2376b" providerId="ADAL" clId="{146BD8F6-FDDD-49D3-A1A6-146C954086FF}" dt="2021-05-24T13:36:21.632" v="5751" actId="790"/>
          <ac:spMkLst>
            <pc:docMk/>
            <pc:sldMk cId="957352529" sldId="10393"/>
            <ac:spMk id="2" creationId="{F86535CF-1A65-469E-AB4E-24F3D533381F}"/>
          </ac:spMkLst>
        </pc:spChg>
        <pc:spChg chg="mod">
          <ac:chgData name="Jean QUENTIN" userId="6962deb3-b639-4acd-8091-a0516ea2376b" providerId="ADAL" clId="{146BD8F6-FDDD-49D3-A1A6-146C954086FF}" dt="2021-05-24T13:36:21.647" v="5754" actId="790"/>
          <ac:spMkLst>
            <pc:docMk/>
            <pc:sldMk cId="957352529" sldId="10393"/>
            <ac:spMk id="4" creationId="{8D0673D8-58F3-4C92-BE58-BE86886857C4}"/>
          </ac:spMkLst>
        </pc:spChg>
        <pc:spChg chg="mod">
          <ac:chgData name="Jean QUENTIN" userId="6962deb3-b639-4acd-8091-a0516ea2376b" providerId="ADAL" clId="{146BD8F6-FDDD-49D3-A1A6-146C954086FF}" dt="2021-05-24T13:36:21.632" v="5753" actId="790"/>
          <ac:spMkLst>
            <pc:docMk/>
            <pc:sldMk cId="957352529" sldId="10393"/>
            <ac:spMk id="26" creationId="{4D39C270-ACE8-427E-A326-79B07CDDAE45}"/>
          </ac:spMkLst>
        </pc:spChg>
        <pc:spChg chg="mod">
          <ac:chgData name="Jean QUENTIN" userId="6962deb3-b639-4acd-8091-a0516ea2376b" providerId="ADAL" clId="{146BD8F6-FDDD-49D3-A1A6-146C954086FF}" dt="2021-05-24T13:36:21.647" v="5757" actId="790"/>
          <ac:spMkLst>
            <pc:docMk/>
            <pc:sldMk cId="957352529" sldId="10393"/>
            <ac:spMk id="27" creationId="{F0173EF8-3180-4C30-B0B4-4238F39A038B}"/>
          </ac:spMkLst>
        </pc:spChg>
        <pc:spChg chg="mod">
          <ac:chgData name="Jean QUENTIN" userId="6962deb3-b639-4acd-8091-a0516ea2376b" providerId="ADAL" clId="{146BD8F6-FDDD-49D3-A1A6-146C954086FF}" dt="2021-05-24T13:36:21.632" v="5752" actId="790"/>
          <ac:spMkLst>
            <pc:docMk/>
            <pc:sldMk cId="957352529" sldId="10393"/>
            <ac:spMk id="35" creationId="{5D0A497A-2FD1-4BE6-A861-C6BC98729253}"/>
          </ac:spMkLst>
        </pc:spChg>
        <pc:spChg chg="mod">
          <ac:chgData name="Jean QUENTIN" userId="6962deb3-b639-4acd-8091-a0516ea2376b" providerId="ADAL" clId="{146BD8F6-FDDD-49D3-A1A6-146C954086FF}" dt="2021-05-24T13:36:21.647" v="5755" actId="790"/>
          <ac:spMkLst>
            <pc:docMk/>
            <pc:sldMk cId="957352529" sldId="10393"/>
            <ac:spMk id="61" creationId="{3A77C3B4-4234-494E-B3AF-E2D230D559B9}"/>
          </ac:spMkLst>
        </pc:spChg>
        <pc:spChg chg="add mod">
          <ac:chgData name="Jean QUENTIN" userId="6962deb3-b639-4acd-8091-a0516ea2376b" providerId="ADAL" clId="{146BD8F6-FDDD-49D3-A1A6-146C954086FF}" dt="2021-05-24T13:36:21.647" v="5758" actId="790"/>
          <ac:spMkLst>
            <pc:docMk/>
            <pc:sldMk cId="957352529" sldId="10393"/>
            <ac:spMk id="64" creationId="{691BA92F-2D07-4894-BC16-248A09E7B8E7}"/>
          </ac:spMkLst>
        </pc:spChg>
        <pc:spChg chg="mod">
          <ac:chgData name="Jean QUENTIN" userId="6962deb3-b639-4acd-8091-a0516ea2376b" providerId="ADAL" clId="{146BD8F6-FDDD-49D3-A1A6-146C954086FF}" dt="2021-05-24T13:36:21.647" v="5756" actId="790"/>
          <ac:spMkLst>
            <pc:docMk/>
            <pc:sldMk cId="957352529" sldId="10393"/>
            <ac:spMk id="65" creationId="{76ED0108-7E7B-4C9D-89F2-A614F653A231}"/>
          </ac:spMkLst>
        </pc:spChg>
        <pc:spChg chg="add mod">
          <ac:chgData name="Jean QUENTIN" userId="6962deb3-b639-4acd-8091-a0516ea2376b" providerId="ADAL" clId="{146BD8F6-FDDD-49D3-A1A6-146C954086FF}" dt="2021-05-24T13:36:21.647" v="5759" actId="790"/>
          <ac:spMkLst>
            <pc:docMk/>
            <pc:sldMk cId="957352529" sldId="10393"/>
            <ac:spMk id="67" creationId="{2F88E149-890C-439D-A411-E74C5028D4DB}"/>
          </ac:spMkLst>
        </pc:spChg>
        <pc:spChg chg="add mod">
          <ac:chgData name="Jean QUENTIN" userId="6962deb3-b639-4acd-8091-a0516ea2376b" providerId="ADAL" clId="{146BD8F6-FDDD-49D3-A1A6-146C954086FF}" dt="2021-05-24T13:36:21.647" v="5760" actId="790"/>
          <ac:spMkLst>
            <pc:docMk/>
            <pc:sldMk cId="957352529" sldId="10393"/>
            <ac:spMk id="68" creationId="{2DC6D0C2-73C5-4906-ADC1-16EE93DFC98A}"/>
          </ac:spMkLst>
        </pc:spChg>
        <pc:graphicFrameChg chg="mod modGraphic">
          <ac:chgData name="Jean QUENTIN" userId="6962deb3-b639-4acd-8091-a0516ea2376b" providerId="ADAL" clId="{146BD8F6-FDDD-49D3-A1A6-146C954086FF}" dt="2021-05-24T14:53:50.845" v="10592" actId="20577"/>
          <ac:graphicFrameMkLst>
            <pc:docMk/>
            <pc:sldMk cId="957352529" sldId="10393"/>
            <ac:graphicFrameMk id="15" creationId="{9F498932-4CCF-4B8A-8787-99F5420B02A5}"/>
          </ac:graphicFrameMkLst>
        </pc:graphicFrameChg>
        <pc:picChg chg="mod">
          <ac:chgData name="Jean QUENTIN" userId="6962deb3-b639-4acd-8091-a0516ea2376b" providerId="ADAL" clId="{146BD8F6-FDDD-49D3-A1A6-146C954086FF}" dt="2021-05-24T08:40:25.466" v="505" actId="1035"/>
          <ac:picMkLst>
            <pc:docMk/>
            <pc:sldMk cId="957352529" sldId="10393"/>
            <ac:picMk id="7" creationId="{8D4F93A2-126A-4AEC-B407-BC8FE232B5A9}"/>
          </ac:picMkLst>
        </pc:picChg>
        <pc:picChg chg="mod">
          <ac:chgData name="Jean QUENTIN" userId="6962deb3-b639-4acd-8091-a0516ea2376b" providerId="ADAL" clId="{146BD8F6-FDDD-49D3-A1A6-146C954086FF}" dt="2021-05-24T08:40:30.561" v="510" actId="1036"/>
          <ac:picMkLst>
            <pc:docMk/>
            <pc:sldMk cId="957352529" sldId="10393"/>
            <ac:picMk id="9" creationId="{1A544533-0F22-4157-8C37-5CE88855A081}"/>
          </ac:picMkLst>
        </pc:picChg>
        <pc:picChg chg="mod">
          <ac:chgData name="Jean QUENTIN" userId="6962deb3-b639-4acd-8091-a0516ea2376b" providerId="ADAL" clId="{146BD8F6-FDDD-49D3-A1A6-146C954086FF}" dt="2021-05-24T08:40:35.139" v="518" actId="1036"/>
          <ac:picMkLst>
            <pc:docMk/>
            <pc:sldMk cId="957352529" sldId="10393"/>
            <ac:picMk id="12" creationId="{ECE2B167-B645-4CE8-91F4-A413BFE785D4}"/>
          </ac:picMkLst>
        </pc:picChg>
        <pc:picChg chg="mod">
          <ac:chgData name="Jean QUENTIN" userId="6962deb3-b639-4acd-8091-a0516ea2376b" providerId="ADAL" clId="{146BD8F6-FDDD-49D3-A1A6-146C954086FF}" dt="2021-05-24T08:40:51.202" v="532" actId="1037"/>
          <ac:picMkLst>
            <pc:docMk/>
            <pc:sldMk cId="957352529" sldId="10393"/>
            <ac:picMk id="16" creationId="{A0367ECD-08DA-4122-A4D2-FF70F798176E}"/>
          </ac:picMkLst>
        </pc:picChg>
        <pc:picChg chg="mod">
          <ac:chgData name="Jean QUENTIN" userId="6962deb3-b639-4acd-8091-a0516ea2376b" providerId="ADAL" clId="{146BD8F6-FDDD-49D3-A1A6-146C954086FF}" dt="2021-05-24T08:40:55.629" v="538" actId="1035"/>
          <ac:picMkLst>
            <pc:docMk/>
            <pc:sldMk cId="957352529" sldId="10393"/>
            <ac:picMk id="17" creationId="{54737D26-F635-4198-835F-2A6AEB68577E}"/>
          </ac:picMkLst>
        </pc:picChg>
        <pc:picChg chg="mod">
          <ac:chgData name="Jean QUENTIN" userId="6962deb3-b639-4acd-8091-a0516ea2376b" providerId="ADAL" clId="{146BD8F6-FDDD-49D3-A1A6-146C954086FF}" dt="2021-05-24T08:41:03.968" v="543" actId="1035"/>
          <ac:picMkLst>
            <pc:docMk/>
            <pc:sldMk cId="957352529" sldId="10393"/>
            <ac:picMk id="18" creationId="{32214D7F-0987-4C98-8AEF-F304D4C96D18}"/>
          </ac:picMkLst>
        </pc:picChg>
        <pc:picChg chg="mod">
          <ac:chgData name="Jean QUENTIN" userId="6962deb3-b639-4acd-8091-a0516ea2376b" providerId="ADAL" clId="{146BD8F6-FDDD-49D3-A1A6-146C954086FF}" dt="2021-05-24T08:40:38.716" v="522" actId="1036"/>
          <ac:picMkLst>
            <pc:docMk/>
            <pc:sldMk cId="957352529" sldId="10393"/>
            <ac:picMk id="19" creationId="{4E1B7D03-DB7E-43AA-B529-9B5BAD737CCF}"/>
          </ac:picMkLst>
        </pc:picChg>
        <pc:picChg chg="mod">
          <ac:chgData name="Jean QUENTIN" userId="6962deb3-b639-4acd-8091-a0516ea2376b" providerId="ADAL" clId="{146BD8F6-FDDD-49D3-A1A6-146C954086FF}" dt="2021-05-24T08:41:14.296" v="548" actId="1036"/>
          <ac:picMkLst>
            <pc:docMk/>
            <pc:sldMk cId="957352529" sldId="10393"/>
            <ac:picMk id="23" creationId="{B28B15CD-F5EA-4210-96DD-B3EE76AF4246}"/>
          </ac:picMkLst>
        </pc:picChg>
        <pc:picChg chg="mod">
          <ac:chgData name="Jean QUENTIN" userId="6962deb3-b639-4acd-8091-a0516ea2376b" providerId="ADAL" clId="{146BD8F6-FDDD-49D3-A1A6-146C954086FF}" dt="2021-05-24T08:44:22.798" v="589" actId="1036"/>
          <ac:picMkLst>
            <pc:docMk/>
            <pc:sldMk cId="957352529" sldId="10393"/>
            <ac:picMk id="24" creationId="{0FE180EE-9F62-44E8-B008-7AD4A4BB49FF}"/>
          </ac:picMkLst>
        </pc:picChg>
        <pc:picChg chg="del">
          <ac:chgData name="Jean QUENTIN" userId="6962deb3-b639-4acd-8091-a0516ea2376b" providerId="ADAL" clId="{146BD8F6-FDDD-49D3-A1A6-146C954086FF}" dt="2021-05-24T08:35:21.607" v="11" actId="478"/>
          <ac:picMkLst>
            <pc:docMk/>
            <pc:sldMk cId="957352529" sldId="10393"/>
            <ac:picMk id="25" creationId="{F17EA3F2-99ED-4E7F-BDA1-A1A608687CFE}"/>
          </ac:picMkLst>
        </pc:picChg>
        <pc:picChg chg="mod">
          <ac:chgData name="Jean QUENTIN" userId="6962deb3-b639-4acd-8091-a0516ea2376b" providerId="ADAL" clId="{146BD8F6-FDDD-49D3-A1A6-146C954086FF}" dt="2021-05-24T08:40:19.636" v="494" actId="1035"/>
          <ac:picMkLst>
            <pc:docMk/>
            <pc:sldMk cId="957352529" sldId="10393"/>
            <ac:picMk id="34" creationId="{F299AF2E-DCEB-4872-9E42-A51E17827296}"/>
          </ac:picMkLst>
        </pc:picChg>
        <pc:picChg chg="mod">
          <ac:chgData name="Jean QUENTIN" userId="6962deb3-b639-4acd-8091-a0516ea2376b" providerId="ADAL" clId="{146BD8F6-FDDD-49D3-A1A6-146C954086FF}" dt="2021-05-24T08:37:46.943" v="266" actId="1036"/>
          <ac:picMkLst>
            <pc:docMk/>
            <pc:sldMk cId="957352529" sldId="10393"/>
            <ac:picMk id="36" creationId="{2A2AFF58-0AEF-472D-9EE1-191A0C765C43}"/>
          </ac:picMkLst>
        </pc:picChg>
        <pc:picChg chg="mod">
          <ac:chgData name="Jean QUENTIN" userId="6962deb3-b639-4acd-8091-a0516ea2376b" providerId="ADAL" clId="{146BD8F6-FDDD-49D3-A1A6-146C954086FF}" dt="2021-05-24T08:40:09.695" v="479" actId="1035"/>
          <ac:picMkLst>
            <pc:docMk/>
            <pc:sldMk cId="957352529" sldId="10393"/>
            <ac:picMk id="37" creationId="{83F5ABBD-4AF4-472A-B1B3-ACE588E19B7A}"/>
          </ac:picMkLst>
        </pc:picChg>
        <pc:picChg chg="mod">
          <ac:chgData name="Jean QUENTIN" userId="6962deb3-b639-4acd-8091-a0516ea2376b" providerId="ADAL" clId="{146BD8F6-FDDD-49D3-A1A6-146C954086FF}" dt="2021-05-24T08:36:38.639" v="151" actId="1035"/>
          <ac:picMkLst>
            <pc:docMk/>
            <pc:sldMk cId="957352529" sldId="10393"/>
            <ac:picMk id="39" creationId="{3B198D7F-6286-4E77-8887-0C4F375EE2D1}"/>
          </ac:picMkLst>
        </pc:picChg>
        <pc:picChg chg="mod">
          <ac:chgData name="Jean QUENTIN" userId="6962deb3-b639-4acd-8091-a0516ea2376b" providerId="ADAL" clId="{146BD8F6-FDDD-49D3-A1A6-146C954086FF}" dt="2021-05-24T08:40:03.626" v="470" actId="1036"/>
          <ac:picMkLst>
            <pc:docMk/>
            <pc:sldMk cId="957352529" sldId="10393"/>
            <ac:picMk id="42" creationId="{9414FE26-F27C-4762-A453-7A3C591EE144}"/>
          </ac:picMkLst>
        </pc:picChg>
        <pc:picChg chg="mod">
          <ac:chgData name="Jean QUENTIN" userId="6962deb3-b639-4acd-8091-a0516ea2376b" providerId="ADAL" clId="{146BD8F6-FDDD-49D3-A1A6-146C954086FF}" dt="2021-05-25T14:34:22.648" v="14440" actId="1036"/>
          <ac:picMkLst>
            <pc:docMk/>
            <pc:sldMk cId="957352529" sldId="10393"/>
            <ac:picMk id="47" creationId="{C347B97F-F6EB-4F05-B89A-E6F01F0D0640}"/>
          </ac:picMkLst>
        </pc:picChg>
        <pc:picChg chg="mod">
          <ac:chgData name="Jean QUENTIN" userId="6962deb3-b639-4acd-8091-a0516ea2376b" providerId="ADAL" clId="{146BD8F6-FDDD-49D3-A1A6-146C954086FF}" dt="2021-05-24T08:44:15.409" v="587" actId="1035"/>
          <ac:picMkLst>
            <pc:docMk/>
            <pc:sldMk cId="957352529" sldId="10393"/>
            <ac:picMk id="50" creationId="{D0383DAB-FE4A-49F5-8551-FCE2308E61CA}"/>
          </ac:picMkLst>
        </pc:picChg>
        <pc:picChg chg="mod">
          <ac:chgData name="Jean QUENTIN" userId="6962deb3-b639-4acd-8091-a0516ea2376b" providerId="ADAL" clId="{146BD8F6-FDDD-49D3-A1A6-146C954086FF}" dt="2021-05-24T08:44:02.397" v="583" actId="1036"/>
          <ac:picMkLst>
            <pc:docMk/>
            <pc:sldMk cId="957352529" sldId="10393"/>
            <ac:picMk id="51" creationId="{E3091DF1-A5EA-4472-9D4D-AF46F1D944C7}"/>
          </ac:picMkLst>
        </pc:picChg>
        <pc:picChg chg="mod">
          <ac:chgData name="Jean QUENTIN" userId="6962deb3-b639-4acd-8091-a0516ea2376b" providerId="ADAL" clId="{146BD8F6-FDDD-49D3-A1A6-146C954086FF}" dt="2021-05-24T08:41:40.620" v="562" actId="1035"/>
          <ac:picMkLst>
            <pc:docMk/>
            <pc:sldMk cId="957352529" sldId="10393"/>
            <ac:picMk id="52" creationId="{9C5661FE-0B5A-4B3B-B9B1-352415FA3C3F}"/>
          </ac:picMkLst>
        </pc:picChg>
        <pc:picChg chg="mod">
          <ac:chgData name="Jean QUENTIN" userId="6962deb3-b639-4acd-8091-a0516ea2376b" providerId="ADAL" clId="{146BD8F6-FDDD-49D3-A1A6-146C954086FF}" dt="2021-05-25T12:02:10.216" v="14238" actId="1035"/>
          <ac:picMkLst>
            <pc:docMk/>
            <pc:sldMk cId="957352529" sldId="10393"/>
            <ac:picMk id="53" creationId="{E1A24A80-58BE-4419-AF18-E829851F0854}"/>
          </ac:picMkLst>
        </pc:picChg>
        <pc:picChg chg="mod">
          <ac:chgData name="Jean QUENTIN" userId="6962deb3-b639-4acd-8091-a0516ea2376b" providerId="ADAL" clId="{146BD8F6-FDDD-49D3-A1A6-146C954086FF}" dt="2021-05-24T08:41:39.178" v="561" actId="1035"/>
          <ac:picMkLst>
            <pc:docMk/>
            <pc:sldMk cId="957352529" sldId="10393"/>
            <ac:picMk id="55" creationId="{1EFD0AF7-5E14-4F43-BC97-4675CD67E22A}"/>
          </ac:picMkLst>
        </pc:picChg>
        <pc:picChg chg="mod">
          <ac:chgData name="Jean QUENTIN" userId="6962deb3-b639-4acd-8091-a0516ea2376b" providerId="ADAL" clId="{146BD8F6-FDDD-49D3-A1A6-146C954086FF}" dt="2021-05-24T08:44:32.028" v="592" actId="1036"/>
          <ac:picMkLst>
            <pc:docMk/>
            <pc:sldMk cId="957352529" sldId="10393"/>
            <ac:picMk id="56" creationId="{1033EDCC-699D-4D7B-A796-6755D3AEFE70}"/>
          </ac:picMkLst>
        </pc:picChg>
        <pc:picChg chg="mod">
          <ac:chgData name="Jean QUENTIN" userId="6962deb3-b639-4acd-8091-a0516ea2376b" providerId="ADAL" clId="{146BD8F6-FDDD-49D3-A1A6-146C954086FF}" dt="2021-05-24T08:44:38.444" v="594" actId="1035"/>
          <ac:picMkLst>
            <pc:docMk/>
            <pc:sldMk cId="957352529" sldId="10393"/>
            <ac:picMk id="57" creationId="{899E1F5A-CFA2-4CAB-80BC-AE0988095B71}"/>
          </ac:picMkLst>
        </pc:picChg>
        <pc:picChg chg="mod">
          <ac:chgData name="Jean QUENTIN" userId="6962deb3-b639-4acd-8091-a0516ea2376b" providerId="ADAL" clId="{146BD8F6-FDDD-49D3-A1A6-146C954086FF}" dt="2021-05-24T08:36:38.639" v="151" actId="1035"/>
          <ac:picMkLst>
            <pc:docMk/>
            <pc:sldMk cId="957352529" sldId="10393"/>
            <ac:picMk id="60" creationId="{414E5A9A-2BDD-4112-BCA0-A9FAB60A6FE5}"/>
          </ac:picMkLst>
        </pc:picChg>
        <pc:picChg chg="mod">
          <ac:chgData name="Jean QUENTIN" userId="6962deb3-b639-4acd-8091-a0516ea2376b" providerId="ADAL" clId="{146BD8F6-FDDD-49D3-A1A6-146C954086FF}" dt="2021-05-24T08:35:38.322" v="32" actId="1076"/>
          <ac:picMkLst>
            <pc:docMk/>
            <pc:sldMk cId="957352529" sldId="10393"/>
            <ac:picMk id="62" creationId="{EA9C60AA-A559-4415-AA56-8F9FFCB00B32}"/>
          </ac:picMkLst>
        </pc:picChg>
        <pc:picChg chg="mod">
          <ac:chgData name="Jean QUENTIN" userId="6962deb3-b639-4acd-8091-a0516ea2376b" providerId="ADAL" clId="{146BD8F6-FDDD-49D3-A1A6-146C954086FF}" dt="2021-05-24T08:40:18.001" v="493" actId="1036"/>
          <ac:picMkLst>
            <pc:docMk/>
            <pc:sldMk cId="957352529" sldId="10393"/>
            <ac:picMk id="1034" creationId="{CCD5A1C7-928E-4D6F-B638-BB090F282B2C}"/>
          </ac:picMkLst>
        </pc:picChg>
        <pc:picChg chg="del mod">
          <ac:chgData name="Jean QUENTIN" userId="6962deb3-b639-4acd-8091-a0516ea2376b" providerId="ADAL" clId="{146BD8F6-FDDD-49D3-A1A6-146C954086FF}" dt="2021-05-24T08:35:40.311" v="33" actId="478"/>
          <ac:picMkLst>
            <pc:docMk/>
            <pc:sldMk cId="957352529" sldId="10393"/>
            <ac:picMk id="1040" creationId="{F50AFECF-0E7C-48AB-B80B-60677A586853}"/>
          </ac:picMkLst>
        </pc:picChg>
        <pc:picChg chg="mod">
          <ac:chgData name="Jean QUENTIN" userId="6962deb3-b639-4acd-8091-a0516ea2376b" providerId="ADAL" clId="{146BD8F6-FDDD-49D3-A1A6-146C954086FF}" dt="2021-05-24T08:36:03.695" v="74" actId="1035"/>
          <ac:picMkLst>
            <pc:docMk/>
            <pc:sldMk cId="957352529" sldId="10393"/>
            <ac:picMk id="1042" creationId="{08D572F3-6500-4213-8532-25E24A183039}"/>
          </ac:picMkLst>
        </pc:picChg>
        <pc:picChg chg="mod">
          <ac:chgData name="Jean QUENTIN" userId="6962deb3-b639-4acd-8091-a0516ea2376b" providerId="ADAL" clId="{146BD8F6-FDDD-49D3-A1A6-146C954086FF}" dt="2021-05-24T08:40:11.315" v="481" actId="1036"/>
          <ac:picMkLst>
            <pc:docMk/>
            <pc:sldMk cId="957352529" sldId="10393"/>
            <ac:picMk id="1044" creationId="{40FD351B-9F23-4710-B1E4-75D0ECC4A375}"/>
          </ac:picMkLst>
        </pc:picChg>
        <pc:picChg chg="mod">
          <ac:chgData name="Jean QUENTIN" userId="6962deb3-b639-4acd-8091-a0516ea2376b" providerId="ADAL" clId="{146BD8F6-FDDD-49D3-A1A6-146C954086FF}" dt="2021-05-24T08:37:46.943" v="266" actId="1036"/>
          <ac:picMkLst>
            <pc:docMk/>
            <pc:sldMk cId="957352529" sldId="10393"/>
            <ac:picMk id="1048" creationId="{7C7CF20E-E388-4E82-8905-9E5CA9C7D2EA}"/>
          </ac:picMkLst>
        </pc:picChg>
        <pc:picChg chg="mod">
          <ac:chgData name="Jean QUENTIN" userId="6962deb3-b639-4acd-8091-a0516ea2376b" providerId="ADAL" clId="{146BD8F6-FDDD-49D3-A1A6-146C954086FF}" dt="2021-05-24T08:37:46.943" v="266" actId="1036"/>
          <ac:picMkLst>
            <pc:docMk/>
            <pc:sldMk cId="957352529" sldId="10393"/>
            <ac:picMk id="1050" creationId="{EF7032B4-E851-47BE-95D3-8112B0F4DA8D}"/>
          </ac:picMkLst>
        </pc:picChg>
        <pc:picChg chg="mod">
          <ac:chgData name="Jean QUENTIN" userId="6962deb3-b639-4acd-8091-a0516ea2376b" providerId="ADAL" clId="{146BD8F6-FDDD-49D3-A1A6-146C954086FF}" dt="2021-05-24T08:36:15.836" v="103" actId="1035"/>
          <ac:picMkLst>
            <pc:docMk/>
            <pc:sldMk cId="957352529" sldId="10393"/>
            <ac:picMk id="1052" creationId="{F60ADEBD-43FC-4655-99AF-2F97FF717153}"/>
          </ac:picMkLst>
        </pc:picChg>
      </pc:sldChg>
      <pc:sldChg chg="modSp mod">
        <pc:chgData name="Jean QUENTIN" userId="6962deb3-b639-4acd-8091-a0516ea2376b" providerId="ADAL" clId="{146BD8F6-FDDD-49D3-A1A6-146C954086FF}" dt="2021-05-24T13:36:23.652" v="6644" actId="790"/>
        <pc:sldMkLst>
          <pc:docMk/>
          <pc:sldMk cId="3586101810" sldId="10396"/>
        </pc:sldMkLst>
        <pc:spChg chg="mod">
          <ac:chgData name="Jean QUENTIN" userId="6962deb3-b639-4acd-8091-a0516ea2376b" providerId="ADAL" clId="{146BD8F6-FDDD-49D3-A1A6-146C954086FF}" dt="2021-05-24T13:36:23.621" v="6624" actId="790"/>
          <ac:spMkLst>
            <pc:docMk/>
            <pc:sldMk cId="3586101810" sldId="10396"/>
            <ac:spMk id="2" creationId="{F8811A18-F878-43C0-9BB2-BC1BF075D679}"/>
          </ac:spMkLst>
        </pc:spChg>
        <pc:spChg chg="mod">
          <ac:chgData name="Jean QUENTIN" userId="6962deb3-b639-4acd-8091-a0516ea2376b" providerId="ADAL" clId="{146BD8F6-FDDD-49D3-A1A6-146C954086FF}" dt="2021-05-24T13:36:23.621" v="6625" actId="790"/>
          <ac:spMkLst>
            <pc:docMk/>
            <pc:sldMk cId="3586101810" sldId="10396"/>
            <ac:spMk id="3" creationId="{0767D674-9FD0-4F80-AE98-506998F6C231}"/>
          </ac:spMkLst>
        </pc:spChg>
        <pc:spChg chg="mod">
          <ac:chgData name="Jean QUENTIN" userId="6962deb3-b639-4acd-8091-a0516ea2376b" providerId="ADAL" clId="{146BD8F6-FDDD-49D3-A1A6-146C954086FF}" dt="2021-05-24T13:36:23.652" v="6644" actId="790"/>
          <ac:spMkLst>
            <pc:docMk/>
            <pc:sldMk cId="3586101810" sldId="10396"/>
            <ac:spMk id="4" creationId="{03066CD4-E25D-47DA-9D3F-302A4B6F9C29}"/>
          </ac:spMkLst>
        </pc:spChg>
        <pc:spChg chg="mod">
          <ac:chgData name="Jean QUENTIN" userId="6962deb3-b639-4acd-8091-a0516ea2376b" providerId="ADAL" clId="{146BD8F6-FDDD-49D3-A1A6-146C954086FF}" dt="2021-05-24T13:36:23.621" v="6626" actId="790"/>
          <ac:spMkLst>
            <pc:docMk/>
            <pc:sldMk cId="3586101810" sldId="10396"/>
            <ac:spMk id="15" creationId="{57BD21BF-BCF6-4129-A496-A6760ECC3C21}"/>
          </ac:spMkLst>
        </pc:spChg>
        <pc:spChg chg="mod">
          <ac:chgData name="Jean QUENTIN" userId="6962deb3-b639-4acd-8091-a0516ea2376b" providerId="ADAL" clId="{146BD8F6-FDDD-49D3-A1A6-146C954086FF}" dt="2021-05-24T13:36:23.621" v="6627" actId="790"/>
          <ac:spMkLst>
            <pc:docMk/>
            <pc:sldMk cId="3586101810" sldId="10396"/>
            <ac:spMk id="16" creationId="{76DE58FF-8E6B-47EB-891E-24915421FEAD}"/>
          </ac:spMkLst>
        </pc:spChg>
        <pc:spChg chg="mod">
          <ac:chgData name="Jean QUENTIN" userId="6962deb3-b639-4acd-8091-a0516ea2376b" providerId="ADAL" clId="{146BD8F6-FDDD-49D3-A1A6-146C954086FF}" dt="2021-05-24T13:36:23.621" v="6628" actId="790"/>
          <ac:spMkLst>
            <pc:docMk/>
            <pc:sldMk cId="3586101810" sldId="10396"/>
            <ac:spMk id="17" creationId="{C93AAD59-F4A4-4DC5-9873-2CB6A981E569}"/>
          </ac:spMkLst>
        </pc:spChg>
        <pc:spChg chg="mod">
          <ac:chgData name="Jean QUENTIN" userId="6962deb3-b639-4acd-8091-a0516ea2376b" providerId="ADAL" clId="{146BD8F6-FDDD-49D3-A1A6-146C954086FF}" dt="2021-05-24T13:36:23.621" v="6629" actId="790"/>
          <ac:spMkLst>
            <pc:docMk/>
            <pc:sldMk cId="3586101810" sldId="10396"/>
            <ac:spMk id="18" creationId="{9C62C03D-6072-46F0-B04E-72729AE806F8}"/>
          </ac:spMkLst>
        </pc:spChg>
        <pc:spChg chg="mod">
          <ac:chgData name="Jean QUENTIN" userId="6962deb3-b639-4acd-8091-a0516ea2376b" providerId="ADAL" clId="{146BD8F6-FDDD-49D3-A1A6-146C954086FF}" dt="2021-05-24T13:36:23.621" v="6630" actId="790"/>
          <ac:spMkLst>
            <pc:docMk/>
            <pc:sldMk cId="3586101810" sldId="10396"/>
            <ac:spMk id="22" creationId="{8DF570B6-4BA8-45B7-ABED-960EC45A423E}"/>
          </ac:spMkLst>
        </pc:spChg>
        <pc:spChg chg="mod">
          <ac:chgData name="Jean QUENTIN" userId="6962deb3-b639-4acd-8091-a0516ea2376b" providerId="ADAL" clId="{146BD8F6-FDDD-49D3-A1A6-146C954086FF}" dt="2021-05-24T13:36:23.621" v="6631" actId="790"/>
          <ac:spMkLst>
            <pc:docMk/>
            <pc:sldMk cId="3586101810" sldId="10396"/>
            <ac:spMk id="24" creationId="{B84D86E7-1A08-4899-AFE6-6C02B0338B6A}"/>
          </ac:spMkLst>
        </pc:spChg>
        <pc:spChg chg="mod">
          <ac:chgData name="Jean QUENTIN" userId="6962deb3-b639-4acd-8091-a0516ea2376b" providerId="ADAL" clId="{146BD8F6-FDDD-49D3-A1A6-146C954086FF}" dt="2021-05-24T13:36:23.621" v="6632" actId="790"/>
          <ac:spMkLst>
            <pc:docMk/>
            <pc:sldMk cId="3586101810" sldId="10396"/>
            <ac:spMk id="25" creationId="{855787CD-FE72-4D3D-B177-A43D76161314}"/>
          </ac:spMkLst>
        </pc:spChg>
        <pc:spChg chg="mod">
          <ac:chgData name="Jean QUENTIN" userId="6962deb3-b639-4acd-8091-a0516ea2376b" providerId="ADAL" clId="{146BD8F6-FDDD-49D3-A1A6-146C954086FF}" dt="2021-05-24T13:36:23.636" v="6633" actId="790"/>
          <ac:spMkLst>
            <pc:docMk/>
            <pc:sldMk cId="3586101810" sldId="10396"/>
            <ac:spMk id="28" creationId="{E332EBC4-E2A8-4977-9286-BD31FDD6A15D}"/>
          </ac:spMkLst>
        </pc:spChg>
        <pc:spChg chg="mod">
          <ac:chgData name="Jean QUENTIN" userId="6962deb3-b639-4acd-8091-a0516ea2376b" providerId="ADAL" clId="{146BD8F6-FDDD-49D3-A1A6-146C954086FF}" dt="2021-05-24T13:36:23.636" v="6634" actId="790"/>
          <ac:spMkLst>
            <pc:docMk/>
            <pc:sldMk cId="3586101810" sldId="10396"/>
            <ac:spMk id="29" creationId="{F166298C-AE31-46F6-8CC1-93DBA2B92AA9}"/>
          </ac:spMkLst>
        </pc:spChg>
        <pc:spChg chg="mod">
          <ac:chgData name="Jean QUENTIN" userId="6962deb3-b639-4acd-8091-a0516ea2376b" providerId="ADAL" clId="{146BD8F6-FDDD-49D3-A1A6-146C954086FF}" dt="2021-05-24T13:36:23.636" v="6635" actId="790"/>
          <ac:spMkLst>
            <pc:docMk/>
            <pc:sldMk cId="3586101810" sldId="10396"/>
            <ac:spMk id="30" creationId="{8F36BF4B-05D2-49A6-A11F-89F5A6D18224}"/>
          </ac:spMkLst>
        </pc:spChg>
        <pc:spChg chg="mod">
          <ac:chgData name="Jean QUENTIN" userId="6962deb3-b639-4acd-8091-a0516ea2376b" providerId="ADAL" clId="{146BD8F6-FDDD-49D3-A1A6-146C954086FF}" dt="2021-05-24T13:36:23.636" v="6636" actId="790"/>
          <ac:spMkLst>
            <pc:docMk/>
            <pc:sldMk cId="3586101810" sldId="10396"/>
            <ac:spMk id="31" creationId="{290DB4E6-731B-4E69-9747-9066F9E34C5D}"/>
          </ac:spMkLst>
        </pc:spChg>
        <pc:spChg chg="mod">
          <ac:chgData name="Jean QUENTIN" userId="6962deb3-b639-4acd-8091-a0516ea2376b" providerId="ADAL" clId="{146BD8F6-FDDD-49D3-A1A6-146C954086FF}" dt="2021-05-24T13:36:23.652" v="6642" actId="790"/>
          <ac:spMkLst>
            <pc:docMk/>
            <pc:sldMk cId="3586101810" sldId="10396"/>
            <ac:spMk id="32" creationId="{7A9267DF-B6F1-426C-AAE5-01DF4DCA1197}"/>
          </ac:spMkLst>
        </pc:spChg>
        <pc:spChg chg="mod">
          <ac:chgData name="Jean QUENTIN" userId="6962deb3-b639-4acd-8091-a0516ea2376b" providerId="ADAL" clId="{146BD8F6-FDDD-49D3-A1A6-146C954086FF}" dt="2021-05-24T13:36:23.636" v="6637" actId="790"/>
          <ac:spMkLst>
            <pc:docMk/>
            <pc:sldMk cId="3586101810" sldId="10396"/>
            <ac:spMk id="34" creationId="{F2F44834-1151-495F-8FCA-5E9CD3993AA4}"/>
          </ac:spMkLst>
        </pc:spChg>
        <pc:spChg chg="mod">
          <ac:chgData name="Jean QUENTIN" userId="6962deb3-b639-4acd-8091-a0516ea2376b" providerId="ADAL" clId="{146BD8F6-FDDD-49D3-A1A6-146C954086FF}" dt="2021-05-24T13:36:23.636" v="6638" actId="790"/>
          <ac:spMkLst>
            <pc:docMk/>
            <pc:sldMk cId="3586101810" sldId="10396"/>
            <ac:spMk id="35" creationId="{A4E641F3-093A-4DA7-AB2F-348B72242599}"/>
          </ac:spMkLst>
        </pc:spChg>
        <pc:spChg chg="mod">
          <ac:chgData name="Jean QUENTIN" userId="6962deb3-b639-4acd-8091-a0516ea2376b" providerId="ADAL" clId="{146BD8F6-FDDD-49D3-A1A6-146C954086FF}" dt="2021-05-24T13:36:23.636" v="6639" actId="790"/>
          <ac:spMkLst>
            <pc:docMk/>
            <pc:sldMk cId="3586101810" sldId="10396"/>
            <ac:spMk id="37" creationId="{B1B061FE-C290-4996-8FE5-8A6CCDB0A538}"/>
          </ac:spMkLst>
        </pc:spChg>
        <pc:spChg chg="mod">
          <ac:chgData name="Jean QUENTIN" userId="6962deb3-b639-4acd-8091-a0516ea2376b" providerId="ADAL" clId="{146BD8F6-FDDD-49D3-A1A6-146C954086FF}" dt="2021-05-24T13:36:23.652" v="6640" actId="790"/>
          <ac:spMkLst>
            <pc:docMk/>
            <pc:sldMk cId="3586101810" sldId="10396"/>
            <ac:spMk id="39" creationId="{70FC0FCD-6D62-4199-9398-654481A7C4E2}"/>
          </ac:spMkLst>
        </pc:spChg>
        <pc:spChg chg="mod">
          <ac:chgData name="Jean QUENTIN" userId="6962deb3-b639-4acd-8091-a0516ea2376b" providerId="ADAL" clId="{146BD8F6-FDDD-49D3-A1A6-146C954086FF}" dt="2021-05-24T13:36:23.652" v="6643" actId="790"/>
          <ac:spMkLst>
            <pc:docMk/>
            <pc:sldMk cId="3586101810" sldId="10396"/>
            <ac:spMk id="40" creationId="{BB1405F3-4E9E-4593-9CC2-6D2D9F8A4709}"/>
          </ac:spMkLst>
        </pc:spChg>
        <pc:spChg chg="mod">
          <ac:chgData name="Jean QUENTIN" userId="6962deb3-b639-4acd-8091-a0516ea2376b" providerId="ADAL" clId="{146BD8F6-FDDD-49D3-A1A6-146C954086FF}" dt="2021-05-24T13:36:23.652" v="6641" actId="790"/>
          <ac:spMkLst>
            <pc:docMk/>
            <pc:sldMk cId="3586101810" sldId="10396"/>
            <ac:spMk id="60" creationId="{C57A82D8-FE76-45BF-84FA-36DD8F5600C5}"/>
          </ac:spMkLst>
        </pc:spChg>
      </pc:sldChg>
      <pc:sldChg chg="modSp mod">
        <pc:chgData name="Jean QUENTIN" userId="6962deb3-b639-4acd-8091-a0516ea2376b" providerId="ADAL" clId="{146BD8F6-FDDD-49D3-A1A6-146C954086FF}" dt="2021-05-25T12:35:18.415" v="14308" actId="20577"/>
        <pc:sldMkLst>
          <pc:docMk/>
          <pc:sldMk cId="3996239782" sldId="10399"/>
        </pc:sldMkLst>
        <pc:spChg chg="mod">
          <ac:chgData name="Jean QUENTIN" userId="6962deb3-b639-4acd-8091-a0516ea2376b" providerId="ADAL" clId="{146BD8F6-FDDD-49D3-A1A6-146C954086FF}" dt="2021-05-24T13:36:21.284" v="5604" actId="790"/>
          <ac:spMkLst>
            <pc:docMk/>
            <pc:sldMk cId="3996239782" sldId="10399"/>
            <ac:spMk id="2" creationId="{8ECED2BA-32CC-4045-8D14-78B10AEA12FB}"/>
          </ac:spMkLst>
        </pc:spChg>
        <pc:spChg chg="mod">
          <ac:chgData name="Jean QUENTIN" userId="6962deb3-b639-4acd-8091-a0516ea2376b" providerId="ADAL" clId="{146BD8F6-FDDD-49D3-A1A6-146C954086FF}" dt="2021-05-24T13:36:21.300" v="5605" actId="790"/>
          <ac:spMkLst>
            <pc:docMk/>
            <pc:sldMk cId="3996239782" sldId="10399"/>
            <ac:spMk id="3" creationId="{B501C848-A2DC-4147-8A2D-73995C4BC00F}"/>
          </ac:spMkLst>
        </pc:spChg>
        <pc:spChg chg="mod">
          <ac:chgData name="Jean QUENTIN" userId="6962deb3-b639-4acd-8091-a0516ea2376b" providerId="ADAL" clId="{146BD8F6-FDDD-49D3-A1A6-146C954086FF}" dt="2021-05-24T13:36:21.300" v="5606" actId="790"/>
          <ac:spMkLst>
            <pc:docMk/>
            <pc:sldMk cId="3996239782" sldId="10399"/>
            <ac:spMk id="4" creationId="{F7D6FC23-B579-4054-8BE5-06AAB333B6F1}"/>
          </ac:spMkLst>
        </pc:spChg>
        <pc:spChg chg="mod">
          <ac:chgData name="Jean QUENTIN" userId="6962deb3-b639-4acd-8091-a0516ea2376b" providerId="ADAL" clId="{146BD8F6-FDDD-49D3-A1A6-146C954086FF}" dt="2021-05-24T13:36:21.300" v="5607" actId="790"/>
          <ac:spMkLst>
            <pc:docMk/>
            <pc:sldMk cId="3996239782" sldId="10399"/>
            <ac:spMk id="5" creationId="{E05AFE09-2ECE-45A0-B1A6-917994C4A573}"/>
          </ac:spMkLst>
        </pc:spChg>
        <pc:spChg chg="mod">
          <ac:chgData name="Jean QUENTIN" userId="6962deb3-b639-4acd-8091-a0516ea2376b" providerId="ADAL" clId="{146BD8F6-FDDD-49D3-A1A6-146C954086FF}" dt="2021-05-24T13:36:21.300" v="5608" actId="790"/>
          <ac:spMkLst>
            <pc:docMk/>
            <pc:sldMk cId="3996239782" sldId="10399"/>
            <ac:spMk id="6" creationId="{97ECC932-E904-4A9B-8E43-A105D088ABBA}"/>
          </ac:spMkLst>
        </pc:spChg>
        <pc:spChg chg="mod">
          <ac:chgData name="Jean QUENTIN" userId="6962deb3-b639-4acd-8091-a0516ea2376b" providerId="ADAL" clId="{146BD8F6-FDDD-49D3-A1A6-146C954086FF}" dt="2021-05-25T12:29:39.137" v="14283" actId="20577"/>
          <ac:spMkLst>
            <pc:docMk/>
            <pc:sldMk cId="3996239782" sldId="10399"/>
            <ac:spMk id="7" creationId="{7F4369D1-89B8-488C-A693-6DCA73F7A083}"/>
          </ac:spMkLst>
        </pc:spChg>
        <pc:spChg chg="mod">
          <ac:chgData name="Jean QUENTIN" userId="6962deb3-b639-4acd-8091-a0516ea2376b" providerId="ADAL" clId="{146BD8F6-FDDD-49D3-A1A6-146C954086FF}" dt="2021-05-24T13:36:21.331" v="5620" actId="790"/>
          <ac:spMkLst>
            <pc:docMk/>
            <pc:sldMk cId="3996239782" sldId="10399"/>
            <ac:spMk id="8" creationId="{BE20C05E-1A26-46E6-973C-A1D4EAEA014C}"/>
          </ac:spMkLst>
        </pc:spChg>
        <pc:spChg chg="mod">
          <ac:chgData name="Jean QUENTIN" userId="6962deb3-b639-4acd-8091-a0516ea2376b" providerId="ADAL" clId="{146BD8F6-FDDD-49D3-A1A6-146C954086FF}" dt="2021-05-25T12:31:23.069" v="14286" actId="20577"/>
          <ac:spMkLst>
            <pc:docMk/>
            <pc:sldMk cId="3996239782" sldId="10399"/>
            <ac:spMk id="10" creationId="{BAC2F0DB-4A90-42A5-824F-1E510EB9DCB5}"/>
          </ac:spMkLst>
        </pc:spChg>
        <pc:spChg chg="mod">
          <ac:chgData name="Jean QUENTIN" userId="6962deb3-b639-4acd-8091-a0516ea2376b" providerId="ADAL" clId="{146BD8F6-FDDD-49D3-A1A6-146C954086FF}" dt="2021-05-24T13:36:21.315" v="5611" actId="790"/>
          <ac:spMkLst>
            <pc:docMk/>
            <pc:sldMk cId="3996239782" sldId="10399"/>
            <ac:spMk id="12" creationId="{B3C0B329-0DB4-4820-80B0-697179429242}"/>
          </ac:spMkLst>
        </pc:spChg>
        <pc:spChg chg="mod">
          <ac:chgData name="Jean QUENTIN" userId="6962deb3-b639-4acd-8091-a0516ea2376b" providerId="ADAL" clId="{146BD8F6-FDDD-49D3-A1A6-146C954086FF}" dt="2021-05-24T13:36:21.315" v="5612" actId="790"/>
          <ac:spMkLst>
            <pc:docMk/>
            <pc:sldMk cId="3996239782" sldId="10399"/>
            <ac:spMk id="13" creationId="{1465C513-F61B-493B-A85C-0744F92F52A3}"/>
          </ac:spMkLst>
        </pc:spChg>
        <pc:spChg chg="mod">
          <ac:chgData name="Jean QUENTIN" userId="6962deb3-b639-4acd-8091-a0516ea2376b" providerId="ADAL" clId="{146BD8F6-FDDD-49D3-A1A6-146C954086FF}" dt="2021-05-24T13:36:21.315" v="5613" actId="790"/>
          <ac:spMkLst>
            <pc:docMk/>
            <pc:sldMk cId="3996239782" sldId="10399"/>
            <ac:spMk id="14" creationId="{6F40B73C-ED48-415F-9826-3160F048C49D}"/>
          </ac:spMkLst>
        </pc:spChg>
        <pc:spChg chg="mod">
          <ac:chgData name="Jean QUENTIN" userId="6962deb3-b639-4acd-8091-a0516ea2376b" providerId="ADAL" clId="{146BD8F6-FDDD-49D3-A1A6-146C954086FF}" dt="2021-05-24T13:36:21.315" v="5614" actId="790"/>
          <ac:spMkLst>
            <pc:docMk/>
            <pc:sldMk cId="3996239782" sldId="10399"/>
            <ac:spMk id="15" creationId="{1EAFF699-192B-46E9-B8E8-C0838CC08C2C}"/>
          </ac:spMkLst>
        </pc:spChg>
        <pc:spChg chg="mod">
          <ac:chgData name="Jean QUENTIN" userId="6962deb3-b639-4acd-8091-a0516ea2376b" providerId="ADAL" clId="{146BD8F6-FDDD-49D3-A1A6-146C954086FF}" dt="2021-05-24T13:36:21.315" v="5615" actId="790"/>
          <ac:spMkLst>
            <pc:docMk/>
            <pc:sldMk cId="3996239782" sldId="10399"/>
            <ac:spMk id="17" creationId="{8D2A536B-772E-484E-8D44-1AC57A161AF0}"/>
          </ac:spMkLst>
        </pc:spChg>
        <pc:spChg chg="mod">
          <ac:chgData name="Jean QUENTIN" userId="6962deb3-b639-4acd-8091-a0516ea2376b" providerId="ADAL" clId="{146BD8F6-FDDD-49D3-A1A6-146C954086FF}" dt="2021-05-24T13:36:21.315" v="5616" actId="790"/>
          <ac:spMkLst>
            <pc:docMk/>
            <pc:sldMk cId="3996239782" sldId="10399"/>
            <ac:spMk id="18" creationId="{C87F9580-72EF-4198-9D8A-320AB7543801}"/>
          </ac:spMkLst>
        </pc:spChg>
        <pc:spChg chg="mod">
          <ac:chgData name="Jean QUENTIN" userId="6962deb3-b639-4acd-8091-a0516ea2376b" providerId="ADAL" clId="{146BD8F6-FDDD-49D3-A1A6-146C954086FF}" dt="2021-05-24T13:36:21.331" v="5617" actId="790"/>
          <ac:spMkLst>
            <pc:docMk/>
            <pc:sldMk cId="3996239782" sldId="10399"/>
            <ac:spMk id="19" creationId="{FBC7EDC3-999F-41DB-BAE4-EC07B2C7B35B}"/>
          </ac:spMkLst>
        </pc:spChg>
        <pc:spChg chg="mod">
          <ac:chgData name="Jean QUENTIN" userId="6962deb3-b639-4acd-8091-a0516ea2376b" providerId="ADAL" clId="{146BD8F6-FDDD-49D3-A1A6-146C954086FF}" dt="2021-05-24T13:36:21.331" v="5621" actId="790"/>
          <ac:spMkLst>
            <pc:docMk/>
            <pc:sldMk cId="3996239782" sldId="10399"/>
            <ac:spMk id="21" creationId="{1B0FB440-CD14-4D76-8D20-CF2F87E8BD3F}"/>
          </ac:spMkLst>
        </pc:spChg>
        <pc:spChg chg="mod">
          <ac:chgData name="Jean QUENTIN" userId="6962deb3-b639-4acd-8091-a0516ea2376b" providerId="ADAL" clId="{146BD8F6-FDDD-49D3-A1A6-146C954086FF}" dt="2021-05-25T12:35:18.415" v="14308" actId="20577"/>
          <ac:spMkLst>
            <pc:docMk/>
            <pc:sldMk cId="3996239782" sldId="10399"/>
            <ac:spMk id="23" creationId="{7A7B45BB-0C39-4952-96D9-943DAC289519}"/>
          </ac:spMkLst>
        </pc:spChg>
        <pc:spChg chg="mod">
          <ac:chgData name="Jean QUENTIN" userId="6962deb3-b639-4acd-8091-a0516ea2376b" providerId="ADAL" clId="{146BD8F6-FDDD-49D3-A1A6-146C954086FF}" dt="2021-05-24T13:36:21.347" v="5623" actId="790"/>
          <ac:spMkLst>
            <pc:docMk/>
            <pc:sldMk cId="3996239782" sldId="10399"/>
            <ac:spMk id="27" creationId="{499E31EE-17B3-461E-BC6B-3A41D42EEEAA}"/>
          </ac:spMkLst>
        </pc:spChg>
        <pc:spChg chg="mod">
          <ac:chgData name="Jean QUENTIN" userId="6962deb3-b639-4acd-8091-a0516ea2376b" providerId="ADAL" clId="{146BD8F6-FDDD-49D3-A1A6-146C954086FF}" dt="2021-05-24T13:36:21.331" v="5618" actId="790"/>
          <ac:spMkLst>
            <pc:docMk/>
            <pc:sldMk cId="3996239782" sldId="10399"/>
            <ac:spMk id="47" creationId="{C9CE8351-A7D3-4CFD-BA79-B676ED4E43BC}"/>
          </ac:spMkLst>
        </pc:spChg>
        <pc:spChg chg="mod">
          <ac:chgData name="Jean QUENTIN" userId="6962deb3-b639-4acd-8091-a0516ea2376b" providerId="ADAL" clId="{146BD8F6-FDDD-49D3-A1A6-146C954086FF}" dt="2021-05-24T13:36:21.331" v="5619" actId="790"/>
          <ac:spMkLst>
            <pc:docMk/>
            <pc:sldMk cId="3996239782" sldId="10399"/>
            <ac:spMk id="48" creationId="{751D535F-DDDF-4312-8041-6ED9DE21949C}"/>
          </ac:spMkLst>
        </pc:spChg>
      </pc:sldChg>
      <pc:sldChg chg="modSp mod">
        <pc:chgData name="Jean QUENTIN" userId="6962deb3-b639-4acd-8091-a0516ea2376b" providerId="ADAL" clId="{146BD8F6-FDDD-49D3-A1A6-146C954086FF}" dt="2021-05-24T13:36:19.742" v="4777" actId="790"/>
        <pc:sldMkLst>
          <pc:docMk/>
          <pc:sldMk cId="2944806386" sldId="10400"/>
        </pc:sldMkLst>
        <pc:spChg chg="mod">
          <ac:chgData name="Jean QUENTIN" userId="6962deb3-b639-4acd-8091-a0516ea2376b" providerId="ADAL" clId="{146BD8F6-FDDD-49D3-A1A6-146C954086FF}" dt="2021-05-24T13:36:19.711" v="4770" actId="790"/>
          <ac:spMkLst>
            <pc:docMk/>
            <pc:sldMk cId="2944806386" sldId="10400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19.727" v="4771" actId="790"/>
          <ac:spMkLst>
            <pc:docMk/>
            <pc:sldMk cId="2944806386" sldId="10400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19.727" v="4772" actId="790"/>
          <ac:spMkLst>
            <pc:docMk/>
            <pc:sldMk cId="2944806386" sldId="10400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19.742" v="4777" actId="790"/>
          <ac:spMkLst>
            <pc:docMk/>
            <pc:sldMk cId="2944806386" sldId="10400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19.727" v="4773" actId="790"/>
          <ac:spMkLst>
            <pc:docMk/>
            <pc:sldMk cId="2944806386" sldId="10400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19.727" v="4774" actId="790"/>
          <ac:spMkLst>
            <pc:docMk/>
            <pc:sldMk cId="2944806386" sldId="10400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19.727" v="4775" actId="790"/>
          <ac:spMkLst>
            <pc:docMk/>
            <pc:sldMk cId="2944806386" sldId="10400"/>
            <ac:spMk id="22" creationId="{C002634F-3FA9-4AC3-90E2-0D253FC97BF7}"/>
          </ac:spMkLst>
        </pc:spChg>
        <pc:spChg chg="mod">
          <ac:chgData name="Jean QUENTIN" userId="6962deb3-b639-4acd-8091-a0516ea2376b" providerId="ADAL" clId="{146BD8F6-FDDD-49D3-A1A6-146C954086FF}" dt="2021-05-24T13:36:19.727" v="4776" actId="790"/>
          <ac:spMkLst>
            <pc:docMk/>
            <pc:sldMk cId="2944806386" sldId="10400"/>
            <ac:spMk id="24" creationId="{9523976D-7994-4445-A7A3-F04F6C533708}"/>
          </ac:spMkLst>
        </pc:spChg>
      </pc:sldChg>
      <pc:sldChg chg="modSp mod">
        <pc:chgData name="Jean QUENTIN" userId="6962deb3-b639-4acd-8091-a0516ea2376b" providerId="ADAL" clId="{146BD8F6-FDDD-49D3-A1A6-146C954086FF}" dt="2021-05-24T13:36:20.867" v="5441" actId="790"/>
        <pc:sldMkLst>
          <pc:docMk/>
          <pc:sldMk cId="184650485" sldId="10401"/>
        </pc:sldMkLst>
        <pc:spChg chg="mod">
          <ac:chgData name="Jean QUENTIN" userId="6962deb3-b639-4acd-8091-a0516ea2376b" providerId="ADAL" clId="{146BD8F6-FDDD-49D3-A1A6-146C954086FF}" dt="2021-05-24T13:36:20.845" v="5434" actId="790"/>
          <ac:spMkLst>
            <pc:docMk/>
            <pc:sldMk cId="184650485" sldId="10401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20.845" v="5435" actId="790"/>
          <ac:spMkLst>
            <pc:docMk/>
            <pc:sldMk cId="184650485" sldId="10401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20.845" v="5436" actId="790"/>
          <ac:spMkLst>
            <pc:docMk/>
            <pc:sldMk cId="184650485" sldId="10401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20.867" v="5441" actId="790"/>
          <ac:spMkLst>
            <pc:docMk/>
            <pc:sldMk cId="184650485" sldId="10401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20.861" v="5437" actId="790"/>
          <ac:spMkLst>
            <pc:docMk/>
            <pc:sldMk cId="184650485" sldId="10401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20.861" v="5438" actId="790"/>
          <ac:spMkLst>
            <pc:docMk/>
            <pc:sldMk cId="184650485" sldId="10401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20.867" v="5439" actId="790"/>
          <ac:spMkLst>
            <pc:docMk/>
            <pc:sldMk cId="184650485" sldId="10401"/>
            <ac:spMk id="22" creationId="{C002634F-3FA9-4AC3-90E2-0D253FC97BF7}"/>
          </ac:spMkLst>
        </pc:spChg>
        <pc:spChg chg="mod">
          <ac:chgData name="Jean QUENTIN" userId="6962deb3-b639-4acd-8091-a0516ea2376b" providerId="ADAL" clId="{146BD8F6-FDDD-49D3-A1A6-146C954086FF}" dt="2021-05-24T13:36:20.867" v="5440" actId="790"/>
          <ac:spMkLst>
            <pc:docMk/>
            <pc:sldMk cId="184650485" sldId="10401"/>
            <ac:spMk id="24" creationId="{9523976D-7994-4445-A7A3-F04F6C533708}"/>
          </ac:spMkLst>
        </pc:spChg>
      </pc:sldChg>
      <pc:sldChg chg="modSp mod">
        <pc:chgData name="Jean QUENTIN" userId="6962deb3-b639-4acd-8091-a0516ea2376b" providerId="ADAL" clId="{146BD8F6-FDDD-49D3-A1A6-146C954086FF}" dt="2021-05-24T13:36:23.351" v="6526" actId="790"/>
        <pc:sldMkLst>
          <pc:docMk/>
          <pc:sldMk cId="1069423577" sldId="10402"/>
        </pc:sldMkLst>
        <pc:spChg chg="mod">
          <ac:chgData name="Jean QUENTIN" userId="6962deb3-b639-4acd-8091-a0516ea2376b" providerId="ADAL" clId="{146BD8F6-FDDD-49D3-A1A6-146C954086FF}" dt="2021-05-24T13:36:23.320" v="6519" actId="790"/>
          <ac:spMkLst>
            <pc:docMk/>
            <pc:sldMk cId="1069423577" sldId="10402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23.336" v="6520" actId="790"/>
          <ac:spMkLst>
            <pc:docMk/>
            <pc:sldMk cId="1069423577" sldId="10402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23.336" v="6521" actId="790"/>
          <ac:spMkLst>
            <pc:docMk/>
            <pc:sldMk cId="1069423577" sldId="10402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23.351" v="6526" actId="790"/>
          <ac:spMkLst>
            <pc:docMk/>
            <pc:sldMk cId="1069423577" sldId="10402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23.336" v="6522" actId="790"/>
          <ac:spMkLst>
            <pc:docMk/>
            <pc:sldMk cId="1069423577" sldId="10402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23.336" v="6523" actId="790"/>
          <ac:spMkLst>
            <pc:docMk/>
            <pc:sldMk cId="1069423577" sldId="10402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23.336" v="6524" actId="790"/>
          <ac:spMkLst>
            <pc:docMk/>
            <pc:sldMk cId="1069423577" sldId="10402"/>
            <ac:spMk id="22" creationId="{C002634F-3FA9-4AC3-90E2-0D253FC97BF7}"/>
          </ac:spMkLst>
        </pc:spChg>
        <pc:spChg chg="mod">
          <ac:chgData name="Jean QUENTIN" userId="6962deb3-b639-4acd-8091-a0516ea2376b" providerId="ADAL" clId="{146BD8F6-FDDD-49D3-A1A6-146C954086FF}" dt="2021-05-24T13:36:23.351" v="6525" actId="790"/>
          <ac:spMkLst>
            <pc:docMk/>
            <pc:sldMk cId="1069423577" sldId="10402"/>
            <ac:spMk id="24" creationId="{9523976D-7994-4445-A7A3-F04F6C533708}"/>
          </ac:spMkLst>
        </pc:spChg>
      </pc:sldChg>
      <pc:sldChg chg="modSp mod">
        <pc:chgData name="Jean QUENTIN" userId="6962deb3-b639-4acd-8091-a0516ea2376b" providerId="ADAL" clId="{146BD8F6-FDDD-49D3-A1A6-146C954086FF}" dt="2021-05-24T13:36:23.351" v="6528" actId="790"/>
        <pc:sldMkLst>
          <pc:docMk/>
          <pc:sldMk cId="1293220998" sldId="10403"/>
        </pc:sldMkLst>
        <pc:spChg chg="mod">
          <ac:chgData name="Jean QUENTIN" userId="6962deb3-b639-4acd-8091-a0516ea2376b" providerId="ADAL" clId="{146BD8F6-FDDD-49D3-A1A6-146C954086FF}" dt="2021-05-24T13:36:23.351" v="6527" actId="790"/>
          <ac:spMkLst>
            <pc:docMk/>
            <pc:sldMk cId="1293220998" sldId="10403"/>
            <ac:spMk id="2" creationId="{E4C99DE8-0E8A-4A43-846B-D73B590AE5A3}"/>
          </ac:spMkLst>
        </pc:spChg>
        <pc:spChg chg="mod">
          <ac:chgData name="Jean QUENTIN" userId="6962deb3-b639-4acd-8091-a0516ea2376b" providerId="ADAL" clId="{146BD8F6-FDDD-49D3-A1A6-146C954086FF}" dt="2021-05-24T13:36:23.351" v="6528" actId="790"/>
          <ac:spMkLst>
            <pc:docMk/>
            <pc:sldMk cId="1293220998" sldId="10403"/>
            <ac:spMk id="3" creationId="{3E9E7A93-28EA-4F91-B17C-884BBAF3D21B}"/>
          </ac:spMkLst>
        </pc:spChg>
      </pc:sldChg>
      <pc:sldChg chg="modSp mod">
        <pc:chgData name="Jean QUENTIN" userId="6962deb3-b639-4acd-8091-a0516ea2376b" providerId="ADAL" clId="{146BD8F6-FDDD-49D3-A1A6-146C954086FF}" dt="2021-05-24T13:36:21.531" v="5703" actId="790"/>
        <pc:sldMkLst>
          <pc:docMk/>
          <pc:sldMk cId="1205771456" sldId="10404"/>
        </pc:sldMkLst>
        <pc:spChg chg="mod">
          <ac:chgData name="Jean QUENTIN" userId="6962deb3-b639-4acd-8091-a0516ea2376b" providerId="ADAL" clId="{146BD8F6-FDDD-49D3-A1A6-146C954086FF}" dt="2021-05-24T13:36:21.500" v="5696" actId="790"/>
          <ac:spMkLst>
            <pc:docMk/>
            <pc:sldMk cId="1205771456" sldId="10404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21.516" v="5697" actId="790"/>
          <ac:spMkLst>
            <pc:docMk/>
            <pc:sldMk cId="1205771456" sldId="10404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21.516" v="5698" actId="790"/>
          <ac:spMkLst>
            <pc:docMk/>
            <pc:sldMk cId="1205771456" sldId="10404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21.531" v="5703" actId="790"/>
          <ac:spMkLst>
            <pc:docMk/>
            <pc:sldMk cId="1205771456" sldId="10404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21.516" v="5699" actId="790"/>
          <ac:spMkLst>
            <pc:docMk/>
            <pc:sldMk cId="1205771456" sldId="10404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21.516" v="5700" actId="790"/>
          <ac:spMkLst>
            <pc:docMk/>
            <pc:sldMk cId="1205771456" sldId="10404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21.516" v="5701" actId="790"/>
          <ac:spMkLst>
            <pc:docMk/>
            <pc:sldMk cId="1205771456" sldId="10404"/>
            <ac:spMk id="24" creationId="{9523976D-7994-4445-A7A3-F04F6C533708}"/>
          </ac:spMkLst>
        </pc:spChg>
        <pc:spChg chg="mod">
          <ac:chgData name="Jean QUENTIN" userId="6962deb3-b639-4acd-8091-a0516ea2376b" providerId="ADAL" clId="{146BD8F6-FDDD-49D3-A1A6-146C954086FF}" dt="2021-05-24T13:36:21.531" v="5702" actId="790"/>
          <ac:spMkLst>
            <pc:docMk/>
            <pc:sldMk cId="1205771456" sldId="10404"/>
            <ac:spMk id="26" creationId="{D70D99D8-5440-4867-B8A0-57942A3EA3D2}"/>
          </ac:spMkLst>
        </pc:spChg>
      </pc:sldChg>
      <pc:sldChg chg="modSp mod">
        <pc:chgData name="Jean QUENTIN" userId="6962deb3-b639-4acd-8091-a0516ea2376b" providerId="ADAL" clId="{146BD8F6-FDDD-49D3-A1A6-146C954086FF}" dt="2021-05-24T13:36:22.449" v="6170" actId="790"/>
        <pc:sldMkLst>
          <pc:docMk/>
          <pc:sldMk cId="1339838536" sldId="10405"/>
        </pc:sldMkLst>
        <pc:spChg chg="mod">
          <ac:chgData name="Jean QUENTIN" userId="6962deb3-b639-4acd-8091-a0516ea2376b" providerId="ADAL" clId="{146BD8F6-FDDD-49D3-A1A6-146C954086FF}" dt="2021-05-24T13:36:22.418" v="6163" actId="790"/>
          <ac:spMkLst>
            <pc:docMk/>
            <pc:sldMk cId="1339838536" sldId="10405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22.434" v="6164" actId="790"/>
          <ac:spMkLst>
            <pc:docMk/>
            <pc:sldMk cId="1339838536" sldId="10405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22.434" v="6165" actId="790"/>
          <ac:spMkLst>
            <pc:docMk/>
            <pc:sldMk cId="1339838536" sldId="10405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22.449" v="6170" actId="790"/>
          <ac:spMkLst>
            <pc:docMk/>
            <pc:sldMk cId="1339838536" sldId="10405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22.434" v="6166" actId="790"/>
          <ac:spMkLst>
            <pc:docMk/>
            <pc:sldMk cId="1339838536" sldId="10405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22.434" v="6167" actId="790"/>
          <ac:spMkLst>
            <pc:docMk/>
            <pc:sldMk cId="1339838536" sldId="10405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22.434" v="6168" actId="790"/>
          <ac:spMkLst>
            <pc:docMk/>
            <pc:sldMk cId="1339838536" sldId="10405"/>
            <ac:spMk id="24" creationId="{9523976D-7994-4445-A7A3-F04F6C533708}"/>
          </ac:spMkLst>
        </pc:spChg>
        <pc:spChg chg="mod">
          <ac:chgData name="Jean QUENTIN" userId="6962deb3-b639-4acd-8091-a0516ea2376b" providerId="ADAL" clId="{146BD8F6-FDDD-49D3-A1A6-146C954086FF}" dt="2021-05-24T13:36:22.449" v="6169" actId="790"/>
          <ac:spMkLst>
            <pc:docMk/>
            <pc:sldMk cId="1339838536" sldId="10405"/>
            <ac:spMk id="26" creationId="{D70D99D8-5440-4867-B8A0-57942A3EA3D2}"/>
          </ac:spMkLst>
        </pc:spChg>
      </pc:sldChg>
      <pc:sldChg chg="modSp mod">
        <pc:chgData name="Jean QUENTIN" userId="6962deb3-b639-4acd-8091-a0516ea2376b" providerId="ADAL" clId="{146BD8F6-FDDD-49D3-A1A6-146C954086FF}" dt="2021-05-24T13:36:23.320" v="6518" actId="790"/>
        <pc:sldMkLst>
          <pc:docMk/>
          <pc:sldMk cId="2152476671" sldId="10406"/>
        </pc:sldMkLst>
        <pc:spChg chg="mod">
          <ac:chgData name="Jean QUENTIN" userId="6962deb3-b639-4acd-8091-a0516ea2376b" providerId="ADAL" clId="{146BD8F6-FDDD-49D3-A1A6-146C954086FF}" dt="2021-05-24T13:36:23.273" v="6496" actId="790"/>
          <ac:spMkLst>
            <pc:docMk/>
            <pc:sldMk cId="2152476671" sldId="10406"/>
            <ac:spMk id="2" creationId="{769247EA-17E8-4C3A-8816-83F479289603}"/>
          </ac:spMkLst>
        </pc:spChg>
        <pc:spChg chg="mod">
          <ac:chgData name="Jean QUENTIN" userId="6962deb3-b639-4acd-8091-a0516ea2376b" providerId="ADAL" clId="{146BD8F6-FDDD-49D3-A1A6-146C954086FF}" dt="2021-05-24T13:36:23.320" v="6518" actId="790"/>
          <ac:spMkLst>
            <pc:docMk/>
            <pc:sldMk cId="2152476671" sldId="10406"/>
            <ac:spMk id="3" creationId="{571F501E-D6CF-47A8-B201-91905A9D8A5F}"/>
          </ac:spMkLst>
        </pc:spChg>
        <pc:spChg chg="mod">
          <ac:chgData name="Jean QUENTIN" userId="6962deb3-b639-4acd-8091-a0516ea2376b" providerId="ADAL" clId="{146BD8F6-FDDD-49D3-A1A6-146C954086FF}" dt="2021-05-24T13:36:23.273" v="6497" actId="790"/>
          <ac:spMkLst>
            <pc:docMk/>
            <pc:sldMk cId="2152476671" sldId="10406"/>
            <ac:spMk id="4" creationId="{B352B63F-9CD1-4BA4-A300-4556C2BB241E}"/>
          </ac:spMkLst>
        </pc:spChg>
        <pc:spChg chg="mod">
          <ac:chgData name="Jean QUENTIN" userId="6962deb3-b639-4acd-8091-a0516ea2376b" providerId="ADAL" clId="{146BD8F6-FDDD-49D3-A1A6-146C954086FF}" dt="2021-05-24T13:36:23.273" v="6498" actId="790"/>
          <ac:spMkLst>
            <pc:docMk/>
            <pc:sldMk cId="2152476671" sldId="10406"/>
            <ac:spMk id="7" creationId="{044946C5-D2A9-4225-9A4A-E922125A0AE1}"/>
          </ac:spMkLst>
        </pc:spChg>
        <pc:spChg chg="mod">
          <ac:chgData name="Jean QUENTIN" userId="6962deb3-b639-4acd-8091-a0516ea2376b" providerId="ADAL" clId="{146BD8F6-FDDD-49D3-A1A6-146C954086FF}" dt="2021-05-24T13:36:23.273" v="6499" actId="790"/>
          <ac:spMkLst>
            <pc:docMk/>
            <pc:sldMk cId="2152476671" sldId="10406"/>
            <ac:spMk id="8" creationId="{6EB55A20-F760-4588-A3F5-8DB405904ECD}"/>
          </ac:spMkLst>
        </pc:spChg>
        <pc:spChg chg="mod">
          <ac:chgData name="Jean QUENTIN" userId="6962deb3-b639-4acd-8091-a0516ea2376b" providerId="ADAL" clId="{146BD8F6-FDDD-49D3-A1A6-146C954086FF}" dt="2021-05-24T13:36:23.273" v="6500" actId="790"/>
          <ac:spMkLst>
            <pc:docMk/>
            <pc:sldMk cId="2152476671" sldId="10406"/>
            <ac:spMk id="17" creationId="{C9EAEAC2-A4FF-4DD8-9228-E949C4DB6A55}"/>
          </ac:spMkLst>
        </pc:spChg>
        <pc:spChg chg="mod">
          <ac:chgData name="Jean QUENTIN" userId="6962deb3-b639-4acd-8091-a0516ea2376b" providerId="ADAL" clId="{146BD8F6-FDDD-49D3-A1A6-146C954086FF}" dt="2021-05-24T13:36:23.273" v="6501" actId="790"/>
          <ac:spMkLst>
            <pc:docMk/>
            <pc:sldMk cId="2152476671" sldId="10406"/>
            <ac:spMk id="20" creationId="{5F5540D3-73DA-4CB5-8CE1-6C8BEAA293F6}"/>
          </ac:spMkLst>
        </pc:spChg>
        <pc:spChg chg="mod">
          <ac:chgData name="Jean QUENTIN" userId="6962deb3-b639-4acd-8091-a0516ea2376b" providerId="ADAL" clId="{146BD8F6-FDDD-49D3-A1A6-146C954086FF}" dt="2021-05-24T13:36:23.289" v="6504" actId="790"/>
          <ac:spMkLst>
            <pc:docMk/>
            <pc:sldMk cId="2152476671" sldId="10406"/>
            <ac:spMk id="22" creationId="{71C1C247-34E0-4427-9935-711B17B7FE64}"/>
          </ac:spMkLst>
        </pc:spChg>
        <pc:spChg chg="mod">
          <ac:chgData name="Jean QUENTIN" userId="6962deb3-b639-4acd-8091-a0516ea2376b" providerId="ADAL" clId="{146BD8F6-FDDD-49D3-A1A6-146C954086FF}" dt="2021-05-24T13:36:23.289" v="6502" actId="790"/>
          <ac:spMkLst>
            <pc:docMk/>
            <pc:sldMk cId="2152476671" sldId="10406"/>
            <ac:spMk id="24" creationId="{9AC553B1-4F81-4C20-B305-7DC8EB1A6187}"/>
          </ac:spMkLst>
        </pc:spChg>
        <pc:spChg chg="mod">
          <ac:chgData name="Jean QUENTIN" userId="6962deb3-b639-4acd-8091-a0516ea2376b" providerId="ADAL" clId="{146BD8F6-FDDD-49D3-A1A6-146C954086FF}" dt="2021-05-24T13:36:23.289" v="6503" actId="790"/>
          <ac:spMkLst>
            <pc:docMk/>
            <pc:sldMk cId="2152476671" sldId="10406"/>
            <ac:spMk id="25" creationId="{3E109305-F3C7-486E-897E-2E8221625EF8}"/>
          </ac:spMkLst>
        </pc:spChg>
        <pc:spChg chg="mod">
          <ac:chgData name="Jean QUENTIN" userId="6962deb3-b639-4acd-8091-a0516ea2376b" providerId="ADAL" clId="{146BD8F6-FDDD-49D3-A1A6-146C954086FF}" dt="2021-05-24T13:36:23.305" v="6509" actId="790"/>
          <ac:spMkLst>
            <pc:docMk/>
            <pc:sldMk cId="2152476671" sldId="10406"/>
            <ac:spMk id="28" creationId="{F0A42D70-8359-43E9-B3F0-C9955529B0D8}"/>
          </ac:spMkLst>
        </pc:spChg>
        <pc:spChg chg="mod">
          <ac:chgData name="Jean QUENTIN" userId="6962deb3-b639-4acd-8091-a0516ea2376b" providerId="ADAL" clId="{146BD8F6-FDDD-49D3-A1A6-146C954086FF}" dt="2021-05-24T13:36:23.289" v="6505" actId="790"/>
          <ac:spMkLst>
            <pc:docMk/>
            <pc:sldMk cId="2152476671" sldId="10406"/>
            <ac:spMk id="29" creationId="{6883ADF0-392A-45C2-A4E3-ABAB2274EB03}"/>
          </ac:spMkLst>
        </pc:spChg>
        <pc:spChg chg="mod">
          <ac:chgData name="Jean QUENTIN" userId="6962deb3-b639-4acd-8091-a0516ea2376b" providerId="ADAL" clId="{146BD8F6-FDDD-49D3-A1A6-146C954086FF}" dt="2021-05-24T13:36:23.289" v="6506" actId="790"/>
          <ac:spMkLst>
            <pc:docMk/>
            <pc:sldMk cId="2152476671" sldId="10406"/>
            <ac:spMk id="30" creationId="{DEF0A5A1-4D9F-4E2F-9E07-C79302AD07AD}"/>
          </ac:spMkLst>
        </pc:spChg>
        <pc:spChg chg="mod">
          <ac:chgData name="Jean QUENTIN" userId="6962deb3-b639-4acd-8091-a0516ea2376b" providerId="ADAL" clId="{146BD8F6-FDDD-49D3-A1A6-146C954086FF}" dt="2021-05-24T13:36:23.305" v="6507" actId="790"/>
          <ac:spMkLst>
            <pc:docMk/>
            <pc:sldMk cId="2152476671" sldId="10406"/>
            <ac:spMk id="32" creationId="{3FF3FDF5-52D0-49E0-A0E7-824DFE96C177}"/>
          </ac:spMkLst>
        </pc:spChg>
        <pc:spChg chg="mod">
          <ac:chgData name="Jean QUENTIN" userId="6962deb3-b639-4acd-8091-a0516ea2376b" providerId="ADAL" clId="{146BD8F6-FDDD-49D3-A1A6-146C954086FF}" dt="2021-05-24T13:36:23.305" v="6508" actId="790"/>
          <ac:spMkLst>
            <pc:docMk/>
            <pc:sldMk cId="2152476671" sldId="10406"/>
            <ac:spMk id="33" creationId="{199DDAA8-0D15-4205-9F4A-142676014187}"/>
          </ac:spMkLst>
        </pc:spChg>
        <pc:spChg chg="mod">
          <ac:chgData name="Jean QUENTIN" userId="6962deb3-b639-4acd-8091-a0516ea2376b" providerId="ADAL" clId="{146BD8F6-FDDD-49D3-A1A6-146C954086FF}" dt="2021-05-24T13:36:23.305" v="6510" actId="790"/>
          <ac:spMkLst>
            <pc:docMk/>
            <pc:sldMk cId="2152476671" sldId="10406"/>
            <ac:spMk id="36" creationId="{54634C5C-4E6B-4812-8C36-4429F526C0A3}"/>
          </ac:spMkLst>
        </pc:spChg>
        <pc:spChg chg="mod">
          <ac:chgData name="Jean QUENTIN" userId="6962deb3-b639-4acd-8091-a0516ea2376b" providerId="ADAL" clId="{146BD8F6-FDDD-49D3-A1A6-146C954086FF}" dt="2021-05-24T13:36:23.305" v="6511" actId="790"/>
          <ac:spMkLst>
            <pc:docMk/>
            <pc:sldMk cId="2152476671" sldId="10406"/>
            <ac:spMk id="37" creationId="{6E9494AC-7BE2-403A-AAD5-C660690C1497}"/>
          </ac:spMkLst>
        </pc:spChg>
        <pc:spChg chg="mod">
          <ac:chgData name="Jean QUENTIN" userId="6962deb3-b639-4acd-8091-a0516ea2376b" providerId="ADAL" clId="{146BD8F6-FDDD-49D3-A1A6-146C954086FF}" dt="2021-05-24T13:36:23.305" v="6512" actId="790"/>
          <ac:spMkLst>
            <pc:docMk/>
            <pc:sldMk cId="2152476671" sldId="10406"/>
            <ac:spMk id="38" creationId="{7BFE6712-25F1-4FB5-993C-38F1A5FF948E}"/>
          </ac:spMkLst>
        </pc:spChg>
        <pc:spChg chg="mod">
          <ac:chgData name="Jean QUENTIN" userId="6962deb3-b639-4acd-8091-a0516ea2376b" providerId="ADAL" clId="{146BD8F6-FDDD-49D3-A1A6-146C954086FF}" dt="2021-05-24T13:36:23.305" v="6513" actId="790"/>
          <ac:spMkLst>
            <pc:docMk/>
            <pc:sldMk cId="2152476671" sldId="10406"/>
            <ac:spMk id="39" creationId="{3CE7305C-399F-4C9A-A11C-53C12691486B}"/>
          </ac:spMkLst>
        </pc:spChg>
        <pc:spChg chg="mod">
          <ac:chgData name="Jean QUENTIN" userId="6962deb3-b639-4acd-8091-a0516ea2376b" providerId="ADAL" clId="{146BD8F6-FDDD-49D3-A1A6-146C954086FF}" dt="2021-05-24T13:36:23.305" v="6514" actId="790"/>
          <ac:spMkLst>
            <pc:docMk/>
            <pc:sldMk cId="2152476671" sldId="10406"/>
            <ac:spMk id="40" creationId="{04E989A1-4102-44F0-A259-534C7116E059}"/>
          </ac:spMkLst>
        </pc:spChg>
        <pc:spChg chg="mod">
          <ac:chgData name="Jean QUENTIN" userId="6962deb3-b639-4acd-8091-a0516ea2376b" providerId="ADAL" clId="{146BD8F6-FDDD-49D3-A1A6-146C954086FF}" dt="2021-05-24T13:36:23.320" v="6515" actId="790"/>
          <ac:spMkLst>
            <pc:docMk/>
            <pc:sldMk cId="2152476671" sldId="10406"/>
            <ac:spMk id="41" creationId="{273FD84D-9C39-453D-A9F0-6D87EA75F292}"/>
          </ac:spMkLst>
        </pc:spChg>
        <pc:spChg chg="mod">
          <ac:chgData name="Jean QUENTIN" userId="6962deb3-b639-4acd-8091-a0516ea2376b" providerId="ADAL" clId="{146BD8F6-FDDD-49D3-A1A6-146C954086FF}" dt="2021-05-24T13:36:23.320" v="6516" actId="790"/>
          <ac:spMkLst>
            <pc:docMk/>
            <pc:sldMk cId="2152476671" sldId="10406"/>
            <ac:spMk id="42" creationId="{550EDEF6-51FC-4781-87DF-A563B8927750}"/>
          </ac:spMkLst>
        </pc:spChg>
        <pc:spChg chg="mod">
          <ac:chgData name="Jean QUENTIN" userId="6962deb3-b639-4acd-8091-a0516ea2376b" providerId="ADAL" clId="{146BD8F6-FDDD-49D3-A1A6-146C954086FF}" dt="2021-05-24T13:36:23.320" v="6517" actId="790"/>
          <ac:spMkLst>
            <pc:docMk/>
            <pc:sldMk cId="2152476671" sldId="10406"/>
            <ac:spMk id="43" creationId="{26D7AE2B-4EDC-484F-A827-3AA22425C8DB}"/>
          </ac:spMkLst>
        </pc:spChg>
      </pc:sldChg>
      <pc:sldChg chg="modSp mod">
        <pc:chgData name="Jean QUENTIN" userId="6962deb3-b639-4acd-8091-a0516ea2376b" providerId="ADAL" clId="{146BD8F6-FDDD-49D3-A1A6-146C954086FF}" dt="2021-05-24T13:36:17.690" v="3741" actId="790"/>
        <pc:sldMkLst>
          <pc:docMk/>
          <pc:sldMk cId="2868900962" sldId="10407"/>
        </pc:sldMkLst>
        <pc:spChg chg="mod">
          <ac:chgData name="Jean QUENTIN" userId="6962deb3-b639-4acd-8091-a0516ea2376b" providerId="ADAL" clId="{146BD8F6-FDDD-49D3-A1A6-146C954086FF}" dt="2021-05-24T13:36:17.606" v="3699" actId="790"/>
          <ac:spMkLst>
            <pc:docMk/>
            <pc:sldMk cId="2868900962" sldId="10407"/>
            <ac:spMk id="2" creationId="{6141F854-3009-40D7-9038-56590105A49E}"/>
          </ac:spMkLst>
        </pc:spChg>
        <pc:spChg chg="mod">
          <ac:chgData name="Jean QUENTIN" userId="6962deb3-b639-4acd-8091-a0516ea2376b" providerId="ADAL" clId="{146BD8F6-FDDD-49D3-A1A6-146C954086FF}" dt="2021-05-24T13:36:17.652" v="3727" actId="790"/>
          <ac:spMkLst>
            <pc:docMk/>
            <pc:sldMk cId="2868900962" sldId="10407"/>
            <ac:spMk id="3" creationId="{4FAF7BC9-62CE-4C21-8936-6030B817531A}"/>
          </ac:spMkLst>
        </pc:spChg>
        <pc:spChg chg="mod">
          <ac:chgData name="Jean QUENTIN" userId="6962deb3-b639-4acd-8091-a0516ea2376b" providerId="ADAL" clId="{146BD8F6-FDDD-49D3-A1A6-146C954086FF}" dt="2021-05-24T13:36:17.675" v="3737" actId="790"/>
          <ac:spMkLst>
            <pc:docMk/>
            <pc:sldMk cId="2868900962" sldId="10407"/>
            <ac:spMk id="4" creationId="{6846C837-D7D3-4E93-997C-80DC509A1088}"/>
          </ac:spMkLst>
        </pc:spChg>
        <pc:spChg chg="mod">
          <ac:chgData name="Jean QUENTIN" userId="6962deb3-b639-4acd-8091-a0516ea2376b" providerId="ADAL" clId="{146BD8F6-FDDD-49D3-A1A6-146C954086FF}" dt="2021-05-24T13:36:17.606" v="3700" actId="790"/>
          <ac:spMkLst>
            <pc:docMk/>
            <pc:sldMk cId="2868900962" sldId="10407"/>
            <ac:spMk id="8" creationId="{850EB23D-4D8A-4214-A83F-5AE74846D409}"/>
          </ac:spMkLst>
        </pc:spChg>
        <pc:spChg chg="mod">
          <ac:chgData name="Jean QUENTIN" userId="6962deb3-b639-4acd-8091-a0516ea2376b" providerId="ADAL" clId="{146BD8F6-FDDD-49D3-A1A6-146C954086FF}" dt="2021-05-24T13:36:17.606" v="3701" actId="790"/>
          <ac:spMkLst>
            <pc:docMk/>
            <pc:sldMk cId="2868900962" sldId="10407"/>
            <ac:spMk id="9" creationId="{80683D4C-A975-4562-8B87-312BA4741EA4}"/>
          </ac:spMkLst>
        </pc:spChg>
        <pc:spChg chg="mod">
          <ac:chgData name="Jean QUENTIN" userId="6962deb3-b639-4acd-8091-a0516ea2376b" providerId="ADAL" clId="{146BD8F6-FDDD-49D3-A1A6-146C954086FF}" dt="2021-05-24T13:36:17.606" v="3702" actId="790"/>
          <ac:spMkLst>
            <pc:docMk/>
            <pc:sldMk cId="2868900962" sldId="10407"/>
            <ac:spMk id="11" creationId="{6CEA6CC3-5999-43BB-B318-05D09C7CD7DD}"/>
          </ac:spMkLst>
        </pc:spChg>
        <pc:spChg chg="mod">
          <ac:chgData name="Jean QUENTIN" userId="6962deb3-b639-4acd-8091-a0516ea2376b" providerId="ADAL" clId="{146BD8F6-FDDD-49D3-A1A6-146C954086FF}" dt="2021-05-24T13:36:17.606" v="3703" actId="790"/>
          <ac:spMkLst>
            <pc:docMk/>
            <pc:sldMk cId="2868900962" sldId="10407"/>
            <ac:spMk id="12" creationId="{D9771A74-F8F4-4744-B254-8782BC2FE79C}"/>
          </ac:spMkLst>
        </pc:spChg>
        <pc:spChg chg="mod">
          <ac:chgData name="Jean QUENTIN" userId="6962deb3-b639-4acd-8091-a0516ea2376b" providerId="ADAL" clId="{146BD8F6-FDDD-49D3-A1A6-146C954086FF}" dt="2021-05-24T13:36:17.606" v="3704" actId="790"/>
          <ac:spMkLst>
            <pc:docMk/>
            <pc:sldMk cId="2868900962" sldId="10407"/>
            <ac:spMk id="13" creationId="{ED00158F-1B0C-4AFB-8236-4FE970EA41BF}"/>
          </ac:spMkLst>
        </pc:spChg>
        <pc:spChg chg="mod">
          <ac:chgData name="Jean QUENTIN" userId="6962deb3-b639-4acd-8091-a0516ea2376b" providerId="ADAL" clId="{146BD8F6-FDDD-49D3-A1A6-146C954086FF}" dt="2021-05-24T13:36:17.606" v="3705" actId="790"/>
          <ac:spMkLst>
            <pc:docMk/>
            <pc:sldMk cId="2868900962" sldId="10407"/>
            <ac:spMk id="14" creationId="{94C97159-324B-456C-8BF0-974011EE92EC}"/>
          </ac:spMkLst>
        </pc:spChg>
        <pc:spChg chg="mod">
          <ac:chgData name="Jean QUENTIN" userId="6962deb3-b639-4acd-8091-a0516ea2376b" providerId="ADAL" clId="{146BD8F6-FDDD-49D3-A1A6-146C954086FF}" dt="2021-05-24T13:36:17.606" v="3706" actId="790"/>
          <ac:spMkLst>
            <pc:docMk/>
            <pc:sldMk cId="2868900962" sldId="10407"/>
            <ac:spMk id="15" creationId="{7FBAD714-395A-454F-A09A-8BB691E0D21B}"/>
          </ac:spMkLst>
        </pc:spChg>
        <pc:spChg chg="mod">
          <ac:chgData name="Jean QUENTIN" userId="6962deb3-b639-4acd-8091-a0516ea2376b" providerId="ADAL" clId="{146BD8F6-FDDD-49D3-A1A6-146C954086FF}" dt="2021-05-24T13:36:17.606" v="3707" actId="790"/>
          <ac:spMkLst>
            <pc:docMk/>
            <pc:sldMk cId="2868900962" sldId="10407"/>
            <ac:spMk id="16" creationId="{0F308A78-2D0E-4E1C-9132-A405BCD25727}"/>
          </ac:spMkLst>
        </pc:spChg>
        <pc:spChg chg="mod">
          <ac:chgData name="Jean QUENTIN" userId="6962deb3-b639-4acd-8091-a0516ea2376b" providerId="ADAL" clId="{146BD8F6-FDDD-49D3-A1A6-146C954086FF}" dt="2021-05-24T13:36:17.606" v="3708" actId="790"/>
          <ac:spMkLst>
            <pc:docMk/>
            <pc:sldMk cId="2868900962" sldId="10407"/>
            <ac:spMk id="19" creationId="{1DDBE6AD-B865-45EC-BC21-2763DDC2E241}"/>
          </ac:spMkLst>
        </pc:spChg>
        <pc:spChg chg="mod">
          <ac:chgData name="Jean QUENTIN" userId="6962deb3-b639-4acd-8091-a0516ea2376b" providerId="ADAL" clId="{146BD8F6-FDDD-49D3-A1A6-146C954086FF}" dt="2021-05-24T13:36:17.621" v="3709" actId="790"/>
          <ac:spMkLst>
            <pc:docMk/>
            <pc:sldMk cId="2868900962" sldId="10407"/>
            <ac:spMk id="28" creationId="{5132A318-B22A-4F36-9405-A99D72FA81A6}"/>
          </ac:spMkLst>
        </pc:spChg>
        <pc:spChg chg="mod">
          <ac:chgData name="Jean QUENTIN" userId="6962deb3-b639-4acd-8091-a0516ea2376b" providerId="ADAL" clId="{146BD8F6-FDDD-49D3-A1A6-146C954086FF}" dt="2021-05-24T13:36:17.621" v="3710" actId="790"/>
          <ac:spMkLst>
            <pc:docMk/>
            <pc:sldMk cId="2868900962" sldId="10407"/>
            <ac:spMk id="29" creationId="{A6A3E1CF-720D-4C9A-BD7F-8C50E0341DDB}"/>
          </ac:spMkLst>
        </pc:spChg>
        <pc:spChg chg="mod">
          <ac:chgData name="Jean QUENTIN" userId="6962deb3-b639-4acd-8091-a0516ea2376b" providerId="ADAL" clId="{146BD8F6-FDDD-49D3-A1A6-146C954086FF}" dt="2021-05-24T13:36:17.621" v="3711" actId="790"/>
          <ac:spMkLst>
            <pc:docMk/>
            <pc:sldMk cId="2868900962" sldId="10407"/>
            <ac:spMk id="30" creationId="{0E7628E6-82F2-4F4F-ACCC-E9F81D4D2637}"/>
          </ac:spMkLst>
        </pc:spChg>
        <pc:spChg chg="mod">
          <ac:chgData name="Jean QUENTIN" userId="6962deb3-b639-4acd-8091-a0516ea2376b" providerId="ADAL" clId="{146BD8F6-FDDD-49D3-A1A6-146C954086FF}" dt="2021-05-24T13:36:17.621" v="3712" actId="790"/>
          <ac:spMkLst>
            <pc:docMk/>
            <pc:sldMk cId="2868900962" sldId="10407"/>
            <ac:spMk id="32" creationId="{372AE45B-A900-460B-8494-80A452387A0C}"/>
          </ac:spMkLst>
        </pc:spChg>
        <pc:spChg chg="mod">
          <ac:chgData name="Jean QUENTIN" userId="6962deb3-b639-4acd-8091-a0516ea2376b" providerId="ADAL" clId="{146BD8F6-FDDD-49D3-A1A6-146C954086FF}" dt="2021-05-24T13:36:17.621" v="3713" actId="790"/>
          <ac:spMkLst>
            <pc:docMk/>
            <pc:sldMk cId="2868900962" sldId="10407"/>
            <ac:spMk id="35" creationId="{2632F02D-3B5C-472B-898A-E24B4D548E15}"/>
          </ac:spMkLst>
        </pc:spChg>
        <pc:spChg chg="mod">
          <ac:chgData name="Jean QUENTIN" userId="6962deb3-b639-4acd-8091-a0516ea2376b" providerId="ADAL" clId="{146BD8F6-FDDD-49D3-A1A6-146C954086FF}" dt="2021-05-24T13:36:17.621" v="3714" actId="790"/>
          <ac:spMkLst>
            <pc:docMk/>
            <pc:sldMk cId="2868900962" sldId="10407"/>
            <ac:spMk id="37" creationId="{78536066-311C-4011-B0A3-1470929016BB}"/>
          </ac:spMkLst>
        </pc:spChg>
        <pc:spChg chg="mod">
          <ac:chgData name="Jean QUENTIN" userId="6962deb3-b639-4acd-8091-a0516ea2376b" providerId="ADAL" clId="{146BD8F6-FDDD-49D3-A1A6-146C954086FF}" dt="2021-05-24T13:36:17.621" v="3715" actId="790"/>
          <ac:spMkLst>
            <pc:docMk/>
            <pc:sldMk cId="2868900962" sldId="10407"/>
            <ac:spMk id="38" creationId="{F5422B6B-E913-4A42-BE1F-CB551CBE99DE}"/>
          </ac:spMkLst>
        </pc:spChg>
        <pc:spChg chg="mod">
          <ac:chgData name="Jean QUENTIN" userId="6962deb3-b639-4acd-8091-a0516ea2376b" providerId="ADAL" clId="{146BD8F6-FDDD-49D3-A1A6-146C954086FF}" dt="2021-05-24T13:36:17.621" v="3716" actId="790"/>
          <ac:spMkLst>
            <pc:docMk/>
            <pc:sldMk cId="2868900962" sldId="10407"/>
            <ac:spMk id="40" creationId="{23A7E015-DAB6-43B5-9452-C13E1C66287C}"/>
          </ac:spMkLst>
        </pc:spChg>
        <pc:spChg chg="mod">
          <ac:chgData name="Jean QUENTIN" userId="6962deb3-b639-4acd-8091-a0516ea2376b" providerId="ADAL" clId="{146BD8F6-FDDD-49D3-A1A6-146C954086FF}" dt="2021-05-24T13:36:17.621" v="3717" actId="790"/>
          <ac:spMkLst>
            <pc:docMk/>
            <pc:sldMk cId="2868900962" sldId="10407"/>
            <ac:spMk id="41" creationId="{8348ECEA-B987-4D78-B874-10809DB02D76}"/>
          </ac:spMkLst>
        </pc:spChg>
        <pc:spChg chg="mod">
          <ac:chgData name="Jean QUENTIN" userId="6962deb3-b639-4acd-8091-a0516ea2376b" providerId="ADAL" clId="{146BD8F6-FDDD-49D3-A1A6-146C954086FF}" dt="2021-05-24T13:36:17.621" v="3718" actId="790"/>
          <ac:spMkLst>
            <pc:docMk/>
            <pc:sldMk cId="2868900962" sldId="10407"/>
            <ac:spMk id="43" creationId="{FE6CE972-C96F-452A-B9C9-3811D3474DE1}"/>
          </ac:spMkLst>
        </pc:spChg>
        <pc:spChg chg="mod">
          <ac:chgData name="Jean QUENTIN" userId="6962deb3-b639-4acd-8091-a0516ea2376b" providerId="ADAL" clId="{146BD8F6-FDDD-49D3-A1A6-146C954086FF}" dt="2021-05-24T13:36:17.637" v="3719" actId="790"/>
          <ac:spMkLst>
            <pc:docMk/>
            <pc:sldMk cId="2868900962" sldId="10407"/>
            <ac:spMk id="44" creationId="{200F0176-D12F-460A-A395-7B5AB6EFEEB8}"/>
          </ac:spMkLst>
        </pc:spChg>
        <pc:spChg chg="mod">
          <ac:chgData name="Jean QUENTIN" userId="6962deb3-b639-4acd-8091-a0516ea2376b" providerId="ADAL" clId="{146BD8F6-FDDD-49D3-A1A6-146C954086FF}" dt="2021-05-24T13:36:17.637" v="3720" actId="790"/>
          <ac:spMkLst>
            <pc:docMk/>
            <pc:sldMk cId="2868900962" sldId="10407"/>
            <ac:spMk id="45" creationId="{5A02CC2C-F440-4F00-815C-0883E3F46D22}"/>
          </ac:spMkLst>
        </pc:spChg>
        <pc:spChg chg="mod">
          <ac:chgData name="Jean QUENTIN" userId="6962deb3-b639-4acd-8091-a0516ea2376b" providerId="ADAL" clId="{146BD8F6-FDDD-49D3-A1A6-146C954086FF}" dt="2021-05-24T13:36:17.637" v="3721" actId="790"/>
          <ac:spMkLst>
            <pc:docMk/>
            <pc:sldMk cId="2868900962" sldId="10407"/>
            <ac:spMk id="46" creationId="{3CD93A9E-5AC9-4CE1-B0B8-E381E34C7BAC}"/>
          </ac:spMkLst>
        </pc:spChg>
        <pc:spChg chg="mod">
          <ac:chgData name="Jean QUENTIN" userId="6962deb3-b639-4acd-8091-a0516ea2376b" providerId="ADAL" clId="{146BD8F6-FDDD-49D3-A1A6-146C954086FF}" dt="2021-05-24T13:36:17.637" v="3722" actId="790"/>
          <ac:spMkLst>
            <pc:docMk/>
            <pc:sldMk cId="2868900962" sldId="10407"/>
            <ac:spMk id="52" creationId="{EC70FE7A-A694-4850-8F53-4FDEA21664B5}"/>
          </ac:spMkLst>
        </pc:spChg>
        <pc:spChg chg="mod">
          <ac:chgData name="Jean QUENTIN" userId="6962deb3-b639-4acd-8091-a0516ea2376b" providerId="ADAL" clId="{146BD8F6-FDDD-49D3-A1A6-146C954086FF}" dt="2021-05-24T13:36:17.637" v="3723" actId="790"/>
          <ac:spMkLst>
            <pc:docMk/>
            <pc:sldMk cId="2868900962" sldId="10407"/>
            <ac:spMk id="53" creationId="{AC0356E8-225D-4F4D-9A4F-CF0C676DF73E}"/>
          </ac:spMkLst>
        </pc:spChg>
        <pc:spChg chg="mod">
          <ac:chgData name="Jean QUENTIN" userId="6962deb3-b639-4acd-8091-a0516ea2376b" providerId="ADAL" clId="{146BD8F6-FDDD-49D3-A1A6-146C954086FF}" dt="2021-05-24T13:36:17.637" v="3726" actId="790"/>
          <ac:spMkLst>
            <pc:docMk/>
            <pc:sldMk cId="2868900962" sldId="10407"/>
            <ac:spMk id="61" creationId="{07F35A51-7B62-4B76-9D30-07EE2C092125}"/>
          </ac:spMkLst>
        </pc:spChg>
        <pc:spChg chg="mod">
          <ac:chgData name="Jean QUENTIN" userId="6962deb3-b639-4acd-8091-a0516ea2376b" providerId="ADAL" clId="{146BD8F6-FDDD-49D3-A1A6-146C954086FF}" dt="2021-05-24T13:36:17.652" v="3728" actId="790"/>
          <ac:spMkLst>
            <pc:docMk/>
            <pc:sldMk cId="2868900962" sldId="10407"/>
            <ac:spMk id="63" creationId="{78B151F9-8055-4877-8C39-D1FB2BC8D110}"/>
          </ac:spMkLst>
        </pc:spChg>
        <pc:spChg chg="mod">
          <ac:chgData name="Jean QUENTIN" userId="6962deb3-b639-4acd-8091-a0516ea2376b" providerId="ADAL" clId="{146BD8F6-FDDD-49D3-A1A6-146C954086FF}" dt="2021-05-24T13:36:17.637" v="3724" actId="790"/>
          <ac:spMkLst>
            <pc:docMk/>
            <pc:sldMk cId="2868900962" sldId="10407"/>
            <ac:spMk id="64" creationId="{24E63172-5657-470E-BCC7-1C550822C97F}"/>
          </ac:spMkLst>
        </pc:spChg>
        <pc:spChg chg="mod">
          <ac:chgData name="Jean QUENTIN" userId="6962deb3-b639-4acd-8091-a0516ea2376b" providerId="ADAL" clId="{146BD8F6-FDDD-49D3-A1A6-146C954086FF}" dt="2021-05-24T13:36:17.652" v="3729" actId="790"/>
          <ac:spMkLst>
            <pc:docMk/>
            <pc:sldMk cId="2868900962" sldId="10407"/>
            <ac:spMk id="65" creationId="{C9948D29-691C-4040-9006-9DD667687950}"/>
          </ac:spMkLst>
        </pc:spChg>
        <pc:spChg chg="mod">
          <ac:chgData name="Jean QUENTIN" userId="6962deb3-b639-4acd-8091-a0516ea2376b" providerId="ADAL" clId="{146BD8F6-FDDD-49D3-A1A6-146C954086FF}" dt="2021-05-24T13:36:17.652" v="3730" actId="790"/>
          <ac:spMkLst>
            <pc:docMk/>
            <pc:sldMk cId="2868900962" sldId="10407"/>
            <ac:spMk id="66" creationId="{AAB7C197-EAD7-4BB6-B0E4-7160C49E73FD}"/>
          </ac:spMkLst>
        </pc:spChg>
        <pc:spChg chg="mod">
          <ac:chgData name="Jean QUENTIN" userId="6962deb3-b639-4acd-8091-a0516ea2376b" providerId="ADAL" clId="{146BD8F6-FDDD-49D3-A1A6-146C954086FF}" dt="2021-05-24T13:36:17.652" v="3731" actId="790"/>
          <ac:spMkLst>
            <pc:docMk/>
            <pc:sldMk cId="2868900962" sldId="10407"/>
            <ac:spMk id="67" creationId="{5CB5CAFD-CBF6-4B09-9206-7594602E4B1E}"/>
          </ac:spMkLst>
        </pc:spChg>
        <pc:spChg chg="mod">
          <ac:chgData name="Jean QUENTIN" userId="6962deb3-b639-4acd-8091-a0516ea2376b" providerId="ADAL" clId="{146BD8F6-FDDD-49D3-A1A6-146C954086FF}" dt="2021-05-24T13:36:17.659" v="3733" actId="790"/>
          <ac:spMkLst>
            <pc:docMk/>
            <pc:sldMk cId="2868900962" sldId="10407"/>
            <ac:spMk id="68" creationId="{CC5E7179-D37D-4404-8895-56FAE0A2838D}"/>
          </ac:spMkLst>
        </pc:spChg>
        <pc:spChg chg="mod">
          <ac:chgData name="Jean QUENTIN" userId="6962deb3-b639-4acd-8091-a0516ea2376b" providerId="ADAL" clId="{146BD8F6-FDDD-49D3-A1A6-146C954086FF}" dt="2021-05-24T13:36:17.659" v="3732" actId="790"/>
          <ac:spMkLst>
            <pc:docMk/>
            <pc:sldMk cId="2868900962" sldId="10407"/>
            <ac:spMk id="69" creationId="{BA031102-DBA3-46AB-8D83-EF3A8C254D33}"/>
          </ac:spMkLst>
        </pc:spChg>
        <pc:spChg chg="mod">
          <ac:chgData name="Jean QUENTIN" userId="6962deb3-b639-4acd-8091-a0516ea2376b" providerId="ADAL" clId="{146BD8F6-FDDD-49D3-A1A6-146C954086FF}" dt="2021-05-24T13:36:17.659" v="3734" actId="790"/>
          <ac:spMkLst>
            <pc:docMk/>
            <pc:sldMk cId="2868900962" sldId="10407"/>
            <ac:spMk id="70" creationId="{06F17509-A6C5-4D10-AD95-E46357A3BBF3}"/>
          </ac:spMkLst>
        </pc:spChg>
        <pc:spChg chg="mod">
          <ac:chgData name="Jean QUENTIN" userId="6962deb3-b639-4acd-8091-a0516ea2376b" providerId="ADAL" clId="{146BD8F6-FDDD-49D3-A1A6-146C954086FF}" dt="2021-05-24T13:36:17.690" v="3741" actId="790"/>
          <ac:spMkLst>
            <pc:docMk/>
            <pc:sldMk cId="2868900962" sldId="10407"/>
            <ac:spMk id="71" creationId="{03498954-A368-43DD-9AF2-9BFDE163D995}"/>
          </ac:spMkLst>
        </pc:spChg>
        <pc:spChg chg="mod">
          <ac:chgData name="Jean QUENTIN" userId="6962deb3-b639-4acd-8091-a0516ea2376b" providerId="ADAL" clId="{146BD8F6-FDDD-49D3-A1A6-146C954086FF}" dt="2021-05-24T13:36:17.659" v="3735" actId="790"/>
          <ac:spMkLst>
            <pc:docMk/>
            <pc:sldMk cId="2868900962" sldId="10407"/>
            <ac:spMk id="73" creationId="{FB4B405E-271C-470C-8255-5915BAD76B75}"/>
          </ac:spMkLst>
        </pc:spChg>
        <pc:spChg chg="mod">
          <ac:chgData name="Jean QUENTIN" userId="6962deb3-b639-4acd-8091-a0516ea2376b" providerId="ADAL" clId="{146BD8F6-FDDD-49D3-A1A6-146C954086FF}" dt="2021-05-24T13:36:17.659" v="3736" actId="790"/>
          <ac:spMkLst>
            <pc:docMk/>
            <pc:sldMk cId="2868900962" sldId="10407"/>
            <ac:spMk id="74" creationId="{56CC9A29-3A02-4509-9F73-0CD74BA0A581}"/>
          </ac:spMkLst>
        </pc:spChg>
        <pc:spChg chg="mod">
          <ac:chgData name="Jean QUENTIN" userId="6962deb3-b639-4acd-8091-a0516ea2376b" providerId="ADAL" clId="{146BD8F6-FDDD-49D3-A1A6-146C954086FF}" dt="2021-05-24T13:36:17.675" v="3738" actId="790"/>
          <ac:spMkLst>
            <pc:docMk/>
            <pc:sldMk cId="2868900962" sldId="10407"/>
            <ac:spMk id="76" creationId="{5F4FFF79-371E-4E5E-99B3-677CD02E93F1}"/>
          </ac:spMkLst>
        </pc:spChg>
        <pc:spChg chg="mod">
          <ac:chgData name="Jean QUENTIN" userId="6962deb3-b639-4acd-8091-a0516ea2376b" providerId="ADAL" clId="{146BD8F6-FDDD-49D3-A1A6-146C954086FF}" dt="2021-05-24T13:36:17.675" v="3739" actId="790"/>
          <ac:spMkLst>
            <pc:docMk/>
            <pc:sldMk cId="2868900962" sldId="10407"/>
            <ac:spMk id="77" creationId="{0F6E568C-FF1A-45D1-9296-A25B68BC83AD}"/>
          </ac:spMkLst>
        </pc:spChg>
        <pc:spChg chg="mod">
          <ac:chgData name="Jean QUENTIN" userId="6962deb3-b639-4acd-8091-a0516ea2376b" providerId="ADAL" clId="{146BD8F6-FDDD-49D3-A1A6-146C954086FF}" dt="2021-05-24T13:36:17.690" v="3740" actId="790"/>
          <ac:spMkLst>
            <pc:docMk/>
            <pc:sldMk cId="2868900962" sldId="10407"/>
            <ac:spMk id="78" creationId="{427C8590-C704-4B01-A689-71A872DD9101}"/>
          </ac:spMkLst>
        </pc:spChg>
        <pc:spChg chg="mod">
          <ac:chgData name="Jean QUENTIN" userId="6962deb3-b639-4acd-8091-a0516ea2376b" providerId="ADAL" clId="{146BD8F6-FDDD-49D3-A1A6-146C954086FF}" dt="2021-05-24T13:36:17.637" v="3725" actId="790"/>
          <ac:spMkLst>
            <pc:docMk/>
            <pc:sldMk cId="2868900962" sldId="10407"/>
            <ac:spMk id="102" creationId="{A2834B24-514E-43C3-B8D2-8BF2673C78D1}"/>
          </ac:spMkLst>
        </pc:spChg>
      </pc:sldChg>
      <pc:sldChg chg="modSp mod">
        <pc:chgData name="Jean QUENTIN" userId="6962deb3-b639-4acd-8091-a0516ea2376b" providerId="ADAL" clId="{146BD8F6-FDDD-49D3-A1A6-146C954086FF}" dt="2021-05-25T12:25:56.182" v="14280" actId="20577"/>
        <pc:sldMkLst>
          <pc:docMk/>
          <pc:sldMk cId="407516052" sldId="10409"/>
        </pc:sldMkLst>
        <pc:spChg chg="mod">
          <ac:chgData name="Jean QUENTIN" userId="6962deb3-b639-4acd-8091-a0516ea2376b" providerId="ADAL" clId="{146BD8F6-FDDD-49D3-A1A6-146C954086FF}" dt="2021-05-24T13:36:21.948" v="5908" actId="790"/>
          <ac:spMkLst>
            <pc:docMk/>
            <pc:sldMk cId="407516052" sldId="10409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21.948" v="5905" actId="790"/>
          <ac:spMkLst>
            <pc:docMk/>
            <pc:sldMk cId="407516052" sldId="10409"/>
            <ac:spMk id="3" creationId="{F2961EB7-FC0B-4AEF-8BF3-7969101BE0A7}"/>
          </ac:spMkLst>
        </pc:spChg>
        <pc:spChg chg="mod">
          <ac:chgData name="Jean QUENTIN" userId="6962deb3-b639-4acd-8091-a0516ea2376b" providerId="ADAL" clId="{146BD8F6-FDDD-49D3-A1A6-146C954086FF}" dt="2021-05-24T13:36:22.001" v="5934" actId="790"/>
          <ac:spMkLst>
            <pc:docMk/>
            <pc:sldMk cId="407516052" sldId="10409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21.948" v="5909" actId="790"/>
          <ac:spMkLst>
            <pc:docMk/>
            <pc:sldMk cId="407516052" sldId="10409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21.964" v="5910" actId="790"/>
          <ac:spMkLst>
            <pc:docMk/>
            <pc:sldMk cId="407516052" sldId="10409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21.948" v="5907" actId="790"/>
          <ac:spMkLst>
            <pc:docMk/>
            <pc:sldMk cId="407516052" sldId="10409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21.986" v="5924" actId="790"/>
          <ac:spMkLst>
            <pc:docMk/>
            <pc:sldMk cId="407516052" sldId="10409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21.964" v="5911" actId="790"/>
          <ac:spMkLst>
            <pc:docMk/>
            <pc:sldMk cId="407516052" sldId="10409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21.932" v="5897" actId="790"/>
          <ac:spMkLst>
            <pc:docMk/>
            <pc:sldMk cId="407516052" sldId="10409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21.986" v="5925" actId="790"/>
          <ac:spMkLst>
            <pc:docMk/>
            <pc:sldMk cId="407516052" sldId="10409"/>
            <ac:spMk id="12" creationId="{06146879-726F-492D-B854-B9E140208671}"/>
          </ac:spMkLst>
        </pc:spChg>
        <pc:spChg chg="mod">
          <ac:chgData name="Jean QUENTIN" userId="6962deb3-b639-4acd-8091-a0516ea2376b" providerId="ADAL" clId="{146BD8F6-FDDD-49D3-A1A6-146C954086FF}" dt="2021-05-24T13:36:21.986" v="5930" actId="790"/>
          <ac:spMkLst>
            <pc:docMk/>
            <pc:sldMk cId="407516052" sldId="10409"/>
            <ac:spMk id="13" creationId="{E9F049B4-9F79-4754-AA4A-B557B2A6D3C9}"/>
          </ac:spMkLst>
        </pc:spChg>
        <pc:spChg chg="mod">
          <ac:chgData name="Jean QUENTIN" userId="6962deb3-b639-4acd-8091-a0516ea2376b" providerId="ADAL" clId="{146BD8F6-FDDD-49D3-A1A6-146C954086FF}" dt="2021-05-24T13:36:21.986" v="5923" actId="790"/>
          <ac:spMkLst>
            <pc:docMk/>
            <pc:sldMk cId="407516052" sldId="10409"/>
            <ac:spMk id="14" creationId="{0AF44C45-BA78-4B2B-8163-11B42E3CF6BE}"/>
          </ac:spMkLst>
        </pc:spChg>
        <pc:spChg chg="mod">
          <ac:chgData name="Jean QUENTIN" userId="6962deb3-b639-4acd-8091-a0516ea2376b" providerId="ADAL" clId="{146BD8F6-FDDD-49D3-A1A6-146C954086FF}" dt="2021-05-24T13:36:21.970" v="5917" actId="790"/>
          <ac:spMkLst>
            <pc:docMk/>
            <pc:sldMk cId="407516052" sldId="10409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21.964" v="5912" actId="790"/>
          <ac:spMkLst>
            <pc:docMk/>
            <pc:sldMk cId="407516052" sldId="10409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5T12:25:56.182" v="14280" actId="20577"/>
          <ac:spMkLst>
            <pc:docMk/>
            <pc:sldMk cId="407516052" sldId="10409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22.001" v="5935" actId="790"/>
          <ac:spMkLst>
            <pc:docMk/>
            <pc:sldMk cId="407516052" sldId="10409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22.001" v="5933" actId="790"/>
          <ac:spMkLst>
            <pc:docMk/>
            <pc:sldMk cId="407516052" sldId="10409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21.932" v="5895" actId="790"/>
          <ac:spMkLst>
            <pc:docMk/>
            <pc:sldMk cId="407516052" sldId="10409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22.001" v="5932" actId="790"/>
          <ac:spMkLst>
            <pc:docMk/>
            <pc:sldMk cId="407516052" sldId="10409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21.964" v="5913" actId="790"/>
          <ac:spMkLst>
            <pc:docMk/>
            <pc:sldMk cId="407516052" sldId="10409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21.948" v="5906" actId="790"/>
          <ac:spMkLst>
            <pc:docMk/>
            <pc:sldMk cId="407516052" sldId="10409"/>
            <ac:spMk id="50" creationId="{06AD3339-7557-4559-B2EA-6A391CF2BF0C}"/>
          </ac:spMkLst>
        </pc:spChg>
        <pc:spChg chg="mod">
          <ac:chgData name="Jean QUENTIN" userId="6962deb3-b639-4acd-8091-a0516ea2376b" providerId="ADAL" clId="{146BD8F6-FDDD-49D3-A1A6-146C954086FF}" dt="2021-05-24T13:36:21.932" v="5896" actId="790"/>
          <ac:spMkLst>
            <pc:docMk/>
            <pc:sldMk cId="407516052" sldId="10409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21.932" v="5899" actId="790"/>
          <ac:spMkLst>
            <pc:docMk/>
            <pc:sldMk cId="407516052" sldId="10409"/>
            <ac:spMk id="90" creationId="{C1682200-357E-4434-8AD7-5A0786BF6D1B}"/>
          </ac:spMkLst>
        </pc:spChg>
        <pc:spChg chg="mod">
          <ac:chgData name="Jean QUENTIN" userId="6962deb3-b639-4acd-8091-a0516ea2376b" providerId="ADAL" clId="{146BD8F6-FDDD-49D3-A1A6-146C954086FF}" dt="2021-05-24T13:36:21.986" v="5928" actId="790"/>
          <ac:spMkLst>
            <pc:docMk/>
            <pc:sldMk cId="407516052" sldId="10409"/>
            <ac:spMk id="96" creationId="{5BB653FA-7502-456B-9DD5-1867522D3A88}"/>
          </ac:spMkLst>
        </pc:spChg>
        <pc:spChg chg="mod">
          <ac:chgData name="Jean QUENTIN" userId="6962deb3-b639-4acd-8091-a0516ea2376b" providerId="ADAL" clId="{146BD8F6-FDDD-49D3-A1A6-146C954086FF}" dt="2021-05-24T13:36:21.964" v="5914" actId="790"/>
          <ac:spMkLst>
            <pc:docMk/>
            <pc:sldMk cId="407516052" sldId="10409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21.948" v="5903" actId="790"/>
          <ac:spMkLst>
            <pc:docMk/>
            <pc:sldMk cId="407516052" sldId="10409"/>
            <ac:spMk id="107" creationId="{31D0AEAA-51DD-4312-8DD3-D5664A3B479D}"/>
          </ac:spMkLst>
        </pc:spChg>
        <pc:spChg chg="mod">
          <ac:chgData name="Jean QUENTIN" userId="6962deb3-b639-4acd-8091-a0516ea2376b" providerId="ADAL" clId="{146BD8F6-FDDD-49D3-A1A6-146C954086FF}" dt="2021-05-24T13:36:21.948" v="5901" actId="790"/>
          <ac:spMkLst>
            <pc:docMk/>
            <pc:sldMk cId="407516052" sldId="10409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22.017" v="5939" actId="790"/>
          <ac:spMkLst>
            <pc:docMk/>
            <pc:sldMk cId="407516052" sldId="10409"/>
            <ac:spMk id="117" creationId="{FB5E74AA-473E-4A0F-97C6-4BAE2E9C9474}"/>
          </ac:spMkLst>
        </pc:spChg>
        <pc:spChg chg="mod">
          <ac:chgData name="Jean QUENTIN" userId="6962deb3-b639-4acd-8091-a0516ea2376b" providerId="ADAL" clId="{146BD8F6-FDDD-49D3-A1A6-146C954086FF}" dt="2021-05-24T13:36:21.932" v="5898" actId="790"/>
          <ac:spMkLst>
            <pc:docMk/>
            <pc:sldMk cId="407516052" sldId="10409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4T13:36:21.986" v="5927" actId="790"/>
          <ac:spMkLst>
            <pc:docMk/>
            <pc:sldMk cId="407516052" sldId="10409"/>
            <ac:spMk id="120" creationId="{697B9F9F-BFD2-4BBC-A2BC-06F0D17B4298}"/>
          </ac:spMkLst>
        </pc:spChg>
        <pc:spChg chg="mod">
          <ac:chgData name="Jean QUENTIN" userId="6962deb3-b639-4acd-8091-a0516ea2376b" providerId="ADAL" clId="{146BD8F6-FDDD-49D3-A1A6-146C954086FF}" dt="2021-05-24T13:36:21.986" v="5926" actId="790"/>
          <ac:spMkLst>
            <pc:docMk/>
            <pc:sldMk cId="407516052" sldId="10409"/>
            <ac:spMk id="122" creationId="{7ED4A8D8-06EE-4620-B65B-5E3B52A3ABAE}"/>
          </ac:spMkLst>
        </pc:spChg>
        <pc:spChg chg="mod">
          <ac:chgData name="Jean QUENTIN" userId="6962deb3-b639-4acd-8091-a0516ea2376b" providerId="ADAL" clId="{146BD8F6-FDDD-49D3-A1A6-146C954086FF}" dt="2021-05-24T13:36:21.986" v="5929" actId="790"/>
          <ac:spMkLst>
            <pc:docMk/>
            <pc:sldMk cId="407516052" sldId="10409"/>
            <ac:spMk id="123" creationId="{CCD5F39F-64EB-4F4E-BE6B-002C617492EF}"/>
          </ac:spMkLst>
        </pc:spChg>
        <pc:spChg chg="mod">
          <ac:chgData name="Jean QUENTIN" userId="6962deb3-b639-4acd-8091-a0516ea2376b" providerId="ADAL" clId="{146BD8F6-FDDD-49D3-A1A6-146C954086FF}" dt="2021-05-24T13:36:22.001" v="5936" actId="790"/>
          <ac:spMkLst>
            <pc:docMk/>
            <pc:sldMk cId="407516052" sldId="10409"/>
            <ac:spMk id="154" creationId="{A7269958-7FC5-479F-B17B-49D115F118B6}"/>
          </ac:spMkLst>
        </pc:spChg>
        <pc:spChg chg="mod">
          <ac:chgData name="Jean QUENTIN" userId="6962deb3-b639-4acd-8091-a0516ea2376b" providerId="ADAL" clId="{146BD8F6-FDDD-49D3-A1A6-146C954086FF}" dt="2021-05-24T13:36:21.970" v="5918" actId="790"/>
          <ac:spMkLst>
            <pc:docMk/>
            <pc:sldMk cId="407516052" sldId="10409"/>
            <ac:spMk id="165" creationId="{C389F3EC-7313-454E-9942-F14FD0BD4C77}"/>
          </ac:spMkLst>
        </pc:spChg>
        <pc:spChg chg="mod">
          <ac:chgData name="Jean QUENTIN" userId="6962deb3-b639-4acd-8091-a0516ea2376b" providerId="ADAL" clId="{146BD8F6-FDDD-49D3-A1A6-146C954086FF}" dt="2021-05-24T13:36:21.986" v="5919" actId="790"/>
          <ac:spMkLst>
            <pc:docMk/>
            <pc:sldMk cId="407516052" sldId="10409"/>
            <ac:spMk id="166" creationId="{A3938D6F-1923-42FF-B2ED-6C2BEA79BA03}"/>
          </ac:spMkLst>
        </pc:spChg>
        <pc:spChg chg="mod">
          <ac:chgData name="Jean QUENTIN" userId="6962deb3-b639-4acd-8091-a0516ea2376b" providerId="ADAL" clId="{146BD8F6-FDDD-49D3-A1A6-146C954086FF}" dt="2021-05-24T13:36:21.986" v="5920" actId="790"/>
          <ac:spMkLst>
            <pc:docMk/>
            <pc:sldMk cId="407516052" sldId="10409"/>
            <ac:spMk id="168" creationId="{C423BD9F-9E4A-46B8-89D7-67C1FE84B168}"/>
          </ac:spMkLst>
        </pc:spChg>
        <pc:spChg chg="mod">
          <ac:chgData name="Jean QUENTIN" userId="6962deb3-b639-4acd-8091-a0516ea2376b" providerId="ADAL" clId="{146BD8F6-FDDD-49D3-A1A6-146C954086FF}" dt="2021-05-24T13:36:21.948" v="5902" actId="790"/>
          <ac:spMkLst>
            <pc:docMk/>
            <pc:sldMk cId="407516052" sldId="10409"/>
            <ac:spMk id="169" creationId="{7881ABC3-A97B-4E90-939F-E48D9595FFFF}"/>
          </ac:spMkLst>
        </pc:spChg>
        <pc:spChg chg="mod">
          <ac:chgData name="Jean QUENTIN" userId="6962deb3-b639-4acd-8091-a0516ea2376b" providerId="ADAL" clId="{146BD8F6-FDDD-49D3-A1A6-146C954086FF}" dt="2021-05-24T13:36:21.932" v="5900" actId="790"/>
          <ac:spMkLst>
            <pc:docMk/>
            <pc:sldMk cId="407516052" sldId="10409"/>
            <ac:spMk id="170" creationId="{A886CA56-9620-415B-9489-A004AB6EB706}"/>
          </ac:spMkLst>
        </pc:spChg>
        <pc:spChg chg="mod">
          <ac:chgData name="Jean QUENTIN" userId="6962deb3-b639-4acd-8091-a0516ea2376b" providerId="ADAL" clId="{146BD8F6-FDDD-49D3-A1A6-146C954086FF}" dt="2021-05-24T13:36:21.986" v="5921" actId="790"/>
          <ac:spMkLst>
            <pc:docMk/>
            <pc:sldMk cId="407516052" sldId="10409"/>
            <ac:spMk id="171" creationId="{BCC6DEFD-6FEB-4777-9432-E3B2F5C51000}"/>
          </ac:spMkLst>
        </pc:spChg>
        <pc:spChg chg="mod">
          <ac:chgData name="Jean QUENTIN" userId="6962deb3-b639-4acd-8091-a0516ea2376b" providerId="ADAL" clId="{146BD8F6-FDDD-49D3-A1A6-146C954086FF}" dt="2021-05-24T13:36:21.986" v="5922" actId="790"/>
          <ac:spMkLst>
            <pc:docMk/>
            <pc:sldMk cId="407516052" sldId="10409"/>
            <ac:spMk id="172" creationId="{04568322-5012-422B-991D-C9A4712E25C9}"/>
          </ac:spMkLst>
        </pc:spChg>
        <pc:spChg chg="mod">
          <ac:chgData name="Jean QUENTIN" userId="6962deb3-b639-4acd-8091-a0516ea2376b" providerId="ADAL" clId="{146BD8F6-FDDD-49D3-A1A6-146C954086FF}" dt="2021-05-24T13:36:22.033" v="5940" actId="790"/>
          <ac:spMkLst>
            <pc:docMk/>
            <pc:sldMk cId="407516052" sldId="10409"/>
            <ac:spMk id="188" creationId="{3D8A8032-97B9-4BBE-B927-45BC220C8D1A}"/>
          </ac:spMkLst>
        </pc:spChg>
        <pc:spChg chg="mod">
          <ac:chgData name="Jean QUENTIN" userId="6962deb3-b639-4acd-8091-a0516ea2376b" providerId="ADAL" clId="{146BD8F6-FDDD-49D3-A1A6-146C954086FF}" dt="2021-05-24T13:36:22.033" v="5941" actId="790"/>
          <ac:spMkLst>
            <pc:docMk/>
            <pc:sldMk cId="407516052" sldId="10409"/>
            <ac:spMk id="189" creationId="{56497B0A-483E-4AAB-905A-C3F0FDEC0D02}"/>
          </ac:spMkLst>
        </pc:spChg>
        <pc:spChg chg="mod">
          <ac:chgData name="Jean QUENTIN" userId="6962deb3-b639-4acd-8091-a0516ea2376b" providerId="ADAL" clId="{146BD8F6-FDDD-49D3-A1A6-146C954086FF}" dt="2021-05-24T13:36:22.001" v="5937" actId="790"/>
          <ac:spMkLst>
            <pc:docMk/>
            <pc:sldMk cId="407516052" sldId="10409"/>
            <ac:spMk id="197" creationId="{EB1ED8EE-1371-4F31-B475-A7FD22F01C88}"/>
          </ac:spMkLst>
        </pc:spChg>
        <pc:spChg chg="mod">
          <ac:chgData name="Jean QUENTIN" userId="6962deb3-b639-4acd-8091-a0516ea2376b" providerId="ADAL" clId="{146BD8F6-FDDD-49D3-A1A6-146C954086FF}" dt="2021-05-24T13:36:22.001" v="5938" actId="790"/>
          <ac:spMkLst>
            <pc:docMk/>
            <pc:sldMk cId="407516052" sldId="10409"/>
            <ac:spMk id="212" creationId="{F492C173-DFD6-47CF-9BB4-C8925127E1EE}"/>
          </ac:spMkLst>
        </pc:spChg>
        <pc:spChg chg="mod">
          <ac:chgData name="Jean QUENTIN" userId="6962deb3-b639-4acd-8091-a0516ea2376b" providerId="ADAL" clId="{146BD8F6-FDDD-49D3-A1A6-146C954086FF}" dt="2021-05-24T13:36:21.970" v="5915" actId="790"/>
          <ac:spMkLst>
            <pc:docMk/>
            <pc:sldMk cId="407516052" sldId="10409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21.970" v="5916" actId="790"/>
          <ac:spMkLst>
            <pc:docMk/>
            <pc:sldMk cId="407516052" sldId="10409"/>
            <ac:spMk id="1035" creationId="{9164A53F-4711-41A4-BE3D-8D2F4243A495}"/>
          </ac:spMkLst>
        </pc:spChg>
        <pc:spChg chg="mod">
          <ac:chgData name="Jean QUENTIN" userId="6962deb3-b639-4acd-8091-a0516ea2376b" providerId="ADAL" clId="{146BD8F6-FDDD-49D3-A1A6-146C954086FF}" dt="2021-05-24T13:36:21.948" v="5904" actId="790"/>
          <ac:spMkLst>
            <pc:docMk/>
            <pc:sldMk cId="407516052" sldId="10409"/>
            <ac:spMk id="4107" creationId="{EBC573C8-C4E3-432A-81F7-B99236DF594A}"/>
          </ac:spMkLst>
        </pc:spChg>
      </pc:sldChg>
      <pc:sldChg chg="modSp mod">
        <pc:chgData name="Jean QUENTIN" userId="6962deb3-b639-4acd-8091-a0516ea2376b" providerId="ADAL" clId="{146BD8F6-FDDD-49D3-A1A6-146C954086FF}" dt="2021-05-25T12:24:56.970" v="14264" actId="20577"/>
        <pc:sldMkLst>
          <pc:docMk/>
          <pc:sldMk cId="4003625964" sldId="10410"/>
        </pc:sldMkLst>
        <pc:spChg chg="mod">
          <ac:chgData name="Jean QUENTIN" userId="6962deb3-b639-4acd-8091-a0516ea2376b" providerId="ADAL" clId="{146BD8F6-FDDD-49D3-A1A6-146C954086FF}" dt="2021-05-24T13:36:21.099" v="5543" actId="790"/>
          <ac:spMkLst>
            <pc:docMk/>
            <pc:sldMk cId="4003625964" sldId="10410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21.084" v="5533" actId="790"/>
          <ac:spMkLst>
            <pc:docMk/>
            <pc:sldMk cId="4003625964" sldId="10410"/>
            <ac:spMk id="3" creationId="{F2961EB7-FC0B-4AEF-8BF3-7969101BE0A7}"/>
          </ac:spMkLst>
        </pc:spChg>
        <pc:spChg chg="mod">
          <ac:chgData name="Jean QUENTIN" userId="6962deb3-b639-4acd-8091-a0516ea2376b" providerId="ADAL" clId="{146BD8F6-FDDD-49D3-A1A6-146C954086FF}" dt="2021-05-24T13:36:21.146" v="5564" actId="790"/>
          <ac:spMkLst>
            <pc:docMk/>
            <pc:sldMk cId="4003625964" sldId="10410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21.099" v="5544" actId="790"/>
          <ac:spMkLst>
            <pc:docMk/>
            <pc:sldMk cId="4003625964" sldId="10410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21.115" v="5545" actId="790"/>
          <ac:spMkLst>
            <pc:docMk/>
            <pc:sldMk cId="4003625964" sldId="10410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21.130" v="5555" actId="790"/>
          <ac:spMkLst>
            <pc:docMk/>
            <pc:sldMk cId="4003625964" sldId="10410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21.130" v="5556" actId="790"/>
          <ac:spMkLst>
            <pc:docMk/>
            <pc:sldMk cId="4003625964" sldId="10410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21.115" v="5546" actId="790"/>
          <ac:spMkLst>
            <pc:docMk/>
            <pc:sldMk cId="4003625964" sldId="10410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21.162" v="5573" actId="790"/>
          <ac:spMkLst>
            <pc:docMk/>
            <pc:sldMk cId="4003625964" sldId="10410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21.084" v="5534" actId="790"/>
          <ac:spMkLst>
            <pc:docMk/>
            <pc:sldMk cId="4003625964" sldId="10410"/>
            <ac:spMk id="12" creationId="{06146879-726F-492D-B854-B9E140208671}"/>
          </ac:spMkLst>
        </pc:spChg>
        <pc:spChg chg="mod">
          <ac:chgData name="Jean QUENTIN" userId="6962deb3-b639-4acd-8091-a0516ea2376b" providerId="ADAL" clId="{146BD8F6-FDDD-49D3-A1A6-146C954086FF}" dt="2021-05-24T13:36:21.099" v="5540" actId="790"/>
          <ac:spMkLst>
            <pc:docMk/>
            <pc:sldMk cId="4003625964" sldId="10410"/>
            <ac:spMk id="13" creationId="{E9F049B4-9F79-4754-AA4A-B557B2A6D3C9}"/>
          </ac:spMkLst>
        </pc:spChg>
        <pc:spChg chg="mod">
          <ac:chgData name="Jean QUENTIN" userId="6962deb3-b639-4acd-8091-a0516ea2376b" providerId="ADAL" clId="{146BD8F6-FDDD-49D3-A1A6-146C954086FF}" dt="2021-05-24T13:36:21.168" v="5577" actId="790"/>
          <ac:spMkLst>
            <pc:docMk/>
            <pc:sldMk cId="4003625964" sldId="10410"/>
            <ac:spMk id="14" creationId="{FB5075C0-EB15-41D7-9CC4-B64837E153D1}"/>
          </ac:spMkLst>
        </pc:spChg>
        <pc:spChg chg="mod">
          <ac:chgData name="Jean QUENTIN" userId="6962deb3-b639-4acd-8091-a0516ea2376b" providerId="ADAL" clId="{146BD8F6-FDDD-49D3-A1A6-146C954086FF}" dt="2021-05-24T13:36:21.115" v="5550" actId="790"/>
          <ac:spMkLst>
            <pc:docMk/>
            <pc:sldMk cId="4003625964" sldId="10410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21.130" v="5557" actId="790"/>
          <ac:spMkLst>
            <pc:docMk/>
            <pc:sldMk cId="4003625964" sldId="10410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5T12:24:56.970" v="14264" actId="20577"/>
          <ac:spMkLst>
            <pc:docMk/>
            <pc:sldMk cId="4003625964" sldId="10410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21.146" v="5565" actId="790"/>
          <ac:spMkLst>
            <pc:docMk/>
            <pc:sldMk cId="4003625964" sldId="10410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21.130" v="5558" actId="790"/>
          <ac:spMkLst>
            <pc:docMk/>
            <pc:sldMk cId="4003625964" sldId="10410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21.146" v="5569" actId="790"/>
          <ac:spMkLst>
            <pc:docMk/>
            <pc:sldMk cId="4003625964" sldId="10410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21.130" v="5563" actId="790"/>
          <ac:spMkLst>
            <pc:docMk/>
            <pc:sldMk cId="4003625964" sldId="10410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21.115" v="5547" actId="790"/>
          <ac:spMkLst>
            <pc:docMk/>
            <pc:sldMk cId="4003625964" sldId="10410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21.084" v="5535" actId="790"/>
          <ac:spMkLst>
            <pc:docMk/>
            <pc:sldMk cId="4003625964" sldId="10410"/>
            <ac:spMk id="50" creationId="{06AD3339-7557-4559-B2EA-6A391CF2BF0C}"/>
          </ac:spMkLst>
        </pc:spChg>
        <pc:spChg chg="mod">
          <ac:chgData name="Jean QUENTIN" userId="6962deb3-b639-4acd-8091-a0516ea2376b" providerId="ADAL" clId="{146BD8F6-FDDD-49D3-A1A6-146C954086FF}" dt="2021-05-24T13:36:21.146" v="5572" actId="790"/>
          <ac:spMkLst>
            <pc:docMk/>
            <pc:sldMk cId="4003625964" sldId="10410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21.099" v="5538" actId="790"/>
          <ac:spMkLst>
            <pc:docMk/>
            <pc:sldMk cId="4003625964" sldId="10410"/>
            <ac:spMk id="96" creationId="{5BB653FA-7502-456B-9DD5-1867522D3A88}"/>
          </ac:spMkLst>
        </pc:spChg>
        <pc:spChg chg="mod">
          <ac:chgData name="Jean QUENTIN" userId="6962deb3-b639-4acd-8091-a0516ea2376b" providerId="ADAL" clId="{146BD8F6-FDDD-49D3-A1A6-146C954086FF}" dt="2021-05-24T13:36:21.115" v="5548" actId="790"/>
          <ac:spMkLst>
            <pc:docMk/>
            <pc:sldMk cId="4003625964" sldId="10410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21.099" v="5542" actId="790"/>
          <ac:spMkLst>
            <pc:docMk/>
            <pc:sldMk cId="4003625964" sldId="10410"/>
            <ac:spMk id="107" creationId="{31D0AEAA-51DD-4312-8DD3-D5664A3B479D}"/>
          </ac:spMkLst>
        </pc:spChg>
        <pc:spChg chg="mod">
          <ac:chgData name="Jean QUENTIN" userId="6962deb3-b639-4acd-8091-a0516ea2376b" providerId="ADAL" clId="{146BD8F6-FDDD-49D3-A1A6-146C954086FF}" dt="2021-05-24T13:36:21.146" v="5570" actId="790"/>
          <ac:spMkLst>
            <pc:docMk/>
            <pc:sldMk cId="4003625964" sldId="10410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21.162" v="5576" actId="790"/>
          <ac:spMkLst>
            <pc:docMk/>
            <pc:sldMk cId="4003625964" sldId="10410"/>
            <ac:spMk id="118" creationId="{9C628BA4-96DA-46D9-A80B-01A518CA0E39}"/>
          </ac:spMkLst>
        </pc:spChg>
        <pc:spChg chg="mod">
          <ac:chgData name="Jean QUENTIN" userId="6962deb3-b639-4acd-8091-a0516ea2376b" providerId="ADAL" clId="{146BD8F6-FDDD-49D3-A1A6-146C954086FF}" dt="2021-05-24T13:36:21.162" v="5574" actId="790"/>
          <ac:spMkLst>
            <pc:docMk/>
            <pc:sldMk cId="4003625964" sldId="10410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4T13:36:21.084" v="5537" actId="790"/>
          <ac:spMkLst>
            <pc:docMk/>
            <pc:sldMk cId="4003625964" sldId="10410"/>
            <ac:spMk id="120" creationId="{697B9F9F-BFD2-4BBC-A2BC-06F0D17B4298}"/>
          </ac:spMkLst>
        </pc:spChg>
        <pc:spChg chg="mod">
          <ac:chgData name="Jean QUENTIN" userId="6962deb3-b639-4acd-8091-a0516ea2376b" providerId="ADAL" clId="{146BD8F6-FDDD-49D3-A1A6-146C954086FF}" dt="2021-05-24T13:36:21.084" v="5536" actId="790"/>
          <ac:spMkLst>
            <pc:docMk/>
            <pc:sldMk cId="4003625964" sldId="10410"/>
            <ac:spMk id="122" creationId="{7ED4A8D8-06EE-4620-B65B-5E3B52A3ABAE}"/>
          </ac:spMkLst>
        </pc:spChg>
        <pc:spChg chg="mod">
          <ac:chgData name="Jean QUENTIN" userId="6962deb3-b639-4acd-8091-a0516ea2376b" providerId="ADAL" clId="{146BD8F6-FDDD-49D3-A1A6-146C954086FF}" dt="2021-05-24T13:36:21.099" v="5539" actId="790"/>
          <ac:spMkLst>
            <pc:docMk/>
            <pc:sldMk cId="4003625964" sldId="10410"/>
            <ac:spMk id="123" creationId="{CCD5F39F-64EB-4F4E-BE6B-002C617492EF}"/>
          </ac:spMkLst>
        </pc:spChg>
        <pc:spChg chg="mod">
          <ac:chgData name="Jean QUENTIN" userId="6962deb3-b639-4acd-8091-a0516ea2376b" providerId="ADAL" clId="{146BD8F6-FDDD-49D3-A1A6-146C954086FF}" dt="2021-05-24T13:36:21.130" v="5553" actId="790"/>
          <ac:spMkLst>
            <pc:docMk/>
            <pc:sldMk cId="4003625964" sldId="10410"/>
            <ac:spMk id="125" creationId="{D74D7498-92CD-485E-B64F-458B030E1CC2}"/>
          </ac:spMkLst>
        </pc:spChg>
        <pc:spChg chg="mod">
          <ac:chgData name="Jean QUENTIN" userId="6962deb3-b639-4acd-8091-a0516ea2376b" providerId="ADAL" clId="{146BD8F6-FDDD-49D3-A1A6-146C954086FF}" dt="2021-05-24T13:36:21.146" v="5566" actId="790"/>
          <ac:spMkLst>
            <pc:docMk/>
            <pc:sldMk cId="4003625964" sldId="10410"/>
            <ac:spMk id="154" creationId="{A7269958-7FC5-479F-B17B-49D115F118B6}"/>
          </ac:spMkLst>
        </pc:spChg>
        <pc:spChg chg="mod">
          <ac:chgData name="Jean QUENTIN" userId="6962deb3-b639-4acd-8091-a0516ea2376b" providerId="ADAL" clId="{146BD8F6-FDDD-49D3-A1A6-146C954086FF}" dt="2021-05-24T13:36:21.130" v="5551" actId="790"/>
          <ac:spMkLst>
            <pc:docMk/>
            <pc:sldMk cId="4003625964" sldId="10410"/>
            <ac:spMk id="165" creationId="{C389F3EC-7313-454E-9942-F14FD0BD4C77}"/>
          </ac:spMkLst>
        </pc:spChg>
        <pc:spChg chg="mod">
          <ac:chgData name="Jean QUENTIN" userId="6962deb3-b639-4acd-8091-a0516ea2376b" providerId="ADAL" clId="{146BD8F6-FDDD-49D3-A1A6-146C954086FF}" dt="2021-05-24T13:36:21.130" v="5560" actId="790"/>
          <ac:spMkLst>
            <pc:docMk/>
            <pc:sldMk cId="4003625964" sldId="10410"/>
            <ac:spMk id="166" creationId="{A3938D6F-1923-42FF-B2ED-6C2BEA79BA03}"/>
          </ac:spMkLst>
        </pc:spChg>
        <pc:spChg chg="mod">
          <ac:chgData name="Jean QUENTIN" userId="6962deb3-b639-4acd-8091-a0516ea2376b" providerId="ADAL" clId="{146BD8F6-FDDD-49D3-A1A6-146C954086FF}" dt="2021-05-24T13:36:21.099" v="5541" actId="790"/>
          <ac:spMkLst>
            <pc:docMk/>
            <pc:sldMk cId="4003625964" sldId="10410"/>
            <ac:spMk id="168" creationId="{C423BD9F-9E4A-46B8-89D7-67C1FE84B168}"/>
          </ac:spMkLst>
        </pc:spChg>
        <pc:spChg chg="mod">
          <ac:chgData name="Jean QUENTIN" userId="6962deb3-b639-4acd-8091-a0516ea2376b" providerId="ADAL" clId="{146BD8F6-FDDD-49D3-A1A6-146C954086FF}" dt="2021-05-24T13:36:21.146" v="5571" actId="790"/>
          <ac:spMkLst>
            <pc:docMk/>
            <pc:sldMk cId="4003625964" sldId="10410"/>
            <ac:spMk id="169" creationId="{7881ABC3-A97B-4E90-939F-E48D9595FFFF}"/>
          </ac:spMkLst>
        </pc:spChg>
        <pc:spChg chg="mod">
          <ac:chgData name="Jean QUENTIN" userId="6962deb3-b639-4acd-8091-a0516ea2376b" providerId="ADAL" clId="{146BD8F6-FDDD-49D3-A1A6-146C954086FF}" dt="2021-05-24T13:36:21.162" v="5575" actId="790"/>
          <ac:spMkLst>
            <pc:docMk/>
            <pc:sldMk cId="4003625964" sldId="10410"/>
            <ac:spMk id="170" creationId="{A886CA56-9620-415B-9489-A004AB6EB706}"/>
          </ac:spMkLst>
        </pc:spChg>
        <pc:spChg chg="mod">
          <ac:chgData name="Jean QUENTIN" userId="6962deb3-b639-4acd-8091-a0516ea2376b" providerId="ADAL" clId="{146BD8F6-FDDD-49D3-A1A6-146C954086FF}" dt="2021-05-24T13:36:21.130" v="5552" actId="790"/>
          <ac:spMkLst>
            <pc:docMk/>
            <pc:sldMk cId="4003625964" sldId="10410"/>
            <ac:spMk id="171" creationId="{BCC6DEFD-6FEB-4777-9432-E3B2F5C51000}"/>
          </ac:spMkLst>
        </pc:spChg>
        <pc:spChg chg="mod">
          <ac:chgData name="Jean QUENTIN" userId="6962deb3-b639-4acd-8091-a0516ea2376b" providerId="ADAL" clId="{146BD8F6-FDDD-49D3-A1A6-146C954086FF}" dt="2021-05-24T13:36:21.130" v="5561" actId="790"/>
          <ac:spMkLst>
            <pc:docMk/>
            <pc:sldMk cId="4003625964" sldId="10410"/>
            <ac:spMk id="172" creationId="{04568322-5012-422B-991D-C9A4712E25C9}"/>
          </ac:spMkLst>
        </pc:spChg>
        <pc:spChg chg="mod">
          <ac:chgData name="Jean QUENTIN" userId="6962deb3-b639-4acd-8091-a0516ea2376b" providerId="ADAL" clId="{146BD8F6-FDDD-49D3-A1A6-146C954086FF}" dt="2021-05-24T13:36:21.184" v="5578" actId="790"/>
          <ac:spMkLst>
            <pc:docMk/>
            <pc:sldMk cId="4003625964" sldId="10410"/>
            <ac:spMk id="173" creationId="{BE452BF0-402D-4BCD-91A6-3CEC4D05BAD1}"/>
          </ac:spMkLst>
        </pc:spChg>
        <pc:spChg chg="mod">
          <ac:chgData name="Jean QUENTIN" userId="6962deb3-b639-4acd-8091-a0516ea2376b" providerId="ADAL" clId="{146BD8F6-FDDD-49D3-A1A6-146C954086FF}" dt="2021-05-24T13:36:21.184" v="5579" actId="790"/>
          <ac:spMkLst>
            <pc:docMk/>
            <pc:sldMk cId="4003625964" sldId="10410"/>
            <ac:spMk id="184" creationId="{2D6BD341-2669-45B8-8E10-F13130479C8B}"/>
          </ac:spMkLst>
        </pc:spChg>
        <pc:spChg chg="mod">
          <ac:chgData name="Jean QUENTIN" userId="6962deb3-b639-4acd-8091-a0516ea2376b" providerId="ADAL" clId="{146BD8F6-FDDD-49D3-A1A6-146C954086FF}" dt="2021-05-24T13:36:21.184" v="5580" actId="790"/>
          <ac:spMkLst>
            <pc:docMk/>
            <pc:sldMk cId="4003625964" sldId="10410"/>
            <ac:spMk id="185" creationId="{5AE57E1A-6506-4F9C-A94E-27A1D75F149A}"/>
          </ac:spMkLst>
        </pc:spChg>
        <pc:spChg chg="mod">
          <ac:chgData name="Jean QUENTIN" userId="6962deb3-b639-4acd-8091-a0516ea2376b" providerId="ADAL" clId="{146BD8F6-FDDD-49D3-A1A6-146C954086FF}" dt="2021-05-24T13:36:21.146" v="5567" actId="790"/>
          <ac:spMkLst>
            <pc:docMk/>
            <pc:sldMk cId="4003625964" sldId="10410"/>
            <ac:spMk id="197" creationId="{EB1ED8EE-1371-4F31-B475-A7FD22F01C88}"/>
          </ac:spMkLst>
        </pc:spChg>
        <pc:spChg chg="mod">
          <ac:chgData name="Jean QUENTIN" userId="6962deb3-b639-4acd-8091-a0516ea2376b" providerId="ADAL" clId="{146BD8F6-FDDD-49D3-A1A6-146C954086FF}" dt="2021-05-24T13:36:21.146" v="5568" actId="790"/>
          <ac:spMkLst>
            <pc:docMk/>
            <pc:sldMk cId="4003625964" sldId="10410"/>
            <ac:spMk id="212" creationId="{F492C173-DFD6-47CF-9BB4-C8925127E1EE}"/>
          </ac:spMkLst>
        </pc:spChg>
        <pc:spChg chg="mod">
          <ac:chgData name="Jean QUENTIN" userId="6962deb3-b639-4acd-8091-a0516ea2376b" providerId="ADAL" clId="{146BD8F6-FDDD-49D3-A1A6-146C954086FF}" dt="2021-05-24T13:36:21.115" v="5549" actId="790"/>
          <ac:spMkLst>
            <pc:docMk/>
            <pc:sldMk cId="4003625964" sldId="10410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21.130" v="5559" actId="790"/>
          <ac:spMkLst>
            <pc:docMk/>
            <pc:sldMk cId="4003625964" sldId="10410"/>
            <ac:spMk id="1035" creationId="{9164A53F-4711-41A4-BE3D-8D2F4243A495}"/>
          </ac:spMkLst>
        </pc:spChg>
        <pc:spChg chg="mod">
          <ac:chgData name="Jean QUENTIN" userId="6962deb3-b639-4acd-8091-a0516ea2376b" providerId="ADAL" clId="{146BD8F6-FDDD-49D3-A1A6-146C954086FF}" dt="2021-05-24T13:36:21.130" v="5554" actId="790"/>
          <ac:spMkLst>
            <pc:docMk/>
            <pc:sldMk cId="4003625964" sldId="10410"/>
            <ac:spMk id="4107" creationId="{EBC573C8-C4E3-432A-81F7-B99236DF594A}"/>
          </ac:spMkLst>
        </pc:spChg>
      </pc:sldChg>
      <pc:sldChg chg="modSp mod">
        <pc:chgData name="Jean QUENTIN" userId="6962deb3-b639-4acd-8091-a0516ea2376b" providerId="ADAL" clId="{146BD8F6-FDDD-49D3-A1A6-146C954086FF}" dt="2021-05-25T12:50:25.500" v="14348" actId="20577"/>
        <pc:sldMkLst>
          <pc:docMk/>
          <pc:sldMk cId="3428758149" sldId="10411"/>
        </pc:sldMkLst>
        <pc:spChg chg="mod">
          <ac:chgData name="Jean QUENTIN" userId="6962deb3-b639-4acd-8091-a0516ea2376b" providerId="ADAL" clId="{146BD8F6-FDDD-49D3-A1A6-146C954086FF}" dt="2021-05-24T13:36:21.549" v="5709" actId="790"/>
          <ac:spMkLst>
            <pc:docMk/>
            <pc:sldMk cId="3428758149" sldId="10411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21.531" v="5704" actId="790"/>
          <ac:spMkLst>
            <pc:docMk/>
            <pc:sldMk cId="3428758149" sldId="10411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21.549" v="5710" actId="790"/>
          <ac:spMkLst>
            <pc:docMk/>
            <pc:sldMk cId="3428758149" sldId="10411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21.585" v="5735" actId="790"/>
          <ac:spMkLst>
            <pc:docMk/>
            <pc:sldMk cId="3428758149" sldId="10411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21.531" v="5707" actId="790"/>
          <ac:spMkLst>
            <pc:docMk/>
            <pc:sldMk cId="3428758149" sldId="10411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21.531" v="5708" actId="790"/>
          <ac:spMkLst>
            <pc:docMk/>
            <pc:sldMk cId="3428758149" sldId="10411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21.585" v="5734" actId="790"/>
          <ac:spMkLst>
            <pc:docMk/>
            <pc:sldMk cId="3428758149" sldId="10411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21.569" v="5721" actId="790"/>
          <ac:spMkLst>
            <pc:docMk/>
            <pc:sldMk cId="3428758149" sldId="10411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21.565" v="5717" actId="790"/>
          <ac:spMkLst>
            <pc:docMk/>
            <pc:sldMk cId="3428758149" sldId="10411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21.549" v="5711" actId="790"/>
          <ac:spMkLst>
            <pc:docMk/>
            <pc:sldMk cId="3428758149" sldId="10411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5T12:25:39.593" v="14277" actId="20577"/>
          <ac:spMkLst>
            <pc:docMk/>
            <pc:sldMk cId="3428758149" sldId="10411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21.600" v="5737" actId="790"/>
          <ac:spMkLst>
            <pc:docMk/>
            <pc:sldMk cId="3428758149" sldId="10411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21.600" v="5738" actId="790"/>
          <ac:spMkLst>
            <pc:docMk/>
            <pc:sldMk cId="3428758149" sldId="10411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21.565" v="5718" actId="790"/>
          <ac:spMkLst>
            <pc:docMk/>
            <pc:sldMk cId="3428758149" sldId="10411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21.549" v="5713" actId="790"/>
          <ac:spMkLst>
            <pc:docMk/>
            <pc:sldMk cId="3428758149" sldId="10411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21.585" v="5736" actId="790"/>
          <ac:spMkLst>
            <pc:docMk/>
            <pc:sldMk cId="3428758149" sldId="10411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21.565" v="5719" actId="790"/>
          <ac:spMkLst>
            <pc:docMk/>
            <pc:sldMk cId="3428758149" sldId="10411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21.569" v="5723" actId="790"/>
          <ac:spMkLst>
            <pc:docMk/>
            <pc:sldMk cId="3428758149" sldId="10411"/>
            <ac:spMk id="90" creationId="{C1682200-357E-4434-8AD7-5A0786BF6D1B}"/>
          </ac:spMkLst>
        </pc:spChg>
        <pc:spChg chg="mod">
          <ac:chgData name="Jean QUENTIN" userId="6962deb3-b639-4acd-8091-a0516ea2376b" providerId="ADAL" clId="{146BD8F6-FDDD-49D3-A1A6-146C954086FF}" dt="2021-05-24T13:36:21.549" v="5714" actId="790"/>
          <ac:spMkLst>
            <pc:docMk/>
            <pc:sldMk cId="3428758149" sldId="10411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21.531" v="5705" actId="790"/>
          <ac:spMkLst>
            <pc:docMk/>
            <pc:sldMk cId="3428758149" sldId="10411"/>
            <ac:spMk id="107" creationId="{31D0AEAA-51DD-4312-8DD3-D5664A3B479D}"/>
          </ac:spMkLst>
        </pc:spChg>
        <pc:spChg chg="mod">
          <ac:chgData name="Jean QUENTIN" userId="6962deb3-b639-4acd-8091-a0516ea2376b" providerId="ADAL" clId="{146BD8F6-FDDD-49D3-A1A6-146C954086FF}" dt="2021-05-24T13:36:21.569" v="5720" actId="790"/>
          <ac:spMkLst>
            <pc:docMk/>
            <pc:sldMk cId="3428758149" sldId="10411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21.600" v="5739" actId="790"/>
          <ac:spMkLst>
            <pc:docMk/>
            <pc:sldMk cId="3428758149" sldId="10411"/>
            <ac:spMk id="111" creationId="{A662E706-32F2-41FE-9B2F-D2BD0E0EC661}"/>
          </ac:spMkLst>
        </pc:spChg>
        <pc:spChg chg="mod">
          <ac:chgData name="Jean QUENTIN" userId="6962deb3-b639-4acd-8091-a0516ea2376b" providerId="ADAL" clId="{146BD8F6-FDDD-49D3-A1A6-146C954086FF}" dt="2021-05-24T13:36:21.569" v="5722" actId="790"/>
          <ac:spMkLst>
            <pc:docMk/>
            <pc:sldMk cId="3428758149" sldId="10411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5T12:25:40.263" v="14278" actId="14100"/>
          <ac:spMkLst>
            <pc:docMk/>
            <pc:sldMk cId="3428758149" sldId="10411"/>
            <ac:spMk id="125" creationId="{7652A19C-0208-4FCF-97AA-2B30A8201430}"/>
          </ac:spMkLst>
        </pc:spChg>
        <pc:spChg chg="mod">
          <ac:chgData name="Jean QUENTIN" userId="6962deb3-b639-4acd-8091-a0516ea2376b" providerId="ADAL" clId="{146BD8F6-FDDD-49D3-A1A6-146C954086FF}" dt="2021-05-24T13:36:21.600" v="5740" actId="790"/>
          <ac:spMkLst>
            <pc:docMk/>
            <pc:sldMk cId="3428758149" sldId="10411"/>
            <ac:spMk id="126" creationId="{63942540-A317-4743-AF4A-188E27B880D4}"/>
          </ac:spMkLst>
        </pc:spChg>
        <pc:spChg chg="mod">
          <ac:chgData name="Jean QUENTIN" userId="6962deb3-b639-4acd-8091-a0516ea2376b" providerId="ADAL" clId="{146BD8F6-FDDD-49D3-A1A6-146C954086FF}" dt="2021-05-24T13:36:21.600" v="5741" actId="790"/>
          <ac:spMkLst>
            <pc:docMk/>
            <pc:sldMk cId="3428758149" sldId="10411"/>
            <ac:spMk id="133" creationId="{2F686D82-55D3-442D-9909-5BB89A5A42F7}"/>
          </ac:spMkLst>
        </pc:spChg>
        <pc:spChg chg="mod">
          <ac:chgData name="Jean QUENTIN" userId="6962deb3-b639-4acd-8091-a0516ea2376b" providerId="ADAL" clId="{146BD8F6-FDDD-49D3-A1A6-146C954086FF}" dt="2021-05-24T13:36:21.600" v="5742" actId="790"/>
          <ac:spMkLst>
            <pc:docMk/>
            <pc:sldMk cId="3428758149" sldId="10411"/>
            <ac:spMk id="138" creationId="{BDFF2A30-FC85-494F-A8BE-68AC12D0664F}"/>
          </ac:spMkLst>
        </pc:spChg>
        <pc:spChg chg="mod">
          <ac:chgData name="Jean QUENTIN" userId="6962deb3-b639-4acd-8091-a0516ea2376b" providerId="ADAL" clId="{146BD8F6-FDDD-49D3-A1A6-146C954086FF}" dt="2021-05-24T13:36:21.600" v="5743" actId="790"/>
          <ac:spMkLst>
            <pc:docMk/>
            <pc:sldMk cId="3428758149" sldId="10411"/>
            <ac:spMk id="139" creationId="{DFFB6080-1942-420C-9ED6-1272BD476178}"/>
          </ac:spMkLst>
        </pc:spChg>
        <pc:spChg chg="mod">
          <ac:chgData name="Jean QUENTIN" userId="6962deb3-b639-4acd-8091-a0516ea2376b" providerId="ADAL" clId="{146BD8F6-FDDD-49D3-A1A6-146C954086FF}" dt="2021-05-24T13:36:21.600" v="5744" actId="790"/>
          <ac:spMkLst>
            <pc:docMk/>
            <pc:sldMk cId="3428758149" sldId="10411"/>
            <ac:spMk id="153" creationId="{56FADE7A-92EF-4552-9F92-BBA0DF83B829}"/>
          </ac:spMkLst>
        </pc:spChg>
        <pc:spChg chg="mod">
          <ac:chgData name="Jean QUENTIN" userId="6962deb3-b639-4acd-8091-a0516ea2376b" providerId="ADAL" clId="{146BD8F6-FDDD-49D3-A1A6-146C954086FF}" dt="2021-05-24T13:36:21.569" v="5730" actId="790"/>
          <ac:spMkLst>
            <pc:docMk/>
            <pc:sldMk cId="3428758149" sldId="10411"/>
            <ac:spMk id="154" creationId="{A7269958-7FC5-479F-B17B-49D115F118B6}"/>
          </ac:spMkLst>
        </pc:spChg>
        <pc:spChg chg="mod">
          <ac:chgData name="Jean QUENTIN" userId="6962deb3-b639-4acd-8091-a0516ea2376b" providerId="ADAL" clId="{146BD8F6-FDDD-49D3-A1A6-146C954086FF}" dt="2021-05-24T13:36:21.600" v="5745" actId="790"/>
          <ac:spMkLst>
            <pc:docMk/>
            <pc:sldMk cId="3428758149" sldId="10411"/>
            <ac:spMk id="155" creationId="{66D6DDD8-3ED4-4381-AC07-6CD1ABBD4DA9}"/>
          </ac:spMkLst>
        </pc:spChg>
        <pc:spChg chg="mod">
          <ac:chgData name="Jean QUENTIN" userId="6962deb3-b639-4acd-8091-a0516ea2376b" providerId="ADAL" clId="{146BD8F6-FDDD-49D3-A1A6-146C954086FF}" dt="2021-05-24T13:36:21.600" v="5746" actId="790"/>
          <ac:spMkLst>
            <pc:docMk/>
            <pc:sldMk cId="3428758149" sldId="10411"/>
            <ac:spMk id="156" creationId="{8E7AC4C0-9393-4F3D-AD60-8422C9B33945}"/>
          </ac:spMkLst>
        </pc:spChg>
        <pc:spChg chg="mod">
          <ac:chgData name="Jean QUENTIN" userId="6962deb3-b639-4acd-8091-a0516ea2376b" providerId="ADAL" clId="{146BD8F6-FDDD-49D3-A1A6-146C954086FF}" dt="2021-05-24T13:36:21.600" v="5747" actId="790"/>
          <ac:spMkLst>
            <pc:docMk/>
            <pc:sldMk cId="3428758149" sldId="10411"/>
            <ac:spMk id="160" creationId="{65DDC353-B250-4B5B-B85A-6A6AB046332A}"/>
          </ac:spMkLst>
        </pc:spChg>
        <pc:spChg chg="mod">
          <ac:chgData name="Jean QUENTIN" userId="6962deb3-b639-4acd-8091-a0516ea2376b" providerId="ADAL" clId="{146BD8F6-FDDD-49D3-A1A6-146C954086FF}" dt="2021-05-24T13:36:21.569" v="5724" actId="790"/>
          <ac:spMkLst>
            <pc:docMk/>
            <pc:sldMk cId="3428758149" sldId="10411"/>
            <ac:spMk id="165" creationId="{C389F3EC-7313-454E-9942-F14FD0BD4C77}"/>
          </ac:spMkLst>
        </pc:spChg>
        <pc:spChg chg="mod">
          <ac:chgData name="Jean QUENTIN" userId="6962deb3-b639-4acd-8091-a0516ea2376b" providerId="ADAL" clId="{146BD8F6-FDDD-49D3-A1A6-146C954086FF}" dt="2021-05-24T13:36:21.569" v="5725" actId="790"/>
          <ac:spMkLst>
            <pc:docMk/>
            <pc:sldMk cId="3428758149" sldId="10411"/>
            <ac:spMk id="166" creationId="{A3938D6F-1923-42FF-B2ED-6C2BEA79BA03}"/>
          </ac:spMkLst>
        </pc:spChg>
        <pc:spChg chg="mod">
          <ac:chgData name="Jean QUENTIN" userId="6962deb3-b639-4acd-8091-a0516ea2376b" providerId="ADAL" clId="{146BD8F6-FDDD-49D3-A1A6-146C954086FF}" dt="2021-05-24T13:36:21.569" v="5726" actId="790"/>
          <ac:spMkLst>
            <pc:docMk/>
            <pc:sldMk cId="3428758149" sldId="10411"/>
            <ac:spMk id="169" creationId="{7881ABC3-A97B-4E90-939F-E48D9595FFFF}"/>
          </ac:spMkLst>
        </pc:spChg>
        <pc:spChg chg="mod">
          <ac:chgData name="Jean QUENTIN" userId="6962deb3-b639-4acd-8091-a0516ea2376b" providerId="ADAL" clId="{146BD8F6-FDDD-49D3-A1A6-146C954086FF}" dt="2021-05-24T13:36:21.569" v="5727" actId="790"/>
          <ac:spMkLst>
            <pc:docMk/>
            <pc:sldMk cId="3428758149" sldId="10411"/>
            <ac:spMk id="170" creationId="{A886CA56-9620-415B-9489-A004AB6EB706}"/>
          </ac:spMkLst>
        </pc:spChg>
        <pc:spChg chg="mod">
          <ac:chgData name="Jean QUENTIN" userId="6962deb3-b639-4acd-8091-a0516ea2376b" providerId="ADAL" clId="{146BD8F6-FDDD-49D3-A1A6-146C954086FF}" dt="2021-05-24T13:36:21.569" v="5728" actId="790"/>
          <ac:spMkLst>
            <pc:docMk/>
            <pc:sldMk cId="3428758149" sldId="10411"/>
            <ac:spMk id="171" creationId="{BCC6DEFD-6FEB-4777-9432-E3B2F5C51000}"/>
          </ac:spMkLst>
        </pc:spChg>
        <pc:spChg chg="mod">
          <ac:chgData name="Jean QUENTIN" userId="6962deb3-b639-4acd-8091-a0516ea2376b" providerId="ADAL" clId="{146BD8F6-FDDD-49D3-A1A6-146C954086FF}" dt="2021-05-24T13:36:21.569" v="5729" actId="790"/>
          <ac:spMkLst>
            <pc:docMk/>
            <pc:sldMk cId="3428758149" sldId="10411"/>
            <ac:spMk id="172" creationId="{04568322-5012-422B-991D-C9A4712E25C9}"/>
          </ac:spMkLst>
        </pc:spChg>
        <pc:spChg chg="mod">
          <ac:chgData name="Jean QUENTIN" userId="6962deb3-b639-4acd-8091-a0516ea2376b" providerId="ADAL" clId="{146BD8F6-FDDD-49D3-A1A6-146C954086FF}" dt="2021-05-25T12:50:25.500" v="14348" actId="20577"/>
          <ac:spMkLst>
            <pc:docMk/>
            <pc:sldMk cId="3428758149" sldId="10411"/>
            <ac:spMk id="182" creationId="{A076D8FE-B37B-4946-B8B8-0EDB06F5AC05}"/>
          </ac:spMkLst>
        </pc:spChg>
        <pc:spChg chg="mod">
          <ac:chgData name="Jean QUENTIN" userId="6962deb3-b639-4acd-8091-a0516ea2376b" providerId="ADAL" clId="{146BD8F6-FDDD-49D3-A1A6-146C954086FF}" dt="2021-05-24T13:36:21.569" v="5731" actId="790"/>
          <ac:spMkLst>
            <pc:docMk/>
            <pc:sldMk cId="3428758149" sldId="10411"/>
            <ac:spMk id="197" creationId="{EB1ED8EE-1371-4F31-B475-A7FD22F01C88}"/>
          </ac:spMkLst>
        </pc:spChg>
        <pc:spChg chg="mod">
          <ac:chgData name="Jean QUENTIN" userId="6962deb3-b639-4acd-8091-a0516ea2376b" providerId="ADAL" clId="{146BD8F6-FDDD-49D3-A1A6-146C954086FF}" dt="2021-05-24T13:36:21.632" v="5749" actId="790"/>
          <ac:spMkLst>
            <pc:docMk/>
            <pc:sldMk cId="3428758149" sldId="10411"/>
            <ac:spMk id="205" creationId="{37EA9042-0B3D-4B94-9CA6-80C07ADCB11E}"/>
          </ac:spMkLst>
        </pc:spChg>
        <pc:spChg chg="mod">
          <ac:chgData name="Jean QUENTIN" userId="6962deb3-b639-4acd-8091-a0516ea2376b" providerId="ADAL" clId="{146BD8F6-FDDD-49D3-A1A6-146C954086FF}" dt="2021-05-24T13:36:21.632" v="5750" actId="790"/>
          <ac:spMkLst>
            <pc:docMk/>
            <pc:sldMk cId="3428758149" sldId="10411"/>
            <ac:spMk id="206" creationId="{F197933B-7850-4DCD-909F-F5A7B675B649}"/>
          </ac:spMkLst>
        </pc:spChg>
        <pc:spChg chg="mod">
          <ac:chgData name="Jean QUENTIN" userId="6962deb3-b639-4acd-8091-a0516ea2376b" providerId="ADAL" clId="{146BD8F6-FDDD-49D3-A1A6-146C954086FF}" dt="2021-05-24T13:36:21.585" v="5732" actId="790"/>
          <ac:spMkLst>
            <pc:docMk/>
            <pc:sldMk cId="3428758149" sldId="10411"/>
            <ac:spMk id="212" creationId="{F492C173-DFD6-47CF-9BB4-C8925127E1EE}"/>
          </ac:spMkLst>
        </pc:spChg>
        <pc:spChg chg="mod">
          <ac:chgData name="Jean QUENTIN" userId="6962deb3-b639-4acd-8091-a0516ea2376b" providerId="ADAL" clId="{146BD8F6-FDDD-49D3-A1A6-146C954086FF}" dt="2021-05-24T13:36:21.549" v="5715" actId="790"/>
          <ac:spMkLst>
            <pc:docMk/>
            <pc:sldMk cId="3428758149" sldId="10411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21.565" v="5716" actId="790"/>
          <ac:spMkLst>
            <pc:docMk/>
            <pc:sldMk cId="3428758149" sldId="10411"/>
            <ac:spMk id="1035" creationId="{9164A53F-4711-41A4-BE3D-8D2F4243A495}"/>
          </ac:spMkLst>
        </pc:spChg>
        <pc:spChg chg="mod">
          <ac:chgData name="Jean QUENTIN" userId="6962deb3-b639-4acd-8091-a0516ea2376b" providerId="ADAL" clId="{146BD8F6-FDDD-49D3-A1A6-146C954086FF}" dt="2021-05-24T13:36:21.531" v="5706" actId="790"/>
          <ac:spMkLst>
            <pc:docMk/>
            <pc:sldMk cId="3428758149" sldId="10411"/>
            <ac:spMk id="4107" creationId="{EBC573C8-C4E3-432A-81F7-B99236DF594A}"/>
          </ac:spMkLst>
        </pc:spChg>
      </pc:sldChg>
      <pc:sldChg chg="modSp mod">
        <pc:chgData name="Jean QUENTIN" userId="6962deb3-b639-4acd-8091-a0516ea2376b" providerId="ADAL" clId="{146BD8F6-FDDD-49D3-A1A6-146C954086FF}" dt="2021-05-25T14:13:54.916" v="14437" actId="20577"/>
        <pc:sldMkLst>
          <pc:docMk/>
          <pc:sldMk cId="4132730322" sldId="10412"/>
        </pc:sldMkLst>
        <pc:spChg chg="mod">
          <ac:chgData name="Jean QUENTIN" userId="6962deb3-b639-4acd-8091-a0516ea2376b" providerId="ADAL" clId="{146BD8F6-FDDD-49D3-A1A6-146C954086FF}" dt="2021-05-24T13:36:21.384" v="5642" actId="790"/>
          <ac:spMkLst>
            <pc:docMk/>
            <pc:sldMk cId="4132730322" sldId="10412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21.369" v="5632" actId="790"/>
          <ac:spMkLst>
            <pc:docMk/>
            <pc:sldMk cId="4132730322" sldId="10412"/>
            <ac:spMk id="3" creationId="{F2961EB7-FC0B-4AEF-8BF3-7969101BE0A7}"/>
          </ac:spMkLst>
        </pc:spChg>
        <pc:spChg chg="mod">
          <ac:chgData name="Jean QUENTIN" userId="6962deb3-b639-4acd-8091-a0516ea2376b" providerId="ADAL" clId="{146BD8F6-FDDD-49D3-A1A6-146C954086FF}" dt="2021-05-24T13:36:21.431" v="5665" actId="790"/>
          <ac:spMkLst>
            <pc:docMk/>
            <pc:sldMk cId="4132730322" sldId="10412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21.384" v="5643" actId="790"/>
          <ac:spMkLst>
            <pc:docMk/>
            <pc:sldMk cId="4132730322" sldId="10412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21.384" v="5644" actId="790"/>
          <ac:spMkLst>
            <pc:docMk/>
            <pc:sldMk cId="4132730322" sldId="10412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21.400" v="5654" actId="790"/>
          <ac:spMkLst>
            <pc:docMk/>
            <pc:sldMk cId="4132730322" sldId="10412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21.416" v="5655" actId="790"/>
          <ac:spMkLst>
            <pc:docMk/>
            <pc:sldMk cId="4132730322" sldId="10412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21.384" v="5645" actId="790"/>
          <ac:spMkLst>
            <pc:docMk/>
            <pc:sldMk cId="4132730322" sldId="10412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21.369" v="5628" actId="790"/>
          <ac:spMkLst>
            <pc:docMk/>
            <pc:sldMk cId="4132730322" sldId="10412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21.369" v="5633" actId="790"/>
          <ac:spMkLst>
            <pc:docMk/>
            <pc:sldMk cId="4132730322" sldId="10412"/>
            <ac:spMk id="12" creationId="{06146879-726F-492D-B854-B9E140208671}"/>
          </ac:spMkLst>
        </pc:spChg>
        <pc:spChg chg="mod">
          <ac:chgData name="Jean QUENTIN" userId="6962deb3-b639-4acd-8091-a0516ea2376b" providerId="ADAL" clId="{146BD8F6-FDDD-49D3-A1A6-146C954086FF}" dt="2021-05-24T13:36:21.369" v="5639" actId="790"/>
          <ac:spMkLst>
            <pc:docMk/>
            <pc:sldMk cId="4132730322" sldId="10412"/>
            <ac:spMk id="13" creationId="{E9F049B4-9F79-4754-AA4A-B557B2A6D3C9}"/>
          </ac:spMkLst>
        </pc:spChg>
        <pc:spChg chg="mod">
          <ac:chgData name="Jean QUENTIN" userId="6962deb3-b639-4acd-8091-a0516ea2376b" providerId="ADAL" clId="{146BD8F6-FDDD-49D3-A1A6-146C954086FF}" dt="2021-05-24T13:36:21.400" v="5649" actId="790"/>
          <ac:spMkLst>
            <pc:docMk/>
            <pc:sldMk cId="4132730322" sldId="10412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21.416" v="5656" actId="790"/>
          <ac:spMkLst>
            <pc:docMk/>
            <pc:sldMk cId="4132730322" sldId="10412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5T12:25:08.068" v="14268" actId="20577"/>
          <ac:spMkLst>
            <pc:docMk/>
            <pc:sldMk cId="4132730322" sldId="10412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21.431" v="5666" actId="790"/>
          <ac:spMkLst>
            <pc:docMk/>
            <pc:sldMk cId="4132730322" sldId="10412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21.416" v="5657" actId="790"/>
          <ac:spMkLst>
            <pc:docMk/>
            <pc:sldMk cId="4132730322" sldId="10412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21.362" v="5626" actId="790"/>
          <ac:spMkLst>
            <pc:docMk/>
            <pc:sldMk cId="4132730322" sldId="10412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21.416" v="5662" actId="790"/>
          <ac:spMkLst>
            <pc:docMk/>
            <pc:sldMk cId="4132730322" sldId="10412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21.384" v="5646" actId="790"/>
          <ac:spMkLst>
            <pc:docMk/>
            <pc:sldMk cId="4132730322" sldId="10412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21.369" v="5634" actId="790"/>
          <ac:spMkLst>
            <pc:docMk/>
            <pc:sldMk cId="4132730322" sldId="10412"/>
            <ac:spMk id="50" creationId="{06AD3339-7557-4559-B2EA-6A391CF2BF0C}"/>
          </ac:spMkLst>
        </pc:spChg>
        <pc:spChg chg="mod">
          <ac:chgData name="Jean QUENTIN" userId="6962deb3-b639-4acd-8091-a0516ea2376b" providerId="ADAL" clId="{146BD8F6-FDDD-49D3-A1A6-146C954086FF}" dt="2021-05-24T13:36:21.362" v="5627" actId="790"/>
          <ac:spMkLst>
            <pc:docMk/>
            <pc:sldMk cId="4132730322" sldId="10412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21.369" v="5637" actId="790"/>
          <ac:spMkLst>
            <pc:docMk/>
            <pc:sldMk cId="4132730322" sldId="10412"/>
            <ac:spMk id="96" creationId="{5BB653FA-7502-456B-9DD5-1867522D3A88}"/>
          </ac:spMkLst>
        </pc:spChg>
        <pc:spChg chg="mod">
          <ac:chgData name="Jean QUENTIN" userId="6962deb3-b639-4acd-8091-a0516ea2376b" providerId="ADAL" clId="{146BD8F6-FDDD-49D3-A1A6-146C954086FF}" dt="2021-05-24T13:36:21.384" v="5647" actId="790"/>
          <ac:spMkLst>
            <pc:docMk/>
            <pc:sldMk cId="4132730322" sldId="10412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21.384" v="5641" actId="790"/>
          <ac:spMkLst>
            <pc:docMk/>
            <pc:sldMk cId="4132730322" sldId="10412"/>
            <ac:spMk id="107" creationId="{31D0AEAA-51DD-4312-8DD3-D5664A3B479D}"/>
          </ac:spMkLst>
        </pc:spChg>
        <pc:spChg chg="mod">
          <ac:chgData name="Jean QUENTIN" userId="6962deb3-b639-4acd-8091-a0516ea2376b" providerId="ADAL" clId="{146BD8F6-FDDD-49D3-A1A6-146C954086FF}" dt="2021-05-24T13:36:21.362" v="5624" actId="790"/>
          <ac:spMkLst>
            <pc:docMk/>
            <pc:sldMk cId="4132730322" sldId="10412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21.369" v="5631" actId="790"/>
          <ac:spMkLst>
            <pc:docMk/>
            <pc:sldMk cId="4132730322" sldId="10412"/>
            <ac:spMk id="118" creationId="{9C628BA4-96DA-46D9-A80B-01A518CA0E39}"/>
          </ac:spMkLst>
        </pc:spChg>
        <pc:spChg chg="mod">
          <ac:chgData name="Jean QUENTIN" userId="6962deb3-b639-4acd-8091-a0516ea2376b" providerId="ADAL" clId="{146BD8F6-FDDD-49D3-A1A6-146C954086FF}" dt="2021-05-24T13:36:21.369" v="5629" actId="790"/>
          <ac:spMkLst>
            <pc:docMk/>
            <pc:sldMk cId="4132730322" sldId="10412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4T13:36:21.369" v="5636" actId="790"/>
          <ac:spMkLst>
            <pc:docMk/>
            <pc:sldMk cId="4132730322" sldId="10412"/>
            <ac:spMk id="120" creationId="{697B9F9F-BFD2-4BBC-A2BC-06F0D17B4298}"/>
          </ac:spMkLst>
        </pc:spChg>
        <pc:spChg chg="mod">
          <ac:chgData name="Jean QUENTIN" userId="6962deb3-b639-4acd-8091-a0516ea2376b" providerId="ADAL" clId="{146BD8F6-FDDD-49D3-A1A6-146C954086FF}" dt="2021-05-24T13:36:21.369" v="5635" actId="790"/>
          <ac:spMkLst>
            <pc:docMk/>
            <pc:sldMk cId="4132730322" sldId="10412"/>
            <ac:spMk id="122" creationId="{7ED4A8D8-06EE-4620-B65B-5E3B52A3ABAE}"/>
          </ac:spMkLst>
        </pc:spChg>
        <pc:spChg chg="mod">
          <ac:chgData name="Jean QUENTIN" userId="6962deb3-b639-4acd-8091-a0516ea2376b" providerId="ADAL" clId="{146BD8F6-FDDD-49D3-A1A6-146C954086FF}" dt="2021-05-24T13:36:21.369" v="5638" actId="790"/>
          <ac:spMkLst>
            <pc:docMk/>
            <pc:sldMk cId="4132730322" sldId="10412"/>
            <ac:spMk id="123" creationId="{CCD5F39F-64EB-4F4E-BE6B-002C617492EF}"/>
          </ac:spMkLst>
        </pc:spChg>
        <pc:spChg chg="mod">
          <ac:chgData name="Jean QUENTIN" userId="6962deb3-b639-4acd-8091-a0516ea2376b" providerId="ADAL" clId="{146BD8F6-FDDD-49D3-A1A6-146C954086FF}" dt="2021-05-25T12:40:36.132" v="14310" actId="1076"/>
          <ac:spMkLst>
            <pc:docMk/>
            <pc:sldMk cId="4132730322" sldId="10412"/>
            <ac:spMk id="125" creationId="{D74D7498-92CD-485E-B64F-458B030E1CC2}"/>
          </ac:spMkLst>
        </pc:spChg>
        <pc:spChg chg="mod">
          <ac:chgData name="Jean QUENTIN" userId="6962deb3-b639-4acd-8091-a0516ea2376b" providerId="ADAL" clId="{146BD8F6-FDDD-49D3-A1A6-146C954086FF}" dt="2021-05-24T13:36:21.431" v="5667" actId="790"/>
          <ac:spMkLst>
            <pc:docMk/>
            <pc:sldMk cId="4132730322" sldId="10412"/>
            <ac:spMk id="154" creationId="{A7269958-7FC5-479F-B17B-49D115F118B6}"/>
          </ac:spMkLst>
        </pc:spChg>
        <pc:spChg chg="mod">
          <ac:chgData name="Jean QUENTIN" userId="6962deb3-b639-4acd-8091-a0516ea2376b" providerId="ADAL" clId="{146BD8F6-FDDD-49D3-A1A6-146C954086FF}" dt="2021-05-25T14:13:54.916" v="14437" actId="20577"/>
          <ac:spMkLst>
            <pc:docMk/>
            <pc:sldMk cId="4132730322" sldId="10412"/>
            <ac:spMk id="161" creationId="{2225136D-99B3-484E-802C-7FC6DAD3D7E7}"/>
          </ac:spMkLst>
        </pc:spChg>
        <pc:spChg chg="mod">
          <ac:chgData name="Jean QUENTIN" userId="6962deb3-b639-4acd-8091-a0516ea2376b" providerId="ADAL" clId="{146BD8F6-FDDD-49D3-A1A6-146C954086FF}" dt="2021-05-24T13:36:21.400" v="5650" actId="790"/>
          <ac:spMkLst>
            <pc:docMk/>
            <pc:sldMk cId="4132730322" sldId="10412"/>
            <ac:spMk id="165" creationId="{C389F3EC-7313-454E-9942-F14FD0BD4C77}"/>
          </ac:spMkLst>
        </pc:spChg>
        <pc:spChg chg="mod">
          <ac:chgData name="Jean QUENTIN" userId="6962deb3-b639-4acd-8091-a0516ea2376b" providerId="ADAL" clId="{146BD8F6-FDDD-49D3-A1A6-146C954086FF}" dt="2021-05-24T13:36:21.416" v="5659" actId="790"/>
          <ac:spMkLst>
            <pc:docMk/>
            <pc:sldMk cId="4132730322" sldId="10412"/>
            <ac:spMk id="166" creationId="{A3938D6F-1923-42FF-B2ED-6C2BEA79BA03}"/>
          </ac:spMkLst>
        </pc:spChg>
        <pc:spChg chg="mod">
          <ac:chgData name="Jean QUENTIN" userId="6962deb3-b639-4acd-8091-a0516ea2376b" providerId="ADAL" clId="{146BD8F6-FDDD-49D3-A1A6-146C954086FF}" dt="2021-05-24T13:36:21.384" v="5640" actId="790"/>
          <ac:spMkLst>
            <pc:docMk/>
            <pc:sldMk cId="4132730322" sldId="10412"/>
            <ac:spMk id="168" creationId="{C423BD9F-9E4A-46B8-89D7-67C1FE84B168}"/>
          </ac:spMkLst>
        </pc:spChg>
        <pc:spChg chg="mod">
          <ac:chgData name="Jean QUENTIN" userId="6962deb3-b639-4acd-8091-a0516ea2376b" providerId="ADAL" clId="{146BD8F6-FDDD-49D3-A1A6-146C954086FF}" dt="2021-05-24T13:36:21.362" v="5625" actId="790"/>
          <ac:spMkLst>
            <pc:docMk/>
            <pc:sldMk cId="4132730322" sldId="10412"/>
            <ac:spMk id="169" creationId="{7881ABC3-A97B-4E90-939F-E48D9595FFFF}"/>
          </ac:spMkLst>
        </pc:spChg>
        <pc:spChg chg="mod">
          <ac:chgData name="Jean QUENTIN" userId="6962deb3-b639-4acd-8091-a0516ea2376b" providerId="ADAL" clId="{146BD8F6-FDDD-49D3-A1A6-146C954086FF}" dt="2021-05-24T13:36:21.369" v="5630" actId="790"/>
          <ac:spMkLst>
            <pc:docMk/>
            <pc:sldMk cId="4132730322" sldId="10412"/>
            <ac:spMk id="170" creationId="{A886CA56-9620-415B-9489-A004AB6EB706}"/>
          </ac:spMkLst>
        </pc:spChg>
        <pc:spChg chg="mod">
          <ac:chgData name="Jean QUENTIN" userId="6962deb3-b639-4acd-8091-a0516ea2376b" providerId="ADAL" clId="{146BD8F6-FDDD-49D3-A1A6-146C954086FF}" dt="2021-05-24T13:36:21.400" v="5651" actId="790"/>
          <ac:spMkLst>
            <pc:docMk/>
            <pc:sldMk cId="4132730322" sldId="10412"/>
            <ac:spMk id="171" creationId="{BCC6DEFD-6FEB-4777-9432-E3B2F5C51000}"/>
          </ac:spMkLst>
        </pc:spChg>
        <pc:spChg chg="mod">
          <ac:chgData name="Jean QUENTIN" userId="6962deb3-b639-4acd-8091-a0516ea2376b" providerId="ADAL" clId="{146BD8F6-FDDD-49D3-A1A6-146C954086FF}" dt="2021-05-24T13:36:21.416" v="5660" actId="790"/>
          <ac:spMkLst>
            <pc:docMk/>
            <pc:sldMk cId="4132730322" sldId="10412"/>
            <ac:spMk id="172" creationId="{04568322-5012-422B-991D-C9A4712E25C9}"/>
          </ac:spMkLst>
        </pc:spChg>
        <pc:spChg chg="mod">
          <ac:chgData name="Jean QUENTIN" userId="6962deb3-b639-4acd-8091-a0516ea2376b" providerId="ADAL" clId="{146BD8F6-FDDD-49D3-A1A6-146C954086FF}" dt="2021-05-24T13:36:21.447" v="5669" actId="790"/>
          <ac:spMkLst>
            <pc:docMk/>
            <pc:sldMk cId="4132730322" sldId="10412"/>
            <ac:spMk id="190" creationId="{80FB9A68-8543-4E87-9333-0CD3831C6B87}"/>
          </ac:spMkLst>
        </pc:spChg>
        <pc:spChg chg="mod">
          <ac:chgData name="Jean QUENTIN" userId="6962deb3-b639-4acd-8091-a0516ea2376b" providerId="ADAL" clId="{146BD8F6-FDDD-49D3-A1A6-146C954086FF}" dt="2021-05-24T13:36:21.447" v="5670" actId="790"/>
          <ac:spMkLst>
            <pc:docMk/>
            <pc:sldMk cId="4132730322" sldId="10412"/>
            <ac:spMk id="191" creationId="{AAAF38BB-9E2A-4BC9-83CA-69A43B1ABBB3}"/>
          </ac:spMkLst>
        </pc:spChg>
        <pc:spChg chg="mod">
          <ac:chgData name="Jean QUENTIN" userId="6962deb3-b639-4acd-8091-a0516ea2376b" providerId="ADAL" clId="{146BD8F6-FDDD-49D3-A1A6-146C954086FF}" dt="2021-05-24T13:36:21.431" v="5663" actId="790"/>
          <ac:spMkLst>
            <pc:docMk/>
            <pc:sldMk cId="4132730322" sldId="10412"/>
            <ac:spMk id="197" creationId="{EB1ED8EE-1371-4F31-B475-A7FD22F01C88}"/>
          </ac:spMkLst>
        </pc:spChg>
        <pc:spChg chg="mod">
          <ac:chgData name="Jean QUENTIN" userId="6962deb3-b639-4acd-8091-a0516ea2376b" providerId="ADAL" clId="{146BD8F6-FDDD-49D3-A1A6-146C954086FF}" dt="2021-05-24T13:36:21.431" v="5664" actId="790"/>
          <ac:spMkLst>
            <pc:docMk/>
            <pc:sldMk cId="4132730322" sldId="10412"/>
            <ac:spMk id="212" creationId="{F492C173-DFD6-47CF-9BB4-C8925127E1EE}"/>
          </ac:spMkLst>
        </pc:spChg>
        <pc:spChg chg="mod">
          <ac:chgData name="Jean QUENTIN" userId="6962deb3-b639-4acd-8091-a0516ea2376b" providerId="ADAL" clId="{146BD8F6-FDDD-49D3-A1A6-146C954086FF}" dt="2021-05-24T13:36:21.400" v="5648" actId="790"/>
          <ac:spMkLst>
            <pc:docMk/>
            <pc:sldMk cId="4132730322" sldId="10412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21.416" v="5658" actId="790"/>
          <ac:spMkLst>
            <pc:docMk/>
            <pc:sldMk cId="4132730322" sldId="10412"/>
            <ac:spMk id="1035" creationId="{9164A53F-4711-41A4-BE3D-8D2F4243A495}"/>
          </ac:spMkLst>
        </pc:spChg>
        <pc:spChg chg="mod">
          <ac:chgData name="Jean QUENTIN" userId="6962deb3-b639-4acd-8091-a0516ea2376b" providerId="ADAL" clId="{146BD8F6-FDDD-49D3-A1A6-146C954086FF}" dt="2021-05-24T13:36:21.400" v="5653" actId="790"/>
          <ac:spMkLst>
            <pc:docMk/>
            <pc:sldMk cId="4132730322" sldId="10412"/>
            <ac:spMk id="4107" creationId="{EBC573C8-C4E3-432A-81F7-B99236DF594A}"/>
          </ac:spMkLst>
        </pc:spChg>
      </pc:sldChg>
      <pc:sldChg chg="modSp mod">
        <pc:chgData name="Jean QUENTIN" userId="6962deb3-b639-4acd-8091-a0516ea2376b" providerId="ADAL" clId="{146BD8F6-FDDD-49D3-A1A6-146C954086FF}" dt="2021-05-24T13:36:17.875" v="3847" actId="790"/>
        <pc:sldMkLst>
          <pc:docMk/>
          <pc:sldMk cId="3463901835" sldId="10414"/>
        </pc:sldMkLst>
        <pc:spChg chg="mod">
          <ac:chgData name="Jean QUENTIN" userId="6962deb3-b639-4acd-8091-a0516ea2376b" providerId="ADAL" clId="{146BD8F6-FDDD-49D3-A1A6-146C954086FF}" dt="2021-05-24T13:36:17.759" v="3781" actId="790"/>
          <ac:spMkLst>
            <pc:docMk/>
            <pc:sldMk cId="3463901835" sldId="10414"/>
            <ac:spMk id="2" creationId="{6141F854-3009-40D7-9038-56590105A49E}"/>
          </ac:spMkLst>
        </pc:spChg>
        <pc:spChg chg="mod">
          <ac:chgData name="Jean QUENTIN" userId="6962deb3-b639-4acd-8091-a0516ea2376b" providerId="ADAL" clId="{146BD8F6-FDDD-49D3-A1A6-146C954086FF}" dt="2021-05-24T13:36:17.837" v="3819" actId="790"/>
          <ac:spMkLst>
            <pc:docMk/>
            <pc:sldMk cId="3463901835" sldId="10414"/>
            <ac:spMk id="3" creationId="{560625DF-BB9A-476B-B434-FFCE76A905DE}"/>
          </ac:spMkLst>
        </pc:spChg>
        <pc:spChg chg="mod">
          <ac:chgData name="Jean QUENTIN" userId="6962deb3-b639-4acd-8091-a0516ea2376b" providerId="ADAL" clId="{146BD8F6-FDDD-49D3-A1A6-146C954086FF}" dt="2021-05-24T13:36:17.759" v="3782" actId="790"/>
          <ac:spMkLst>
            <pc:docMk/>
            <pc:sldMk cId="3463901835" sldId="10414"/>
            <ac:spMk id="14" creationId="{BF99168B-58D2-49E3-9128-C54D5771CCAF}"/>
          </ac:spMkLst>
        </pc:spChg>
        <pc:spChg chg="mod">
          <ac:chgData name="Jean QUENTIN" userId="6962deb3-b639-4acd-8091-a0516ea2376b" providerId="ADAL" clId="{146BD8F6-FDDD-49D3-A1A6-146C954086FF}" dt="2021-05-24T13:36:17.759" v="3783" actId="790"/>
          <ac:spMkLst>
            <pc:docMk/>
            <pc:sldMk cId="3463901835" sldId="10414"/>
            <ac:spMk id="15" creationId="{05128460-7BFC-4307-97D3-8D6BCE648098}"/>
          </ac:spMkLst>
        </pc:spChg>
        <pc:spChg chg="mod">
          <ac:chgData name="Jean QUENTIN" userId="6962deb3-b639-4acd-8091-a0516ea2376b" providerId="ADAL" clId="{146BD8F6-FDDD-49D3-A1A6-146C954086FF}" dt="2021-05-24T13:36:17.759" v="3784" actId="790"/>
          <ac:spMkLst>
            <pc:docMk/>
            <pc:sldMk cId="3463901835" sldId="10414"/>
            <ac:spMk id="16" creationId="{52DC22F7-50A1-4F9E-BDE2-AEB9287C6358}"/>
          </ac:spMkLst>
        </pc:spChg>
        <pc:spChg chg="mod">
          <ac:chgData name="Jean QUENTIN" userId="6962deb3-b639-4acd-8091-a0516ea2376b" providerId="ADAL" clId="{146BD8F6-FDDD-49D3-A1A6-146C954086FF}" dt="2021-05-24T13:36:17.759" v="3785" actId="790"/>
          <ac:spMkLst>
            <pc:docMk/>
            <pc:sldMk cId="3463901835" sldId="10414"/>
            <ac:spMk id="17" creationId="{13362563-A54C-40FC-9CE3-98BEEED7C283}"/>
          </ac:spMkLst>
        </pc:spChg>
        <pc:spChg chg="mod">
          <ac:chgData name="Jean QUENTIN" userId="6962deb3-b639-4acd-8091-a0516ea2376b" providerId="ADAL" clId="{146BD8F6-FDDD-49D3-A1A6-146C954086FF}" dt="2021-05-24T13:36:17.775" v="3786" actId="790"/>
          <ac:spMkLst>
            <pc:docMk/>
            <pc:sldMk cId="3463901835" sldId="10414"/>
            <ac:spMk id="18" creationId="{A0FC123E-1912-4BE1-A532-BD9FD91F6D4C}"/>
          </ac:spMkLst>
        </pc:spChg>
        <pc:spChg chg="mod">
          <ac:chgData name="Jean QUENTIN" userId="6962deb3-b639-4acd-8091-a0516ea2376b" providerId="ADAL" clId="{146BD8F6-FDDD-49D3-A1A6-146C954086FF}" dt="2021-05-24T13:36:17.775" v="3787" actId="790"/>
          <ac:spMkLst>
            <pc:docMk/>
            <pc:sldMk cId="3463901835" sldId="10414"/>
            <ac:spMk id="19" creationId="{53B1CD2F-0672-4E2A-A3D2-D816C1F3C13A}"/>
          </ac:spMkLst>
        </pc:spChg>
        <pc:spChg chg="mod">
          <ac:chgData name="Jean QUENTIN" userId="6962deb3-b639-4acd-8091-a0516ea2376b" providerId="ADAL" clId="{146BD8F6-FDDD-49D3-A1A6-146C954086FF}" dt="2021-05-24T13:36:17.775" v="3788" actId="790"/>
          <ac:spMkLst>
            <pc:docMk/>
            <pc:sldMk cId="3463901835" sldId="10414"/>
            <ac:spMk id="20" creationId="{2C72074C-EA62-427A-B807-7B4830414ADA}"/>
          </ac:spMkLst>
        </pc:spChg>
        <pc:spChg chg="mod">
          <ac:chgData name="Jean QUENTIN" userId="6962deb3-b639-4acd-8091-a0516ea2376b" providerId="ADAL" clId="{146BD8F6-FDDD-49D3-A1A6-146C954086FF}" dt="2021-05-24T13:36:17.775" v="3789" actId="790"/>
          <ac:spMkLst>
            <pc:docMk/>
            <pc:sldMk cId="3463901835" sldId="10414"/>
            <ac:spMk id="21" creationId="{3CAD7744-8624-4211-8642-F7A97366903A}"/>
          </ac:spMkLst>
        </pc:spChg>
        <pc:spChg chg="mod">
          <ac:chgData name="Jean QUENTIN" userId="6962deb3-b639-4acd-8091-a0516ea2376b" providerId="ADAL" clId="{146BD8F6-FDDD-49D3-A1A6-146C954086FF}" dt="2021-05-24T13:36:17.775" v="3790" actId="790"/>
          <ac:spMkLst>
            <pc:docMk/>
            <pc:sldMk cId="3463901835" sldId="10414"/>
            <ac:spMk id="22" creationId="{0EE64BA2-0E59-4319-86FD-6DC0E3B07DC6}"/>
          </ac:spMkLst>
        </pc:spChg>
        <pc:spChg chg="mod">
          <ac:chgData name="Jean QUENTIN" userId="6962deb3-b639-4acd-8091-a0516ea2376b" providerId="ADAL" clId="{146BD8F6-FDDD-49D3-A1A6-146C954086FF}" dt="2021-05-24T13:36:17.775" v="3791" actId="790"/>
          <ac:spMkLst>
            <pc:docMk/>
            <pc:sldMk cId="3463901835" sldId="10414"/>
            <ac:spMk id="23" creationId="{C50B6671-D4B5-4C43-8259-C37662E047AC}"/>
          </ac:spMkLst>
        </pc:spChg>
        <pc:spChg chg="mod">
          <ac:chgData name="Jean QUENTIN" userId="6962deb3-b639-4acd-8091-a0516ea2376b" providerId="ADAL" clId="{146BD8F6-FDDD-49D3-A1A6-146C954086FF}" dt="2021-05-24T13:36:17.775" v="3792" actId="790"/>
          <ac:spMkLst>
            <pc:docMk/>
            <pc:sldMk cId="3463901835" sldId="10414"/>
            <ac:spMk id="24" creationId="{6FD5383A-D90F-4793-9EE4-978E5E77E6AE}"/>
          </ac:spMkLst>
        </pc:spChg>
        <pc:spChg chg="mod">
          <ac:chgData name="Jean QUENTIN" userId="6962deb3-b639-4acd-8091-a0516ea2376b" providerId="ADAL" clId="{146BD8F6-FDDD-49D3-A1A6-146C954086FF}" dt="2021-05-24T13:36:17.775" v="3793" actId="790"/>
          <ac:spMkLst>
            <pc:docMk/>
            <pc:sldMk cId="3463901835" sldId="10414"/>
            <ac:spMk id="25" creationId="{E73D5AA9-9BED-4CFE-9B15-BA2CA34D3A8F}"/>
          </ac:spMkLst>
        </pc:spChg>
        <pc:spChg chg="mod">
          <ac:chgData name="Jean QUENTIN" userId="6962deb3-b639-4acd-8091-a0516ea2376b" providerId="ADAL" clId="{146BD8F6-FDDD-49D3-A1A6-146C954086FF}" dt="2021-05-24T13:36:17.775" v="3794" actId="790"/>
          <ac:spMkLst>
            <pc:docMk/>
            <pc:sldMk cId="3463901835" sldId="10414"/>
            <ac:spMk id="26" creationId="{1CF178C9-FA09-4B3B-8961-A7D3052DF2A2}"/>
          </ac:spMkLst>
        </pc:spChg>
        <pc:spChg chg="mod">
          <ac:chgData name="Jean QUENTIN" userId="6962deb3-b639-4acd-8091-a0516ea2376b" providerId="ADAL" clId="{146BD8F6-FDDD-49D3-A1A6-146C954086FF}" dt="2021-05-24T13:36:17.775" v="3795" actId="790"/>
          <ac:spMkLst>
            <pc:docMk/>
            <pc:sldMk cId="3463901835" sldId="10414"/>
            <ac:spMk id="29" creationId="{4EBEFE44-2A14-4F09-A3EB-58ED287D0203}"/>
          </ac:spMkLst>
        </pc:spChg>
        <pc:spChg chg="mod">
          <ac:chgData name="Jean QUENTIN" userId="6962deb3-b639-4acd-8091-a0516ea2376b" providerId="ADAL" clId="{146BD8F6-FDDD-49D3-A1A6-146C954086FF}" dt="2021-05-24T13:36:17.775" v="3796" actId="790"/>
          <ac:spMkLst>
            <pc:docMk/>
            <pc:sldMk cId="3463901835" sldId="10414"/>
            <ac:spMk id="30" creationId="{0D81CDD6-14AC-4542-8189-57ADD3120D86}"/>
          </ac:spMkLst>
        </pc:spChg>
        <pc:spChg chg="mod">
          <ac:chgData name="Jean QUENTIN" userId="6962deb3-b639-4acd-8091-a0516ea2376b" providerId="ADAL" clId="{146BD8F6-FDDD-49D3-A1A6-146C954086FF}" dt="2021-05-24T13:36:17.775" v="3797" actId="790"/>
          <ac:spMkLst>
            <pc:docMk/>
            <pc:sldMk cId="3463901835" sldId="10414"/>
            <ac:spMk id="31" creationId="{0A21BF8A-4686-4FC7-B72A-00B5F9563C97}"/>
          </ac:spMkLst>
        </pc:spChg>
        <pc:spChg chg="mod">
          <ac:chgData name="Jean QUENTIN" userId="6962deb3-b639-4acd-8091-a0516ea2376b" providerId="ADAL" clId="{146BD8F6-FDDD-49D3-A1A6-146C954086FF}" dt="2021-05-24T13:36:17.791" v="3798" actId="790"/>
          <ac:spMkLst>
            <pc:docMk/>
            <pc:sldMk cId="3463901835" sldId="10414"/>
            <ac:spMk id="33" creationId="{6F619186-A29F-47FC-B4C9-60FE5B327007}"/>
          </ac:spMkLst>
        </pc:spChg>
        <pc:spChg chg="mod">
          <ac:chgData name="Jean QUENTIN" userId="6962deb3-b639-4acd-8091-a0516ea2376b" providerId="ADAL" clId="{146BD8F6-FDDD-49D3-A1A6-146C954086FF}" dt="2021-05-24T13:36:17.791" v="3799" actId="790"/>
          <ac:spMkLst>
            <pc:docMk/>
            <pc:sldMk cId="3463901835" sldId="10414"/>
            <ac:spMk id="34" creationId="{7710F13B-8FD8-4679-A9E3-0FF42D7E205D}"/>
          </ac:spMkLst>
        </pc:spChg>
        <pc:spChg chg="mod">
          <ac:chgData name="Jean QUENTIN" userId="6962deb3-b639-4acd-8091-a0516ea2376b" providerId="ADAL" clId="{146BD8F6-FDDD-49D3-A1A6-146C954086FF}" dt="2021-05-24T13:36:17.791" v="3800" actId="790"/>
          <ac:spMkLst>
            <pc:docMk/>
            <pc:sldMk cId="3463901835" sldId="10414"/>
            <ac:spMk id="38" creationId="{443D7E13-5E25-417A-AA2B-D37766447346}"/>
          </ac:spMkLst>
        </pc:spChg>
        <pc:spChg chg="mod">
          <ac:chgData name="Jean QUENTIN" userId="6962deb3-b639-4acd-8091-a0516ea2376b" providerId="ADAL" clId="{146BD8F6-FDDD-49D3-A1A6-146C954086FF}" dt="2021-05-24T13:36:17.791" v="3801" actId="790"/>
          <ac:spMkLst>
            <pc:docMk/>
            <pc:sldMk cId="3463901835" sldId="10414"/>
            <ac:spMk id="40" creationId="{951BFB89-3A96-459C-8E4A-080B28FCA297}"/>
          </ac:spMkLst>
        </pc:spChg>
        <pc:spChg chg="mod">
          <ac:chgData name="Jean QUENTIN" userId="6962deb3-b639-4acd-8091-a0516ea2376b" providerId="ADAL" clId="{146BD8F6-FDDD-49D3-A1A6-146C954086FF}" dt="2021-05-24T13:36:17.791" v="3802" actId="790"/>
          <ac:spMkLst>
            <pc:docMk/>
            <pc:sldMk cId="3463901835" sldId="10414"/>
            <ac:spMk id="41" creationId="{8514CDF6-D3F3-4CEC-96D8-EB94AFEB3106}"/>
          </ac:spMkLst>
        </pc:spChg>
        <pc:spChg chg="mod">
          <ac:chgData name="Jean QUENTIN" userId="6962deb3-b639-4acd-8091-a0516ea2376b" providerId="ADAL" clId="{146BD8F6-FDDD-49D3-A1A6-146C954086FF}" dt="2021-05-24T13:36:17.791" v="3803" actId="790"/>
          <ac:spMkLst>
            <pc:docMk/>
            <pc:sldMk cId="3463901835" sldId="10414"/>
            <ac:spMk id="42" creationId="{B14DB10B-7FE9-42ED-B303-F33106400EA9}"/>
          </ac:spMkLst>
        </pc:spChg>
        <pc:spChg chg="mod">
          <ac:chgData name="Jean QUENTIN" userId="6962deb3-b639-4acd-8091-a0516ea2376b" providerId="ADAL" clId="{146BD8F6-FDDD-49D3-A1A6-146C954086FF}" dt="2021-05-24T13:36:17.806" v="3804" actId="790"/>
          <ac:spMkLst>
            <pc:docMk/>
            <pc:sldMk cId="3463901835" sldId="10414"/>
            <ac:spMk id="43" creationId="{E84EA5FA-08E9-40F6-A71F-8BA8F3E3ED99}"/>
          </ac:spMkLst>
        </pc:spChg>
        <pc:spChg chg="mod">
          <ac:chgData name="Jean QUENTIN" userId="6962deb3-b639-4acd-8091-a0516ea2376b" providerId="ADAL" clId="{146BD8F6-FDDD-49D3-A1A6-146C954086FF}" dt="2021-05-24T13:36:17.806" v="3805" actId="790"/>
          <ac:spMkLst>
            <pc:docMk/>
            <pc:sldMk cId="3463901835" sldId="10414"/>
            <ac:spMk id="44" creationId="{F595688A-2B2A-4B18-BC8F-3E1BBE846D86}"/>
          </ac:spMkLst>
        </pc:spChg>
        <pc:spChg chg="mod">
          <ac:chgData name="Jean QUENTIN" userId="6962deb3-b639-4acd-8091-a0516ea2376b" providerId="ADAL" clId="{146BD8F6-FDDD-49D3-A1A6-146C954086FF}" dt="2021-05-24T13:36:17.806" v="3806" actId="790"/>
          <ac:spMkLst>
            <pc:docMk/>
            <pc:sldMk cId="3463901835" sldId="10414"/>
            <ac:spMk id="45" creationId="{7A651798-9873-484A-BCBC-F1732F254FCF}"/>
          </ac:spMkLst>
        </pc:spChg>
        <pc:spChg chg="mod">
          <ac:chgData name="Jean QUENTIN" userId="6962deb3-b639-4acd-8091-a0516ea2376b" providerId="ADAL" clId="{146BD8F6-FDDD-49D3-A1A6-146C954086FF}" dt="2021-05-24T13:36:17.806" v="3807" actId="790"/>
          <ac:spMkLst>
            <pc:docMk/>
            <pc:sldMk cId="3463901835" sldId="10414"/>
            <ac:spMk id="46" creationId="{54AFC57A-2292-4CA3-B567-A14B5835A6E8}"/>
          </ac:spMkLst>
        </pc:spChg>
        <pc:spChg chg="mod">
          <ac:chgData name="Jean QUENTIN" userId="6962deb3-b639-4acd-8091-a0516ea2376b" providerId="ADAL" clId="{146BD8F6-FDDD-49D3-A1A6-146C954086FF}" dt="2021-05-24T13:36:17.806" v="3808" actId="790"/>
          <ac:spMkLst>
            <pc:docMk/>
            <pc:sldMk cId="3463901835" sldId="10414"/>
            <ac:spMk id="47" creationId="{A14096DC-4CAE-4A32-BFA3-6DBFBDDF9334}"/>
          </ac:spMkLst>
        </pc:spChg>
        <pc:spChg chg="mod">
          <ac:chgData name="Jean QUENTIN" userId="6962deb3-b639-4acd-8091-a0516ea2376b" providerId="ADAL" clId="{146BD8F6-FDDD-49D3-A1A6-146C954086FF}" dt="2021-05-24T13:36:17.806" v="3809" actId="790"/>
          <ac:spMkLst>
            <pc:docMk/>
            <pc:sldMk cId="3463901835" sldId="10414"/>
            <ac:spMk id="48" creationId="{071ECFC0-1FE9-49A0-A0B0-4AFD8164EB62}"/>
          </ac:spMkLst>
        </pc:spChg>
        <pc:spChg chg="mod">
          <ac:chgData name="Jean QUENTIN" userId="6962deb3-b639-4acd-8091-a0516ea2376b" providerId="ADAL" clId="{146BD8F6-FDDD-49D3-A1A6-146C954086FF}" dt="2021-05-24T13:36:17.806" v="3810" actId="790"/>
          <ac:spMkLst>
            <pc:docMk/>
            <pc:sldMk cId="3463901835" sldId="10414"/>
            <ac:spMk id="49" creationId="{D81D2065-13CD-4420-A58C-E72AE87D1A42}"/>
          </ac:spMkLst>
        </pc:spChg>
        <pc:spChg chg="mod">
          <ac:chgData name="Jean QUENTIN" userId="6962deb3-b639-4acd-8091-a0516ea2376b" providerId="ADAL" clId="{146BD8F6-FDDD-49D3-A1A6-146C954086FF}" dt="2021-05-24T13:36:17.806" v="3811" actId="790"/>
          <ac:spMkLst>
            <pc:docMk/>
            <pc:sldMk cId="3463901835" sldId="10414"/>
            <ac:spMk id="50" creationId="{ACAAB4F1-8D2B-4B8D-A0C1-3794501DF384}"/>
          </ac:spMkLst>
        </pc:spChg>
        <pc:spChg chg="mod">
          <ac:chgData name="Jean QUENTIN" userId="6962deb3-b639-4acd-8091-a0516ea2376b" providerId="ADAL" clId="{146BD8F6-FDDD-49D3-A1A6-146C954086FF}" dt="2021-05-24T13:36:17.806" v="3812" actId="790"/>
          <ac:spMkLst>
            <pc:docMk/>
            <pc:sldMk cId="3463901835" sldId="10414"/>
            <ac:spMk id="51" creationId="{CCA5A507-9498-412A-8734-37E9A0CAFBC2}"/>
          </ac:spMkLst>
        </pc:spChg>
        <pc:spChg chg="mod">
          <ac:chgData name="Jean QUENTIN" userId="6962deb3-b639-4acd-8091-a0516ea2376b" providerId="ADAL" clId="{146BD8F6-FDDD-49D3-A1A6-146C954086FF}" dt="2021-05-24T13:36:17.806" v="3813" actId="790"/>
          <ac:spMkLst>
            <pc:docMk/>
            <pc:sldMk cId="3463901835" sldId="10414"/>
            <ac:spMk id="52" creationId="{9926A3AA-BF17-44D4-8DE7-9339CF1BE6FD}"/>
          </ac:spMkLst>
        </pc:spChg>
        <pc:spChg chg="mod">
          <ac:chgData name="Jean QUENTIN" userId="6962deb3-b639-4acd-8091-a0516ea2376b" providerId="ADAL" clId="{146BD8F6-FDDD-49D3-A1A6-146C954086FF}" dt="2021-05-24T13:36:17.822" v="3814" actId="790"/>
          <ac:spMkLst>
            <pc:docMk/>
            <pc:sldMk cId="3463901835" sldId="10414"/>
            <ac:spMk id="53" creationId="{5E59300E-921D-44E2-90E6-C444434FE1E2}"/>
          </ac:spMkLst>
        </pc:spChg>
        <pc:spChg chg="mod">
          <ac:chgData name="Jean QUENTIN" userId="6962deb3-b639-4acd-8091-a0516ea2376b" providerId="ADAL" clId="{146BD8F6-FDDD-49D3-A1A6-146C954086FF}" dt="2021-05-24T13:36:17.822" v="3815" actId="790"/>
          <ac:spMkLst>
            <pc:docMk/>
            <pc:sldMk cId="3463901835" sldId="10414"/>
            <ac:spMk id="56" creationId="{2FB57385-9778-4E16-88A7-927D307E97B3}"/>
          </ac:spMkLst>
        </pc:spChg>
        <pc:spChg chg="mod">
          <ac:chgData name="Jean QUENTIN" userId="6962deb3-b639-4acd-8091-a0516ea2376b" providerId="ADAL" clId="{146BD8F6-FDDD-49D3-A1A6-146C954086FF}" dt="2021-05-24T13:36:17.822" v="3816" actId="790"/>
          <ac:spMkLst>
            <pc:docMk/>
            <pc:sldMk cId="3463901835" sldId="10414"/>
            <ac:spMk id="58" creationId="{328B4C86-96DF-4F0B-9DF0-1048DA68F379}"/>
          </ac:spMkLst>
        </pc:spChg>
        <pc:spChg chg="mod">
          <ac:chgData name="Jean QUENTIN" userId="6962deb3-b639-4acd-8091-a0516ea2376b" providerId="ADAL" clId="{146BD8F6-FDDD-49D3-A1A6-146C954086FF}" dt="2021-05-24T13:36:17.837" v="3817" actId="790"/>
          <ac:spMkLst>
            <pc:docMk/>
            <pc:sldMk cId="3463901835" sldId="10414"/>
            <ac:spMk id="61" creationId="{D8946D35-831B-4FB2-9D8B-4DC903BFA94D}"/>
          </ac:spMkLst>
        </pc:spChg>
        <pc:spChg chg="mod">
          <ac:chgData name="Jean QUENTIN" userId="6962deb3-b639-4acd-8091-a0516ea2376b" providerId="ADAL" clId="{146BD8F6-FDDD-49D3-A1A6-146C954086FF}" dt="2021-05-24T13:36:17.837" v="3818" actId="790"/>
          <ac:spMkLst>
            <pc:docMk/>
            <pc:sldMk cId="3463901835" sldId="10414"/>
            <ac:spMk id="62" creationId="{B272D2A6-27B4-4CCB-9AAB-635DCFACB418}"/>
          </ac:spMkLst>
        </pc:spChg>
        <pc:spChg chg="mod">
          <ac:chgData name="Jean QUENTIN" userId="6962deb3-b639-4acd-8091-a0516ea2376b" providerId="ADAL" clId="{146BD8F6-FDDD-49D3-A1A6-146C954086FF}" dt="2021-05-24T13:36:17.837" v="3820" actId="790"/>
          <ac:spMkLst>
            <pc:docMk/>
            <pc:sldMk cId="3463901835" sldId="10414"/>
            <ac:spMk id="63" creationId="{CACC76FC-2977-4355-BF81-4E5EDB67542C}"/>
          </ac:spMkLst>
        </pc:spChg>
        <pc:spChg chg="mod">
          <ac:chgData name="Jean QUENTIN" userId="6962deb3-b639-4acd-8091-a0516ea2376b" providerId="ADAL" clId="{146BD8F6-FDDD-49D3-A1A6-146C954086FF}" dt="2021-05-24T13:36:17.837" v="3821" actId="790"/>
          <ac:spMkLst>
            <pc:docMk/>
            <pc:sldMk cId="3463901835" sldId="10414"/>
            <ac:spMk id="64" creationId="{E69A6A78-2AD3-4D53-8B9B-27B1B6264317}"/>
          </ac:spMkLst>
        </pc:spChg>
        <pc:spChg chg="mod">
          <ac:chgData name="Jean QUENTIN" userId="6962deb3-b639-4acd-8091-a0516ea2376b" providerId="ADAL" clId="{146BD8F6-FDDD-49D3-A1A6-146C954086FF}" dt="2021-05-24T13:36:17.837" v="3822" actId="790"/>
          <ac:spMkLst>
            <pc:docMk/>
            <pc:sldMk cId="3463901835" sldId="10414"/>
            <ac:spMk id="65" creationId="{B996472B-4494-4092-90D2-F9B0598EDA9B}"/>
          </ac:spMkLst>
        </pc:spChg>
        <pc:spChg chg="mod">
          <ac:chgData name="Jean QUENTIN" userId="6962deb3-b639-4acd-8091-a0516ea2376b" providerId="ADAL" clId="{146BD8F6-FDDD-49D3-A1A6-146C954086FF}" dt="2021-05-24T13:36:17.853" v="3823" actId="790"/>
          <ac:spMkLst>
            <pc:docMk/>
            <pc:sldMk cId="3463901835" sldId="10414"/>
            <ac:spMk id="66" creationId="{580E88D8-DB2D-4BAA-87C9-C7877E27FD4E}"/>
          </ac:spMkLst>
        </pc:spChg>
        <pc:spChg chg="mod">
          <ac:chgData name="Jean QUENTIN" userId="6962deb3-b639-4acd-8091-a0516ea2376b" providerId="ADAL" clId="{146BD8F6-FDDD-49D3-A1A6-146C954086FF}" dt="2021-05-24T13:36:17.853" v="3824" actId="790"/>
          <ac:spMkLst>
            <pc:docMk/>
            <pc:sldMk cId="3463901835" sldId="10414"/>
            <ac:spMk id="67" creationId="{29C19D83-CDAD-468C-B418-83C2D1E45543}"/>
          </ac:spMkLst>
        </pc:spChg>
        <pc:spChg chg="mod">
          <ac:chgData name="Jean QUENTIN" userId="6962deb3-b639-4acd-8091-a0516ea2376b" providerId="ADAL" clId="{146BD8F6-FDDD-49D3-A1A6-146C954086FF}" dt="2021-05-24T13:36:17.853" v="3825" actId="790"/>
          <ac:spMkLst>
            <pc:docMk/>
            <pc:sldMk cId="3463901835" sldId="10414"/>
            <ac:spMk id="68" creationId="{7BD2CCAB-CCFD-487A-BBD3-6041900F9E7C}"/>
          </ac:spMkLst>
        </pc:spChg>
        <pc:spChg chg="mod">
          <ac:chgData name="Jean QUENTIN" userId="6962deb3-b639-4acd-8091-a0516ea2376b" providerId="ADAL" clId="{146BD8F6-FDDD-49D3-A1A6-146C954086FF}" dt="2021-05-24T13:36:17.853" v="3826" actId="790"/>
          <ac:spMkLst>
            <pc:docMk/>
            <pc:sldMk cId="3463901835" sldId="10414"/>
            <ac:spMk id="69" creationId="{B7EBBC5A-DA14-4F74-B1F0-E98AF52DABD0}"/>
          </ac:spMkLst>
        </pc:spChg>
        <pc:spChg chg="mod">
          <ac:chgData name="Jean QUENTIN" userId="6962deb3-b639-4acd-8091-a0516ea2376b" providerId="ADAL" clId="{146BD8F6-FDDD-49D3-A1A6-146C954086FF}" dt="2021-05-24T13:36:17.853" v="3827" actId="790"/>
          <ac:spMkLst>
            <pc:docMk/>
            <pc:sldMk cId="3463901835" sldId="10414"/>
            <ac:spMk id="70" creationId="{3291AB25-490F-4B63-A46D-E02764883457}"/>
          </ac:spMkLst>
        </pc:spChg>
        <pc:spChg chg="mod">
          <ac:chgData name="Jean QUENTIN" userId="6962deb3-b639-4acd-8091-a0516ea2376b" providerId="ADAL" clId="{146BD8F6-FDDD-49D3-A1A6-146C954086FF}" dt="2021-05-24T13:36:17.860" v="3828" actId="790"/>
          <ac:spMkLst>
            <pc:docMk/>
            <pc:sldMk cId="3463901835" sldId="10414"/>
            <ac:spMk id="71" creationId="{075BD30D-D6B5-4502-AB64-F5EF3A546F22}"/>
          </ac:spMkLst>
        </pc:spChg>
        <pc:spChg chg="mod">
          <ac:chgData name="Jean QUENTIN" userId="6962deb3-b639-4acd-8091-a0516ea2376b" providerId="ADAL" clId="{146BD8F6-FDDD-49D3-A1A6-146C954086FF}" dt="2021-05-24T13:36:17.860" v="3829" actId="790"/>
          <ac:spMkLst>
            <pc:docMk/>
            <pc:sldMk cId="3463901835" sldId="10414"/>
            <ac:spMk id="72" creationId="{B8A5B5FA-956D-4336-94C9-315F1C4DA686}"/>
          </ac:spMkLst>
        </pc:spChg>
        <pc:spChg chg="mod">
          <ac:chgData name="Jean QUENTIN" userId="6962deb3-b639-4acd-8091-a0516ea2376b" providerId="ADAL" clId="{146BD8F6-FDDD-49D3-A1A6-146C954086FF}" dt="2021-05-24T13:36:17.860" v="3830" actId="790"/>
          <ac:spMkLst>
            <pc:docMk/>
            <pc:sldMk cId="3463901835" sldId="10414"/>
            <ac:spMk id="73" creationId="{BB81862D-1352-415B-9794-C265DDB814EE}"/>
          </ac:spMkLst>
        </pc:spChg>
        <pc:spChg chg="mod">
          <ac:chgData name="Jean QUENTIN" userId="6962deb3-b639-4acd-8091-a0516ea2376b" providerId="ADAL" clId="{146BD8F6-FDDD-49D3-A1A6-146C954086FF}" dt="2021-05-24T13:36:17.860" v="3831" actId="790"/>
          <ac:spMkLst>
            <pc:docMk/>
            <pc:sldMk cId="3463901835" sldId="10414"/>
            <ac:spMk id="74" creationId="{5013318F-F7B4-4AAF-ADC5-C66BF396BB1E}"/>
          </ac:spMkLst>
        </pc:spChg>
        <pc:spChg chg="mod">
          <ac:chgData name="Jean QUENTIN" userId="6962deb3-b639-4acd-8091-a0516ea2376b" providerId="ADAL" clId="{146BD8F6-FDDD-49D3-A1A6-146C954086FF}" dt="2021-05-24T13:36:17.860" v="3832" actId="790"/>
          <ac:spMkLst>
            <pc:docMk/>
            <pc:sldMk cId="3463901835" sldId="10414"/>
            <ac:spMk id="75" creationId="{CB9B43AE-1547-457C-A273-1320CA76CB3B}"/>
          </ac:spMkLst>
        </pc:spChg>
        <pc:spChg chg="mod">
          <ac:chgData name="Jean QUENTIN" userId="6962deb3-b639-4acd-8091-a0516ea2376b" providerId="ADAL" clId="{146BD8F6-FDDD-49D3-A1A6-146C954086FF}" dt="2021-05-24T13:36:17.860" v="3833" actId="790"/>
          <ac:spMkLst>
            <pc:docMk/>
            <pc:sldMk cId="3463901835" sldId="10414"/>
            <ac:spMk id="76" creationId="{AE904024-EA20-4D60-AB0B-C139F02FB2A9}"/>
          </ac:spMkLst>
        </pc:spChg>
        <pc:spChg chg="mod">
          <ac:chgData name="Jean QUENTIN" userId="6962deb3-b639-4acd-8091-a0516ea2376b" providerId="ADAL" clId="{146BD8F6-FDDD-49D3-A1A6-146C954086FF}" dt="2021-05-24T13:36:17.860" v="3834" actId="790"/>
          <ac:spMkLst>
            <pc:docMk/>
            <pc:sldMk cId="3463901835" sldId="10414"/>
            <ac:spMk id="77" creationId="{AB0D4D7A-5D70-4F9E-A762-65CCD88904AC}"/>
          </ac:spMkLst>
        </pc:spChg>
        <pc:spChg chg="mod">
          <ac:chgData name="Jean QUENTIN" userId="6962deb3-b639-4acd-8091-a0516ea2376b" providerId="ADAL" clId="{146BD8F6-FDDD-49D3-A1A6-146C954086FF}" dt="2021-05-24T13:36:17.860" v="3835" actId="790"/>
          <ac:spMkLst>
            <pc:docMk/>
            <pc:sldMk cId="3463901835" sldId="10414"/>
            <ac:spMk id="78" creationId="{E5C79D5F-D2B0-4680-AA6C-E73274912CD4}"/>
          </ac:spMkLst>
        </pc:spChg>
        <pc:spChg chg="mod">
          <ac:chgData name="Jean QUENTIN" userId="6962deb3-b639-4acd-8091-a0516ea2376b" providerId="ADAL" clId="{146BD8F6-FDDD-49D3-A1A6-146C954086FF}" dt="2021-05-24T13:36:17.860" v="3836" actId="790"/>
          <ac:spMkLst>
            <pc:docMk/>
            <pc:sldMk cId="3463901835" sldId="10414"/>
            <ac:spMk id="79" creationId="{43B23F38-045E-49AC-BFC0-E481E439ED01}"/>
          </ac:spMkLst>
        </pc:spChg>
        <pc:spChg chg="mod">
          <ac:chgData name="Jean QUENTIN" userId="6962deb3-b639-4acd-8091-a0516ea2376b" providerId="ADAL" clId="{146BD8F6-FDDD-49D3-A1A6-146C954086FF}" dt="2021-05-24T13:36:17.860" v="3837" actId="790"/>
          <ac:spMkLst>
            <pc:docMk/>
            <pc:sldMk cId="3463901835" sldId="10414"/>
            <ac:spMk id="83" creationId="{B022D544-F72E-4747-A8CA-168E2A57EA0D}"/>
          </ac:spMkLst>
        </pc:spChg>
        <pc:spChg chg="mod">
          <ac:chgData name="Jean QUENTIN" userId="6962deb3-b639-4acd-8091-a0516ea2376b" providerId="ADAL" clId="{146BD8F6-FDDD-49D3-A1A6-146C954086FF}" dt="2021-05-24T13:36:17.860" v="3838" actId="790"/>
          <ac:spMkLst>
            <pc:docMk/>
            <pc:sldMk cId="3463901835" sldId="10414"/>
            <ac:spMk id="85" creationId="{C88CFD24-A3E1-478D-B34C-1E0ECF85A40D}"/>
          </ac:spMkLst>
        </pc:spChg>
        <pc:spChg chg="mod">
          <ac:chgData name="Jean QUENTIN" userId="6962deb3-b639-4acd-8091-a0516ea2376b" providerId="ADAL" clId="{146BD8F6-FDDD-49D3-A1A6-146C954086FF}" dt="2021-05-24T13:36:17.860" v="3839" actId="790"/>
          <ac:spMkLst>
            <pc:docMk/>
            <pc:sldMk cId="3463901835" sldId="10414"/>
            <ac:spMk id="86" creationId="{6CB430ED-F66D-45D4-8301-C9F93105C4D1}"/>
          </ac:spMkLst>
        </pc:spChg>
        <pc:spChg chg="mod">
          <ac:chgData name="Jean QUENTIN" userId="6962deb3-b639-4acd-8091-a0516ea2376b" providerId="ADAL" clId="{146BD8F6-FDDD-49D3-A1A6-146C954086FF}" dt="2021-05-24T13:36:17.875" v="3840" actId="790"/>
          <ac:spMkLst>
            <pc:docMk/>
            <pc:sldMk cId="3463901835" sldId="10414"/>
            <ac:spMk id="87" creationId="{C2862B83-240F-4A1D-B35E-91B2A481B969}"/>
          </ac:spMkLst>
        </pc:spChg>
        <pc:spChg chg="mod">
          <ac:chgData name="Jean QUENTIN" userId="6962deb3-b639-4acd-8091-a0516ea2376b" providerId="ADAL" clId="{146BD8F6-FDDD-49D3-A1A6-146C954086FF}" dt="2021-05-24T13:36:17.875" v="3841" actId="790"/>
          <ac:spMkLst>
            <pc:docMk/>
            <pc:sldMk cId="3463901835" sldId="10414"/>
            <ac:spMk id="88" creationId="{7FB8AE25-3C90-4AC1-A2A5-ADD97D79DB6C}"/>
          </ac:spMkLst>
        </pc:spChg>
        <pc:spChg chg="mod">
          <ac:chgData name="Jean QUENTIN" userId="6962deb3-b639-4acd-8091-a0516ea2376b" providerId="ADAL" clId="{146BD8F6-FDDD-49D3-A1A6-146C954086FF}" dt="2021-05-24T13:36:17.875" v="3842" actId="790"/>
          <ac:spMkLst>
            <pc:docMk/>
            <pc:sldMk cId="3463901835" sldId="10414"/>
            <ac:spMk id="89" creationId="{7889FD5A-6C5A-4272-B1C1-B8A724F2B10F}"/>
          </ac:spMkLst>
        </pc:spChg>
        <pc:spChg chg="mod">
          <ac:chgData name="Jean QUENTIN" userId="6962deb3-b639-4acd-8091-a0516ea2376b" providerId="ADAL" clId="{146BD8F6-FDDD-49D3-A1A6-146C954086FF}" dt="2021-05-24T13:36:17.875" v="3843" actId="790"/>
          <ac:spMkLst>
            <pc:docMk/>
            <pc:sldMk cId="3463901835" sldId="10414"/>
            <ac:spMk id="90" creationId="{77F48DB9-7925-4FD7-8D0B-8F07F8491523}"/>
          </ac:spMkLst>
        </pc:spChg>
        <pc:spChg chg="mod">
          <ac:chgData name="Jean QUENTIN" userId="6962deb3-b639-4acd-8091-a0516ea2376b" providerId="ADAL" clId="{146BD8F6-FDDD-49D3-A1A6-146C954086FF}" dt="2021-05-24T13:36:17.875" v="3844" actId="790"/>
          <ac:spMkLst>
            <pc:docMk/>
            <pc:sldMk cId="3463901835" sldId="10414"/>
            <ac:spMk id="94" creationId="{0F4F10F5-977E-4EB0-91A1-B96246179616}"/>
          </ac:spMkLst>
        </pc:spChg>
        <pc:spChg chg="mod">
          <ac:chgData name="Jean QUENTIN" userId="6962deb3-b639-4acd-8091-a0516ea2376b" providerId="ADAL" clId="{146BD8F6-FDDD-49D3-A1A6-146C954086FF}" dt="2021-05-24T13:36:17.875" v="3845" actId="790"/>
          <ac:spMkLst>
            <pc:docMk/>
            <pc:sldMk cId="3463901835" sldId="10414"/>
            <ac:spMk id="111" creationId="{AAE2193E-2CF1-466B-885D-77842A9A9102}"/>
          </ac:spMkLst>
        </pc:spChg>
        <pc:spChg chg="mod">
          <ac:chgData name="Jean QUENTIN" userId="6962deb3-b639-4acd-8091-a0516ea2376b" providerId="ADAL" clId="{146BD8F6-FDDD-49D3-A1A6-146C954086FF}" dt="2021-05-24T13:36:17.875" v="3846" actId="790"/>
          <ac:spMkLst>
            <pc:docMk/>
            <pc:sldMk cId="3463901835" sldId="10414"/>
            <ac:spMk id="112" creationId="{58F1BE0C-A14B-42E1-B182-64C59CD08680}"/>
          </ac:spMkLst>
        </pc:spChg>
        <pc:spChg chg="mod">
          <ac:chgData name="Jean QUENTIN" userId="6962deb3-b639-4acd-8091-a0516ea2376b" providerId="ADAL" clId="{146BD8F6-FDDD-49D3-A1A6-146C954086FF}" dt="2021-05-24T13:36:17.875" v="3847" actId="790"/>
          <ac:spMkLst>
            <pc:docMk/>
            <pc:sldMk cId="3463901835" sldId="10414"/>
            <ac:spMk id="115" creationId="{4C8FA9C8-0FBF-4037-96F3-8EFAF86EDF43}"/>
          </ac:spMkLst>
        </pc:spChg>
      </pc:sldChg>
      <pc:sldChg chg="modSp mod">
        <pc:chgData name="Jean QUENTIN" userId="6962deb3-b639-4acd-8091-a0516ea2376b" providerId="ADAL" clId="{146BD8F6-FDDD-49D3-A1A6-146C954086FF}" dt="2021-05-24T13:36:17.922" v="3872" actId="790"/>
        <pc:sldMkLst>
          <pc:docMk/>
          <pc:sldMk cId="718926585" sldId="10416"/>
        </pc:sldMkLst>
        <pc:spChg chg="mod">
          <ac:chgData name="Jean QUENTIN" userId="6962deb3-b639-4acd-8091-a0516ea2376b" providerId="ADAL" clId="{146BD8F6-FDDD-49D3-A1A6-146C954086FF}" dt="2021-05-24T13:36:17.891" v="3851" actId="790"/>
          <ac:spMkLst>
            <pc:docMk/>
            <pc:sldMk cId="718926585" sldId="10416"/>
            <ac:spMk id="2" creationId="{6141F854-3009-40D7-9038-56590105A49E}"/>
          </ac:spMkLst>
        </pc:spChg>
        <pc:spChg chg="mod">
          <ac:chgData name="Jean QUENTIN" userId="6962deb3-b639-4acd-8091-a0516ea2376b" providerId="ADAL" clId="{146BD8F6-FDDD-49D3-A1A6-146C954086FF}" dt="2021-05-24T13:36:17.891" v="3850" actId="790"/>
          <ac:spMkLst>
            <pc:docMk/>
            <pc:sldMk cId="718926585" sldId="10416"/>
            <ac:spMk id="14" creationId="{79163A55-8253-4415-87E3-49B6AA0C98BF}"/>
          </ac:spMkLst>
        </pc:spChg>
        <pc:spChg chg="mod">
          <ac:chgData name="Jean QUENTIN" userId="6962deb3-b639-4acd-8091-a0516ea2376b" providerId="ADAL" clId="{146BD8F6-FDDD-49D3-A1A6-146C954086FF}" dt="2021-05-24T13:36:17.875" v="3849" actId="790"/>
          <ac:spMkLst>
            <pc:docMk/>
            <pc:sldMk cId="718926585" sldId="10416"/>
            <ac:spMk id="15" creationId="{C7CC0E72-2C4D-4227-BE31-58EBB8D10C2D}"/>
          </ac:spMkLst>
        </pc:spChg>
        <pc:spChg chg="mod">
          <ac:chgData name="Jean QUENTIN" userId="6962deb3-b639-4acd-8091-a0516ea2376b" providerId="ADAL" clId="{146BD8F6-FDDD-49D3-A1A6-146C954086FF}" dt="2021-05-24T13:36:17.875" v="3848" actId="790"/>
          <ac:spMkLst>
            <pc:docMk/>
            <pc:sldMk cId="718926585" sldId="10416"/>
            <ac:spMk id="16" creationId="{D2E2D690-327F-4633-A872-ADB29F27F398}"/>
          </ac:spMkLst>
        </pc:spChg>
        <pc:spChg chg="mod">
          <ac:chgData name="Jean QUENTIN" userId="6962deb3-b639-4acd-8091-a0516ea2376b" providerId="ADAL" clId="{146BD8F6-FDDD-49D3-A1A6-146C954086FF}" dt="2021-05-24T13:36:17.891" v="3852" actId="790"/>
          <ac:spMkLst>
            <pc:docMk/>
            <pc:sldMk cId="718926585" sldId="10416"/>
            <ac:spMk id="25" creationId="{C509ABA6-0D56-4D9A-8217-F214397AC6C6}"/>
          </ac:spMkLst>
        </pc:spChg>
        <pc:spChg chg="mod">
          <ac:chgData name="Jean QUENTIN" userId="6962deb3-b639-4acd-8091-a0516ea2376b" providerId="ADAL" clId="{146BD8F6-FDDD-49D3-A1A6-146C954086FF}" dt="2021-05-24T13:36:17.891" v="3853" actId="790"/>
          <ac:spMkLst>
            <pc:docMk/>
            <pc:sldMk cId="718926585" sldId="10416"/>
            <ac:spMk id="26" creationId="{7214233D-03FD-4212-9D98-B0CAE1EA952D}"/>
          </ac:spMkLst>
        </pc:spChg>
        <pc:spChg chg="mod">
          <ac:chgData name="Jean QUENTIN" userId="6962deb3-b639-4acd-8091-a0516ea2376b" providerId="ADAL" clId="{146BD8F6-FDDD-49D3-A1A6-146C954086FF}" dt="2021-05-24T13:36:17.891" v="3854" actId="790"/>
          <ac:spMkLst>
            <pc:docMk/>
            <pc:sldMk cId="718926585" sldId="10416"/>
            <ac:spMk id="27" creationId="{63FECFE8-77A5-4C8D-9A95-E5E89281A837}"/>
          </ac:spMkLst>
        </pc:spChg>
        <pc:spChg chg="mod">
          <ac:chgData name="Jean QUENTIN" userId="6962deb3-b639-4acd-8091-a0516ea2376b" providerId="ADAL" clId="{146BD8F6-FDDD-49D3-A1A6-146C954086FF}" dt="2021-05-24T13:36:17.891" v="3855" actId="790"/>
          <ac:spMkLst>
            <pc:docMk/>
            <pc:sldMk cId="718926585" sldId="10416"/>
            <ac:spMk id="28" creationId="{B4F1C8B4-203B-4299-B34E-7D33C44B7B71}"/>
          </ac:spMkLst>
        </pc:spChg>
        <pc:spChg chg="mod">
          <ac:chgData name="Jean QUENTIN" userId="6962deb3-b639-4acd-8091-a0516ea2376b" providerId="ADAL" clId="{146BD8F6-FDDD-49D3-A1A6-146C954086FF}" dt="2021-05-24T13:36:17.891" v="3856" actId="790"/>
          <ac:spMkLst>
            <pc:docMk/>
            <pc:sldMk cId="718926585" sldId="10416"/>
            <ac:spMk id="29" creationId="{8A165B1F-6634-43C5-A885-140265BE12E8}"/>
          </ac:spMkLst>
        </pc:spChg>
        <pc:spChg chg="mod">
          <ac:chgData name="Jean QUENTIN" userId="6962deb3-b639-4acd-8091-a0516ea2376b" providerId="ADAL" clId="{146BD8F6-FDDD-49D3-A1A6-146C954086FF}" dt="2021-05-24T13:36:17.891" v="3857" actId="790"/>
          <ac:spMkLst>
            <pc:docMk/>
            <pc:sldMk cId="718926585" sldId="10416"/>
            <ac:spMk id="30" creationId="{52F7899A-6E23-45C9-AB1D-5A04E49DE8D3}"/>
          </ac:spMkLst>
        </pc:spChg>
        <pc:spChg chg="mod">
          <ac:chgData name="Jean QUENTIN" userId="6962deb3-b639-4acd-8091-a0516ea2376b" providerId="ADAL" clId="{146BD8F6-FDDD-49D3-A1A6-146C954086FF}" dt="2021-05-24T13:36:17.906" v="3858" actId="790"/>
          <ac:spMkLst>
            <pc:docMk/>
            <pc:sldMk cId="718926585" sldId="10416"/>
            <ac:spMk id="31" creationId="{39A4E537-6B70-42D6-B76D-22EBE99E5324}"/>
          </ac:spMkLst>
        </pc:spChg>
        <pc:spChg chg="mod">
          <ac:chgData name="Jean QUENTIN" userId="6962deb3-b639-4acd-8091-a0516ea2376b" providerId="ADAL" clId="{146BD8F6-FDDD-49D3-A1A6-146C954086FF}" dt="2021-05-24T13:36:17.906" v="3859" actId="790"/>
          <ac:spMkLst>
            <pc:docMk/>
            <pc:sldMk cId="718926585" sldId="10416"/>
            <ac:spMk id="32" creationId="{E344EE6B-B062-4077-8C00-8A44A9ED2DC4}"/>
          </ac:spMkLst>
        </pc:spChg>
        <pc:spChg chg="mod">
          <ac:chgData name="Jean QUENTIN" userId="6962deb3-b639-4acd-8091-a0516ea2376b" providerId="ADAL" clId="{146BD8F6-FDDD-49D3-A1A6-146C954086FF}" dt="2021-05-24T13:36:17.906" v="3860" actId="790"/>
          <ac:spMkLst>
            <pc:docMk/>
            <pc:sldMk cId="718926585" sldId="10416"/>
            <ac:spMk id="35" creationId="{6E4A10E1-DD55-4BBC-B8E8-2B3625C3D109}"/>
          </ac:spMkLst>
        </pc:spChg>
        <pc:spChg chg="mod">
          <ac:chgData name="Jean QUENTIN" userId="6962deb3-b639-4acd-8091-a0516ea2376b" providerId="ADAL" clId="{146BD8F6-FDDD-49D3-A1A6-146C954086FF}" dt="2021-05-24T13:36:17.906" v="3861" actId="790"/>
          <ac:spMkLst>
            <pc:docMk/>
            <pc:sldMk cId="718926585" sldId="10416"/>
            <ac:spMk id="36" creationId="{E88FEEFE-E9AA-4FA4-BD22-4477BCB96162}"/>
          </ac:spMkLst>
        </pc:spChg>
        <pc:spChg chg="mod">
          <ac:chgData name="Jean QUENTIN" userId="6962deb3-b639-4acd-8091-a0516ea2376b" providerId="ADAL" clId="{146BD8F6-FDDD-49D3-A1A6-146C954086FF}" dt="2021-05-24T13:36:17.906" v="3862" actId="790"/>
          <ac:spMkLst>
            <pc:docMk/>
            <pc:sldMk cId="718926585" sldId="10416"/>
            <ac:spMk id="43" creationId="{82E1424B-3A43-4D65-BCD8-062689C60A78}"/>
          </ac:spMkLst>
        </pc:spChg>
        <pc:spChg chg="mod">
          <ac:chgData name="Jean QUENTIN" userId="6962deb3-b639-4acd-8091-a0516ea2376b" providerId="ADAL" clId="{146BD8F6-FDDD-49D3-A1A6-146C954086FF}" dt="2021-05-24T13:36:17.906" v="3863" actId="790"/>
          <ac:spMkLst>
            <pc:docMk/>
            <pc:sldMk cId="718926585" sldId="10416"/>
            <ac:spMk id="44" creationId="{5B2A13CB-D242-4CEC-BD84-9421FD92C730}"/>
          </ac:spMkLst>
        </pc:spChg>
        <pc:spChg chg="mod">
          <ac:chgData name="Jean QUENTIN" userId="6962deb3-b639-4acd-8091-a0516ea2376b" providerId="ADAL" clId="{146BD8F6-FDDD-49D3-A1A6-146C954086FF}" dt="2021-05-24T13:36:17.906" v="3864" actId="790"/>
          <ac:spMkLst>
            <pc:docMk/>
            <pc:sldMk cId="718926585" sldId="10416"/>
            <ac:spMk id="45" creationId="{C3F0F705-A049-4672-849F-319AB1731825}"/>
          </ac:spMkLst>
        </pc:spChg>
        <pc:spChg chg="mod">
          <ac:chgData name="Jean QUENTIN" userId="6962deb3-b639-4acd-8091-a0516ea2376b" providerId="ADAL" clId="{146BD8F6-FDDD-49D3-A1A6-146C954086FF}" dt="2021-05-24T13:36:17.906" v="3865" actId="790"/>
          <ac:spMkLst>
            <pc:docMk/>
            <pc:sldMk cId="718926585" sldId="10416"/>
            <ac:spMk id="46" creationId="{133D97A8-1546-424C-9184-ED69A50C0630}"/>
          </ac:spMkLst>
        </pc:spChg>
        <pc:spChg chg="mod">
          <ac:chgData name="Jean QUENTIN" userId="6962deb3-b639-4acd-8091-a0516ea2376b" providerId="ADAL" clId="{146BD8F6-FDDD-49D3-A1A6-146C954086FF}" dt="2021-05-24T13:36:17.906" v="3867" actId="790"/>
          <ac:spMkLst>
            <pc:docMk/>
            <pc:sldMk cId="718926585" sldId="10416"/>
            <ac:spMk id="47" creationId="{657D3F57-1FE2-4A5E-831E-159A51799145}"/>
          </ac:spMkLst>
        </pc:spChg>
        <pc:spChg chg="mod">
          <ac:chgData name="Jean QUENTIN" userId="6962deb3-b639-4acd-8091-a0516ea2376b" providerId="ADAL" clId="{146BD8F6-FDDD-49D3-A1A6-146C954086FF}" dt="2021-05-24T13:36:17.922" v="3868" actId="790"/>
          <ac:spMkLst>
            <pc:docMk/>
            <pc:sldMk cId="718926585" sldId="10416"/>
            <ac:spMk id="48" creationId="{48C81992-7AFD-4817-96BD-D38E9FF41587}"/>
          </ac:spMkLst>
        </pc:spChg>
        <pc:spChg chg="mod">
          <ac:chgData name="Jean QUENTIN" userId="6962deb3-b639-4acd-8091-a0516ea2376b" providerId="ADAL" clId="{146BD8F6-FDDD-49D3-A1A6-146C954086FF}" dt="2021-05-24T13:36:17.906" v="3866" actId="790"/>
          <ac:spMkLst>
            <pc:docMk/>
            <pc:sldMk cId="718926585" sldId="10416"/>
            <ac:spMk id="49" creationId="{FBEB6038-28B9-4622-A72B-871078F5D725}"/>
          </ac:spMkLst>
        </pc:spChg>
        <pc:spChg chg="mod">
          <ac:chgData name="Jean QUENTIN" userId="6962deb3-b639-4acd-8091-a0516ea2376b" providerId="ADAL" clId="{146BD8F6-FDDD-49D3-A1A6-146C954086FF}" dt="2021-05-24T13:36:17.922" v="3869" actId="790"/>
          <ac:spMkLst>
            <pc:docMk/>
            <pc:sldMk cId="718926585" sldId="10416"/>
            <ac:spMk id="50" creationId="{53B2A950-24CD-4191-848B-9F00507EDD68}"/>
          </ac:spMkLst>
        </pc:spChg>
        <pc:spChg chg="mod">
          <ac:chgData name="Jean QUENTIN" userId="6962deb3-b639-4acd-8091-a0516ea2376b" providerId="ADAL" clId="{146BD8F6-FDDD-49D3-A1A6-146C954086FF}" dt="2021-05-24T13:36:17.922" v="3870" actId="790"/>
          <ac:spMkLst>
            <pc:docMk/>
            <pc:sldMk cId="718926585" sldId="10416"/>
            <ac:spMk id="51" creationId="{99D7B9F3-D63A-459E-8869-9510BF5EA7B4}"/>
          </ac:spMkLst>
        </pc:spChg>
        <pc:spChg chg="mod">
          <ac:chgData name="Jean QUENTIN" userId="6962deb3-b639-4acd-8091-a0516ea2376b" providerId="ADAL" clId="{146BD8F6-FDDD-49D3-A1A6-146C954086FF}" dt="2021-05-24T13:36:17.922" v="3871" actId="790"/>
          <ac:spMkLst>
            <pc:docMk/>
            <pc:sldMk cId="718926585" sldId="10416"/>
            <ac:spMk id="53" creationId="{7300335C-C243-4E9A-972A-83983E5D26AE}"/>
          </ac:spMkLst>
        </pc:spChg>
        <pc:spChg chg="mod">
          <ac:chgData name="Jean QUENTIN" userId="6962deb3-b639-4acd-8091-a0516ea2376b" providerId="ADAL" clId="{146BD8F6-FDDD-49D3-A1A6-146C954086FF}" dt="2021-05-24T13:36:17.922" v="3872" actId="790"/>
          <ac:spMkLst>
            <pc:docMk/>
            <pc:sldMk cId="718926585" sldId="10416"/>
            <ac:spMk id="54" creationId="{0430F2AF-1132-469B-87C0-1811AC4EE4A6}"/>
          </ac:spMkLst>
        </pc:spChg>
      </pc:sldChg>
      <pc:sldChg chg="modSp mod">
        <pc:chgData name="Jean QUENTIN" userId="6962deb3-b639-4acd-8091-a0516ea2376b" providerId="ADAL" clId="{146BD8F6-FDDD-49D3-A1A6-146C954086FF}" dt="2021-05-24T13:36:17.490" v="3665" actId="790"/>
        <pc:sldMkLst>
          <pc:docMk/>
          <pc:sldMk cId="1802608156" sldId="10417"/>
        </pc:sldMkLst>
        <pc:spChg chg="mod">
          <ac:chgData name="Jean QUENTIN" userId="6962deb3-b639-4acd-8091-a0516ea2376b" providerId="ADAL" clId="{146BD8F6-FDDD-49D3-A1A6-146C954086FF}" dt="2021-05-24T13:36:17.436" v="3655" actId="790"/>
          <ac:spMkLst>
            <pc:docMk/>
            <pc:sldMk cId="1802608156" sldId="10417"/>
            <ac:spMk id="2" creationId="{5D79E977-AA1E-485B-8A01-E93F32111B97}"/>
          </ac:spMkLst>
        </pc:spChg>
        <pc:spChg chg="mod">
          <ac:chgData name="Jean QUENTIN" userId="6962deb3-b639-4acd-8091-a0516ea2376b" providerId="ADAL" clId="{146BD8F6-FDDD-49D3-A1A6-146C954086FF}" dt="2021-05-24T13:36:17.490" v="3665" actId="790"/>
          <ac:spMkLst>
            <pc:docMk/>
            <pc:sldMk cId="1802608156" sldId="10417"/>
            <ac:spMk id="9" creationId="{02B09B86-63EB-478A-A1B9-73EB0B102213}"/>
          </ac:spMkLst>
        </pc:spChg>
        <pc:spChg chg="mod">
          <ac:chgData name="Jean QUENTIN" userId="6962deb3-b639-4acd-8091-a0516ea2376b" providerId="ADAL" clId="{146BD8F6-FDDD-49D3-A1A6-146C954086FF}" dt="2021-05-24T13:36:17.436" v="3656" actId="790"/>
          <ac:spMkLst>
            <pc:docMk/>
            <pc:sldMk cId="1802608156" sldId="10417"/>
            <ac:spMk id="10" creationId="{35E020ED-F5CE-43BF-B644-9BAA4063B2A4}"/>
          </ac:spMkLst>
        </pc:spChg>
        <pc:spChg chg="mod">
          <ac:chgData name="Jean QUENTIN" userId="6962deb3-b639-4acd-8091-a0516ea2376b" providerId="ADAL" clId="{146BD8F6-FDDD-49D3-A1A6-146C954086FF}" dt="2021-05-24T13:36:17.458" v="3657" actId="790"/>
          <ac:spMkLst>
            <pc:docMk/>
            <pc:sldMk cId="1802608156" sldId="10417"/>
            <ac:spMk id="11" creationId="{05B1CB16-16AA-4959-8BC5-12A9A4D976A7}"/>
          </ac:spMkLst>
        </pc:spChg>
        <pc:spChg chg="mod">
          <ac:chgData name="Jean QUENTIN" userId="6962deb3-b639-4acd-8091-a0516ea2376b" providerId="ADAL" clId="{146BD8F6-FDDD-49D3-A1A6-146C954086FF}" dt="2021-05-24T13:36:17.458" v="3658" actId="790"/>
          <ac:spMkLst>
            <pc:docMk/>
            <pc:sldMk cId="1802608156" sldId="10417"/>
            <ac:spMk id="12" creationId="{17ACB834-4B29-46A1-8305-C573136B1B39}"/>
          </ac:spMkLst>
        </pc:spChg>
        <pc:spChg chg="mod">
          <ac:chgData name="Jean QUENTIN" userId="6962deb3-b639-4acd-8091-a0516ea2376b" providerId="ADAL" clId="{146BD8F6-FDDD-49D3-A1A6-146C954086FF}" dt="2021-05-24T13:36:17.458" v="3659" actId="790"/>
          <ac:spMkLst>
            <pc:docMk/>
            <pc:sldMk cId="1802608156" sldId="10417"/>
            <ac:spMk id="14" creationId="{1033C433-7522-4EDA-9187-702F506345A0}"/>
          </ac:spMkLst>
        </pc:spChg>
        <pc:spChg chg="mod">
          <ac:chgData name="Jean QUENTIN" userId="6962deb3-b639-4acd-8091-a0516ea2376b" providerId="ADAL" clId="{146BD8F6-FDDD-49D3-A1A6-146C954086FF}" dt="2021-05-24T13:36:17.458" v="3660" actId="790"/>
          <ac:spMkLst>
            <pc:docMk/>
            <pc:sldMk cId="1802608156" sldId="10417"/>
            <ac:spMk id="15" creationId="{CEFA4725-CB21-4B2C-A186-C70732A4705C}"/>
          </ac:spMkLst>
        </pc:spChg>
        <pc:spChg chg="mod">
          <ac:chgData name="Jean QUENTIN" userId="6962deb3-b639-4acd-8091-a0516ea2376b" providerId="ADAL" clId="{146BD8F6-FDDD-49D3-A1A6-146C954086FF}" dt="2021-05-24T13:36:17.458" v="3661" actId="790"/>
          <ac:spMkLst>
            <pc:docMk/>
            <pc:sldMk cId="1802608156" sldId="10417"/>
            <ac:spMk id="16" creationId="{6546156D-9B65-4AC1-8D80-88505BD08537}"/>
          </ac:spMkLst>
        </pc:spChg>
        <pc:spChg chg="mod">
          <ac:chgData name="Jean QUENTIN" userId="6962deb3-b639-4acd-8091-a0516ea2376b" providerId="ADAL" clId="{146BD8F6-FDDD-49D3-A1A6-146C954086FF}" dt="2021-05-24T13:36:17.421" v="3653" actId="790"/>
          <ac:spMkLst>
            <pc:docMk/>
            <pc:sldMk cId="1802608156" sldId="10417"/>
            <ac:spMk id="17" creationId="{93C43DF0-5B80-4873-976E-9DCC9459DEE9}"/>
          </ac:spMkLst>
        </pc:spChg>
        <pc:spChg chg="mod">
          <ac:chgData name="Jean QUENTIN" userId="6962deb3-b639-4acd-8091-a0516ea2376b" providerId="ADAL" clId="{146BD8F6-FDDD-49D3-A1A6-146C954086FF}" dt="2021-05-24T13:36:17.436" v="3654" actId="790"/>
          <ac:spMkLst>
            <pc:docMk/>
            <pc:sldMk cId="1802608156" sldId="10417"/>
            <ac:spMk id="19" creationId="{34792A96-E177-45FE-8A1C-54080EF644FD}"/>
          </ac:spMkLst>
        </pc:spChg>
        <pc:spChg chg="mod">
          <ac:chgData name="Jean QUENTIN" userId="6962deb3-b639-4acd-8091-a0516ea2376b" providerId="ADAL" clId="{146BD8F6-FDDD-49D3-A1A6-146C954086FF}" dt="2021-05-24T13:36:17.474" v="3662" actId="790"/>
          <ac:spMkLst>
            <pc:docMk/>
            <pc:sldMk cId="1802608156" sldId="10417"/>
            <ac:spMk id="20" creationId="{CF43FFDF-1514-417B-8DD3-055802931621}"/>
          </ac:spMkLst>
        </pc:spChg>
        <pc:spChg chg="mod">
          <ac:chgData name="Jean QUENTIN" userId="6962deb3-b639-4acd-8091-a0516ea2376b" providerId="ADAL" clId="{146BD8F6-FDDD-49D3-A1A6-146C954086FF}" dt="2021-05-24T13:36:17.490" v="3663" actId="790"/>
          <ac:spMkLst>
            <pc:docMk/>
            <pc:sldMk cId="1802608156" sldId="10417"/>
            <ac:spMk id="21" creationId="{3CBA4C50-DBB5-4C5E-A8E6-B2C4564C2D94}"/>
          </ac:spMkLst>
        </pc:spChg>
        <pc:spChg chg="mod">
          <ac:chgData name="Jean QUENTIN" userId="6962deb3-b639-4acd-8091-a0516ea2376b" providerId="ADAL" clId="{146BD8F6-FDDD-49D3-A1A6-146C954086FF}" dt="2021-05-24T13:36:17.490" v="3664" actId="790"/>
          <ac:spMkLst>
            <pc:docMk/>
            <pc:sldMk cId="1802608156" sldId="10417"/>
            <ac:spMk id="22" creationId="{43822D74-25F7-4476-8B1E-2346DA56E4D6}"/>
          </ac:spMkLst>
        </pc:spChg>
      </pc:sldChg>
      <pc:sldChg chg="modSp mod">
        <pc:chgData name="Jean QUENTIN" userId="6962deb3-b639-4acd-8091-a0516ea2376b" providerId="ADAL" clId="{146BD8F6-FDDD-49D3-A1A6-146C954086FF}" dt="2021-05-24T13:36:18.207" v="4014" actId="790"/>
        <pc:sldMkLst>
          <pc:docMk/>
          <pc:sldMk cId="1880839470" sldId="10420"/>
        </pc:sldMkLst>
        <pc:spChg chg="mod">
          <ac:chgData name="Jean QUENTIN" userId="6962deb3-b639-4acd-8091-a0516ea2376b" providerId="ADAL" clId="{146BD8F6-FDDD-49D3-A1A6-146C954086FF}" dt="2021-05-24T13:36:18.138" v="3979" actId="790"/>
          <ac:spMkLst>
            <pc:docMk/>
            <pc:sldMk cId="1880839470" sldId="10420"/>
            <ac:spMk id="2" creationId="{873006D4-BF82-4F00-B534-5D28B2DDCEF5}"/>
          </ac:spMkLst>
        </pc:spChg>
        <pc:spChg chg="mod">
          <ac:chgData name="Jean QUENTIN" userId="6962deb3-b639-4acd-8091-a0516ea2376b" providerId="ADAL" clId="{146BD8F6-FDDD-49D3-A1A6-146C954086FF}" dt="2021-05-24T13:36:18.138" v="3980" actId="790"/>
          <ac:spMkLst>
            <pc:docMk/>
            <pc:sldMk cId="1880839470" sldId="10420"/>
            <ac:spMk id="3" creationId="{79D8092C-AC66-484C-9645-EEB08D4A59C6}"/>
          </ac:spMkLst>
        </pc:spChg>
        <pc:spChg chg="mod">
          <ac:chgData name="Jean QUENTIN" userId="6962deb3-b639-4acd-8091-a0516ea2376b" providerId="ADAL" clId="{146BD8F6-FDDD-49D3-A1A6-146C954086FF}" dt="2021-05-24T13:36:18.154" v="3981" actId="790"/>
          <ac:spMkLst>
            <pc:docMk/>
            <pc:sldMk cId="1880839470" sldId="10420"/>
            <ac:spMk id="4" creationId="{02BD46C9-B279-482D-89B3-4956B609E15C}"/>
          </ac:spMkLst>
        </pc:spChg>
        <pc:spChg chg="mod">
          <ac:chgData name="Jean QUENTIN" userId="6962deb3-b639-4acd-8091-a0516ea2376b" providerId="ADAL" clId="{146BD8F6-FDDD-49D3-A1A6-146C954086FF}" dt="2021-05-24T13:36:18.154" v="3982" actId="790"/>
          <ac:spMkLst>
            <pc:docMk/>
            <pc:sldMk cId="1880839470" sldId="10420"/>
            <ac:spMk id="5" creationId="{661F72E1-48F0-44F4-A92A-E722B8B95227}"/>
          </ac:spMkLst>
        </pc:spChg>
        <pc:spChg chg="mod">
          <ac:chgData name="Jean QUENTIN" userId="6962deb3-b639-4acd-8091-a0516ea2376b" providerId="ADAL" clId="{146BD8F6-FDDD-49D3-A1A6-146C954086FF}" dt="2021-05-24T13:36:18.160" v="3984" actId="790"/>
          <ac:spMkLst>
            <pc:docMk/>
            <pc:sldMk cId="1880839470" sldId="10420"/>
            <ac:spMk id="6" creationId="{70B52D0E-DC9C-4722-916E-D6FDF79A7420}"/>
          </ac:spMkLst>
        </pc:spChg>
        <pc:spChg chg="mod">
          <ac:chgData name="Jean QUENTIN" userId="6962deb3-b639-4acd-8091-a0516ea2376b" providerId="ADAL" clId="{146BD8F6-FDDD-49D3-A1A6-146C954086FF}" dt="2021-05-24T13:36:18.160" v="3989" actId="790"/>
          <ac:spMkLst>
            <pc:docMk/>
            <pc:sldMk cId="1880839470" sldId="10420"/>
            <ac:spMk id="15" creationId="{371FD0C6-BD25-4B85-8EAD-0502F14E088E}"/>
          </ac:spMkLst>
        </pc:spChg>
        <pc:spChg chg="mod">
          <ac:chgData name="Jean QUENTIN" userId="6962deb3-b639-4acd-8091-a0516ea2376b" providerId="ADAL" clId="{146BD8F6-FDDD-49D3-A1A6-146C954086FF}" dt="2021-05-24T13:36:18.176" v="3995" actId="790"/>
          <ac:spMkLst>
            <pc:docMk/>
            <pc:sldMk cId="1880839470" sldId="10420"/>
            <ac:spMk id="17" creationId="{A9119019-F679-42BB-B49F-4E0DCA81AB7E}"/>
          </ac:spMkLst>
        </pc:spChg>
        <pc:spChg chg="mod">
          <ac:chgData name="Jean QUENTIN" userId="6962deb3-b639-4acd-8091-a0516ea2376b" providerId="ADAL" clId="{146BD8F6-FDDD-49D3-A1A6-146C954086FF}" dt="2021-05-24T13:36:18.176" v="3996" actId="790"/>
          <ac:spMkLst>
            <pc:docMk/>
            <pc:sldMk cId="1880839470" sldId="10420"/>
            <ac:spMk id="26" creationId="{D02F1702-75A2-41D0-81F2-2BFAC3621779}"/>
          </ac:spMkLst>
        </pc:spChg>
        <pc:spChg chg="mod">
          <ac:chgData name="Jean QUENTIN" userId="6962deb3-b639-4acd-8091-a0516ea2376b" providerId="ADAL" clId="{146BD8F6-FDDD-49D3-A1A6-146C954086FF}" dt="2021-05-24T13:36:18.176" v="3994" actId="790"/>
          <ac:spMkLst>
            <pc:docMk/>
            <pc:sldMk cId="1880839470" sldId="10420"/>
            <ac:spMk id="29" creationId="{89FB3B56-79F8-4EBD-967A-A373F7652C6A}"/>
          </ac:spMkLst>
        </pc:spChg>
        <pc:spChg chg="mod">
          <ac:chgData name="Jean QUENTIN" userId="6962deb3-b639-4acd-8091-a0516ea2376b" providerId="ADAL" clId="{146BD8F6-FDDD-49D3-A1A6-146C954086FF}" dt="2021-05-24T13:36:18.176" v="3997" actId="790"/>
          <ac:spMkLst>
            <pc:docMk/>
            <pc:sldMk cId="1880839470" sldId="10420"/>
            <ac:spMk id="31" creationId="{A8ABB57D-9FC1-44C5-8530-23D192F77D78}"/>
          </ac:spMkLst>
        </pc:spChg>
        <pc:spChg chg="mod">
          <ac:chgData name="Jean QUENTIN" userId="6962deb3-b639-4acd-8091-a0516ea2376b" providerId="ADAL" clId="{146BD8F6-FDDD-49D3-A1A6-146C954086FF}" dt="2021-05-24T13:36:18.160" v="3993" actId="790"/>
          <ac:spMkLst>
            <pc:docMk/>
            <pc:sldMk cId="1880839470" sldId="10420"/>
            <ac:spMk id="32" creationId="{9D4D3A71-F2C6-47DF-BD49-C3D7BFBF9438}"/>
          </ac:spMkLst>
        </pc:spChg>
        <pc:spChg chg="mod">
          <ac:chgData name="Jean QUENTIN" userId="6962deb3-b639-4acd-8091-a0516ea2376b" providerId="ADAL" clId="{146BD8F6-FDDD-49D3-A1A6-146C954086FF}" dt="2021-05-24T13:36:18.160" v="3992" actId="790"/>
          <ac:spMkLst>
            <pc:docMk/>
            <pc:sldMk cId="1880839470" sldId="10420"/>
            <ac:spMk id="35" creationId="{6458FF84-438E-4544-91C9-92CD6839FCA3}"/>
          </ac:spMkLst>
        </pc:spChg>
        <pc:spChg chg="mod">
          <ac:chgData name="Jean QUENTIN" userId="6962deb3-b639-4acd-8091-a0516ea2376b" providerId="ADAL" clId="{146BD8F6-FDDD-49D3-A1A6-146C954086FF}" dt="2021-05-24T13:36:18.160" v="3983" actId="790"/>
          <ac:spMkLst>
            <pc:docMk/>
            <pc:sldMk cId="1880839470" sldId="10420"/>
            <ac:spMk id="36" creationId="{20444DA5-5894-4095-8895-C57452F8E45B}"/>
          </ac:spMkLst>
        </pc:spChg>
        <pc:spChg chg="mod">
          <ac:chgData name="Jean QUENTIN" userId="6962deb3-b639-4acd-8091-a0516ea2376b" providerId="ADAL" clId="{146BD8F6-FDDD-49D3-A1A6-146C954086FF}" dt="2021-05-24T13:36:18.176" v="3998" actId="790"/>
          <ac:spMkLst>
            <pc:docMk/>
            <pc:sldMk cId="1880839470" sldId="10420"/>
            <ac:spMk id="37" creationId="{6503BBF8-FED4-48DE-A886-460FB05439F0}"/>
          </ac:spMkLst>
        </pc:spChg>
        <pc:spChg chg="mod">
          <ac:chgData name="Jean QUENTIN" userId="6962deb3-b639-4acd-8091-a0516ea2376b" providerId="ADAL" clId="{146BD8F6-FDDD-49D3-A1A6-146C954086FF}" dt="2021-05-24T13:36:18.176" v="3999" actId="790"/>
          <ac:spMkLst>
            <pc:docMk/>
            <pc:sldMk cId="1880839470" sldId="10420"/>
            <ac:spMk id="38" creationId="{3F11B4ED-9D89-44C6-97B5-84A9B88A28A0}"/>
          </ac:spMkLst>
        </pc:spChg>
        <pc:spChg chg="mod">
          <ac:chgData name="Jean QUENTIN" userId="6962deb3-b639-4acd-8091-a0516ea2376b" providerId="ADAL" clId="{146BD8F6-FDDD-49D3-A1A6-146C954086FF}" dt="2021-05-24T13:36:18.176" v="4000" actId="790"/>
          <ac:spMkLst>
            <pc:docMk/>
            <pc:sldMk cId="1880839470" sldId="10420"/>
            <ac:spMk id="39" creationId="{8D6F807D-093C-4031-8B72-64CF391C111D}"/>
          </ac:spMkLst>
        </pc:spChg>
        <pc:spChg chg="mod">
          <ac:chgData name="Jean QUENTIN" userId="6962deb3-b639-4acd-8091-a0516ea2376b" providerId="ADAL" clId="{146BD8F6-FDDD-49D3-A1A6-146C954086FF}" dt="2021-05-24T13:36:18.176" v="4001" actId="790"/>
          <ac:spMkLst>
            <pc:docMk/>
            <pc:sldMk cId="1880839470" sldId="10420"/>
            <ac:spMk id="40" creationId="{E671D48A-B1A4-4B26-B60F-65E19EB4D45B}"/>
          </ac:spMkLst>
        </pc:spChg>
        <pc:spChg chg="mod">
          <ac:chgData name="Jean QUENTIN" userId="6962deb3-b639-4acd-8091-a0516ea2376b" providerId="ADAL" clId="{146BD8F6-FDDD-49D3-A1A6-146C954086FF}" dt="2021-05-24T13:36:18.160" v="3985" actId="790"/>
          <ac:spMkLst>
            <pc:docMk/>
            <pc:sldMk cId="1880839470" sldId="10420"/>
            <ac:spMk id="42" creationId="{1247795D-0072-40BA-AF93-9C1D019692A8}"/>
          </ac:spMkLst>
        </pc:spChg>
        <pc:spChg chg="mod">
          <ac:chgData name="Jean QUENTIN" userId="6962deb3-b639-4acd-8091-a0516ea2376b" providerId="ADAL" clId="{146BD8F6-FDDD-49D3-A1A6-146C954086FF}" dt="2021-05-24T13:36:18.160" v="3986" actId="790"/>
          <ac:spMkLst>
            <pc:docMk/>
            <pc:sldMk cId="1880839470" sldId="10420"/>
            <ac:spMk id="43" creationId="{36DDE4C0-A9E6-441D-96A4-45A7DBB77394}"/>
          </ac:spMkLst>
        </pc:spChg>
        <pc:spChg chg="mod">
          <ac:chgData name="Jean QUENTIN" userId="6962deb3-b639-4acd-8091-a0516ea2376b" providerId="ADAL" clId="{146BD8F6-FDDD-49D3-A1A6-146C954086FF}" dt="2021-05-24T13:36:18.160" v="3987" actId="790"/>
          <ac:spMkLst>
            <pc:docMk/>
            <pc:sldMk cId="1880839470" sldId="10420"/>
            <ac:spMk id="44" creationId="{2F8E33B2-FF7C-48A6-A801-E93B48683090}"/>
          </ac:spMkLst>
        </pc:spChg>
        <pc:spChg chg="mod">
          <ac:chgData name="Jean QUENTIN" userId="6962deb3-b639-4acd-8091-a0516ea2376b" providerId="ADAL" clId="{146BD8F6-FDDD-49D3-A1A6-146C954086FF}" dt="2021-05-24T13:36:18.160" v="3988" actId="790"/>
          <ac:spMkLst>
            <pc:docMk/>
            <pc:sldMk cId="1880839470" sldId="10420"/>
            <ac:spMk id="51" creationId="{30907CB5-2327-4812-BF4E-80ADB62C119C}"/>
          </ac:spMkLst>
        </pc:spChg>
        <pc:spChg chg="mod">
          <ac:chgData name="Jean QUENTIN" userId="6962deb3-b639-4acd-8091-a0516ea2376b" providerId="ADAL" clId="{146BD8F6-FDDD-49D3-A1A6-146C954086FF}" dt="2021-05-24T13:36:18.192" v="4003" actId="790"/>
          <ac:spMkLst>
            <pc:docMk/>
            <pc:sldMk cId="1880839470" sldId="10420"/>
            <ac:spMk id="61" creationId="{6AD76FA3-6E7D-4573-94F3-B77C5EE0163C}"/>
          </ac:spMkLst>
        </pc:spChg>
        <pc:spChg chg="mod">
          <ac:chgData name="Jean QUENTIN" userId="6962deb3-b639-4acd-8091-a0516ea2376b" providerId="ADAL" clId="{146BD8F6-FDDD-49D3-A1A6-146C954086FF}" dt="2021-05-24T13:36:18.192" v="4009" actId="790"/>
          <ac:spMkLst>
            <pc:docMk/>
            <pc:sldMk cId="1880839470" sldId="10420"/>
            <ac:spMk id="62" creationId="{A89E7587-7226-4BC7-930E-8B93D0CCB38A}"/>
          </ac:spMkLst>
        </pc:spChg>
        <pc:spChg chg="mod">
          <ac:chgData name="Jean QUENTIN" userId="6962deb3-b639-4acd-8091-a0516ea2376b" providerId="ADAL" clId="{146BD8F6-FDDD-49D3-A1A6-146C954086FF}" dt="2021-05-24T13:36:18.192" v="4010" actId="790"/>
          <ac:spMkLst>
            <pc:docMk/>
            <pc:sldMk cId="1880839470" sldId="10420"/>
            <ac:spMk id="63" creationId="{5B17D98B-6F04-4371-AEFA-07E41640F217}"/>
          </ac:spMkLst>
        </pc:spChg>
        <pc:spChg chg="mod">
          <ac:chgData name="Jean QUENTIN" userId="6962deb3-b639-4acd-8091-a0516ea2376b" providerId="ADAL" clId="{146BD8F6-FDDD-49D3-A1A6-146C954086FF}" dt="2021-05-24T13:36:18.207" v="4011" actId="790"/>
          <ac:spMkLst>
            <pc:docMk/>
            <pc:sldMk cId="1880839470" sldId="10420"/>
            <ac:spMk id="64" creationId="{A29A1AD4-C7A5-4949-93EB-D47986116E10}"/>
          </ac:spMkLst>
        </pc:spChg>
        <pc:spChg chg="mod">
          <ac:chgData name="Jean QUENTIN" userId="6962deb3-b639-4acd-8091-a0516ea2376b" providerId="ADAL" clId="{146BD8F6-FDDD-49D3-A1A6-146C954086FF}" dt="2021-05-24T13:36:18.207" v="4012" actId="790"/>
          <ac:spMkLst>
            <pc:docMk/>
            <pc:sldMk cId="1880839470" sldId="10420"/>
            <ac:spMk id="65" creationId="{8CE43CC9-42A1-44F9-B49B-D523A60E224B}"/>
          </ac:spMkLst>
        </pc:spChg>
        <pc:spChg chg="mod">
          <ac:chgData name="Jean QUENTIN" userId="6962deb3-b639-4acd-8091-a0516ea2376b" providerId="ADAL" clId="{146BD8F6-FDDD-49D3-A1A6-146C954086FF}" dt="2021-05-24T13:36:18.207" v="4013" actId="790"/>
          <ac:spMkLst>
            <pc:docMk/>
            <pc:sldMk cId="1880839470" sldId="10420"/>
            <ac:spMk id="68" creationId="{2A9EDC9E-A4BB-4383-A3B0-88EFE282711B}"/>
          </ac:spMkLst>
        </pc:spChg>
        <pc:spChg chg="mod">
          <ac:chgData name="Jean QUENTIN" userId="6962deb3-b639-4acd-8091-a0516ea2376b" providerId="ADAL" clId="{146BD8F6-FDDD-49D3-A1A6-146C954086FF}" dt="2021-05-24T13:36:18.207" v="4014" actId="790"/>
          <ac:spMkLst>
            <pc:docMk/>
            <pc:sldMk cId="1880839470" sldId="10420"/>
            <ac:spMk id="69" creationId="{01D1152F-DC04-47F3-B3E6-FE427477534B}"/>
          </ac:spMkLst>
        </pc:spChg>
        <pc:spChg chg="mod">
          <ac:chgData name="Jean QUENTIN" userId="6962deb3-b639-4acd-8091-a0516ea2376b" providerId="ADAL" clId="{146BD8F6-FDDD-49D3-A1A6-146C954086FF}" dt="2021-05-24T13:36:18.160" v="3990" actId="790"/>
          <ac:spMkLst>
            <pc:docMk/>
            <pc:sldMk cId="1880839470" sldId="10420"/>
            <ac:spMk id="73" creationId="{C04BD52F-AA2B-4CAE-B639-93262B0CFA81}"/>
          </ac:spMkLst>
        </pc:spChg>
        <pc:spChg chg="mod">
          <ac:chgData name="Jean QUENTIN" userId="6962deb3-b639-4acd-8091-a0516ea2376b" providerId="ADAL" clId="{146BD8F6-FDDD-49D3-A1A6-146C954086FF}" dt="2021-05-24T13:36:18.160" v="3991" actId="790"/>
          <ac:spMkLst>
            <pc:docMk/>
            <pc:sldMk cId="1880839470" sldId="10420"/>
            <ac:spMk id="77" creationId="{34FF3F00-6BF4-4528-85CB-44C6EF344C99}"/>
          </ac:spMkLst>
        </pc:spChg>
        <pc:spChg chg="mod">
          <ac:chgData name="Jean QUENTIN" userId="6962deb3-b639-4acd-8091-a0516ea2376b" providerId="ADAL" clId="{146BD8F6-FDDD-49D3-A1A6-146C954086FF}" dt="2021-05-24T13:36:18.176" v="4002" actId="790"/>
          <ac:spMkLst>
            <pc:docMk/>
            <pc:sldMk cId="1880839470" sldId="10420"/>
            <ac:spMk id="87" creationId="{969B0457-9AFB-478C-83F9-279061671C83}"/>
          </ac:spMkLst>
        </pc:spChg>
        <pc:spChg chg="mod">
          <ac:chgData name="Jean QUENTIN" userId="6962deb3-b639-4acd-8091-a0516ea2376b" providerId="ADAL" clId="{146BD8F6-FDDD-49D3-A1A6-146C954086FF}" dt="2021-05-24T13:36:18.192" v="4004" actId="790"/>
          <ac:spMkLst>
            <pc:docMk/>
            <pc:sldMk cId="1880839470" sldId="10420"/>
            <ac:spMk id="102" creationId="{E0A3228D-D7F4-4A30-B4B2-A7E4D2315ACB}"/>
          </ac:spMkLst>
        </pc:spChg>
        <pc:spChg chg="mod">
          <ac:chgData name="Jean QUENTIN" userId="6962deb3-b639-4acd-8091-a0516ea2376b" providerId="ADAL" clId="{146BD8F6-FDDD-49D3-A1A6-146C954086FF}" dt="2021-05-24T13:36:18.192" v="4005" actId="790"/>
          <ac:spMkLst>
            <pc:docMk/>
            <pc:sldMk cId="1880839470" sldId="10420"/>
            <ac:spMk id="103" creationId="{60955DD5-4169-4F04-B2BF-2D2A64980A04}"/>
          </ac:spMkLst>
        </pc:spChg>
        <pc:spChg chg="mod">
          <ac:chgData name="Jean QUENTIN" userId="6962deb3-b639-4acd-8091-a0516ea2376b" providerId="ADAL" clId="{146BD8F6-FDDD-49D3-A1A6-146C954086FF}" dt="2021-05-24T13:36:18.192" v="4006" actId="790"/>
          <ac:spMkLst>
            <pc:docMk/>
            <pc:sldMk cId="1880839470" sldId="10420"/>
            <ac:spMk id="104" creationId="{4A968F88-0BEE-4D26-A5E9-83CB21CDAC4E}"/>
          </ac:spMkLst>
        </pc:spChg>
        <pc:spChg chg="mod">
          <ac:chgData name="Jean QUENTIN" userId="6962deb3-b639-4acd-8091-a0516ea2376b" providerId="ADAL" clId="{146BD8F6-FDDD-49D3-A1A6-146C954086FF}" dt="2021-05-24T13:36:18.192" v="4007" actId="790"/>
          <ac:spMkLst>
            <pc:docMk/>
            <pc:sldMk cId="1880839470" sldId="10420"/>
            <ac:spMk id="105" creationId="{8CE0D118-0AFC-408B-A2A2-0061AEB48222}"/>
          </ac:spMkLst>
        </pc:spChg>
        <pc:spChg chg="mod">
          <ac:chgData name="Jean QUENTIN" userId="6962deb3-b639-4acd-8091-a0516ea2376b" providerId="ADAL" clId="{146BD8F6-FDDD-49D3-A1A6-146C954086FF}" dt="2021-05-24T13:36:18.192" v="4008" actId="790"/>
          <ac:spMkLst>
            <pc:docMk/>
            <pc:sldMk cId="1880839470" sldId="10420"/>
            <ac:spMk id="120" creationId="{C57198B3-D8BE-4D70-B9B4-2277FF73857B}"/>
          </ac:spMkLst>
        </pc:spChg>
      </pc:sldChg>
      <pc:sldChg chg="modSp mod">
        <pc:chgData name="Jean QUENTIN" userId="6962deb3-b639-4acd-8091-a0516ea2376b" providerId="ADAL" clId="{146BD8F6-FDDD-49D3-A1A6-146C954086FF}" dt="2021-05-24T13:36:18.524" v="4163" actId="790"/>
        <pc:sldMkLst>
          <pc:docMk/>
          <pc:sldMk cId="3436081094" sldId="10430"/>
        </pc:sldMkLst>
        <pc:spChg chg="mod">
          <ac:chgData name="Jean QUENTIN" userId="6962deb3-b639-4acd-8091-a0516ea2376b" providerId="ADAL" clId="{146BD8F6-FDDD-49D3-A1A6-146C954086FF}" dt="2021-05-24T13:36:18.461" v="4143" actId="790"/>
          <ac:spMkLst>
            <pc:docMk/>
            <pc:sldMk cId="3436081094" sldId="10430"/>
            <ac:spMk id="2" creationId="{076A8F7F-F895-46CF-AE68-CFD9FFD3C71A}"/>
          </ac:spMkLst>
        </pc:spChg>
        <pc:spChg chg="mod">
          <ac:chgData name="Jean QUENTIN" userId="6962deb3-b639-4acd-8091-a0516ea2376b" providerId="ADAL" clId="{146BD8F6-FDDD-49D3-A1A6-146C954086FF}" dt="2021-05-24T13:36:18.492" v="4155" actId="790"/>
          <ac:spMkLst>
            <pc:docMk/>
            <pc:sldMk cId="3436081094" sldId="10430"/>
            <ac:spMk id="3" creationId="{99D55450-9CBF-4572-8BF1-B9F5C66D1D7B}"/>
          </ac:spMkLst>
        </pc:spChg>
        <pc:spChg chg="mod">
          <ac:chgData name="Jean QUENTIN" userId="6962deb3-b639-4acd-8091-a0516ea2376b" providerId="ADAL" clId="{146BD8F6-FDDD-49D3-A1A6-146C954086FF}" dt="2021-05-24T13:36:18.461" v="4144" actId="790"/>
          <ac:spMkLst>
            <pc:docMk/>
            <pc:sldMk cId="3436081094" sldId="10430"/>
            <ac:spMk id="5" creationId="{14879C95-E469-44D8-A9AD-02681D654566}"/>
          </ac:spMkLst>
        </pc:spChg>
        <pc:spChg chg="mod">
          <ac:chgData name="Jean QUENTIN" userId="6962deb3-b639-4acd-8091-a0516ea2376b" providerId="ADAL" clId="{146BD8F6-FDDD-49D3-A1A6-146C954086FF}" dt="2021-05-24T13:36:18.461" v="4145" actId="790"/>
          <ac:spMkLst>
            <pc:docMk/>
            <pc:sldMk cId="3436081094" sldId="10430"/>
            <ac:spMk id="6" creationId="{668934EF-3B2B-41C8-A852-24F884CDB87E}"/>
          </ac:spMkLst>
        </pc:spChg>
        <pc:spChg chg="mod">
          <ac:chgData name="Jean QUENTIN" userId="6962deb3-b639-4acd-8091-a0516ea2376b" providerId="ADAL" clId="{146BD8F6-FDDD-49D3-A1A6-146C954086FF}" dt="2021-05-24T13:36:18.461" v="4146" actId="790"/>
          <ac:spMkLst>
            <pc:docMk/>
            <pc:sldMk cId="3436081094" sldId="10430"/>
            <ac:spMk id="7" creationId="{6A3CD12F-6027-43F5-950A-553D45044CF9}"/>
          </ac:spMkLst>
        </pc:spChg>
        <pc:spChg chg="mod">
          <ac:chgData name="Jean QUENTIN" userId="6962deb3-b639-4acd-8091-a0516ea2376b" providerId="ADAL" clId="{146BD8F6-FDDD-49D3-A1A6-146C954086FF}" dt="2021-05-24T13:36:18.461" v="4147" actId="790"/>
          <ac:spMkLst>
            <pc:docMk/>
            <pc:sldMk cId="3436081094" sldId="10430"/>
            <ac:spMk id="12" creationId="{6E04BA92-898B-4C5B-BC90-D7370A80E238}"/>
          </ac:spMkLst>
        </pc:spChg>
        <pc:spChg chg="mod">
          <ac:chgData name="Jean QUENTIN" userId="6962deb3-b639-4acd-8091-a0516ea2376b" providerId="ADAL" clId="{146BD8F6-FDDD-49D3-A1A6-146C954086FF}" dt="2021-05-24T13:36:18.461" v="4148" actId="790"/>
          <ac:spMkLst>
            <pc:docMk/>
            <pc:sldMk cId="3436081094" sldId="10430"/>
            <ac:spMk id="13" creationId="{C8EA018C-656F-4BDB-B2B9-2FFD5332FC18}"/>
          </ac:spMkLst>
        </pc:spChg>
        <pc:spChg chg="mod">
          <ac:chgData name="Jean QUENTIN" userId="6962deb3-b639-4acd-8091-a0516ea2376b" providerId="ADAL" clId="{146BD8F6-FDDD-49D3-A1A6-146C954086FF}" dt="2021-05-24T13:36:18.461" v="4149" actId="790"/>
          <ac:spMkLst>
            <pc:docMk/>
            <pc:sldMk cId="3436081094" sldId="10430"/>
            <ac:spMk id="22" creationId="{EBF0E669-8D33-4070-9105-67259B66237A}"/>
          </ac:spMkLst>
        </pc:spChg>
        <pc:spChg chg="mod">
          <ac:chgData name="Jean QUENTIN" userId="6962deb3-b639-4acd-8091-a0516ea2376b" providerId="ADAL" clId="{146BD8F6-FDDD-49D3-A1A6-146C954086FF}" dt="2021-05-24T13:36:18.461" v="4150" actId="790"/>
          <ac:spMkLst>
            <pc:docMk/>
            <pc:sldMk cId="3436081094" sldId="10430"/>
            <ac:spMk id="23" creationId="{9D6B7B07-4A05-4C23-B8C2-BF6B61723B12}"/>
          </ac:spMkLst>
        </pc:spChg>
        <pc:spChg chg="mod">
          <ac:chgData name="Jean QUENTIN" userId="6962deb3-b639-4acd-8091-a0516ea2376b" providerId="ADAL" clId="{146BD8F6-FDDD-49D3-A1A6-146C954086FF}" dt="2021-05-24T13:36:18.461" v="4151" actId="790"/>
          <ac:spMkLst>
            <pc:docMk/>
            <pc:sldMk cId="3436081094" sldId="10430"/>
            <ac:spMk id="24" creationId="{92BE8562-398F-47AA-9DFF-98ED6254380E}"/>
          </ac:spMkLst>
        </pc:spChg>
        <pc:spChg chg="mod">
          <ac:chgData name="Jean QUENTIN" userId="6962deb3-b639-4acd-8091-a0516ea2376b" providerId="ADAL" clId="{146BD8F6-FDDD-49D3-A1A6-146C954086FF}" dt="2021-05-24T13:36:18.477" v="4152" actId="790"/>
          <ac:spMkLst>
            <pc:docMk/>
            <pc:sldMk cId="3436081094" sldId="10430"/>
            <ac:spMk id="28" creationId="{B3C1858A-F04B-4556-8114-AD5557508D65}"/>
          </ac:spMkLst>
        </pc:spChg>
        <pc:spChg chg="mod">
          <ac:chgData name="Jean QUENTIN" userId="6962deb3-b639-4acd-8091-a0516ea2376b" providerId="ADAL" clId="{146BD8F6-FDDD-49D3-A1A6-146C954086FF}" dt="2021-05-24T13:36:18.439" v="4130" actId="790"/>
          <ac:spMkLst>
            <pc:docMk/>
            <pc:sldMk cId="3436081094" sldId="10430"/>
            <ac:spMk id="32" creationId="{D2B59A52-D9C2-4E24-B600-1E848B32C8F5}"/>
          </ac:spMkLst>
        </pc:spChg>
        <pc:spChg chg="mod">
          <ac:chgData name="Jean QUENTIN" userId="6962deb3-b639-4acd-8091-a0516ea2376b" providerId="ADAL" clId="{146BD8F6-FDDD-49D3-A1A6-146C954086FF}" dt="2021-05-24T13:36:18.439" v="4131" actId="790"/>
          <ac:spMkLst>
            <pc:docMk/>
            <pc:sldMk cId="3436081094" sldId="10430"/>
            <ac:spMk id="33" creationId="{1C409526-FEBB-4615-AD48-EE2919594103}"/>
          </ac:spMkLst>
        </pc:spChg>
        <pc:spChg chg="mod">
          <ac:chgData name="Jean QUENTIN" userId="6962deb3-b639-4acd-8091-a0516ea2376b" providerId="ADAL" clId="{146BD8F6-FDDD-49D3-A1A6-146C954086FF}" dt="2021-05-24T13:36:18.439" v="4132" actId="790"/>
          <ac:spMkLst>
            <pc:docMk/>
            <pc:sldMk cId="3436081094" sldId="10430"/>
            <ac:spMk id="34" creationId="{CE2902A1-02DE-4841-A5FF-EC6817C779C2}"/>
          </ac:spMkLst>
        </pc:spChg>
        <pc:spChg chg="mod">
          <ac:chgData name="Jean QUENTIN" userId="6962deb3-b639-4acd-8091-a0516ea2376b" providerId="ADAL" clId="{146BD8F6-FDDD-49D3-A1A6-146C954086FF}" dt="2021-05-24T13:36:18.439" v="4133" actId="790"/>
          <ac:spMkLst>
            <pc:docMk/>
            <pc:sldMk cId="3436081094" sldId="10430"/>
            <ac:spMk id="35" creationId="{C69C2033-6801-4C94-9428-2C2E3E7C61BC}"/>
          </ac:spMkLst>
        </pc:spChg>
        <pc:spChg chg="mod">
          <ac:chgData name="Jean QUENTIN" userId="6962deb3-b639-4acd-8091-a0516ea2376b" providerId="ADAL" clId="{146BD8F6-FDDD-49D3-A1A6-146C954086FF}" dt="2021-05-24T13:36:18.439" v="4134" actId="790"/>
          <ac:spMkLst>
            <pc:docMk/>
            <pc:sldMk cId="3436081094" sldId="10430"/>
            <ac:spMk id="36" creationId="{F13CE92D-4D69-4443-A30B-E51A006B440F}"/>
          </ac:spMkLst>
        </pc:spChg>
        <pc:spChg chg="mod">
          <ac:chgData name="Jean QUENTIN" userId="6962deb3-b639-4acd-8091-a0516ea2376b" providerId="ADAL" clId="{146BD8F6-FDDD-49D3-A1A6-146C954086FF}" dt="2021-05-24T13:36:18.439" v="4135" actId="790"/>
          <ac:spMkLst>
            <pc:docMk/>
            <pc:sldMk cId="3436081094" sldId="10430"/>
            <ac:spMk id="37" creationId="{12A3E4D8-FE24-4296-A901-6835576F358F}"/>
          </ac:spMkLst>
        </pc:spChg>
        <pc:spChg chg="mod">
          <ac:chgData name="Jean QUENTIN" userId="6962deb3-b639-4acd-8091-a0516ea2376b" providerId="ADAL" clId="{146BD8F6-FDDD-49D3-A1A6-146C954086FF}" dt="2021-05-24T13:36:18.439" v="4136" actId="790"/>
          <ac:spMkLst>
            <pc:docMk/>
            <pc:sldMk cId="3436081094" sldId="10430"/>
            <ac:spMk id="38" creationId="{FA551D75-70A3-4189-B8FD-D16A5A806F6C}"/>
          </ac:spMkLst>
        </pc:spChg>
        <pc:spChg chg="mod">
          <ac:chgData name="Jean QUENTIN" userId="6962deb3-b639-4acd-8091-a0516ea2376b" providerId="ADAL" clId="{146BD8F6-FDDD-49D3-A1A6-146C954086FF}" dt="2021-05-24T13:36:18.439" v="4137" actId="790"/>
          <ac:spMkLst>
            <pc:docMk/>
            <pc:sldMk cId="3436081094" sldId="10430"/>
            <ac:spMk id="39" creationId="{4E0AD551-D0E4-4018-8925-446955E03DBD}"/>
          </ac:spMkLst>
        </pc:spChg>
        <pc:spChg chg="mod">
          <ac:chgData name="Jean QUENTIN" userId="6962deb3-b639-4acd-8091-a0516ea2376b" providerId="ADAL" clId="{146BD8F6-FDDD-49D3-A1A6-146C954086FF}" dt="2021-05-24T13:36:18.439" v="4138" actId="790"/>
          <ac:spMkLst>
            <pc:docMk/>
            <pc:sldMk cId="3436081094" sldId="10430"/>
            <ac:spMk id="40" creationId="{D4585E7A-1C58-48F0-8CCC-695615F47DDC}"/>
          </ac:spMkLst>
        </pc:spChg>
        <pc:spChg chg="mod">
          <ac:chgData name="Jean QUENTIN" userId="6962deb3-b639-4acd-8091-a0516ea2376b" providerId="ADAL" clId="{146BD8F6-FDDD-49D3-A1A6-146C954086FF}" dt="2021-05-24T13:36:18.439" v="4139" actId="790"/>
          <ac:spMkLst>
            <pc:docMk/>
            <pc:sldMk cId="3436081094" sldId="10430"/>
            <ac:spMk id="41" creationId="{1DF4E5BB-492B-465C-8444-C36507B49283}"/>
          </ac:spMkLst>
        </pc:spChg>
        <pc:spChg chg="mod">
          <ac:chgData name="Jean QUENTIN" userId="6962deb3-b639-4acd-8091-a0516ea2376b" providerId="ADAL" clId="{146BD8F6-FDDD-49D3-A1A6-146C954086FF}" dt="2021-05-24T13:36:18.439" v="4140" actId="790"/>
          <ac:spMkLst>
            <pc:docMk/>
            <pc:sldMk cId="3436081094" sldId="10430"/>
            <ac:spMk id="42" creationId="{9C8D8134-054F-4F04-A0C0-2524CCD41437}"/>
          </ac:spMkLst>
        </pc:spChg>
        <pc:spChg chg="mod">
          <ac:chgData name="Jean QUENTIN" userId="6962deb3-b639-4acd-8091-a0516ea2376b" providerId="ADAL" clId="{146BD8F6-FDDD-49D3-A1A6-146C954086FF}" dt="2021-05-24T13:36:18.439" v="4141" actId="790"/>
          <ac:spMkLst>
            <pc:docMk/>
            <pc:sldMk cId="3436081094" sldId="10430"/>
            <ac:spMk id="43" creationId="{6A651D37-072C-499F-BDC9-221E2F280D91}"/>
          </ac:spMkLst>
        </pc:spChg>
        <pc:spChg chg="mod">
          <ac:chgData name="Jean QUENTIN" userId="6962deb3-b639-4acd-8091-a0516ea2376b" providerId="ADAL" clId="{146BD8F6-FDDD-49D3-A1A6-146C954086FF}" dt="2021-05-24T13:36:18.461" v="4142" actId="790"/>
          <ac:spMkLst>
            <pc:docMk/>
            <pc:sldMk cId="3436081094" sldId="10430"/>
            <ac:spMk id="65" creationId="{FA6B510C-60D3-4CD8-A4E3-3EBD62B303AE}"/>
          </ac:spMkLst>
        </pc:spChg>
        <pc:spChg chg="mod">
          <ac:chgData name="Jean QUENTIN" userId="6962deb3-b639-4acd-8091-a0516ea2376b" providerId="ADAL" clId="{146BD8F6-FDDD-49D3-A1A6-146C954086FF}" dt="2021-05-24T13:36:18.477" v="4153" actId="790"/>
          <ac:spMkLst>
            <pc:docMk/>
            <pc:sldMk cId="3436081094" sldId="10430"/>
            <ac:spMk id="67" creationId="{E5E66E1D-661C-4AEE-ACAF-A6E612D011ED}"/>
          </ac:spMkLst>
        </pc:spChg>
        <pc:spChg chg="mod">
          <ac:chgData name="Jean QUENTIN" userId="6962deb3-b639-4acd-8091-a0516ea2376b" providerId="ADAL" clId="{146BD8F6-FDDD-49D3-A1A6-146C954086FF}" dt="2021-05-24T13:36:18.477" v="4154" actId="790"/>
          <ac:spMkLst>
            <pc:docMk/>
            <pc:sldMk cId="3436081094" sldId="10430"/>
            <ac:spMk id="68" creationId="{D2F63D90-54E3-4593-AE50-12673AAD1AC5}"/>
          </ac:spMkLst>
        </pc:spChg>
        <pc:spChg chg="mod">
          <ac:chgData name="Jean QUENTIN" userId="6962deb3-b639-4acd-8091-a0516ea2376b" providerId="ADAL" clId="{146BD8F6-FDDD-49D3-A1A6-146C954086FF}" dt="2021-05-24T13:36:18.508" v="4156" actId="790"/>
          <ac:spMkLst>
            <pc:docMk/>
            <pc:sldMk cId="3436081094" sldId="10430"/>
            <ac:spMk id="73" creationId="{BC60175A-9B83-4F54-8FC1-AB31B35E1F8F}"/>
          </ac:spMkLst>
        </pc:spChg>
        <pc:spChg chg="mod">
          <ac:chgData name="Jean QUENTIN" userId="6962deb3-b639-4acd-8091-a0516ea2376b" providerId="ADAL" clId="{146BD8F6-FDDD-49D3-A1A6-146C954086FF}" dt="2021-05-24T13:36:18.524" v="4158" actId="790"/>
          <ac:spMkLst>
            <pc:docMk/>
            <pc:sldMk cId="3436081094" sldId="10430"/>
            <ac:spMk id="79" creationId="{CB8A99F9-8F44-4D8F-A8C8-C3F782E45D29}"/>
          </ac:spMkLst>
        </pc:spChg>
        <pc:spChg chg="mod">
          <ac:chgData name="Jean QUENTIN" userId="6962deb3-b639-4acd-8091-a0516ea2376b" providerId="ADAL" clId="{146BD8F6-FDDD-49D3-A1A6-146C954086FF}" dt="2021-05-24T13:36:18.508" v="4157" actId="790"/>
          <ac:spMkLst>
            <pc:docMk/>
            <pc:sldMk cId="3436081094" sldId="10430"/>
            <ac:spMk id="80" creationId="{D1A3758C-C7AE-4A43-B86B-B40616756D1F}"/>
          </ac:spMkLst>
        </pc:spChg>
        <pc:spChg chg="mod">
          <ac:chgData name="Jean QUENTIN" userId="6962deb3-b639-4acd-8091-a0516ea2376b" providerId="ADAL" clId="{146BD8F6-FDDD-49D3-A1A6-146C954086FF}" dt="2021-05-24T13:36:18.524" v="4159" actId="790"/>
          <ac:spMkLst>
            <pc:docMk/>
            <pc:sldMk cId="3436081094" sldId="10430"/>
            <ac:spMk id="81" creationId="{D27DFF83-A107-4719-9827-2921F8E1888C}"/>
          </ac:spMkLst>
        </pc:spChg>
        <pc:spChg chg="mod">
          <ac:chgData name="Jean QUENTIN" userId="6962deb3-b639-4acd-8091-a0516ea2376b" providerId="ADAL" clId="{146BD8F6-FDDD-49D3-A1A6-146C954086FF}" dt="2021-05-24T13:36:18.524" v="4160" actId="790"/>
          <ac:spMkLst>
            <pc:docMk/>
            <pc:sldMk cId="3436081094" sldId="10430"/>
            <ac:spMk id="82" creationId="{95B0CFB8-2038-462A-A681-A3E04CA60B2F}"/>
          </ac:spMkLst>
        </pc:spChg>
        <pc:spChg chg="mod">
          <ac:chgData name="Jean QUENTIN" userId="6962deb3-b639-4acd-8091-a0516ea2376b" providerId="ADAL" clId="{146BD8F6-FDDD-49D3-A1A6-146C954086FF}" dt="2021-05-24T13:36:18.524" v="4161" actId="790"/>
          <ac:spMkLst>
            <pc:docMk/>
            <pc:sldMk cId="3436081094" sldId="10430"/>
            <ac:spMk id="83" creationId="{B071B5B3-8230-4EE0-8CB7-DE325D544D6E}"/>
          </ac:spMkLst>
        </pc:spChg>
        <pc:spChg chg="mod">
          <ac:chgData name="Jean QUENTIN" userId="6962deb3-b639-4acd-8091-a0516ea2376b" providerId="ADAL" clId="{146BD8F6-FDDD-49D3-A1A6-146C954086FF}" dt="2021-05-24T13:36:18.524" v="4162" actId="790"/>
          <ac:spMkLst>
            <pc:docMk/>
            <pc:sldMk cId="3436081094" sldId="10430"/>
            <ac:spMk id="84" creationId="{48C78E64-7325-4F8D-81FB-F20A3B3C52DE}"/>
          </ac:spMkLst>
        </pc:spChg>
        <pc:spChg chg="mod">
          <ac:chgData name="Jean QUENTIN" userId="6962deb3-b639-4acd-8091-a0516ea2376b" providerId="ADAL" clId="{146BD8F6-FDDD-49D3-A1A6-146C954086FF}" dt="2021-05-24T13:36:18.524" v="4163" actId="790"/>
          <ac:spMkLst>
            <pc:docMk/>
            <pc:sldMk cId="3436081094" sldId="10430"/>
            <ac:spMk id="85" creationId="{901F42A7-BDFF-4D41-AF9F-7FE4D47B1848}"/>
          </ac:spMkLst>
        </pc:spChg>
      </pc:sldChg>
      <pc:sldChg chg="modSp mod">
        <pc:chgData name="Jean QUENTIN" userId="6962deb3-b639-4acd-8091-a0516ea2376b" providerId="ADAL" clId="{146BD8F6-FDDD-49D3-A1A6-146C954086FF}" dt="2021-05-24T13:36:23.490" v="6585" actId="790"/>
        <pc:sldMkLst>
          <pc:docMk/>
          <pc:sldMk cId="1700559501" sldId="10431"/>
        </pc:sldMkLst>
        <pc:spChg chg="mod">
          <ac:chgData name="Jean QUENTIN" userId="6962deb3-b639-4acd-8091-a0516ea2376b" providerId="ADAL" clId="{146BD8F6-FDDD-49D3-A1A6-146C954086FF}" dt="2021-05-24T13:36:23.452" v="6570" actId="790"/>
          <ac:spMkLst>
            <pc:docMk/>
            <pc:sldMk cId="1700559501" sldId="10431"/>
            <ac:spMk id="2" creationId="{076A8F7F-F895-46CF-AE68-CFD9FFD3C71A}"/>
          </ac:spMkLst>
        </pc:spChg>
        <pc:spChg chg="mod">
          <ac:chgData name="Jean QUENTIN" userId="6962deb3-b639-4acd-8091-a0516ea2376b" providerId="ADAL" clId="{146BD8F6-FDDD-49D3-A1A6-146C954086FF}" dt="2021-05-24T13:36:23.452" v="6571" actId="790"/>
          <ac:spMkLst>
            <pc:docMk/>
            <pc:sldMk cId="1700559501" sldId="10431"/>
            <ac:spMk id="28" creationId="{7D0317F4-C3D4-41CA-9635-650C98F9EC59}"/>
          </ac:spMkLst>
        </pc:spChg>
        <pc:spChg chg="mod">
          <ac:chgData name="Jean QUENTIN" userId="6962deb3-b639-4acd-8091-a0516ea2376b" providerId="ADAL" clId="{146BD8F6-FDDD-49D3-A1A6-146C954086FF}" dt="2021-05-24T13:36:23.452" v="6572" actId="790"/>
          <ac:spMkLst>
            <pc:docMk/>
            <pc:sldMk cId="1700559501" sldId="10431"/>
            <ac:spMk id="29" creationId="{42FD923B-652D-4E82-B1FE-0BA9EAFC855F}"/>
          </ac:spMkLst>
        </pc:spChg>
        <pc:spChg chg="mod">
          <ac:chgData name="Jean QUENTIN" userId="6962deb3-b639-4acd-8091-a0516ea2376b" providerId="ADAL" clId="{146BD8F6-FDDD-49D3-A1A6-146C954086FF}" dt="2021-05-24T13:36:23.467" v="6573" actId="790"/>
          <ac:spMkLst>
            <pc:docMk/>
            <pc:sldMk cId="1700559501" sldId="10431"/>
            <ac:spMk id="30" creationId="{A8317929-B8E2-4C19-BCC3-50D67E1EBAF1}"/>
          </ac:spMkLst>
        </pc:spChg>
        <pc:spChg chg="mod">
          <ac:chgData name="Jean QUENTIN" userId="6962deb3-b639-4acd-8091-a0516ea2376b" providerId="ADAL" clId="{146BD8F6-FDDD-49D3-A1A6-146C954086FF}" dt="2021-05-24T13:36:23.490" v="6581" actId="790"/>
          <ac:spMkLst>
            <pc:docMk/>
            <pc:sldMk cId="1700559501" sldId="10431"/>
            <ac:spMk id="34" creationId="{9F697F71-1349-4FE1-86DA-B97A2D72BC80}"/>
          </ac:spMkLst>
        </pc:spChg>
        <pc:spChg chg="mod">
          <ac:chgData name="Jean QUENTIN" userId="6962deb3-b639-4acd-8091-a0516ea2376b" providerId="ADAL" clId="{146BD8F6-FDDD-49D3-A1A6-146C954086FF}" dt="2021-05-24T13:36:23.490" v="6582" actId="790"/>
          <ac:spMkLst>
            <pc:docMk/>
            <pc:sldMk cId="1700559501" sldId="10431"/>
            <ac:spMk id="35" creationId="{2FA7DBB5-21A5-48C6-B282-644D9D99668A}"/>
          </ac:spMkLst>
        </pc:spChg>
        <pc:spChg chg="mod">
          <ac:chgData name="Jean QUENTIN" userId="6962deb3-b639-4acd-8091-a0516ea2376b" providerId="ADAL" clId="{146BD8F6-FDDD-49D3-A1A6-146C954086FF}" dt="2021-05-24T13:36:23.490" v="6583" actId="790"/>
          <ac:spMkLst>
            <pc:docMk/>
            <pc:sldMk cId="1700559501" sldId="10431"/>
            <ac:spMk id="37" creationId="{5C71AA0D-77FC-41BA-B796-3F8B2191D69E}"/>
          </ac:spMkLst>
        </pc:spChg>
        <pc:spChg chg="mod">
          <ac:chgData name="Jean QUENTIN" userId="6962deb3-b639-4acd-8091-a0516ea2376b" providerId="ADAL" clId="{146BD8F6-FDDD-49D3-A1A6-146C954086FF}" dt="2021-05-24T13:36:23.490" v="6584" actId="790"/>
          <ac:spMkLst>
            <pc:docMk/>
            <pc:sldMk cId="1700559501" sldId="10431"/>
            <ac:spMk id="38" creationId="{6EB3B303-5271-4BEF-8561-4C7B85AF786D}"/>
          </ac:spMkLst>
        </pc:spChg>
        <pc:spChg chg="mod">
          <ac:chgData name="Jean QUENTIN" userId="6962deb3-b639-4acd-8091-a0516ea2376b" providerId="ADAL" clId="{146BD8F6-FDDD-49D3-A1A6-146C954086FF}" dt="2021-05-24T13:36:23.490" v="6585" actId="790"/>
          <ac:spMkLst>
            <pc:docMk/>
            <pc:sldMk cId="1700559501" sldId="10431"/>
            <ac:spMk id="40" creationId="{1A19AD22-9199-4E8D-A99E-ABD9239C0F1B}"/>
          </ac:spMkLst>
        </pc:spChg>
        <pc:spChg chg="mod">
          <ac:chgData name="Jean QUENTIN" userId="6962deb3-b639-4acd-8091-a0516ea2376b" providerId="ADAL" clId="{146BD8F6-FDDD-49D3-A1A6-146C954086FF}" dt="2021-05-24T13:36:23.467" v="6574" actId="790"/>
          <ac:spMkLst>
            <pc:docMk/>
            <pc:sldMk cId="1700559501" sldId="10431"/>
            <ac:spMk id="60" creationId="{CAC6E58A-D2F0-4EFF-9075-D1473036AD1F}"/>
          </ac:spMkLst>
        </pc:spChg>
        <pc:spChg chg="mod">
          <ac:chgData name="Jean QUENTIN" userId="6962deb3-b639-4acd-8091-a0516ea2376b" providerId="ADAL" clId="{146BD8F6-FDDD-49D3-A1A6-146C954086FF}" dt="2021-05-24T13:36:23.474" v="6575" actId="790"/>
          <ac:spMkLst>
            <pc:docMk/>
            <pc:sldMk cId="1700559501" sldId="10431"/>
            <ac:spMk id="61" creationId="{F66C9E1D-5889-4BEC-A811-6C8ECB334B52}"/>
          </ac:spMkLst>
        </pc:spChg>
        <pc:spChg chg="mod">
          <ac:chgData name="Jean QUENTIN" userId="6962deb3-b639-4acd-8091-a0516ea2376b" providerId="ADAL" clId="{146BD8F6-FDDD-49D3-A1A6-146C954086FF}" dt="2021-05-24T13:36:23.474" v="6576" actId="790"/>
          <ac:spMkLst>
            <pc:docMk/>
            <pc:sldMk cId="1700559501" sldId="10431"/>
            <ac:spMk id="76" creationId="{F0D5884D-5E97-43FD-871D-040DD2DFCC19}"/>
          </ac:spMkLst>
        </pc:spChg>
        <pc:spChg chg="mod">
          <ac:chgData name="Jean QUENTIN" userId="6962deb3-b639-4acd-8091-a0516ea2376b" providerId="ADAL" clId="{146BD8F6-FDDD-49D3-A1A6-146C954086FF}" dt="2021-05-24T13:36:23.474" v="6577" actId="790"/>
          <ac:spMkLst>
            <pc:docMk/>
            <pc:sldMk cId="1700559501" sldId="10431"/>
            <ac:spMk id="77" creationId="{FFDF9DF0-EDF3-4407-906C-6FC11C210B29}"/>
          </ac:spMkLst>
        </pc:spChg>
        <pc:spChg chg="mod">
          <ac:chgData name="Jean QUENTIN" userId="6962deb3-b639-4acd-8091-a0516ea2376b" providerId="ADAL" clId="{146BD8F6-FDDD-49D3-A1A6-146C954086FF}" dt="2021-05-24T13:36:23.474" v="6578" actId="790"/>
          <ac:spMkLst>
            <pc:docMk/>
            <pc:sldMk cId="1700559501" sldId="10431"/>
            <ac:spMk id="78" creationId="{2938F6EF-42AB-4F08-888A-CBCB8C56CC0B}"/>
          </ac:spMkLst>
        </pc:spChg>
        <pc:spChg chg="mod">
          <ac:chgData name="Jean QUENTIN" userId="6962deb3-b639-4acd-8091-a0516ea2376b" providerId="ADAL" clId="{146BD8F6-FDDD-49D3-A1A6-146C954086FF}" dt="2021-05-24T13:36:23.490" v="6579" actId="790"/>
          <ac:spMkLst>
            <pc:docMk/>
            <pc:sldMk cId="1700559501" sldId="10431"/>
            <ac:spMk id="79" creationId="{03FA0933-ED84-4E8F-96AC-8CFF55E9EA3A}"/>
          </ac:spMkLst>
        </pc:spChg>
        <pc:spChg chg="mod">
          <ac:chgData name="Jean QUENTIN" userId="6962deb3-b639-4acd-8091-a0516ea2376b" providerId="ADAL" clId="{146BD8F6-FDDD-49D3-A1A6-146C954086FF}" dt="2021-05-24T13:36:23.490" v="6580" actId="790"/>
          <ac:spMkLst>
            <pc:docMk/>
            <pc:sldMk cId="1700559501" sldId="10431"/>
            <ac:spMk id="80" creationId="{93F3F8E9-2B2D-4A76-B8CC-68F21421F3EA}"/>
          </ac:spMkLst>
        </pc:spChg>
      </pc:sldChg>
      <pc:sldChg chg="modSp mod">
        <pc:chgData name="Jean QUENTIN" userId="6962deb3-b639-4acd-8091-a0516ea2376b" providerId="ADAL" clId="{146BD8F6-FDDD-49D3-A1A6-146C954086FF}" dt="2021-05-24T13:36:24.253" v="6815" actId="790"/>
        <pc:sldMkLst>
          <pc:docMk/>
          <pc:sldMk cId="2399574436" sldId="10432"/>
        </pc:sldMkLst>
        <pc:spChg chg="mod">
          <ac:chgData name="Jean QUENTIN" userId="6962deb3-b639-4acd-8091-a0516ea2376b" providerId="ADAL" clId="{146BD8F6-FDDD-49D3-A1A6-146C954086FF}" dt="2021-05-24T13:36:24.048" v="6783" actId="790"/>
          <ac:spMkLst>
            <pc:docMk/>
            <pc:sldMk cId="2399574436" sldId="10432"/>
            <ac:spMk id="2" creationId="{076A8F7F-F895-46CF-AE68-CFD9FFD3C71A}"/>
          </ac:spMkLst>
        </pc:spChg>
        <pc:spChg chg="mod">
          <ac:chgData name="Jean QUENTIN" userId="6962deb3-b639-4acd-8091-a0516ea2376b" providerId="ADAL" clId="{146BD8F6-FDDD-49D3-A1A6-146C954086FF}" dt="2021-05-24T13:36:24.051" v="6784" actId="790"/>
          <ac:spMkLst>
            <pc:docMk/>
            <pc:sldMk cId="2399574436" sldId="10432"/>
            <ac:spMk id="3" creationId="{84B816E9-5737-4E3C-BC42-45239C0FF87F}"/>
          </ac:spMkLst>
        </pc:spChg>
        <pc:spChg chg="mod">
          <ac:chgData name="Jean QUENTIN" userId="6962deb3-b639-4acd-8091-a0516ea2376b" providerId="ADAL" clId="{146BD8F6-FDDD-49D3-A1A6-146C954086FF}" dt="2021-05-24T13:36:24.061" v="6785" actId="790"/>
          <ac:spMkLst>
            <pc:docMk/>
            <pc:sldMk cId="2399574436" sldId="10432"/>
            <ac:spMk id="6" creationId="{EE03F86E-BBFC-4F4A-8702-386CBBDCEE19}"/>
          </ac:spMkLst>
        </pc:spChg>
        <pc:spChg chg="mod">
          <ac:chgData name="Jean QUENTIN" userId="6962deb3-b639-4acd-8091-a0516ea2376b" providerId="ADAL" clId="{146BD8F6-FDDD-49D3-A1A6-146C954086FF}" dt="2021-05-24T13:36:24.069" v="6786" actId="790"/>
          <ac:spMkLst>
            <pc:docMk/>
            <pc:sldMk cId="2399574436" sldId="10432"/>
            <ac:spMk id="7" creationId="{E78AAE0E-6DCE-4797-A7F4-B1B37CB93314}"/>
          </ac:spMkLst>
        </pc:spChg>
        <pc:spChg chg="mod">
          <ac:chgData name="Jean QUENTIN" userId="6962deb3-b639-4acd-8091-a0516ea2376b" providerId="ADAL" clId="{146BD8F6-FDDD-49D3-A1A6-146C954086FF}" dt="2021-05-24T13:36:24.078" v="6787" actId="790"/>
          <ac:spMkLst>
            <pc:docMk/>
            <pc:sldMk cId="2399574436" sldId="10432"/>
            <ac:spMk id="8" creationId="{3B88483B-584C-43C8-90CB-A4ED8D3B8EF1}"/>
          </ac:spMkLst>
        </pc:spChg>
        <pc:spChg chg="mod">
          <ac:chgData name="Jean QUENTIN" userId="6962deb3-b639-4acd-8091-a0516ea2376b" providerId="ADAL" clId="{146BD8F6-FDDD-49D3-A1A6-146C954086FF}" dt="2021-05-24T13:36:24.083" v="6788" actId="790"/>
          <ac:spMkLst>
            <pc:docMk/>
            <pc:sldMk cId="2399574436" sldId="10432"/>
            <ac:spMk id="30" creationId="{7AEFA4BF-95C1-4B9F-BAED-7F3D65E36953}"/>
          </ac:spMkLst>
        </pc:spChg>
        <pc:spChg chg="mod">
          <ac:chgData name="Jean QUENTIN" userId="6962deb3-b639-4acd-8091-a0516ea2376b" providerId="ADAL" clId="{146BD8F6-FDDD-49D3-A1A6-146C954086FF}" dt="2021-05-24T13:36:24.085" v="6789" actId="790"/>
          <ac:spMkLst>
            <pc:docMk/>
            <pc:sldMk cId="2399574436" sldId="10432"/>
            <ac:spMk id="31" creationId="{C5AAF232-FA7E-4D12-8C14-C126CD5AD3F6}"/>
          </ac:spMkLst>
        </pc:spChg>
        <pc:spChg chg="mod">
          <ac:chgData name="Jean QUENTIN" userId="6962deb3-b639-4acd-8091-a0516ea2376b" providerId="ADAL" clId="{146BD8F6-FDDD-49D3-A1A6-146C954086FF}" dt="2021-05-24T13:36:24.095" v="6790" actId="790"/>
          <ac:spMkLst>
            <pc:docMk/>
            <pc:sldMk cId="2399574436" sldId="10432"/>
            <ac:spMk id="32" creationId="{ADD17A7D-92D5-47C6-AAAD-44BA9FDFF1E0}"/>
          </ac:spMkLst>
        </pc:spChg>
        <pc:spChg chg="mod">
          <ac:chgData name="Jean QUENTIN" userId="6962deb3-b639-4acd-8091-a0516ea2376b" providerId="ADAL" clId="{146BD8F6-FDDD-49D3-A1A6-146C954086FF}" dt="2021-05-24T13:36:24.102" v="6791" actId="790"/>
          <ac:spMkLst>
            <pc:docMk/>
            <pc:sldMk cId="2399574436" sldId="10432"/>
            <ac:spMk id="34" creationId="{8D786EEA-243D-478A-96AD-4EE36D24EEC5}"/>
          </ac:spMkLst>
        </pc:spChg>
        <pc:spChg chg="mod">
          <ac:chgData name="Jean QUENTIN" userId="6962deb3-b639-4acd-8091-a0516ea2376b" providerId="ADAL" clId="{146BD8F6-FDDD-49D3-A1A6-146C954086FF}" dt="2021-05-24T13:36:24.113" v="6792" actId="790"/>
          <ac:spMkLst>
            <pc:docMk/>
            <pc:sldMk cId="2399574436" sldId="10432"/>
            <ac:spMk id="35" creationId="{4C04A7B0-6488-4CD7-B031-03A28FF53A58}"/>
          </ac:spMkLst>
        </pc:spChg>
        <pc:spChg chg="mod">
          <ac:chgData name="Jean QUENTIN" userId="6962deb3-b639-4acd-8091-a0516ea2376b" providerId="ADAL" clId="{146BD8F6-FDDD-49D3-A1A6-146C954086FF}" dt="2021-05-24T13:36:24.119" v="6793" actId="790"/>
          <ac:spMkLst>
            <pc:docMk/>
            <pc:sldMk cId="2399574436" sldId="10432"/>
            <ac:spMk id="36" creationId="{9382A20A-0B3D-463A-AEC3-C532FDB33D91}"/>
          </ac:spMkLst>
        </pc:spChg>
        <pc:spChg chg="mod">
          <ac:chgData name="Jean QUENTIN" userId="6962deb3-b639-4acd-8091-a0516ea2376b" providerId="ADAL" clId="{146BD8F6-FDDD-49D3-A1A6-146C954086FF}" dt="2021-05-24T13:36:24.121" v="6794" actId="790"/>
          <ac:spMkLst>
            <pc:docMk/>
            <pc:sldMk cId="2399574436" sldId="10432"/>
            <ac:spMk id="37" creationId="{4E5D2729-4716-4A95-8C80-499870A59A5E}"/>
          </ac:spMkLst>
        </pc:spChg>
        <pc:spChg chg="mod">
          <ac:chgData name="Jean QUENTIN" userId="6962deb3-b639-4acd-8091-a0516ea2376b" providerId="ADAL" clId="{146BD8F6-FDDD-49D3-A1A6-146C954086FF}" dt="2021-05-24T13:36:24.127" v="6795" actId="790"/>
          <ac:spMkLst>
            <pc:docMk/>
            <pc:sldMk cId="2399574436" sldId="10432"/>
            <ac:spMk id="38" creationId="{6E74EB4C-948E-479D-9388-E353F2C35B4D}"/>
          </ac:spMkLst>
        </pc:spChg>
        <pc:spChg chg="mod">
          <ac:chgData name="Jean QUENTIN" userId="6962deb3-b639-4acd-8091-a0516ea2376b" providerId="ADAL" clId="{146BD8F6-FDDD-49D3-A1A6-146C954086FF}" dt="2021-05-24T13:36:24.130" v="6796" actId="790"/>
          <ac:spMkLst>
            <pc:docMk/>
            <pc:sldMk cId="2399574436" sldId="10432"/>
            <ac:spMk id="39" creationId="{766FCB01-62BC-49BD-8966-B0A88648D1AB}"/>
          </ac:spMkLst>
        </pc:spChg>
        <pc:spChg chg="mod">
          <ac:chgData name="Jean QUENTIN" userId="6962deb3-b639-4acd-8091-a0516ea2376b" providerId="ADAL" clId="{146BD8F6-FDDD-49D3-A1A6-146C954086FF}" dt="2021-05-24T13:36:24.132" v="6797" actId="790"/>
          <ac:spMkLst>
            <pc:docMk/>
            <pc:sldMk cId="2399574436" sldId="10432"/>
            <ac:spMk id="40" creationId="{A716C21A-E3AE-4CC7-B632-0770D9D1BA5C}"/>
          </ac:spMkLst>
        </pc:spChg>
        <pc:spChg chg="mod">
          <ac:chgData name="Jean QUENTIN" userId="6962deb3-b639-4acd-8091-a0516ea2376b" providerId="ADAL" clId="{146BD8F6-FDDD-49D3-A1A6-146C954086FF}" dt="2021-05-24T13:36:24.135" v="6798" actId="790"/>
          <ac:spMkLst>
            <pc:docMk/>
            <pc:sldMk cId="2399574436" sldId="10432"/>
            <ac:spMk id="45" creationId="{BC70D51B-4593-4C1B-8167-A8E4773461B9}"/>
          </ac:spMkLst>
        </pc:spChg>
        <pc:spChg chg="mod">
          <ac:chgData name="Jean QUENTIN" userId="6962deb3-b639-4acd-8091-a0516ea2376b" providerId="ADAL" clId="{146BD8F6-FDDD-49D3-A1A6-146C954086FF}" dt="2021-05-24T13:36:24.139" v="6799" actId="790"/>
          <ac:spMkLst>
            <pc:docMk/>
            <pc:sldMk cId="2399574436" sldId="10432"/>
            <ac:spMk id="47" creationId="{1AE83938-735F-48E1-B53E-A09E2B89F0A2}"/>
          </ac:spMkLst>
        </pc:spChg>
        <pc:spChg chg="mod">
          <ac:chgData name="Jean QUENTIN" userId="6962deb3-b639-4acd-8091-a0516ea2376b" providerId="ADAL" clId="{146BD8F6-FDDD-49D3-A1A6-146C954086FF}" dt="2021-05-24T13:36:24.141" v="6800" actId="790"/>
          <ac:spMkLst>
            <pc:docMk/>
            <pc:sldMk cId="2399574436" sldId="10432"/>
            <ac:spMk id="49" creationId="{C8D5DEFD-5D3F-4551-8F65-08CA84C3F969}"/>
          </ac:spMkLst>
        </pc:spChg>
        <pc:spChg chg="mod">
          <ac:chgData name="Jean QUENTIN" userId="6962deb3-b639-4acd-8091-a0516ea2376b" providerId="ADAL" clId="{146BD8F6-FDDD-49D3-A1A6-146C954086FF}" dt="2021-05-24T13:36:24.142" v="6801" actId="790"/>
          <ac:spMkLst>
            <pc:docMk/>
            <pc:sldMk cId="2399574436" sldId="10432"/>
            <ac:spMk id="50" creationId="{077802DF-08F1-45FE-A513-064905643493}"/>
          </ac:spMkLst>
        </pc:spChg>
        <pc:spChg chg="mod">
          <ac:chgData name="Jean QUENTIN" userId="6962deb3-b639-4acd-8091-a0516ea2376b" providerId="ADAL" clId="{146BD8F6-FDDD-49D3-A1A6-146C954086FF}" dt="2021-05-24T13:36:24.217" v="6810" actId="790"/>
          <ac:spMkLst>
            <pc:docMk/>
            <pc:sldMk cId="2399574436" sldId="10432"/>
            <ac:spMk id="62" creationId="{25C97827-EB39-4B75-A401-B7DCE016AA6E}"/>
          </ac:spMkLst>
        </pc:spChg>
        <pc:spChg chg="mod">
          <ac:chgData name="Jean QUENTIN" userId="6962deb3-b639-4acd-8091-a0516ea2376b" providerId="ADAL" clId="{146BD8F6-FDDD-49D3-A1A6-146C954086FF}" dt="2021-05-24T13:36:24.218" v="6811" actId="790"/>
          <ac:spMkLst>
            <pc:docMk/>
            <pc:sldMk cId="2399574436" sldId="10432"/>
            <ac:spMk id="63" creationId="{4F3E4989-0F11-4D5F-BE03-445CEAAD45D9}"/>
          </ac:spMkLst>
        </pc:spChg>
        <pc:spChg chg="mod">
          <ac:chgData name="Jean QUENTIN" userId="6962deb3-b639-4acd-8091-a0516ea2376b" providerId="ADAL" clId="{146BD8F6-FDDD-49D3-A1A6-146C954086FF}" dt="2021-05-24T13:36:24.220" v="6812" actId="790"/>
          <ac:spMkLst>
            <pc:docMk/>
            <pc:sldMk cId="2399574436" sldId="10432"/>
            <ac:spMk id="64" creationId="{11088777-7655-4C52-AC99-76E18AA7C86E}"/>
          </ac:spMkLst>
        </pc:spChg>
        <pc:spChg chg="mod">
          <ac:chgData name="Jean QUENTIN" userId="6962deb3-b639-4acd-8091-a0516ea2376b" providerId="ADAL" clId="{146BD8F6-FDDD-49D3-A1A6-146C954086FF}" dt="2021-05-24T13:36:24.223" v="6813" actId="790"/>
          <ac:spMkLst>
            <pc:docMk/>
            <pc:sldMk cId="2399574436" sldId="10432"/>
            <ac:spMk id="65" creationId="{95974D71-3379-4A79-9661-C05371C57398}"/>
          </ac:spMkLst>
        </pc:spChg>
        <pc:spChg chg="mod">
          <ac:chgData name="Jean QUENTIN" userId="6962deb3-b639-4acd-8091-a0516ea2376b" providerId="ADAL" clId="{146BD8F6-FDDD-49D3-A1A6-146C954086FF}" dt="2021-05-24T13:36:24.226" v="6814" actId="790"/>
          <ac:spMkLst>
            <pc:docMk/>
            <pc:sldMk cId="2399574436" sldId="10432"/>
            <ac:spMk id="66" creationId="{688BEA79-0429-438C-AA34-FAD470CAFEFD}"/>
          </ac:spMkLst>
        </pc:spChg>
        <pc:spChg chg="mod">
          <ac:chgData name="Jean QUENTIN" userId="6962deb3-b639-4acd-8091-a0516ea2376b" providerId="ADAL" clId="{146BD8F6-FDDD-49D3-A1A6-146C954086FF}" dt="2021-05-24T13:36:24.253" v="6815" actId="790"/>
          <ac:spMkLst>
            <pc:docMk/>
            <pc:sldMk cId="2399574436" sldId="10432"/>
            <ac:spMk id="67" creationId="{0256CC2F-2C47-472B-BDEF-F624F9993066}"/>
          </ac:spMkLst>
        </pc:spChg>
        <pc:spChg chg="mod">
          <ac:chgData name="Jean QUENTIN" userId="6962deb3-b639-4acd-8091-a0516ea2376b" providerId="ADAL" clId="{146BD8F6-FDDD-49D3-A1A6-146C954086FF}" dt="2021-05-24T13:36:24.145" v="6802" actId="790"/>
          <ac:spMkLst>
            <pc:docMk/>
            <pc:sldMk cId="2399574436" sldId="10432"/>
            <ac:spMk id="93" creationId="{B8679077-D452-46D0-A661-FDF487360092}"/>
          </ac:spMkLst>
        </pc:spChg>
        <pc:spChg chg="mod">
          <ac:chgData name="Jean QUENTIN" userId="6962deb3-b639-4acd-8091-a0516ea2376b" providerId="ADAL" clId="{146BD8F6-FDDD-49D3-A1A6-146C954086FF}" dt="2021-05-24T13:36:24.157" v="6803" actId="790"/>
          <ac:spMkLst>
            <pc:docMk/>
            <pc:sldMk cId="2399574436" sldId="10432"/>
            <ac:spMk id="94" creationId="{BDD7F547-3501-4278-AC3F-8BB57279ACB9}"/>
          </ac:spMkLst>
        </pc:spChg>
        <pc:spChg chg="mod">
          <ac:chgData name="Jean QUENTIN" userId="6962deb3-b639-4acd-8091-a0516ea2376b" providerId="ADAL" clId="{146BD8F6-FDDD-49D3-A1A6-146C954086FF}" dt="2021-05-24T13:36:24.174" v="6804" actId="790"/>
          <ac:spMkLst>
            <pc:docMk/>
            <pc:sldMk cId="2399574436" sldId="10432"/>
            <ac:spMk id="95" creationId="{3EC38CA6-491D-4320-8DEC-584C755D04B6}"/>
          </ac:spMkLst>
        </pc:spChg>
        <pc:spChg chg="mod">
          <ac:chgData name="Jean QUENTIN" userId="6962deb3-b639-4acd-8091-a0516ea2376b" providerId="ADAL" clId="{146BD8F6-FDDD-49D3-A1A6-146C954086FF}" dt="2021-05-24T13:36:24.179" v="6805" actId="790"/>
          <ac:spMkLst>
            <pc:docMk/>
            <pc:sldMk cId="2399574436" sldId="10432"/>
            <ac:spMk id="96" creationId="{FBB7D235-E014-4FCE-BC74-C29BFD28D17F}"/>
          </ac:spMkLst>
        </pc:spChg>
        <pc:spChg chg="mod">
          <ac:chgData name="Jean QUENTIN" userId="6962deb3-b639-4acd-8091-a0516ea2376b" providerId="ADAL" clId="{146BD8F6-FDDD-49D3-A1A6-146C954086FF}" dt="2021-05-24T13:36:24.179" v="6806" actId="790"/>
          <ac:spMkLst>
            <pc:docMk/>
            <pc:sldMk cId="2399574436" sldId="10432"/>
            <ac:spMk id="97" creationId="{594140F8-2792-40AD-850A-2AAD0CC4A0F4}"/>
          </ac:spMkLst>
        </pc:spChg>
        <pc:spChg chg="mod">
          <ac:chgData name="Jean QUENTIN" userId="6962deb3-b639-4acd-8091-a0516ea2376b" providerId="ADAL" clId="{146BD8F6-FDDD-49D3-A1A6-146C954086FF}" dt="2021-05-24T13:36:24.179" v="6807" actId="790"/>
          <ac:spMkLst>
            <pc:docMk/>
            <pc:sldMk cId="2399574436" sldId="10432"/>
            <ac:spMk id="105" creationId="{91B75A33-C37F-457E-8F37-6A9450E95B44}"/>
          </ac:spMkLst>
        </pc:spChg>
        <pc:spChg chg="mod">
          <ac:chgData name="Jean QUENTIN" userId="6962deb3-b639-4acd-8091-a0516ea2376b" providerId="ADAL" clId="{146BD8F6-FDDD-49D3-A1A6-146C954086FF}" dt="2021-05-24T13:36:24.194" v="6808" actId="790"/>
          <ac:spMkLst>
            <pc:docMk/>
            <pc:sldMk cId="2399574436" sldId="10432"/>
            <ac:spMk id="118" creationId="{973A32D1-1F27-43CF-8C30-943DBA9F9EEB}"/>
          </ac:spMkLst>
        </pc:spChg>
        <pc:spChg chg="mod">
          <ac:chgData name="Jean QUENTIN" userId="6962deb3-b639-4acd-8091-a0516ea2376b" providerId="ADAL" clId="{146BD8F6-FDDD-49D3-A1A6-146C954086FF}" dt="2021-05-24T13:36:24.215" v="6809" actId="790"/>
          <ac:spMkLst>
            <pc:docMk/>
            <pc:sldMk cId="2399574436" sldId="10432"/>
            <ac:spMk id="122" creationId="{E84D56F7-A433-4DD3-AF89-AE738FF671B3}"/>
          </ac:spMkLst>
        </pc:spChg>
      </pc:sldChg>
      <pc:sldChg chg="modSp mod">
        <pc:chgData name="Jean QUENTIN" userId="6962deb3-b639-4acd-8091-a0516ea2376b" providerId="ADAL" clId="{146BD8F6-FDDD-49D3-A1A6-146C954086FF}" dt="2021-05-24T13:36:18.361" v="4080" actId="790"/>
        <pc:sldMkLst>
          <pc:docMk/>
          <pc:sldMk cId="1782056456" sldId="10434"/>
        </pc:sldMkLst>
        <pc:spChg chg="mod">
          <ac:chgData name="Jean QUENTIN" userId="6962deb3-b639-4acd-8091-a0516ea2376b" providerId="ADAL" clId="{146BD8F6-FDDD-49D3-A1A6-146C954086FF}" dt="2021-05-24T13:36:18.292" v="4048" actId="790"/>
          <ac:spMkLst>
            <pc:docMk/>
            <pc:sldMk cId="1782056456" sldId="10434"/>
            <ac:spMk id="2" creationId="{F603210B-1675-4AF7-9A14-5F2A22C81270}"/>
          </ac:spMkLst>
        </pc:spChg>
        <pc:spChg chg="mod">
          <ac:chgData name="Jean QUENTIN" userId="6962deb3-b639-4acd-8091-a0516ea2376b" providerId="ADAL" clId="{146BD8F6-FDDD-49D3-A1A6-146C954086FF}" dt="2021-05-24T13:36:18.292" v="4049" actId="790"/>
          <ac:spMkLst>
            <pc:docMk/>
            <pc:sldMk cId="1782056456" sldId="10434"/>
            <ac:spMk id="4" creationId="{74ADDBE6-49E4-4049-B7BF-EE415633C5F5}"/>
          </ac:spMkLst>
        </pc:spChg>
        <pc:spChg chg="mod">
          <ac:chgData name="Jean QUENTIN" userId="6962deb3-b639-4acd-8091-a0516ea2376b" providerId="ADAL" clId="{146BD8F6-FDDD-49D3-A1A6-146C954086FF}" dt="2021-05-24T13:36:18.292" v="4050" actId="790"/>
          <ac:spMkLst>
            <pc:docMk/>
            <pc:sldMk cId="1782056456" sldId="10434"/>
            <ac:spMk id="5" creationId="{B0DA252B-E0E1-4EDA-AD43-C3699C200482}"/>
          </ac:spMkLst>
        </pc:spChg>
        <pc:spChg chg="mod">
          <ac:chgData name="Jean QUENTIN" userId="6962deb3-b639-4acd-8091-a0516ea2376b" providerId="ADAL" clId="{146BD8F6-FDDD-49D3-A1A6-146C954086FF}" dt="2021-05-24T13:36:18.292" v="4051" actId="790"/>
          <ac:spMkLst>
            <pc:docMk/>
            <pc:sldMk cId="1782056456" sldId="10434"/>
            <ac:spMk id="6" creationId="{459DE8FF-F3A0-454B-89BD-EA7D3F0085F4}"/>
          </ac:spMkLst>
        </pc:spChg>
        <pc:spChg chg="mod">
          <ac:chgData name="Jean QUENTIN" userId="6962deb3-b639-4acd-8091-a0516ea2376b" providerId="ADAL" clId="{146BD8F6-FDDD-49D3-A1A6-146C954086FF}" dt="2021-05-24T13:36:18.292" v="4052" actId="790"/>
          <ac:spMkLst>
            <pc:docMk/>
            <pc:sldMk cId="1782056456" sldId="10434"/>
            <ac:spMk id="8" creationId="{A6584CFE-199B-42FA-9B02-35D30052E24D}"/>
          </ac:spMkLst>
        </pc:spChg>
        <pc:spChg chg="mod">
          <ac:chgData name="Jean QUENTIN" userId="6962deb3-b639-4acd-8091-a0516ea2376b" providerId="ADAL" clId="{146BD8F6-FDDD-49D3-A1A6-146C954086FF}" dt="2021-05-24T13:36:18.292" v="4053" actId="790"/>
          <ac:spMkLst>
            <pc:docMk/>
            <pc:sldMk cId="1782056456" sldId="10434"/>
            <ac:spMk id="9" creationId="{5513411E-B0D4-4A2B-B16E-9DD5102ED097}"/>
          </ac:spMkLst>
        </pc:spChg>
        <pc:spChg chg="mod">
          <ac:chgData name="Jean QUENTIN" userId="6962deb3-b639-4acd-8091-a0516ea2376b" providerId="ADAL" clId="{146BD8F6-FDDD-49D3-A1A6-146C954086FF}" dt="2021-05-24T13:36:18.339" v="4069" actId="790"/>
          <ac:spMkLst>
            <pc:docMk/>
            <pc:sldMk cId="1782056456" sldId="10434"/>
            <ac:spMk id="11" creationId="{E7BC247D-1E44-429A-AF83-8E39E9FFE026}"/>
          </ac:spMkLst>
        </pc:spChg>
        <pc:spChg chg="mod">
          <ac:chgData name="Jean QUENTIN" userId="6962deb3-b639-4acd-8091-a0516ea2376b" providerId="ADAL" clId="{146BD8F6-FDDD-49D3-A1A6-146C954086FF}" dt="2021-05-24T13:36:18.339" v="4068" actId="790"/>
          <ac:spMkLst>
            <pc:docMk/>
            <pc:sldMk cId="1782056456" sldId="10434"/>
            <ac:spMk id="12" creationId="{C7013414-76D7-4268-AAD2-A87055DAACA5}"/>
          </ac:spMkLst>
        </pc:spChg>
        <pc:spChg chg="mod">
          <ac:chgData name="Jean QUENTIN" userId="6962deb3-b639-4acd-8091-a0516ea2376b" providerId="ADAL" clId="{146BD8F6-FDDD-49D3-A1A6-146C954086FF}" dt="2021-05-24T13:36:18.339" v="4070" actId="790"/>
          <ac:spMkLst>
            <pc:docMk/>
            <pc:sldMk cId="1782056456" sldId="10434"/>
            <ac:spMk id="31" creationId="{97E5D4A5-0DD4-47F0-90BC-7FD43285E269}"/>
          </ac:spMkLst>
        </pc:spChg>
        <pc:spChg chg="mod">
          <ac:chgData name="Jean QUENTIN" userId="6962deb3-b639-4acd-8091-a0516ea2376b" providerId="ADAL" clId="{146BD8F6-FDDD-49D3-A1A6-146C954086FF}" dt="2021-05-24T13:36:18.307" v="4054" actId="790"/>
          <ac:spMkLst>
            <pc:docMk/>
            <pc:sldMk cId="1782056456" sldId="10434"/>
            <ac:spMk id="32" creationId="{72E4FA22-5F72-4B8A-966C-5EAB2962F5DE}"/>
          </ac:spMkLst>
        </pc:spChg>
        <pc:spChg chg="mod">
          <ac:chgData name="Jean QUENTIN" userId="6962deb3-b639-4acd-8091-a0516ea2376b" providerId="ADAL" clId="{146BD8F6-FDDD-49D3-A1A6-146C954086FF}" dt="2021-05-24T13:36:18.307" v="4055" actId="790"/>
          <ac:spMkLst>
            <pc:docMk/>
            <pc:sldMk cId="1782056456" sldId="10434"/>
            <ac:spMk id="33" creationId="{BC847A98-E385-4268-A8B8-68418B0916EB}"/>
          </ac:spMkLst>
        </pc:spChg>
        <pc:spChg chg="mod">
          <ac:chgData name="Jean QUENTIN" userId="6962deb3-b639-4acd-8091-a0516ea2376b" providerId="ADAL" clId="{146BD8F6-FDDD-49D3-A1A6-146C954086FF}" dt="2021-05-24T13:36:18.307" v="4056" actId="790"/>
          <ac:spMkLst>
            <pc:docMk/>
            <pc:sldMk cId="1782056456" sldId="10434"/>
            <ac:spMk id="34" creationId="{98055D65-32A6-4AE6-AA0E-584E4895BE34}"/>
          </ac:spMkLst>
        </pc:spChg>
        <pc:spChg chg="mod">
          <ac:chgData name="Jean QUENTIN" userId="6962deb3-b639-4acd-8091-a0516ea2376b" providerId="ADAL" clId="{146BD8F6-FDDD-49D3-A1A6-146C954086FF}" dt="2021-05-24T13:36:18.323" v="4057" actId="790"/>
          <ac:spMkLst>
            <pc:docMk/>
            <pc:sldMk cId="1782056456" sldId="10434"/>
            <ac:spMk id="35" creationId="{81BD3286-79C1-4AD5-827B-F5E96A7F940D}"/>
          </ac:spMkLst>
        </pc:spChg>
        <pc:spChg chg="mod">
          <ac:chgData name="Jean QUENTIN" userId="6962deb3-b639-4acd-8091-a0516ea2376b" providerId="ADAL" clId="{146BD8F6-FDDD-49D3-A1A6-146C954086FF}" dt="2021-05-24T13:36:18.323" v="4058" actId="790"/>
          <ac:spMkLst>
            <pc:docMk/>
            <pc:sldMk cId="1782056456" sldId="10434"/>
            <ac:spMk id="36" creationId="{9D0D108D-E040-46E8-9D27-8421B7B8A6B6}"/>
          </ac:spMkLst>
        </pc:spChg>
        <pc:spChg chg="mod">
          <ac:chgData name="Jean QUENTIN" userId="6962deb3-b639-4acd-8091-a0516ea2376b" providerId="ADAL" clId="{146BD8F6-FDDD-49D3-A1A6-146C954086FF}" dt="2021-05-24T13:36:18.323" v="4059" actId="790"/>
          <ac:spMkLst>
            <pc:docMk/>
            <pc:sldMk cId="1782056456" sldId="10434"/>
            <ac:spMk id="37" creationId="{685DD430-D135-4898-B681-DADA54449406}"/>
          </ac:spMkLst>
        </pc:spChg>
        <pc:spChg chg="mod">
          <ac:chgData name="Jean QUENTIN" userId="6962deb3-b639-4acd-8091-a0516ea2376b" providerId="ADAL" clId="{146BD8F6-FDDD-49D3-A1A6-146C954086FF}" dt="2021-05-24T13:36:18.323" v="4060" actId="790"/>
          <ac:spMkLst>
            <pc:docMk/>
            <pc:sldMk cId="1782056456" sldId="10434"/>
            <ac:spMk id="38" creationId="{33227BCF-594C-48FC-A668-E9496B25076E}"/>
          </ac:spMkLst>
        </pc:spChg>
        <pc:spChg chg="mod">
          <ac:chgData name="Jean QUENTIN" userId="6962deb3-b639-4acd-8091-a0516ea2376b" providerId="ADAL" clId="{146BD8F6-FDDD-49D3-A1A6-146C954086FF}" dt="2021-05-24T13:36:18.339" v="4061" actId="790"/>
          <ac:spMkLst>
            <pc:docMk/>
            <pc:sldMk cId="1782056456" sldId="10434"/>
            <ac:spMk id="42" creationId="{FB53C860-4349-483B-9A2E-4EA3FEEC44A4}"/>
          </ac:spMkLst>
        </pc:spChg>
        <pc:spChg chg="mod">
          <ac:chgData name="Jean QUENTIN" userId="6962deb3-b639-4acd-8091-a0516ea2376b" providerId="ADAL" clId="{146BD8F6-FDDD-49D3-A1A6-146C954086FF}" dt="2021-05-24T13:36:18.339" v="4062" actId="790"/>
          <ac:spMkLst>
            <pc:docMk/>
            <pc:sldMk cId="1782056456" sldId="10434"/>
            <ac:spMk id="43" creationId="{9BAD9349-B578-4C93-89B0-5E143458F95D}"/>
          </ac:spMkLst>
        </pc:spChg>
        <pc:spChg chg="mod">
          <ac:chgData name="Jean QUENTIN" userId="6962deb3-b639-4acd-8091-a0516ea2376b" providerId="ADAL" clId="{146BD8F6-FDDD-49D3-A1A6-146C954086FF}" dt="2021-05-24T13:36:18.354" v="4075" actId="790"/>
          <ac:spMkLst>
            <pc:docMk/>
            <pc:sldMk cId="1782056456" sldId="10434"/>
            <ac:spMk id="49" creationId="{67AE2F44-9EEF-43A2-8B51-BC935523C9E0}"/>
          </ac:spMkLst>
        </pc:spChg>
        <pc:spChg chg="mod">
          <ac:chgData name="Jean QUENTIN" userId="6962deb3-b639-4acd-8091-a0516ea2376b" providerId="ADAL" clId="{146BD8F6-FDDD-49D3-A1A6-146C954086FF}" dt="2021-05-24T13:36:18.354" v="4076" actId="790"/>
          <ac:spMkLst>
            <pc:docMk/>
            <pc:sldMk cId="1782056456" sldId="10434"/>
            <ac:spMk id="50" creationId="{18A35D89-E578-465F-9F48-122A6AE9ACE7}"/>
          </ac:spMkLst>
        </pc:spChg>
        <pc:spChg chg="mod">
          <ac:chgData name="Jean QUENTIN" userId="6962deb3-b639-4acd-8091-a0516ea2376b" providerId="ADAL" clId="{146BD8F6-FDDD-49D3-A1A6-146C954086FF}" dt="2021-05-24T13:36:18.354" v="4077" actId="790"/>
          <ac:spMkLst>
            <pc:docMk/>
            <pc:sldMk cId="1782056456" sldId="10434"/>
            <ac:spMk id="53" creationId="{4F306A22-E656-4BD9-802E-2026A2ACAD12}"/>
          </ac:spMkLst>
        </pc:spChg>
        <pc:spChg chg="mod">
          <ac:chgData name="Jean QUENTIN" userId="6962deb3-b639-4acd-8091-a0516ea2376b" providerId="ADAL" clId="{146BD8F6-FDDD-49D3-A1A6-146C954086FF}" dt="2021-05-24T13:36:18.361" v="4078" actId="790"/>
          <ac:spMkLst>
            <pc:docMk/>
            <pc:sldMk cId="1782056456" sldId="10434"/>
            <ac:spMk id="56" creationId="{BE450877-DEBB-4F5E-82C3-2D3D2B98DF5C}"/>
          </ac:spMkLst>
        </pc:spChg>
        <pc:spChg chg="mod">
          <ac:chgData name="Jean QUENTIN" userId="6962deb3-b639-4acd-8091-a0516ea2376b" providerId="ADAL" clId="{146BD8F6-FDDD-49D3-A1A6-146C954086FF}" dt="2021-05-24T13:36:18.339" v="4063" actId="790"/>
          <ac:spMkLst>
            <pc:docMk/>
            <pc:sldMk cId="1782056456" sldId="10434"/>
            <ac:spMk id="58" creationId="{F3BBC108-E3A8-4285-8482-6573BB5A9BFA}"/>
          </ac:spMkLst>
        </pc:spChg>
        <pc:spChg chg="mod">
          <ac:chgData name="Jean QUENTIN" userId="6962deb3-b639-4acd-8091-a0516ea2376b" providerId="ADAL" clId="{146BD8F6-FDDD-49D3-A1A6-146C954086FF}" dt="2021-05-24T13:36:18.339" v="4064" actId="790"/>
          <ac:spMkLst>
            <pc:docMk/>
            <pc:sldMk cId="1782056456" sldId="10434"/>
            <ac:spMk id="60" creationId="{502A1A2A-5BE4-4CEC-87C8-F81B82FE17A0}"/>
          </ac:spMkLst>
        </pc:spChg>
        <pc:spChg chg="mod">
          <ac:chgData name="Jean QUENTIN" userId="6962deb3-b639-4acd-8091-a0516ea2376b" providerId="ADAL" clId="{146BD8F6-FDDD-49D3-A1A6-146C954086FF}" dt="2021-05-24T13:36:18.361" v="4079" actId="790"/>
          <ac:spMkLst>
            <pc:docMk/>
            <pc:sldMk cId="1782056456" sldId="10434"/>
            <ac:spMk id="61" creationId="{A8693A9A-910B-4E14-AA60-3179AF2BEF5E}"/>
          </ac:spMkLst>
        </pc:spChg>
        <pc:spChg chg="mod">
          <ac:chgData name="Jean QUENTIN" userId="6962deb3-b639-4acd-8091-a0516ea2376b" providerId="ADAL" clId="{146BD8F6-FDDD-49D3-A1A6-146C954086FF}" dt="2021-05-24T13:36:18.361" v="4080" actId="790"/>
          <ac:spMkLst>
            <pc:docMk/>
            <pc:sldMk cId="1782056456" sldId="10434"/>
            <ac:spMk id="62" creationId="{E16C1019-EC6C-4338-A31A-ACDFD5EFC767}"/>
          </ac:spMkLst>
        </pc:spChg>
        <pc:spChg chg="mod">
          <ac:chgData name="Jean QUENTIN" userId="6962deb3-b639-4acd-8091-a0516ea2376b" providerId="ADAL" clId="{146BD8F6-FDDD-49D3-A1A6-146C954086FF}" dt="2021-05-24T13:36:18.339" v="4065" actId="790"/>
          <ac:spMkLst>
            <pc:docMk/>
            <pc:sldMk cId="1782056456" sldId="10434"/>
            <ac:spMk id="69" creationId="{19F48430-90DF-40FF-A00A-84E93A59C005}"/>
          </ac:spMkLst>
        </pc:spChg>
        <pc:spChg chg="mod">
          <ac:chgData name="Jean QUENTIN" userId="6962deb3-b639-4acd-8091-a0516ea2376b" providerId="ADAL" clId="{146BD8F6-FDDD-49D3-A1A6-146C954086FF}" dt="2021-05-24T13:36:18.339" v="4066" actId="790"/>
          <ac:spMkLst>
            <pc:docMk/>
            <pc:sldMk cId="1782056456" sldId="10434"/>
            <ac:spMk id="70" creationId="{712AF8AD-F5B4-45E9-AA35-3836D1A918F9}"/>
          </ac:spMkLst>
        </pc:spChg>
        <pc:spChg chg="mod">
          <ac:chgData name="Jean QUENTIN" userId="6962deb3-b639-4acd-8091-a0516ea2376b" providerId="ADAL" clId="{146BD8F6-FDDD-49D3-A1A6-146C954086FF}" dt="2021-05-24T13:36:18.339" v="4067" actId="790"/>
          <ac:spMkLst>
            <pc:docMk/>
            <pc:sldMk cId="1782056456" sldId="10434"/>
            <ac:spMk id="73" creationId="{37CE42CA-0196-4A12-823E-1A27C547E4D3}"/>
          </ac:spMkLst>
        </pc:spChg>
        <pc:spChg chg="mod">
          <ac:chgData name="Jean QUENTIN" userId="6962deb3-b639-4acd-8091-a0516ea2376b" providerId="ADAL" clId="{146BD8F6-FDDD-49D3-A1A6-146C954086FF}" dt="2021-05-24T13:36:18.339" v="4071" actId="790"/>
          <ac:spMkLst>
            <pc:docMk/>
            <pc:sldMk cId="1782056456" sldId="10434"/>
            <ac:spMk id="78" creationId="{9A9481B5-737E-45DE-81D8-2F715985CC57}"/>
          </ac:spMkLst>
        </pc:spChg>
        <pc:spChg chg="mod">
          <ac:chgData name="Jean QUENTIN" userId="6962deb3-b639-4acd-8091-a0516ea2376b" providerId="ADAL" clId="{146BD8F6-FDDD-49D3-A1A6-146C954086FF}" dt="2021-05-24T13:36:18.339" v="4072" actId="790"/>
          <ac:spMkLst>
            <pc:docMk/>
            <pc:sldMk cId="1782056456" sldId="10434"/>
            <ac:spMk id="80" creationId="{53EEF4E9-317D-4996-82F1-5D806F6EA3E2}"/>
          </ac:spMkLst>
        </pc:spChg>
        <pc:spChg chg="mod">
          <ac:chgData name="Jean QUENTIN" userId="6962deb3-b639-4acd-8091-a0516ea2376b" providerId="ADAL" clId="{146BD8F6-FDDD-49D3-A1A6-146C954086FF}" dt="2021-05-24T13:36:18.354" v="4073" actId="790"/>
          <ac:spMkLst>
            <pc:docMk/>
            <pc:sldMk cId="1782056456" sldId="10434"/>
            <ac:spMk id="84" creationId="{4A5E7AB0-2297-4CD5-A92F-B96EE98B1D1A}"/>
          </ac:spMkLst>
        </pc:spChg>
        <pc:spChg chg="mod">
          <ac:chgData name="Jean QUENTIN" userId="6962deb3-b639-4acd-8091-a0516ea2376b" providerId="ADAL" clId="{146BD8F6-FDDD-49D3-A1A6-146C954086FF}" dt="2021-05-24T13:36:18.354" v="4074" actId="790"/>
          <ac:spMkLst>
            <pc:docMk/>
            <pc:sldMk cId="1782056456" sldId="10434"/>
            <ac:spMk id="85" creationId="{1A835908-83BB-404C-AE36-6D07AE32C2A9}"/>
          </ac:spMkLst>
        </pc:spChg>
      </pc:sldChg>
      <pc:sldChg chg="addSp modSp mod">
        <pc:chgData name="Jean QUENTIN" userId="6962deb3-b639-4acd-8091-a0516ea2376b" providerId="ADAL" clId="{146BD8F6-FDDD-49D3-A1A6-146C954086FF}" dt="2021-05-25T15:09:15.458" v="14562" actId="207"/>
        <pc:sldMkLst>
          <pc:docMk/>
          <pc:sldMk cId="2765598525" sldId="10435"/>
        </pc:sldMkLst>
        <pc:spChg chg="mod">
          <ac:chgData name="Jean QUENTIN" userId="6962deb3-b639-4acd-8091-a0516ea2376b" providerId="ADAL" clId="{146BD8F6-FDDD-49D3-A1A6-146C954086FF}" dt="2021-05-25T11:14:47.292" v="14226" actId="20577"/>
          <ac:spMkLst>
            <pc:docMk/>
            <pc:sldMk cId="2765598525" sldId="10435"/>
            <ac:spMk id="2" creationId="{EC591099-5136-44AA-B77C-AE0AD4DCABDF}"/>
          </ac:spMkLst>
        </pc:spChg>
        <pc:spChg chg="mod">
          <ac:chgData name="Jean QUENTIN" userId="6962deb3-b639-4acd-8091-a0516ea2376b" providerId="ADAL" clId="{146BD8F6-FDDD-49D3-A1A6-146C954086FF}" dt="2021-05-25T14:53:32.613" v="14519" actId="207"/>
          <ac:spMkLst>
            <pc:docMk/>
            <pc:sldMk cId="2765598525" sldId="10435"/>
            <ac:spMk id="3" creationId="{DD2E96F6-2E57-4675-BC16-4DA440530E35}"/>
          </ac:spMkLst>
        </pc:spChg>
        <pc:spChg chg="mod">
          <ac:chgData name="Jean QUENTIN" userId="6962deb3-b639-4acd-8091-a0516ea2376b" providerId="ADAL" clId="{146BD8F6-FDDD-49D3-A1A6-146C954086FF}" dt="2021-05-25T14:53:53.324" v="14522" actId="207"/>
          <ac:spMkLst>
            <pc:docMk/>
            <pc:sldMk cId="2765598525" sldId="10435"/>
            <ac:spMk id="4" creationId="{3C26708D-8FD1-4162-A79F-E85299ED6CF0}"/>
          </ac:spMkLst>
        </pc:spChg>
        <pc:spChg chg="add mod">
          <ac:chgData name="Jean QUENTIN" userId="6962deb3-b639-4acd-8091-a0516ea2376b" providerId="ADAL" clId="{146BD8F6-FDDD-49D3-A1A6-146C954086FF}" dt="2021-05-25T11:09:36.243" v="13735"/>
          <ac:spMkLst>
            <pc:docMk/>
            <pc:sldMk cId="2765598525" sldId="10435"/>
            <ac:spMk id="5" creationId="{44D2D40B-8075-4B91-812D-A772560D3F86}"/>
          </ac:spMkLst>
        </pc:spChg>
        <pc:spChg chg="mod">
          <ac:chgData name="Jean QUENTIN" userId="6962deb3-b639-4acd-8091-a0516ea2376b" providerId="ADAL" clId="{146BD8F6-FDDD-49D3-A1A6-146C954086FF}" dt="2021-05-25T14:54:28.080" v="14526" actId="12"/>
          <ac:spMkLst>
            <pc:docMk/>
            <pc:sldMk cId="2765598525" sldId="10435"/>
            <ac:spMk id="8" creationId="{A6B52ADE-C6C9-45C2-843E-F5D6B61A9114}"/>
          </ac:spMkLst>
        </pc:spChg>
        <pc:spChg chg="mod">
          <ac:chgData name="Jean QUENTIN" userId="6962deb3-b639-4acd-8091-a0516ea2376b" providerId="ADAL" clId="{146BD8F6-FDDD-49D3-A1A6-146C954086FF}" dt="2021-05-25T14:52:57.057" v="14515" actId="12"/>
          <ac:spMkLst>
            <pc:docMk/>
            <pc:sldMk cId="2765598525" sldId="10435"/>
            <ac:spMk id="9" creationId="{8F0D622A-5573-4746-8AB0-56CBA48208B1}"/>
          </ac:spMkLst>
        </pc:spChg>
        <pc:spChg chg="mod">
          <ac:chgData name="Jean QUENTIN" userId="6962deb3-b639-4acd-8091-a0516ea2376b" providerId="ADAL" clId="{146BD8F6-FDDD-49D3-A1A6-146C954086FF}" dt="2021-05-24T13:36:21.848" v="5859" actId="790"/>
          <ac:spMkLst>
            <pc:docMk/>
            <pc:sldMk cId="2765598525" sldId="10435"/>
            <ac:spMk id="10" creationId="{D6CBEC82-D509-43A2-8044-DFD9FF7838D4}"/>
          </ac:spMkLst>
        </pc:spChg>
        <pc:spChg chg="mod">
          <ac:chgData name="Jean QUENTIN" userId="6962deb3-b639-4acd-8091-a0516ea2376b" providerId="ADAL" clId="{146BD8F6-FDDD-49D3-A1A6-146C954086FF}" dt="2021-05-24T13:36:21.848" v="5860" actId="790"/>
          <ac:spMkLst>
            <pc:docMk/>
            <pc:sldMk cId="2765598525" sldId="10435"/>
            <ac:spMk id="11" creationId="{94D1F405-16AC-4E70-9A21-B8DC490952C1}"/>
          </ac:spMkLst>
        </pc:spChg>
        <pc:spChg chg="mod">
          <ac:chgData name="Jean QUENTIN" userId="6962deb3-b639-4acd-8091-a0516ea2376b" providerId="ADAL" clId="{146BD8F6-FDDD-49D3-A1A6-146C954086FF}" dt="2021-05-24T13:36:21.848" v="5861" actId="790"/>
          <ac:spMkLst>
            <pc:docMk/>
            <pc:sldMk cId="2765598525" sldId="10435"/>
            <ac:spMk id="12" creationId="{52AD597C-357C-41FE-8444-653952863F47}"/>
          </ac:spMkLst>
        </pc:spChg>
        <pc:spChg chg="mod">
          <ac:chgData name="Jean QUENTIN" userId="6962deb3-b639-4acd-8091-a0516ea2376b" providerId="ADAL" clId="{146BD8F6-FDDD-49D3-A1A6-146C954086FF}" dt="2021-05-24T13:36:21.848" v="5862" actId="790"/>
          <ac:spMkLst>
            <pc:docMk/>
            <pc:sldMk cId="2765598525" sldId="10435"/>
            <ac:spMk id="13" creationId="{911F5F24-D734-4C10-9BA6-47F05CD2E240}"/>
          </ac:spMkLst>
        </pc:spChg>
        <pc:spChg chg="mod">
          <ac:chgData name="Jean QUENTIN" userId="6962deb3-b639-4acd-8091-a0516ea2376b" providerId="ADAL" clId="{146BD8F6-FDDD-49D3-A1A6-146C954086FF}" dt="2021-05-24T13:36:21.848" v="5863" actId="790"/>
          <ac:spMkLst>
            <pc:docMk/>
            <pc:sldMk cId="2765598525" sldId="10435"/>
            <ac:spMk id="14" creationId="{9847F5CB-BDE3-498E-940B-8F44B0358F12}"/>
          </ac:spMkLst>
        </pc:spChg>
        <pc:spChg chg="mod">
          <ac:chgData name="Jean QUENTIN" userId="6962deb3-b639-4acd-8091-a0516ea2376b" providerId="ADAL" clId="{146BD8F6-FDDD-49D3-A1A6-146C954086FF}" dt="2021-05-24T13:36:21.848" v="5864" actId="790"/>
          <ac:spMkLst>
            <pc:docMk/>
            <pc:sldMk cId="2765598525" sldId="10435"/>
            <ac:spMk id="15" creationId="{4E709C52-37C3-45B2-AB0F-69DA749EA359}"/>
          </ac:spMkLst>
        </pc:spChg>
        <pc:spChg chg="mod">
          <ac:chgData name="Jean QUENTIN" userId="6962deb3-b639-4acd-8091-a0516ea2376b" providerId="ADAL" clId="{146BD8F6-FDDD-49D3-A1A6-146C954086FF}" dt="2021-05-24T13:36:21.848" v="5865" actId="790"/>
          <ac:spMkLst>
            <pc:docMk/>
            <pc:sldMk cId="2765598525" sldId="10435"/>
            <ac:spMk id="17" creationId="{BC09A0D8-BAD1-4AE5-9822-FFBD7CA1928A}"/>
          </ac:spMkLst>
        </pc:spChg>
        <pc:spChg chg="mod">
          <ac:chgData name="Jean QUENTIN" userId="6962deb3-b639-4acd-8091-a0516ea2376b" providerId="ADAL" clId="{146BD8F6-FDDD-49D3-A1A6-146C954086FF}" dt="2021-05-24T13:36:21.863" v="5866" actId="790"/>
          <ac:spMkLst>
            <pc:docMk/>
            <pc:sldMk cId="2765598525" sldId="10435"/>
            <ac:spMk id="18" creationId="{3294A9D0-4A9E-4ABA-90D1-4C1C1321EE9D}"/>
          </ac:spMkLst>
        </pc:spChg>
        <pc:spChg chg="mod">
          <ac:chgData name="Jean QUENTIN" userId="6962deb3-b639-4acd-8091-a0516ea2376b" providerId="ADAL" clId="{146BD8F6-FDDD-49D3-A1A6-146C954086FF}" dt="2021-05-24T13:36:21.863" v="5867" actId="790"/>
          <ac:spMkLst>
            <pc:docMk/>
            <pc:sldMk cId="2765598525" sldId="10435"/>
            <ac:spMk id="19" creationId="{CAAE11F2-D859-4EAE-984F-2E3A2DB9EC1F}"/>
          </ac:spMkLst>
        </pc:spChg>
        <pc:spChg chg="mod">
          <ac:chgData name="Jean QUENTIN" userId="6962deb3-b639-4acd-8091-a0516ea2376b" providerId="ADAL" clId="{146BD8F6-FDDD-49D3-A1A6-146C954086FF}" dt="2021-05-24T13:36:21.863" v="5868" actId="790"/>
          <ac:spMkLst>
            <pc:docMk/>
            <pc:sldMk cId="2765598525" sldId="10435"/>
            <ac:spMk id="20" creationId="{4AE358B2-D82A-4C9F-8E14-905EF9D6C8D5}"/>
          </ac:spMkLst>
        </pc:spChg>
        <pc:spChg chg="mod">
          <ac:chgData name="Jean QUENTIN" userId="6962deb3-b639-4acd-8091-a0516ea2376b" providerId="ADAL" clId="{146BD8F6-FDDD-49D3-A1A6-146C954086FF}" dt="2021-05-24T13:36:21.870" v="5869" actId="790"/>
          <ac:spMkLst>
            <pc:docMk/>
            <pc:sldMk cId="2765598525" sldId="10435"/>
            <ac:spMk id="22" creationId="{B3331889-93AE-4303-8A0C-184CACE72359}"/>
          </ac:spMkLst>
        </pc:spChg>
        <pc:spChg chg="mod">
          <ac:chgData name="Jean QUENTIN" userId="6962deb3-b639-4acd-8091-a0516ea2376b" providerId="ADAL" clId="{146BD8F6-FDDD-49D3-A1A6-146C954086FF}" dt="2021-05-24T13:36:21.870" v="5870" actId="790"/>
          <ac:spMkLst>
            <pc:docMk/>
            <pc:sldMk cId="2765598525" sldId="10435"/>
            <ac:spMk id="23" creationId="{39FC0661-B7E5-45BF-A8E1-D4187AB5A28E}"/>
          </ac:spMkLst>
        </pc:spChg>
        <pc:spChg chg="mod">
          <ac:chgData name="Jean QUENTIN" userId="6962deb3-b639-4acd-8091-a0516ea2376b" providerId="ADAL" clId="{146BD8F6-FDDD-49D3-A1A6-146C954086FF}" dt="2021-05-24T13:36:21.870" v="5871" actId="790"/>
          <ac:spMkLst>
            <pc:docMk/>
            <pc:sldMk cId="2765598525" sldId="10435"/>
            <ac:spMk id="24" creationId="{84787D6D-5211-4DD8-AE7B-CE9B96B622B2}"/>
          </ac:spMkLst>
        </pc:spChg>
        <pc:spChg chg="mod">
          <ac:chgData name="Jean QUENTIN" userId="6962deb3-b639-4acd-8091-a0516ea2376b" providerId="ADAL" clId="{146BD8F6-FDDD-49D3-A1A6-146C954086FF}" dt="2021-05-24T13:36:21.901" v="5884" actId="790"/>
          <ac:spMkLst>
            <pc:docMk/>
            <pc:sldMk cId="2765598525" sldId="10435"/>
            <ac:spMk id="25" creationId="{D0893839-FCA8-44A2-9EE6-AB39ECB9D8B7}"/>
          </ac:spMkLst>
        </pc:spChg>
        <pc:spChg chg="mod">
          <ac:chgData name="Jean QUENTIN" userId="6962deb3-b639-4acd-8091-a0516ea2376b" providerId="ADAL" clId="{146BD8F6-FDDD-49D3-A1A6-146C954086FF}" dt="2021-05-25T15:08:39.966" v="14560" actId="207"/>
          <ac:spMkLst>
            <pc:docMk/>
            <pc:sldMk cId="2765598525" sldId="10435"/>
            <ac:spMk id="26" creationId="{D3DE6BE8-F4EB-4250-A1AC-CAE093D62085}"/>
          </ac:spMkLst>
        </pc:spChg>
        <pc:spChg chg="mod">
          <ac:chgData name="Jean QUENTIN" userId="6962deb3-b639-4acd-8091-a0516ea2376b" providerId="ADAL" clId="{146BD8F6-FDDD-49D3-A1A6-146C954086FF}" dt="2021-05-24T13:36:21.885" v="5874" actId="790"/>
          <ac:spMkLst>
            <pc:docMk/>
            <pc:sldMk cId="2765598525" sldId="10435"/>
            <ac:spMk id="27" creationId="{77DF0992-6025-4E2D-B409-A1CE1585BE4A}"/>
          </ac:spMkLst>
        </pc:spChg>
        <pc:spChg chg="mod">
          <ac:chgData name="Jean QUENTIN" userId="6962deb3-b639-4acd-8091-a0516ea2376b" providerId="ADAL" clId="{146BD8F6-FDDD-49D3-A1A6-146C954086FF}" dt="2021-05-24T13:36:21.870" v="5873" actId="790"/>
          <ac:spMkLst>
            <pc:docMk/>
            <pc:sldMk cId="2765598525" sldId="10435"/>
            <ac:spMk id="29" creationId="{A12CE04B-E27C-47AE-B31C-2633FA45967E}"/>
          </ac:spMkLst>
        </pc:spChg>
        <pc:spChg chg="mod">
          <ac:chgData name="Jean QUENTIN" userId="6962deb3-b639-4acd-8091-a0516ea2376b" providerId="ADAL" clId="{146BD8F6-FDDD-49D3-A1A6-146C954086FF}" dt="2021-05-24T13:36:21.885" v="5876" actId="790"/>
          <ac:spMkLst>
            <pc:docMk/>
            <pc:sldMk cId="2765598525" sldId="10435"/>
            <ac:spMk id="31" creationId="{47BE7687-A515-426B-B81A-4A89ECB7AA14}"/>
          </ac:spMkLst>
        </pc:spChg>
        <pc:spChg chg="mod">
          <ac:chgData name="Jean QUENTIN" userId="6962deb3-b639-4acd-8091-a0516ea2376b" providerId="ADAL" clId="{146BD8F6-FDDD-49D3-A1A6-146C954086FF}" dt="2021-05-24T13:36:21.885" v="5875" actId="790"/>
          <ac:spMkLst>
            <pc:docMk/>
            <pc:sldMk cId="2765598525" sldId="10435"/>
            <ac:spMk id="32" creationId="{36587DAE-9B3C-4706-BA2D-0A286CB69953}"/>
          </ac:spMkLst>
        </pc:spChg>
        <pc:spChg chg="mod">
          <ac:chgData name="Jean QUENTIN" userId="6962deb3-b639-4acd-8091-a0516ea2376b" providerId="ADAL" clId="{146BD8F6-FDDD-49D3-A1A6-146C954086FF}" dt="2021-05-24T13:36:21.885" v="5877" actId="790"/>
          <ac:spMkLst>
            <pc:docMk/>
            <pc:sldMk cId="2765598525" sldId="10435"/>
            <ac:spMk id="34" creationId="{43C16CF8-F041-431A-9775-A60FCC8890DC}"/>
          </ac:spMkLst>
        </pc:spChg>
        <pc:spChg chg="mod">
          <ac:chgData name="Jean QUENTIN" userId="6962deb3-b639-4acd-8091-a0516ea2376b" providerId="ADAL" clId="{146BD8F6-FDDD-49D3-A1A6-146C954086FF}" dt="2021-05-24T13:36:21.885" v="5878" actId="790"/>
          <ac:spMkLst>
            <pc:docMk/>
            <pc:sldMk cId="2765598525" sldId="10435"/>
            <ac:spMk id="35" creationId="{0B244AB2-15BC-4B1F-B831-527C871E055B}"/>
          </ac:spMkLst>
        </pc:spChg>
        <pc:spChg chg="mod">
          <ac:chgData name="Jean QUENTIN" userId="6962deb3-b639-4acd-8091-a0516ea2376b" providerId="ADAL" clId="{146BD8F6-FDDD-49D3-A1A6-146C954086FF}" dt="2021-05-24T13:36:21.901" v="5879" actId="790"/>
          <ac:spMkLst>
            <pc:docMk/>
            <pc:sldMk cId="2765598525" sldId="10435"/>
            <ac:spMk id="37" creationId="{6D996438-2A04-4866-B4C7-335C0031D0D2}"/>
          </ac:spMkLst>
        </pc:spChg>
        <pc:spChg chg="mod">
          <ac:chgData name="Jean QUENTIN" userId="6962deb3-b639-4acd-8091-a0516ea2376b" providerId="ADAL" clId="{146BD8F6-FDDD-49D3-A1A6-146C954086FF}" dt="2021-05-24T13:36:21.901" v="5880" actId="790"/>
          <ac:spMkLst>
            <pc:docMk/>
            <pc:sldMk cId="2765598525" sldId="10435"/>
            <ac:spMk id="39" creationId="{5D40534F-3F1E-4C03-929E-AA7F8DCD307B}"/>
          </ac:spMkLst>
        </pc:spChg>
        <pc:spChg chg="mod">
          <ac:chgData name="Jean QUENTIN" userId="6962deb3-b639-4acd-8091-a0516ea2376b" providerId="ADAL" clId="{146BD8F6-FDDD-49D3-A1A6-146C954086FF}" dt="2021-05-25T14:54:49.485" v="14527" actId="207"/>
          <ac:spMkLst>
            <pc:docMk/>
            <pc:sldMk cId="2765598525" sldId="10435"/>
            <ac:spMk id="40" creationId="{99AF67C3-160C-4177-9C17-3461D134EEE4}"/>
          </ac:spMkLst>
        </pc:spChg>
        <pc:spChg chg="mod">
          <ac:chgData name="Jean QUENTIN" userId="6962deb3-b639-4acd-8091-a0516ea2376b" providerId="ADAL" clId="{146BD8F6-FDDD-49D3-A1A6-146C954086FF}" dt="2021-05-24T13:36:21.901" v="5882" actId="790"/>
          <ac:spMkLst>
            <pc:docMk/>
            <pc:sldMk cId="2765598525" sldId="10435"/>
            <ac:spMk id="41" creationId="{E1A159BC-0828-460F-B383-CA6B6D4FA551}"/>
          </ac:spMkLst>
        </pc:spChg>
        <pc:spChg chg="mod">
          <ac:chgData name="Jean QUENTIN" userId="6962deb3-b639-4acd-8091-a0516ea2376b" providerId="ADAL" clId="{146BD8F6-FDDD-49D3-A1A6-146C954086FF}" dt="2021-05-25T15:09:15.458" v="14562" actId="207"/>
          <ac:spMkLst>
            <pc:docMk/>
            <pc:sldMk cId="2765598525" sldId="10435"/>
            <ac:spMk id="42" creationId="{B55D48E5-96AE-4404-9E04-DBD77B7488EA}"/>
          </ac:spMkLst>
        </pc:spChg>
        <pc:spChg chg="mod">
          <ac:chgData name="Jean QUENTIN" userId="6962deb3-b639-4acd-8091-a0516ea2376b" providerId="ADAL" clId="{146BD8F6-FDDD-49D3-A1A6-146C954086FF}" dt="2021-05-24T13:36:21.901" v="5885" actId="790"/>
          <ac:spMkLst>
            <pc:docMk/>
            <pc:sldMk cId="2765598525" sldId="10435"/>
            <ac:spMk id="46" creationId="{AD83E7D0-FB1C-4BBC-9502-F88667DF8133}"/>
          </ac:spMkLst>
        </pc:spChg>
        <pc:spChg chg="mod">
          <ac:chgData name="Jean QUENTIN" userId="6962deb3-b639-4acd-8091-a0516ea2376b" providerId="ADAL" clId="{146BD8F6-FDDD-49D3-A1A6-146C954086FF}" dt="2021-05-24T13:36:21.932" v="5892" actId="790"/>
          <ac:spMkLst>
            <pc:docMk/>
            <pc:sldMk cId="2765598525" sldId="10435"/>
            <ac:spMk id="49" creationId="{DCA24736-C921-4820-BD41-3BB3642FD803}"/>
          </ac:spMkLst>
        </pc:spChg>
        <pc:spChg chg="mod">
          <ac:chgData name="Jean QUENTIN" userId="6962deb3-b639-4acd-8091-a0516ea2376b" providerId="ADAL" clId="{146BD8F6-FDDD-49D3-A1A6-146C954086FF}" dt="2021-05-25T14:59:33.713" v="14534" actId="207"/>
          <ac:spMkLst>
            <pc:docMk/>
            <pc:sldMk cId="2765598525" sldId="10435"/>
            <ac:spMk id="57" creationId="{1C30E004-DFA6-45BF-A5E8-2C530ABCBF9D}"/>
          </ac:spMkLst>
        </pc:spChg>
        <pc:spChg chg="add mod">
          <ac:chgData name="Jean QUENTIN" userId="6962deb3-b639-4acd-8091-a0516ea2376b" providerId="ADAL" clId="{146BD8F6-FDDD-49D3-A1A6-146C954086FF}" dt="2021-05-25T14:58:37.948" v="14530" actId="207"/>
          <ac:spMkLst>
            <pc:docMk/>
            <pc:sldMk cId="2765598525" sldId="10435"/>
            <ac:spMk id="63" creationId="{FEC106FA-F773-4E76-A121-BFA96EB32610}"/>
          </ac:spMkLst>
        </pc:spChg>
        <pc:spChg chg="mod">
          <ac:chgData name="Jean QUENTIN" userId="6962deb3-b639-4acd-8091-a0516ea2376b" providerId="ADAL" clId="{146BD8F6-FDDD-49D3-A1A6-146C954086FF}" dt="2021-05-24T13:36:21.932" v="5893" actId="790"/>
          <ac:spMkLst>
            <pc:docMk/>
            <pc:sldMk cId="2765598525" sldId="10435"/>
            <ac:spMk id="65" creationId="{63BC922A-E119-45ED-AD41-4AA3DB639CCA}"/>
          </ac:spMkLst>
        </pc:spChg>
        <pc:spChg chg="mod">
          <ac:chgData name="Jean QUENTIN" userId="6962deb3-b639-4acd-8091-a0516ea2376b" providerId="ADAL" clId="{146BD8F6-FDDD-49D3-A1A6-146C954086FF}" dt="2021-05-25T15:08:58.413" v="14561" actId="207"/>
          <ac:spMkLst>
            <pc:docMk/>
            <pc:sldMk cId="2765598525" sldId="10435"/>
            <ac:spMk id="66" creationId="{C6A8EA40-B6D5-497D-9B6D-39FDC84D3A91}"/>
          </ac:spMkLst>
        </pc:spChg>
        <pc:spChg chg="mod">
          <ac:chgData name="Jean QUENTIN" userId="6962deb3-b639-4acd-8091-a0516ea2376b" providerId="ADAL" clId="{146BD8F6-FDDD-49D3-A1A6-146C954086FF}" dt="2021-05-24T13:36:21.917" v="5888" actId="790"/>
          <ac:spMkLst>
            <pc:docMk/>
            <pc:sldMk cId="2765598525" sldId="10435"/>
            <ac:spMk id="68" creationId="{B3FDAE9B-6237-4D44-9C56-6C2ABE08C1C5}"/>
          </ac:spMkLst>
        </pc:spChg>
        <pc:spChg chg="mod">
          <ac:chgData name="Jean QUENTIN" userId="6962deb3-b639-4acd-8091-a0516ea2376b" providerId="ADAL" clId="{146BD8F6-FDDD-49D3-A1A6-146C954086FF}" dt="2021-05-24T13:36:21.917" v="5889" actId="790"/>
          <ac:spMkLst>
            <pc:docMk/>
            <pc:sldMk cId="2765598525" sldId="10435"/>
            <ac:spMk id="69" creationId="{C19101E2-49D4-4D57-84DB-BD95186C2384}"/>
          </ac:spMkLst>
        </pc:spChg>
        <pc:spChg chg="mod">
          <ac:chgData name="Jean QUENTIN" userId="6962deb3-b639-4acd-8091-a0516ea2376b" providerId="ADAL" clId="{146BD8F6-FDDD-49D3-A1A6-146C954086FF}" dt="2021-05-25T15:06:46.246" v="14558" actId="207"/>
          <ac:spMkLst>
            <pc:docMk/>
            <pc:sldMk cId="2765598525" sldId="10435"/>
            <ac:spMk id="70" creationId="{E7F54798-5D30-4D44-9892-860B1F1097BA}"/>
          </ac:spMkLst>
        </pc:spChg>
        <pc:spChg chg="mod">
          <ac:chgData name="Jean QUENTIN" userId="6962deb3-b639-4acd-8091-a0516ea2376b" providerId="ADAL" clId="{146BD8F6-FDDD-49D3-A1A6-146C954086FF}" dt="2021-05-25T14:58:12.978" v="14528" actId="207"/>
          <ac:spMkLst>
            <pc:docMk/>
            <pc:sldMk cId="2765598525" sldId="10435"/>
            <ac:spMk id="72" creationId="{38D55508-C45D-4729-9781-105E4D6EE81A}"/>
          </ac:spMkLst>
        </pc:spChg>
      </pc:sldChg>
      <pc:sldChg chg="modSp mod">
        <pc:chgData name="Jean QUENTIN" userId="6962deb3-b639-4acd-8091-a0516ea2376b" providerId="ADAL" clId="{146BD8F6-FDDD-49D3-A1A6-146C954086FF}" dt="2021-05-24T13:36:18.138" v="3978" actId="790"/>
        <pc:sldMkLst>
          <pc:docMk/>
          <pc:sldMk cId="3781687056" sldId="10437"/>
        </pc:sldMkLst>
        <pc:spChg chg="mod">
          <ac:chgData name="Jean QUENTIN" userId="6962deb3-b639-4acd-8091-a0516ea2376b" providerId="ADAL" clId="{146BD8F6-FDDD-49D3-A1A6-146C954086FF}" dt="2021-05-24T13:36:17.922" v="3876" actId="790"/>
          <ac:spMkLst>
            <pc:docMk/>
            <pc:sldMk cId="3781687056" sldId="10437"/>
            <ac:spMk id="2" creationId="{6141F854-3009-40D7-9038-56590105A49E}"/>
          </ac:spMkLst>
        </pc:spChg>
        <pc:spChg chg="mod">
          <ac:chgData name="Jean QUENTIN" userId="6962deb3-b639-4acd-8091-a0516ea2376b" providerId="ADAL" clId="{146BD8F6-FDDD-49D3-A1A6-146C954086FF}" dt="2021-05-24T13:36:17.938" v="3877" actId="790"/>
          <ac:spMkLst>
            <pc:docMk/>
            <pc:sldMk cId="3781687056" sldId="10437"/>
            <ac:spMk id="3" creationId="{F5CA8CC9-6A13-4BDE-9953-50691A73BA81}"/>
          </ac:spMkLst>
        </pc:spChg>
        <pc:spChg chg="mod">
          <ac:chgData name="Jean QUENTIN" userId="6962deb3-b639-4acd-8091-a0516ea2376b" providerId="ADAL" clId="{146BD8F6-FDDD-49D3-A1A6-146C954086FF}" dt="2021-05-24T13:36:18.007" v="3927" actId="790"/>
          <ac:spMkLst>
            <pc:docMk/>
            <pc:sldMk cId="3781687056" sldId="10437"/>
            <ac:spMk id="4" creationId="{8F15B80F-09DF-4F44-A671-16DAD8DB32D1}"/>
          </ac:spMkLst>
        </pc:spChg>
        <pc:spChg chg="mod">
          <ac:chgData name="Jean QUENTIN" userId="6962deb3-b639-4acd-8091-a0516ea2376b" providerId="ADAL" clId="{146BD8F6-FDDD-49D3-A1A6-146C954086FF}" dt="2021-05-24T13:36:17.938" v="3878" actId="790"/>
          <ac:spMkLst>
            <pc:docMk/>
            <pc:sldMk cId="3781687056" sldId="10437"/>
            <ac:spMk id="9" creationId="{E5F54033-B14D-4834-9383-8C247A6B375C}"/>
          </ac:spMkLst>
        </pc:spChg>
        <pc:spChg chg="mod">
          <ac:chgData name="Jean QUENTIN" userId="6962deb3-b639-4acd-8091-a0516ea2376b" providerId="ADAL" clId="{146BD8F6-FDDD-49D3-A1A6-146C954086FF}" dt="2021-05-24T13:36:17.922" v="3875" actId="790"/>
          <ac:spMkLst>
            <pc:docMk/>
            <pc:sldMk cId="3781687056" sldId="10437"/>
            <ac:spMk id="14" creationId="{79163A55-8253-4415-87E3-49B6AA0C98BF}"/>
          </ac:spMkLst>
        </pc:spChg>
        <pc:spChg chg="mod">
          <ac:chgData name="Jean QUENTIN" userId="6962deb3-b639-4acd-8091-a0516ea2376b" providerId="ADAL" clId="{146BD8F6-FDDD-49D3-A1A6-146C954086FF}" dt="2021-05-24T13:36:17.922" v="3874" actId="790"/>
          <ac:spMkLst>
            <pc:docMk/>
            <pc:sldMk cId="3781687056" sldId="10437"/>
            <ac:spMk id="15" creationId="{C7CC0E72-2C4D-4227-BE31-58EBB8D10C2D}"/>
          </ac:spMkLst>
        </pc:spChg>
        <pc:spChg chg="mod">
          <ac:chgData name="Jean QUENTIN" userId="6962deb3-b639-4acd-8091-a0516ea2376b" providerId="ADAL" clId="{146BD8F6-FDDD-49D3-A1A6-146C954086FF}" dt="2021-05-24T13:36:17.922" v="3873" actId="790"/>
          <ac:spMkLst>
            <pc:docMk/>
            <pc:sldMk cId="3781687056" sldId="10437"/>
            <ac:spMk id="16" creationId="{D2E2D690-327F-4633-A872-ADB29F27F398}"/>
          </ac:spMkLst>
        </pc:spChg>
        <pc:spChg chg="mod">
          <ac:chgData name="Jean QUENTIN" userId="6962deb3-b639-4acd-8091-a0516ea2376b" providerId="ADAL" clId="{146BD8F6-FDDD-49D3-A1A6-146C954086FF}" dt="2021-05-24T13:36:18.022" v="3940" actId="790"/>
          <ac:spMkLst>
            <pc:docMk/>
            <pc:sldMk cId="3781687056" sldId="10437"/>
            <ac:spMk id="17" creationId="{A2D0F004-7BB1-4CB7-8D0B-42321F6A5542}"/>
          </ac:spMkLst>
        </pc:spChg>
        <pc:spChg chg="mod">
          <ac:chgData name="Jean QUENTIN" userId="6962deb3-b639-4acd-8091-a0516ea2376b" providerId="ADAL" clId="{146BD8F6-FDDD-49D3-A1A6-146C954086FF}" dt="2021-05-24T13:36:17.960" v="3883" actId="790"/>
          <ac:spMkLst>
            <pc:docMk/>
            <pc:sldMk cId="3781687056" sldId="10437"/>
            <ac:spMk id="21" creationId="{AF93235F-7D4B-4DEB-B632-8AD82BB62757}"/>
          </ac:spMkLst>
        </pc:spChg>
        <pc:spChg chg="mod">
          <ac:chgData name="Jean QUENTIN" userId="6962deb3-b639-4acd-8091-a0516ea2376b" providerId="ADAL" clId="{146BD8F6-FDDD-49D3-A1A6-146C954086FF}" dt="2021-05-24T13:36:17.953" v="3879" actId="790"/>
          <ac:spMkLst>
            <pc:docMk/>
            <pc:sldMk cId="3781687056" sldId="10437"/>
            <ac:spMk id="25" creationId="{C509ABA6-0D56-4D9A-8217-F214397AC6C6}"/>
          </ac:spMkLst>
        </pc:spChg>
        <pc:spChg chg="mod">
          <ac:chgData name="Jean QUENTIN" userId="6962deb3-b639-4acd-8091-a0516ea2376b" providerId="ADAL" clId="{146BD8F6-FDDD-49D3-A1A6-146C954086FF}" dt="2021-05-24T13:36:17.953" v="3880" actId="790"/>
          <ac:spMkLst>
            <pc:docMk/>
            <pc:sldMk cId="3781687056" sldId="10437"/>
            <ac:spMk id="30" creationId="{52F7899A-6E23-45C9-AB1D-5A04E49DE8D3}"/>
          </ac:spMkLst>
        </pc:spChg>
        <pc:spChg chg="mod">
          <ac:chgData name="Jean QUENTIN" userId="6962deb3-b639-4acd-8091-a0516ea2376b" providerId="ADAL" clId="{146BD8F6-FDDD-49D3-A1A6-146C954086FF}" dt="2021-05-24T13:36:17.953" v="3881" actId="790"/>
          <ac:spMkLst>
            <pc:docMk/>
            <pc:sldMk cId="3781687056" sldId="10437"/>
            <ac:spMk id="31" creationId="{39A4E537-6B70-42D6-B76D-22EBE99E5324}"/>
          </ac:spMkLst>
        </pc:spChg>
        <pc:spChg chg="mod">
          <ac:chgData name="Jean QUENTIN" userId="6962deb3-b639-4acd-8091-a0516ea2376b" providerId="ADAL" clId="{146BD8F6-FDDD-49D3-A1A6-146C954086FF}" dt="2021-05-24T13:36:17.960" v="3882" actId="790"/>
          <ac:spMkLst>
            <pc:docMk/>
            <pc:sldMk cId="3781687056" sldId="10437"/>
            <ac:spMk id="32" creationId="{E344EE6B-B062-4077-8C00-8A44A9ED2DC4}"/>
          </ac:spMkLst>
        </pc:spChg>
        <pc:spChg chg="mod">
          <ac:chgData name="Jean QUENTIN" userId="6962deb3-b639-4acd-8091-a0516ea2376b" providerId="ADAL" clId="{146BD8F6-FDDD-49D3-A1A6-146C954086FF}" dt="2021-05-24T13:36:17.960" v="3884" actId="790"/>
          <ac:spMkLst>
            <pc:docMk/>
            <pc:sldMk cId="3781687056" sldId="10437"/>
            <ac:spMk id="44" creationId="{477526AF-EDB0-4811-B55E-5B4DBA8CB600}"/>
          </ac:spMkLst>
        </pc:spChg>
        <pc:spChg chg="mod">
          <ac:chgData name="Jean QUENTIN" userId="6962deb3-b639-4acd-8091-a0516ea2376b" providerId="ADAL" clId="{146BD8F6-FDDD-49D3-A1A6-146C954086FF}" dt="2021-05-24T13:36:17.960" v="3885" actId="790"/>
          <ac:spMkLst>
            <pc:docMk/>
            <pc:sldMk cId="3781687056" sldId="10437"/>
            <ac:spMk id="45" creationId="{2BA6CE4E-7982-4D26-9262-C56F0898C5E2}"/>
          </ac:spMkLst>
        </pc:spChg>
        <pc:spChg chg="mod">
          <ac:chgData name="Jean QUENTIN" userId="6962deb3-b639-4acd-8091-a0516ea2376b" providerId="ADAL" clId="{146BD8F6-FDDD-49D3-A1A6-146C954086FF}" dt="2021-05-24T13:36:17.960" v="3886" actId="790"/>
          <ac:spMkLst>
            <pc:docMk/>
            <pc:sldMk cId="3781687056" sldId="10437"/>
            <ac:spMk id="46" creationId="{78000759-D0F4-4489-B0F9-BB8EC55A1191}"/>
          </ac:spMkLst>
        </pc:spChg>
        <pc:spChg chg="mod">
          <ac:chgData name="Jean QUENTIN" userId="6962deb3-b639-4acd-8091-a0516ea2376b" providerId="ADAL" clId="{146BD8F6-FDDD-49D3-A1A6-146C954086FF}" dt="2021-05-24T13:36:17.960" v="3887" actId="790"/>
          <ac:spMkLst>
            <pc:docMk/>
            <pc:sldMk cId="3781687056" sldId="10437"/>
            <ac:spMk id="47" creationId="{0D2666E1-A6F4-409F-9431-C0A5F6D79FC6}"/>
          </ac:spMkLst>
        </pc:spChg>
        <pc:spChg chg="mod">
          <ac:chgData name="Jean QUENTIN" userId="6962deb3-b639-4acd-8091-a0516ea2376b" providerId="ADAL" clId="{146BD8F6-FDDD-49D3-A1A6-146C954086FF}" dt="2021-05-24T13:36:17.960" v="3888" actId="790"/>
          <ac:spMkLst>
            <pc:docMk/>
            <pc:sldMk cId="3781687056" sldId="10437"/>
            <ac:spMk id="51" creationId="{60050807-8211-434C-BE82-707449B0447B}"/>
          </ac:spMkLst>
        </pc:spChg>
        <pc:spChg chg="mod">
          <ac:chgData name="Jean QUENTIN" userId="6962deb3-b639-4acd-8091-a0516ea2376b" providerId="ADAL" clId="{146BD8F6-FDDD-49D3-A1A6-146C954086FF}" dt="2021-05-24T13:36:17.960" v="3889" actId="790"/>
          <ac:spMkLst>
            <pc:docMk/>
            <pc:sldMk cId="3781687056" sldId="10437"/>
            <ac:spMk id="62" creationId="{7D8F5ED0-E7B3-4EAD-A092-DD77FEE8ABC5}"/>
          </ac:spMkLst>
        </pc:spChg>
        <pc:spChg chg="mod">
          <ac:chgData name="Jean QUENTIN" userId="6962deb3-b639-4acd-8091-a0516ea2376b" providerId="ADAL" clId="{146BD8F6-FDDD-49D3-A1A6-146C954086FF}" dt="2021-05-24T13:36:17.960" v="3890" actId="790"/>
          <ac:spMkLst>
            <pc:docMk/>
            <pc:sldMk cId="3781687056" sldId="10437"/>
            <ac:spMk id="63" creationId="{A827C968-C9A3-42BF-9067-1B9B7FACBBE1}"/>
          </ac:spMkLst>
        </pc:spChg>
        <pc:spChg chg="mod">
          <ac:chgData name="Jean QUENTIN" userId="6962deb3-b639-4acd-8091-a0516ea2376b" providerId="ADAL" clId="{146BD8F6-FDDD-49D3-A1A6-146C954086FF}" dt="2021-05-24T13:36:17.960" v="3891" actId="790"/>
          <ac:spMkLst>
            <pc:docMk/>
            <pc:sldMk cId="3781687056" sldId="10437"/>
            <ac:spMk id="64" creationId="{936D48D8-1ACB-4C16-905F-95AF33ADDFE8}"/>
          </ac:spMkLst>
        </pc:spChg>
        <pc:spChg chg="mod">
          <ac:chgData name="Jean QUENTIN" userId="6962deb3-b639-4acd-8091-a0516ea2376b" providerId="ADAL" clId="{146BD8F6-FDDD-49D3-A1A6-146C954086FF}" dt="2021-05-24T13:36:17.975" v="3892" actId="790"/>
          <ac:spMkLst>
            <pc:docMk/>
            <pc:sldMk cId="3781687056" sldId="10437"/>
            <ac:spMk id="65" creationId="{280CB374-1003-4E64-B285-3AD939EEEBA9}"/>
          </ac:spMkLst>
        </pc:spChg>
        <pc:spChg chg="mod">
          <ac:chgData name="Jean QUENTIN" userId="6962deb3-b639-4acd-8091-a0516ea2376b" providerId="ADAL" clId="{146BD8F6-FDDD-49D3-A1A6-146C954086FF}" dt="2021-05-24T13:36:17.975" v="3893" actId="790"/>
          <ac:spMkLst>
            <pc:docMk/>
            <pc:sldMk cId="3781687056" sldId="10437"/>
            <ac:spMk id="97" creationId="{6E066559-1B4D-4775-A03B-28E34099AAD8}"/>
          </ac:spMkLst>
        </pc:spChg>
        <pc:spChg chg="mod">
          <ac:chgData name="Jean QUENTIN" userId="6962deb3-b639-4acd-8091-a0516ea2376b" providerId="ADAL" clId="{146BD8F6-FDDD-49D3-A1A6-146C954086FF}" dt="2021-05-24T13:36:17.975" v="3894" actId="790"/>
          <ac:spMkLst>
            <pc:docMk/>
            <pc:sldMk cId="3781687056" sldId="10437"/>
            <ac:spMk id="98" creationId="{F900BD09-AFFE-497B-B047-11FEDC423513}"/>
          </ac:spMkLst>
        </pc:spChg>
        <pc:spChg chg="mod">
          <ac:chgData name="Jean QUENTIN" userId="6962deb3-b639-4acd-8091-a0516ea2376b" providerId="ADAL" clId="{146BD8F6-FDDD-49D3-A1A6-146C954086FF}" dt="2021-05-24T13:36:17.975" v="3895" actId="790"/>
          <ac:spMkLst>
            <pc:docMk/>
            <pc:sldMk cId="3781687056" sldId="10437"/>
            <ac:spMk id="99" creationId="{DC487871-5C77-464A-96E3-EB8F962B5B65}"/>
          </ac:spMkLst>
        </pc:spChg>
        <pc:spChg chg="mod">
          <ac:chgData name="Jean QUENTIN" userId="6962deb3-b639-4acd-8091-a0516ea2376b" providerId="ADAL" clId="{146BD8F6-FDDD-49D3-A1A6-146C954086FF}" dt="2021-05-24T13:36:17.975" v="3896" actId="790"/>
          <ac:spMkLst>
            <pc:docMk/>
            <pc:sldMk cId="3781687056" sldId="10437"/>
            <ac:spMk id="100" creationId="{E861CDD7-D84C-4719-BEF7-4DE00D716D3B}"/>
          </ac:spMkLst>
        </pc:spChg>
        <pc:spChg chg="mod">
          <ac:chgData name="Jean QUENTIN" userId="6962deb3-b639-4acd-8091-a0516ea2376b" providerId="ADAL" clId="{146BD8F6-FDDD-49D3-A1A6-146C954086FF}" dt="2021-05-24T13:36:17.975" v="3897" actId="790"/>
          <ac:spMkLst>
            <pc:docMk/>
            <pc:sldMk cId="3781687056" sldId="10437"/>
            <ac:spMk id="105" creationId="{4E53DF95-5458-4785-8AB8-BA8F7CC5269E}"/>
          </ac:spMkLst>
        </pc:spChg>
        <pc:spChg chg="mod">
          <ac:chgData name="Jean QUENTIN" userId="6962deb3-b639-4acd-8091-a0516ea2376b" providerId="ADAL" clId="{146BD8F6-FDDD-49D3-A1A6-146C954086FF}" dt="2021-05-24T13:36:17.975" v="3898" actId="790"/>
          <ac:spMkLst>
            <pc:docMk/>
            <pc:sldMk cId="3781687056" sldId="10437"/>
            <ac:spMk id="106" creationId="{E56D1CA8-2FB9-43F1-A907-EB7C2D369A11}"/>
          </ac:spMkLst>
        </pc:spChg>
        <pc:spChg chg="mod">
          <ac:chgData name="Jean QUENTIN" userId="6962deb3-b639-4acd-8091-a0516ea2376b" providerId="ADAL" clId="{146BD8F6-FDDD-49D3-A1A6-146C954086FF}" dt="2021-05-24T13:36:17.975" v="3899" actId="790"/>
          <ac:spMkLst>
            <pc:docMk/>
            <pc:sldMk cId="3781687056" sldId="10437"/>
            <ac:spMk id="107" creationId="{051E6C51-8EC8-4D80-924E-5F5E3BC36BE1}"/>
          </ac:spMkLst>
        </pc:spChg>
        <pc:spChg chg="mod">
          <ac:chgData name="Jean QUENTIN" userId="6962deb3-b639-4acd-8091-a0516ea2376b" providerId="ADAL" clId="{146BD8F6-FDDD-49D3-A1A6-146C954086FF}" dt="2021-05-24T13:36:17.975" v="3900" actId="790"/>
          <ac:spMkLst>
            <pc:docMk/>
            <pc:sldMk cId="3781687056" sldId="10437"/>
            <ac:spMk id="108" creationId="{952E5143-D5F8-491F-ACA6-DBB69B23DBC2}"/>
          </ac:spMkLst>
        </pc:spChg>
        <pc:spChg chg="mod">
          <ac:chgData name="Jean QUENTIN" userId="6962deb3-b639-4acd-8091-a0516ea2376b" providerId="ADAL" clId="{146BD8F6-FDDD-49D3-A1A6-146C954086FF}" dt="2021-05-24T13:36:17.975" v="3901" actId="790"/>
          <ac:spMkLst>
            <pc:docMk/>
            <pc:sldMk cId="3781687056" sldId="10437"/>
            <ac:spMk id="111" creationId="{120AA726-0FF6-4209-BB20-1BA916108E4E}"/>
          </ac:spMkLst>
        </pc:spChg>
        <pc:spChg chg="mod">
          <ac:chgData name="Jean QUENTIN" userId="6962deb3-b639-4acd-8091-a0516ea2376b" providerId="ADAL" clId="{146BD8F6-FDDD-49D3-A1A6-146C954086FF}" dt="2021-05-24T13:36:17.975" v="3902" actId="790"/>
          <ac:spMkLst>
            <pc:docMk/>
            <pc:sldMk cId="3781687056" sldId="10437"/>
            <ac:spMk id="113" creationId="{BF24D132-C786-48A4-9A3E-983BFF02BDDA}"/>
          </ac:spMkLst>
        </pc:spChg>
        <pc:spChg chg="mod">
          <ac:chgData name="Jean QUENTIN" userId="6962deb3-b639-4acd-8091-a0516ea2376b" providerId="ADAL" clId="{146BD8F6-FDDD-49D3-A1A6-146C954086FF}" dt="2021-05-24T13:36:17.975" v="3903" actId="790"/>
          <ac:spMkLst>
            <pc:docMk/>
            <pc:sldMk cId="3781687056" sldId="10437"/>
            <ac:spMk id="121" creationId="{0CF79484-111D-4568-AFFF-3CBDCB38027C}"/>
          </ac:spMkLst>
        </pc:spChg>
        <pc:spChg chg="mod">
          <ac:chgData name="Jean QUENTIN" userId="6962deb3-b639-4acd-8091-a0516ea2376b" providerId="ADAL" clId="{146BD8F6-FDDD-49D3-A1A6-146C954086FF}" dt="2021-05-24T13:36:17.975" v="3904" actId="790"/>
          <ac:spMkLst>
            <pc:docMk/>
            <pc:sldMk cId="3781687056" sldId="10437"/>
            <ac:spMk id="122" creationId="{CE6AD5A9-0724-4E52-8533-36B2B7A8E8FB}"/>
          </ac:spMkLst>
        </pc:spChg>
        <pc:spChg chg="mod">
          <ac:chgData name="Jean QUENTIN" userId="6962deb3-b639-4acd-8091-a0516ea2376b" providerId="ADAL" clId="{146BD8F6-FDDD-49D3-A1A6-146C954086FF}" dt="2021-05-24T13:36:17.975" v="3905" actId="790"/>
          <ac:spMkLst>
            <pc:docMk/>
            <pc:sldMk cId="3781687056" sldId="10437"/>
            <ac:spMk id="123" creationId="{AB25344D-A8FC-4A5C-A43F-4B01CA4A8800}"/>
          </ac:spMkLst>
        </pc:spChg>
        <pc:spChg chg="mod">
          <ac:chgData name="Jean QUENTIN" userId="6962deb3-b639-4acd-8091-a0516ea2376b" providerId="ADAL" clId="{146BD8F6-FDDD-49D3-A1A6-146C954086FF}" dt="2021-05-24T13:36:17.991" v="3906" actId="790"/>
          <ac:spMkLst>
            <pc:docMk/>
            <pc:sldMk cId="3781687056" sldId="10437"/>
            <ac:spMk id="124" creationId="{5980143D-7AF7-4D97-8D06-A50037CCB903}"/>
          </ac:spMkLst>
        </pc:spChg>
        <pc:spChg chg="mod">
          <ac:chgData name="Jean QUENTIN" userId="6962deb3-b639-4acd-8091-a0516ea2376b" providerId="ADAL" clId="{146BD8F6-FDDD-49D3-A1A6-146C954086FF}" dt="2021-05-24T13:36:17.991" v="3907" actId="790"/>
          <ac:spMkLst>
            <pc:docMk/>
            <pc:sldMk cId="3781687056" sldId="10437"/>
            <ac:spMk id="129" creationId="{555638A0-D999-4327-A4A7-179DEE0BEA1B}"/>
          </ac:spMkLst>
        </pc:spChg>
        <pc:spChg chg="mod">
          <ac:chgData name="Jean QUENTIN" userId="6962deb3-b639-4acd-8091-a0516ea2376b" providerId="ADAL" clId="{146BD8F6-FDDD-49D3-A1A6-146C954086FF}" dt="2021-05-24T13:36:17.991" v="3908" actId="790"/>
          <ac:spMkLst>
            <pc:docMk/>
            <pc:sldMk cId="3781687056" sldId="10437"/>
            <ac:spMk id="130" creationId="{D30FFD4A-C467-4F1C-A4DF-BCB3EB71D32F}"/>
          </ac:spMkLst>
        </pc:spChg>
        <pc:spChg chg="mod">
          <ac:chgData name="Jean QUENTIN" userId="6962deb3-b639-4acd-8091-a0516ea2376b" providerId="ADAL" clId="{146BD8F6-FDDD-49D3-A1A6-146C954086FF}" dt="2021-05-24T13:36:17.991" v="3909" actId="790"/>
          <ac:spMkLst>
            <pc:docMk/>
            <pc:sldMk cId="3781687056" sldId="10437"/>
            <ac:spMk id="131" creationId="{93EEF8DD-E42C-4C2B-94DD-89C3DDAF9A59}"/>
          </ac:spMkLst>
        </pc:spChg>
        <pc:spChg chg="mod">
          <ac:chgData name="Jean QUENTIN" userId="6962deb3-b639-4acd-8091-a0516ea2376b" providerId="ADAL" clId="{146BD8F6-FDDD-49D3-A1A6-146C954086FF}" dt="2021-05-24T13:36:17.991" v="3910" actId="790"/>
          <ac:spMkLst>
            <pc:docMk/>
            <pc:sldMk cId="3781687056" sldId="10437"/>
            <ac:spMk id="132" creationId="{37866BA4-BF7F-46F4-9BDC-A7E6E551D6F2}"/>
          </ac:spMkLst>
        </pc:spChg>
        <pc:spChg chg="mod">
          <ac:chgData name="Jean QUENTIN" userId="6962deb3-b639-4acd-8091-a0516ea2376b" providerId="ADAL" clId="{146BD8F6-FDDD-49D3-A1A6-146C954086FF}" dt="2021-05-24T13:36:17.991" v="3911" actId="790"/>
          <ac:spMkLst>
            <pc:docMk/>
            <pc:sldMk cId="3781687056" sldId="10437"/>
            <ac:spMk id="140" creationId="{7B803F30-3BE3-484D-A43D-8C38CEA9ED62}"/>
          </ac:spMkLst>
        </pc:spChg>
        <pc:spChg chg="mod">
          <ac:chgData name="Jean QUENTIN" userId="6962deb3-b639-4acd-8091-a0516ea2376b" providerId="ADAL" clId="{146BD8F6-FDDD-49D3-A1A6-146C954086FF}" dt="2021-05-24T13:36:17.991" v="3912" actId="790"/>
          <ac:spMkLst>
            <pc:docMk/>
            <pc:sldMk cId="3781687056" sldId="10437"/>
            <ac:spMk id="141" creationId="{B8BEDC77-6914-4F89-B58A-074BF4283643}"/>
          </ac:spMkLst>
        </pc:spChg>
        <pc:spChg chg="mod">
          <ac:chgData name="Jean QUENTIN" userId="6962deb3-b639-4acd-8091-a0516ea2376b" providerId="ADAL" clId="{146BD8F6-FDDD-49D3-A1A6-146C954086FF}" dt="2021-05-24T13:36:17.991" v="3913" actId="790"/>
          <ac:spMkLst>
            <pc:docMk/>
            <pc:sldMk cId="3781687056" sldId="10437"/>
            <ac:spMk id="142" creationId="{0FB0B0C3-48D3-49A9-9DED-B6BC79E1E324}"/>
          </ac:spMkLst>
        </pc:spChg>
        <pc:spChg chg="mod">
          <ac:chgData name="Jean QUENTIN" userId="6962deb3-b639-4acd-8091-a0516ea2376b" providerId="ADAL" clId="{146BD8F6-FDDD-49D3-A1A6-146C954086FF}" dt="2021-05-24T13:36:17.991" v="3914" actId="790"/>
          <ac:spMkLst>
            <pc:docMk/>
            <pc:sldMk cId="3781687056" sldId="10437"/>
            <ac:spMk id="143" creationId="{DF9D26B5-DBB9-484F-B667-2227DD93AD71}"/>
          </ac:spMkLst>
        </pc:spChg>
        <pc:spChg chg="mod">
          <ac:chgData name="Jean QUENTIN" userId="6962deb3-b639-4acd-8091-a0516ea2376b" providerId="ADAL" clId="{146BD8F6-FDDD-49D3-A1A6-146C954086FF}" dt="2021-05-24T13:36:17.991" v="3915" actId="790"/>
          <ac:spMkLst>
            <pc:docMk/>
            <pc:sldMk cId="3781687056" sldId="10437"/>
            <ac:spMk id="144" creationId="{433FC52C-1389-4204-AEEB-C9CA9E418A00}"/>
          </ac:spMkLst>
        </pc:spChg>
        <pc:spChg chg="mod">
          <ac:chgData name="Jean QUENTIN" userId="6962deb3-b639-4acd-8091-a0516ea2376b" providerId="ADAL" clId="{146BD8F6-FDDD-49D3-A1A6-146C954086FF}" dt="2021-05-24T13:36:17.991" v="3916" actId="790"/>
          <ac:spMkLst>
            <pc:docMk/>
            <pc:sldMk cId="3781687056" sldId="10437"/>
            <ac:spMk id="145" creationId="{6A96C0AC-EDD4-48F7-A707-F61145038153}"/>
          </ac:spMkLst>
        </pc:spChg>
        <pc:spChg chg="mod">
          <ac:chgData name="Jean QUENTIN" userId="6962deb3-b639-4acd-8091-a0516ea2376b" providerId="ADAL" clId="{146BD8F6-FDDD-49D3-A1A6-146C954086FF}" dt="2021-05-24T13:36:17.991" v="3917" actId="790"/>
          <ac:spMkLst>
            <pc:docMk/>
            <pc:sldMk cId="3781687056" sldId="10437"/>
            <ac:spMk id="146" creationId="{054F79DE-098B-4A1C-93C7-642B122E7D15}"/>
          </ac:spMkLst>
        </pc:spChg>
        <pc:spChg chg="mod">
          <ac:chgData name="Jean QUENTIN" userId="6962deb3-b639-4acd-8091-a0516ea2376b" providerId="ADAL" clId="{146BD8F6-FDDD-49D3-A1A6-146C954086FF}" dt="2021-05-24T13:36:17.991" v="3918" actId="790"/>
          <ac:spMkLst>
            <pc:docMk/>
            <pc:sldMk cId="3781687056" sldId="10437"/>
            <ac:spMk id="147" creationId="{C050FFFB-6045-4F5E-B830-458E17DA18F1}"/>
          </ac:spMkLst>
        </pc:spChg>
        <pc:spChg chg="mod">
          <ac:chgData name="Jean QUENTIN" userId="6962deb3-b639-4acd-8091-a0516ea2376b" providerId="ADAL" clId="{146BD8F6-FDDD-49D3-A1A6-146C954086FF}" dt="2021-05-24T13:36:18.107" v="3967" actId="790"/>
          <ac:spMkLst>
            <pc:docMk/>
            <pc:sldMk cId="3781687056" sldId="10437"/>
            <ac:spMk id="149" creationId="{51177F13-2291-4C01-AEE0-FF9DC1F9FBC4}"/>
          </ac:spMkLst>
        </pc:spChg>
        <pc:spChg chg="mod">
          <ac:chgData name="Jean QUENTIN" userId="6962deb3-b639-4acd-8091-a0516ea2376b" providerId="ADAL" clId="{146BD8F6-FDDD-49D3-A1A6-146C954086FF}" dt="2021-05-24T13:36:17.991" v="3919" actId="790"/>
          <ac:spMkLst>
            <pc:docMk/>
            <pc:sldMk cId="3781687056" sldId="10437"/>
            <ac:spMk id="150" creationId="{8EAE2B76-2313-4656-A866-046474D9996A}"/>
          </ac:spMkLst>
        </pc:spChg>
        <pc:spChg chg="mod">
          <ac:chgData name="Jean QUENTIN" userId="6962deb3-b639-4acd-8091-a0516ea2376b" providerId="ADAL" clId="{146BD8F6-FDDD-49D3-A1A6-146C954086FF}" dt="2021-05-24T13:36:18.007" v="3920" actId="790"/>
          <ac:spMkLst>
            <pc:docMk/>
            <pc:sldMk cId="3781687056" sldId="10437"/>
            <ac:spMk id="151" creationId="{1EC6A59F-072B-4B31-95CB-BE3AA5E1AF39}"/>
          </ac:spMkLst>
        </pc:spChg>
        <pc:spChg chg="mod">
          <ac:chgData name="Jean QUENTIN" userId="6962deb3-b639-4acd-8091-a0516ea2376b" providerId="ADAL" clId="{146BD8F6-FDDD-49D3-A1A6-146C954086FF}" dt="2021-05-24T13:36:18.007" v="3921" actId="790"/>
          <ac:spMkLst>
            <pc:docMk/>
            <pc:sldMk cId="3781687056" sldId="10437"/>
            <ac:spMk id="152" creationId="{EF73B3A9-E91B-41E1-8986-2718E25E62D9}"/>
          </ac:spMkLst>
        </pc:spChg>
        <pc:spChg chg="mod">
          <ac:chgData name="Jean QUENTIN" userId="6962deb3-b639-4acd-8091-a0516ea2376b" providerId="ADAL" clId="{146BD8F6-FDDD-49D3-A1A6-146C954086FF}" dt="2021-05-24T13:36:18.007" v="3922" actId="790"/>
          <ac:spMkLst>
            <pc:docMk/>
            <pc:sldMk cId="3781687056" sldId="10437"/>
            <ac:spMk id="153" creationId="{6326A5C1-03CF-4303-91D8-855CCFCB6188}"/>
          </ac:spMkLst>
        </pc:spChg>
        <pc:spChg chg="mod">
          <ac:chgData name="Jean QUENTIN" userId="6962deb3-b639-4acd-8091-a0516ea2376b" providerId="ADAL" clId="{146BD8F6-FDDD-49D3-A1A6-146C954086FF}" dt="2021-05-24T13:36:18.007" v="3923" actId="790"/>
          <ac:spMkLst>
            <pc:docMk/>
            <pc:sldMk cId="3781687056" sldId="10437"/>
            <ac:spMk id="154" creationId="{94C8C856-D1CB-4225-A7D9-CA0FD6CF89C6}"/>
          </ac:spMkLst>
        </pc:spChg>
        <pc:spChg chg="mod">
          <ac:chgData name="Jean QUENTIN" userId="6962deb3-b639-4acd-8091-a0516ea2376b" providerId="ADAL" clId="{146BD8F6-FDDD-49D3-A1A6-146C954086FF}" dt="2021-05-24T13:36:18.007" v="3924" actId="790"/>
          <ac:spMkLst>
            <pc:docMk/>
            <pc:sldMk cId="3781687056" sldId="10437"/>
            <ac:spMk id="155" creationId="{54C742CD-5C48-4EB7-99B5-8A28818C5366}"/>
          </ac:spMkLst>
        </pc:spChg>
        <pc:spChg chg="mod">
          <ac:chgData name="Jean QUENTIN" userId="6962deb3-b639-4acd-8091-a0516ea2376b" providerId="ADAL" clId="{146BD8F6-FDDD-49D3-A1A6-146C954086FF}" dt="2021-05-24T13:36:18.007" v="3925" actId="790"/>
          <ac:spMkLst>
            <pc:docMk/>
            <pc:sldMk cId="3781687056" sldId="10437"/>
            <ac:spMk id="156" creationId="{1F440329-79EC-471D-BDCF-46FA131899D6}"/>
          </ac:spMkLst>
        </pc:spChg>
        <pc:spChg chg="mod">
          <ac:chgData name="Jean QUENTIN" userId="6962deb3-b639-4acd-8091-a0516ea2376b" providerId="ADAL" clId="{146BD8F6-FDDD-49D3-A1A6-146C954086FF}" dt="2021-05-24T13:36:18.007" v="3926" actId="790"/>
          <ac:spMkLst>
            <pc:docMk/>
            <pc:sldMk cId="3781687056" sldId="10437"/>
            <ac:spMk id="157" creationId="{12F4AF09-179E-4827-BED1-C78EB213DC6B}"/>
          </ac:spMkLst>
        </pc:spChg>
        <pc:spChg chg="mod">
          <ac:chgData name="Jean QUENTIN" userId="6962deb3-b639-4acd-8091-a0516ea2376b" providerId="ADAL" clId="{146BD8F6-FDDD-49D3-A1A6-146C954086FF}" dt="2021-05-24T13:36:18.107" v="3968" actId="790"/>
          <ac:spMkLst>
            <pc:docMk/>
            <pc:sldMk cId="3781687056" sldId="10437"/>
            <ac:spMk id="158" creationId="{940755A0-54AE-46D5-A1E6-19420F62A0B1}"/>
          </ac:spMkLst>
        </pc:spChg>
        <pc:spChg chg="mod">
          <ac:chgData name="Jean QUENTIN" userId="6962deb3-b639-4acd-8091-a0516ea2376b" providerId="ADAL" clId="{146BD8F6-FDDD-49D3-A1A6-146C954086FF}" dt="2021-05-24T13:36:18.007" v="3928" actId="790"/>
          <ac:spMkLst>
            <pc:docMk/>
            <pc:sldMk cId="3781687056" sldId="10437"/>
            <ac:spMk id="159" creationId="{B80AF701-FD02-4A49-AF04-0D717773F8CE}"/>
          </ac:spMkLst>
        </pc:spChg>
        <pc:spChg chg="mod">
          <ac:chgData name="Jean QUENTIN" userId="6962deb3-b639-4acd-8091-a0516ea2376b" providerId="ADAL" clId="{146BD8F6-FDDD-49D3-A1A6-146C954086FF}" dt="2021-05-24T13:36:18.007" v="3929" actId="790"/>
          <ac:spMkLst>
            <pc:docMk/>
            <pc:sldMk cId="3781687056" sldId="10437"/>
            <ac:spMk id="160" creationId="{6794BF10-E356-4CFA-A5D2-64019521185A}"/>
          </ac:spMkLst>
        </pc:spChg>
        <pc:spChg chg="mod">
          <ac:chgData name="Jean QUENTIN" userId="6962deb3-b639-4acd-8091-a0516ea2376b" providerId="ADAL" clId="{146BD8F6-FDDD-49D3-A1A6-146C954086FF}" dt="2021-05-24T13:36:18.007" v="3930" actId="790"/>
          <ac:spMkLst>
            <pc:docMk/>
            <pc:sldMk cId="3781687056" sldId="10437"/>
            <ac:spMk id="161" creationId="{98B95108-A1D7-406A-9437-35CC8389273C}"/>
          </ac:spMkLst>
        </pc:spChg>
        <pc:spChg chg="mod">
          <ac:chgData name="Jean QUENTIN" userId="6962deb3-b639-4acd-8091-a0516ea2376b" providerId="ADAL" clId="{146BD8F6-FDDD-49D3-A1A6-146C954086FF}" dt="2021-05-24T13:36:18.007" v="3931" actId="790"/>
          <ac:spMkLst>
            <pc:docMk/>
            <pc:sldMk cId="3781687056" sldId="10437"/>
            <ac:spMk id="162" creationId="{E1AEBA31-2AB3-475A-A9D4-798F713EEFD7}"/>
          </ac:spMkLst>
        </pc:spChg>
        <pc:spChg chg="mod">
          <ac:chgData name="Jean QUENTIN" userId="6962deb3-b639-4acd-8091-a0516ea2376b" providerId="ADAL" clId="{146BD8F6-FDDD-49D3-A1A6-146C954086FF}" dt="2021-05-24T13:36:18.007" v="3932" actId="790"/>
          <ac:spMkLst>
            <pc:docMk/>
            <pc:sldMk cId="3781687056" sldId="10437"/>
            <ac:spMk id="163" creationId="{A02BA35A-F494-480F-8210-97DCAE0F40D4}"/>
          </ac:spMkLst>
        </pc:spChg>
        <pc:spChg chg="mod">
          <ac:chgData name="Jean QUENTIN" userId="6962deb3-b639-4acd-8091-a0516ea2376b" providerId="ADAL" clId="{146BD8F6-FDDD-49D3-A1A6-146C954086FF}" dt="2021-05-24T13:36:18.007" v="3933" actId="790"/>
          <ac:spMkLst>
            <pc:docMk/>
            <pc:sldMk cId="3781687056" sldId="10437"/>
            <ac:spMk id="164" creationId="{96799BBD-9716-4675-B816-A24F8B182973}"/>
          </ac:spMkLst>
        </pc:spChg>
        <pc:spChg chg="mod">
          <ac:chgData name="Jean QUENTIN" userId="6962deb3-b639-4acd-8091-a0516ea2376b" providerId="ADAL" clId="{146BD8F6-FDDD-49D3-A1A6-146C954086FF}" dt="2021-05-24T13:36:18.107" v="3969" actId="790"/>
          <ac:spMkLst>
            <pc:docMk/>
            <pc:sldMk cId="3781687056" sldId="10437"/>
            <ac:spMk id="165" creationId="{D4EDE54C-EDC4-47FA-8DE8-CB94D6B5C6A5}"/>
          </ac:spMkLst>
        </pc:spChg>
        <pc:spChg chg="mod">
          <ac:chgData name="Jean QUENTIN" userId="6962deb3-b639-4acd-8091-a0516ea2376b" providerId="ADAL" clId="{146BD8F6-FDDD-49D3-A1A6-146C954086FF}" dt="2021-05-24T13:36:18.107" v="3970" actId="790"/>
          <ac:spMkLst>
            <pc:docMk/>
            <pc:sldMk cId="3781687056" sldId="10437"/>
            <ac:spMk id="166" creationId="{B6AA02B5-624F-48CC-968A-ED55D21C1D4B}"/>
          </ac:spMkLst>
        </pc:spChg>
        <pc:spChg chg="mod">
          <ac:chgData name="Jean QUENTIN" userId="6962deb3-b639-4acd-8091-a0516ea2376b" providerId="ADAL" clId="{146BD8F6-FDDD-49D3-A1A6-146C954086FF}" dt="2021-05-24T13:36:18.107" v="3971" actId="790"/>
          <ac:spMkLst>
            <pc:docMk/>
            <pc:sldMk cId="3781687056" sldId="10437"/>
            <ac:spMk id="167" creationId="{AABEE270-608F-479B-8CA5-B82D4B6E27AA}"/>
          </ac:spMkLst>
        </pc:spChg>
        <pc:spChg chg="mod">
          <ac:chgData name="Jean QUENTIN" userId="6962deb3-b639-4acd-8091-a0516ea2376b" providerId="ADAL" clId="{146BD8F6-FDDD-49D3-A1A6-146C954086FF}" dt="2021-05-24T13:36:18.007" v="3934" actId="790"/>
          <ac:spMkLst>
            <pc:docMk/>
            <pc:sldMk cId="3781687056" sldId="10437"/>
            <ac:spMk id="168" creationId="{F93FCD89-38BE-4A9F-89B4-7F9F1F03E6AA}"/>
          </ac:spMkLst>
        </pc:spChg>
        <pc:spChg chg="mod">
          <ac:chgData name="Jean QUENTIN" userId="6962deb3-b639-4acd-8091-a0516ea2376b" providerId="ADAL" clId="{146BD8F6-FDDD-49D3-A1A6-146C954086FF}" dt="2021-05-24T13:36:18.022" v="3935" actId="790"/>
          <ac:spMkLst>
            <pc:docMk/>
            <pc:sldMk cId="3781687056" sldId="10437"/>
            <ac:spMk id="171" creationId="{1C8173C6-5E3A-4216-8804-5399B6AA31C6}"/>
          </ac:spMkLst>
        </pc:spChg>
        <pc:spChg chg="mod">
          <ac:chgData name="Jean QUENTIN" userId="6962deb3-b639-4acd-8091-a0516ea2376b" providerId="ADAL" clId="{146BD8F6-FDDD-49D3-A1A6-146C954086FF}" dt="2021-05-24T13:36:18.022" v="3936" actId="790"/>
          <ac:spMkLst>
            <pc:docMk/>
            <pc:sldMk cId="3781687056" sldId="10437"/>
            <ac:spMk id="172" creationId="{863FD84C-845E-42CC-B2EE-54140523C6B3}"/>
          </ac:spMkLst>
        </pc:spChg>
        <pc:spChg chg="mod">
          <ac:chgData name="Jean QUENTIN" userId="6962deb3-b639-4acd-8091-a0516ea2376b" providerId="ADAL" clId="{146BD8F6-FDDD-49D3-A1A6-146C954086FF}" dt="2021-05-24T13:36:18.022" v="3937" actId="790"/>
          <ac:spMkLst>
            <pc:docMk/>
            <pc:sldMk cId="3781687056" sldId="10437"/>
            <ac:spMk id="173" creationId="{1DD71EE6-7E10-4444-888A-89EBA3A5DBED}"/>
          </ac:spMkLst>
        </pc:spChg>
        <pc:spChg chg="mod">
          <ac:chgData name="Jean QUENTIN" userId="6962deb3-b639-4acd-8091-a0516ea2376b" providerId="ADAL" clId="{146BD8F6-FDDD-49D3-A1A6-146C954086FF}" dt="2021-05-24T13:36:18.022" v="3938" actId="790"/>
          <ac:spMkLst>
            <pc:docMk/>
            <pc:sldMk cId="3781687056" sldId="10437"/>
            <ac:spMk id="176" creationId="{04D2C6B9-3B58-4E34-BE83-8AA3849160DE}"/>
          </ac:spMkLst>
        </pc:spChg>
        <pc:spChg chg="mod">
          <ac:chgData name="Jean QUENTIN" userId="6962deb3-b639-4acd-8091-a0516ea2376b" providerId="ADAL" clId="{146BD8F6-FDDD-49D3-A1A6-146C954086FF}" dt="2021-05-24T13:36:18.022" v="3939" actId="790"/>
          <ac:spMkLst>
            <pc:docMk/>
            <pc:sldMk cId="3781687056" sldId="10437"/>
            <ac:spMk id="177" creationId="{93AA6B9B-95A6-4425-A52D-B73C84CE1796}"/>
          </ac:spMkLst>
        </pc:spChg>
        <pc:spChg chg="mod">
          <ac:chgData name="Jean QUENTIN" userId="6962deb3-b639-4acd-8091-a0516ea2376b" providerId="ADAL" clId="{146BD8F6-FDDD-49D3-A1A6-146C954086FF}" dt="2021-05-24T13:36:18.022" v="3941" actId="790"/>
          <ac:spMkLst>
            <pc:docMk/>
            <pc:sldMk cId="3781687056" sldId="10437"/>
            <ac:spMk id="183" creationId="{289DFA16-857A-412F-9C0A-278A9227568F}"/>
          </ac:spMkLst>
        </pc:spChg>
        <pc:spChg chg="mod">
          <ac:chgData name="Jean QUENTIN" userId="6962deb3-b639-4acd-8091-a0516ea2376b" providerId="ADAL" clId="{146BD8F6-FDDD-49D3-A1A6-146C954086FF}" dt="2021-05-24T13:36:18.123" v="3972" actId="790"/>
          <ac:spMkLst>
            <pc:docMk/>
            <pc:sldMk cId="3781687056" sldId="10437"/>
            <ac:spMk id="189" creationId="{06E35682-F489-4A97-ABCF-9A91DAC741CA}"/>
          </ac:spMkLst>
        </pc:spChg>
        <pc:spChg chg="mod">
          <ac:chgData name="Jean QUENTIN" userId="6962deb3-b639-4acd-8091-a0516ea2376b" providerId="ADAL" clId="{146BD8F6-FDDD-49D3-A1A6-146C954086FF}" dt="2021-05-24T13:36:18.138" v="3973" actId="790"/>
          <ac:spMkLst>
            <pc:docMk/>
            <pc:sldMk cId="3781687056" sldId="10437"/>
            <ac:spMk id="191" creationId="{AC631514-7B0C-49EF-BC32-8C77406BE9E2}"/>
          </ac:spMkLst>
        </pc:spChg>
        <pc:spChg chg="mod">
          <ac:chgData name="Jean QUENTIN" userId="6962deb3-b639-4acd-8091-a0516ea2376b" providerId="ADAL" clId="{146BD8F6-FDDD-49D3-A1A6-146C954086FF}" dt="2021-05-24T13:36:18.138" v="3974" actId="790"/>
          <ac:spMkLst>
            <pc:docMk/>
            <pc:sldMk cId="3781687056" sldId="10437"/>
            <ac:spMk id="192" creationId="{77A774EB-5CD9-452C-99C4-7531B1842BE1}"/>
          </ac:spMkLst>
        </pc:spChg>
        <pc:spChg chg="mod">
          <ac:chgData name="Jean QUENTIN" userId="6962deb3-b639-4acd-8091-a0516ea2376b" providerId="ADAL" clId="{146BD8F6-FDDD-49D3-A1A6-146C954086FF}" dt="2021-05-24T13:36:18.022" v="3942" actId="790"/>
          <ac:spMkLst>
            <pc:docMk/>
            <pc:sldMk cId="3781687056" sldId="10437"/>
            <ac:spMk id="193" creationId="{915FFD09-509D-4ABE-A16F-AF3093003B4D}"/>
          </ac:spMkLst>
        </pc:spChg>
        <pc:spChg chg="mod">
          <ac:chgData name="Jean QUENTIN" userId="6962deb3-b639-4acd-8091-a0516ea2376b" providerId="ADAL" clId="{146BD8F6-FDDD-49D3-A1A6-146C954086FF}" dt="2021-05-24T13:36:18.022" v="3943" actId="790"/>
          <ac:spMkLst>
            <pc:docMk/>
            <pc:sldMk cId="3781687056" sldId="10437"/>
            <ac:spMk id="194" creationId="{7EB2B24B-10F1-4463-82D8-A136B9B73716}"/>
          </ac:spMkLst>
        </pc:spChg>
        <pc:spChg chg="mod">
          <ac:chgData name="Jean QUENTIN" userId="6962deb3-b639-4acd-8091-a0516ea2376b" providerId="ADAL" clId="{146BD8F6-FDDD-49D3-A1A6-146C954086FF}" dt="2021-05-24T13:36:18.022" v="3944" actId="790"/>
          <ac:spMkLst>
            <pc:docMk/>
            <pc:sldMk cId="3781687056" sldId="10437"/>
            <ac:spMk id="195" creationId="{47138FD4-27DF-40DB-BAE0-23F8E66AD89B}"/>
          </ac:spMkLst>
        </pc:spChg>
        <pc:spChg chg="mod">
          <ac:chgData name="Jean QUENTIN" userId="6962deb3-b639-4acd-8091-a0516ea2376b" providerId="ADAL" clId="{146BD8F6-FDDD-49D3-A1A6-146C954086FF}" dt="2021-05-24T13:36:18.022" v="3945" actId="790"/>
          <ac:spMkLst>
            <pc:docMk/>
            <pc:sldMk cId="3781687056" sldId="10437"/>
            <ac:spMk id="196" creationId="{4FB2EC28-4905-4CA5-BF08-392B3782DA49}"/>
          </ac:spMkLst>
        </pc:spChg>
        <pc:spChg chg="mod">
          <ac:chgData name="Jean QUENTIN" userId="6962deb3-b639-4acd-8091-a0516ea2376b" providerId="ADAL" clId="{146BD8F6-FDDD-49D3-A1A6-146C954086FF}" dt="2021-05-24T13:36:18.038" v="3946" actId="790"/>
          <ac:spMkLst>
            <pc:docMk/>
            <pc:sldMk cId="3781687056" sldId="10437"/>
            <ac:spMk id="197" creationId="{3A832681-45CF-4B0A-B698-69DF86F8325C}"/>
          </ac:spMkLst>
        </pc:spChg>
        <pc:spChg chg="mod">
          <ac:chgData name="Jean QUENTIN" userId="6962deb3-b639-4acd-8091-a0516ea2376b" providerId="ADAL" clId="{146BD8F6-FDDD-49D3-A1A6-146C954086FF}" dt="2021-05-24T13:36:18.038" v="3947" actId="790"/>
          <ac:spMkLst>
            <pc:docMk/>
            <pc:sldMk cId="3781687056" sldId="10437"/>
            <ac:spMk id="198" creationId="{E0927A02-123E-4F6E-A17B-48818630B8DA}"/>
          </ac:spMkLst>
        </pc:spChg>
        <pc:spChg chg="mod">
          <ac:chgData name="Jean QUENTIN" userId="6962deb3-b639-4acd-8091-a0516ea2376b" providerId="ADAL" clId="{146BD8F6-FDDD-49D3-A1A6-146C954086FF}" dt="2021-05-24T13:36:18.038" v="3948" actId="790"/>
          <ac:spMkLst>
            <pc:docMk/>
            <pc:sldMk cId="3781687056" sldId="10437"/>
            <ac:spMk id="199" creationId="{8CA4A8A4-2C34-4930-B088-A9E050673F3D}"/>
          </ac:spMkLst>
        </pc:spChg>
        <pc:spChg chg="mod">
          <ac:chgData name="Jean QUENTIN" userId="6962deb3-b639-4acd-8091-a0516ea2376b" providerId="ADAL" clId="{146BD8F6-FDDD-49D3-A1A6-146C954086FF}" dt="2021-05-24T13:36:18.138" v="3975" actId="790"/>
          <ac:spMkLst>
            <pc:docMk/>
            <pc:sldMk cId="3781687056" sldId="10437"/>
            <ac:spMk id="200" creationId="{ACB1A372-A853-44C9-A57A-ABCAFF8B4529}"/>
          </ac:spMkLst>
        </pc:spChg>
        <pc:spChg chg="mod">
          <ac:chgData name="Jean QUENTIN" userId="6962deb3-b639-4acd-8091-a0516ea2376b" providerId="ADAL" clId="{146BD8F6-FDDD-49D3-A1A6-146C954086FF}" dt="2021-05-24T13:36:18.038" v="3949" actId="790"/>
          <ac:spMkLst>
            <pc:docMk/>
            <pc:sldMk cId="3781687056" sldId="10437"/>
            <ac:spMk id="201" creationId="{22C293ED-3457-456B-B33E-9B30D283EC28}"/>
          </ac:spMkLst>
        </pc:spChg>
        <pc:spChg chg="mod">
          <ac:chgData name="Jean QUENTIN" userId="6962deb3-b639-4acd-8091-a0516ea2376b" providerId="ADAL" clId="{146BD8F6-FDDD-49D3-A1A6-146C954086FF}" dt="2021-05-24T13:36:18.038" v="3950" actId="790"/>
          <ac:spMkLst>
            <pc:docMk/>
            <pc:sldMk cId="3781687056" sldId="10437"/>
            <ac:spMk id="202" creationId="{2C411495-2DDE-4ED8-87D0-24644C529575}"/>
          </ac:spMkLst>
        </pc:spChg>
        <pc:spChg chg="mod">
          <ac:chgData name="Jean QUENTIN" userId="6962deb3-b639-4acd-8091-a0516ea2376b" providerId="ADAL" clId="{146BD8F6-FDDD-49D3-A1A6-146C954086FF}" dt="2021-05-24T13:36:18.038" v="3951" actId="790"/>
          <ac:spMkLst>
            <pc:docMk/>
            <pc:sldMk cId="3781687056" sldId="10437"/>
            <ac:spMk id="203" creationId="{7A291F4F-8749-4061-BCD8-D0352D5BBAFA}"/>
          </ac:spMkLst>
        </pc:spChg>
        <pc:spChg chg="mod">
          <ac:chgData name="Jean QUENTIN" userId="6962deb3-b639-4acd-8091-a0516ea2376b" providerId="ADAL" clId="{146BD8F6-FDDD-49D3-A1A6-146C954086FF}" dt="2021-05-24T13:36:18.038" v="3952" actId="790"/>
          <ac:spMkLst>
            <pc:docMk/>
            <pc:sldMk cId="3781687056" sldId="10437"/>
            <ac:spMk id="204" creationId="{333F5019-7477-45B2-9491-F98E8A940981}"/>
          </ac:spMkLst>
        </pc:spChg>
        <pc:spChg chg="mod">
          <ac:chgData name="Jean QUENTIN" userId="6962deb3-b639-4acd-8091-a0516ea2376b" providerId="ADAL" clId="{146BD8F6-FDDD-49D3-A1A6-146C954086FF}" dt="2021-05-24T13:36:18.038" v="3953" actId="790"/>
          <ac:spMkLst>
            <pc:docMk/>
            <pc:sldMk cId="3781687056" sldId="10437"/>
            <ac:spMk id="206" creationId="{ADD53EE2-BB87-4918-A4B7-FBC3599F15EC}"/>
          </ac:spMkLst>
        </pc:spChg>
        <pc:spChg chg="mod">
          <ac:chgData name="Jean QUENTIN" userId="6962deb3-b639-4acd-8091-a0516ea2376b" providerId="ADAL" clId="{146BD8F6-FDDD-49D3-A1A6-146C954086FF}" dt="2021-05-24T13:36:18.038" v="3954" actId="790"/>
          <ac:spMkLst>
            <pc:docMk/>
            <pc:sldMk cId="3781687056" sldId="10437"/>
            <ac:spMk id="207" creationId="{EE59E0A7-A0EB-4AA2-91E2-F7A50124575E}"/>
          </ac:spMkLst>
        </pc:spChg>
        <pc:spChg chg="mod">
          <ac:chgData name="Jean QUENTIN" userId="6962deb3-b639-4acd-8091-a0516ea2376b" providerId="ADAL" clId="{146BD8F6-FDDD-49D3-A1A6-146C954086FF}" dt="2021-05-24T13:36:18.038" v="3955" actId="790"/>
          <ac:spMkLst>
            <pc:docMk/>
            <pc:sldMk cId="3781687056" sldId="10437"/>
            <ac:spMk id="208" creationId="{0363F8E2-3219-4530-BBCF-E04F28BC621F}"/>
          </ac:spMkLst>
        </pc:spChg>
        <pc:spChg chg="mod">
          <ac:chgData name="Jean QUENTIN" userId="6962deb3-b639-4acd-8091-a0516ea2376b" providerId="ADAL" clId="{146BD8F6-FDDD-49D3-A1A6-146C954086FF}" dt="2021-05-24T13:36:18.054" v="3956" actId="790"/>
          <ac:spMkLst>
            <pc:docMk/>
            <pc:sldMk cId="3781687056" sldId="10437"/>
            <ac:spMk id="209" creationId="{31F9DB55-FB49-48A9-829D-19B3145A727D}"/>
          </ac:spMkLst>
        </pc:spChg>
        <pc:spChg chg="mod">
          <ac:chgData name="Jean QUENTIN" userId="6962deb3-b639-4acd-8091-a0516ea2376b" providerId="ADAL" clId="{146BD8F6-FDDD-49D3-A1A6-146C954086FF}" dt="2021-05-24T13:36:18.054" v="3957" actId="790"/>
          <ac:spMkLst>
            <pc:docMk/>
            <pc:sldMk cId="3781687056" sldId="10437"/>
            <ac:spMk id="210" creationId="{02DFB263-4201-4CE5-9E34-D9E8F5DCEF68}"/>
          </ac:spMkLst>
        </pc:spChg>
        <pc:spChg chg="mod">
          <ac:chgData name="Jean QUENTIN" userId="6962deb3-b639-4acd-8091-a0516ea2376b" providerId="ADAL" clId="{146BD8F6-FDDD-49D3-A1A6-146C954086FF}" dt="2021-05-24T13:36:18.060" v="3958" actId="790"/>
          <ac:spMkLst>
            <pc:docMk/>
            <pc:sldMk cId="3781687056" sldId="10437"/>
            <ac:spMk id="211" creationId="{E80B6C42-3CAD-4FA1-9728-E3089DD967C0}"/>
          </ac:spMkLst>
        </pc:spChg>
        <pc:spChg chg="mod">
          <ac:chgData name="Jean QUENTIN" userId="6962deb3-b639-4acd-8091-a0516ea2376b" providerId="ADAL" clId="{146BD8F6-FDDD-49D3-A1A6-146C954086FF}" dt="2021-05-24T13:36:18.060" v="3959" actId="790"/>
          <ac:spMkLst>
            <pc:docMk/>
            <pc:sldMk cId="3781687056" sldId="10437"/>
            <ac:spMk id="212" creationId="{37F99B79-C2EB-4E9B-8867-29C88DDE31D2}"/>
          </ac:spMkLst>
        </pc:spChg>
        <pc:spChg chg="mod">
          <ac:chgData name="Jean QUENTIN" userId="6962deb3-b639-4acd-8091-a0516ea2376b" providerId="ADAL" clId="{146BD8F6-FDDD-49D3-A1A6-146C954086FF}" dt="2021-05-24T13:36:18.076" v="3960" actId="790"/>
          <ac:spMkLst>
            <pc:docMk/>
            <pc:sldMk cId="3781687056" sldId="10437"/>
            <ac:spMk id="213" creationId="{5EE59935-F88B-4713-91C2-CDA6D67F98C8}"/>
          </ac:spMkLst>
        </pc:spChg>
        <pc:spChg chg="mod">
          <ac:chgData name="Jean QUENTIN" userId="6962deb3-b639-4acd-8091-a0516ea2376b" providerId="ADAL" clId="{146BD8F6-FDDD-49D3-A1A6-146C954086FF}" dt="2021-05-24T13:36:18.091" v="3961" actId="790"/>
          <ac:spMkLst>
            <pc:docMk/>
            <pc:sldMk cId="3781687056" sldId="10437"/>
            <ac:spMk id="214" creationId="{BE823D1E-AA34-4C5D-A606-17F7CE404F90}"/>
          </ac:spMkLst>
        </pc:spChg>
        <pc:spChg chg="mod">
          <ac:chgData name="Jean QUENTIN" userId="6962deb3-b639-4acd-8091-a0516ea2376b" providerId="ADAL" clId="{146BD8F6-FDDD-49D3-A1A6-146C954086FF}" dt="2021-05-24T13:36:18.091" v="3962" actId="790"/>
          <ac:spMkLst>
            <pc:docMk/>
            <pc:sldMk cId="3781687056" sldId="10437"/>
            <ac:spMk id="215" creationId="{B62FC16B-4040-4AF6-B5CC-BF978E5158FB}"/>
          </ac:spMkLst>
        </pc:spChg>
        <pc:spChg chg="mod">
          <ac:chgData name="Jean QUENTIN" userId="6962deb3-b639-4acd-8091-a0516ea2376b" providerId="ADAL" clId="{146BD8F6-FDDD-49D3-A1A6-146C954086FF}" dt="2021-05-24T13:36:18.091" v="3963" actId="790"/>
          <ac:spMkLst>
            <pc:docMk/>
            <pc:sldMk cId="3781687056" sldId="10437"/>
            <ac:spMk id="216" creationId="{9C9C8A51-74C6-4591-B716-ABF7D96667F0}"/>
          </ac:spMkLst>
        </pc:spChg>
        <pc:spChg chg="mod">
          <ac:chgData name="Jean QUENTIN" userId="6962deb3-b639-4acd-8091-a0516ea2376b" providerId="ADAL" clId="{146BD8F6-FDDD-49D3-A1A6-146C954086FF}" dt="2021-05-24T13:36:18.107" v="3964" actId="790"/>
          <ac:spMkLst>
            <pc:docMk/>
            <pc:sldMk cId="3781687056" sldId="10437"/>
            <ac:spMk id="228" creationId="{C5E41BFB-BA58-4B75-B52C-2FED687832D0}"/>
          </ac:spMkLst>
        </pc:spChg>
        <pc:spChg chg="mod">
          <ac:chgData name="Jean QUENTIN" userId="6962deb3-b639-4acd-8091-a0516ea2376b" providerId="ADAL" clId="{146BD8F6-FDDD-49D3-A1A6-146C954086FF}" dt="2021-05-24T13:36:18.107" v="3965" actId="790"/>
          <ac:spMkLst>
            <pc:docMk/>
            <pc:sldMk cId="3781687056" sldId="10437"/>
            <ac:spMk id="229" creationId="{CBB51DE1-A100-48E7-817E-76CD6A70193B}"/>
          </ac:spMkLst>
        </pc:spChg>
        <pc:spChg chg="mod">
          <ac:chgData name="Jean QUENTIN" userId="6962deb3-b639-4acd-8091-a0516ea2376b" providerId="ADAL" clId="{146BD8F6-FDDD-49D3-A1A6-146C954086FF}" dt="2021-05-24T13:36:18.107" v="3966" actId="790"/>
          <ac:spMkLst>
            <pc:docMk/>
            <pc:sldMk cId="3781687056" sldId="10437"/>
            <ac:spMk id="230" creationId="{372A6E88-946E-4A1B-91C5-F0C2849F1723}"/>
          </ac:spMkLst>
        </pc:spChg>
        <pc:spChg chg="mod">
          <ac:chgData name="Jean QUENTIN" userId="6962deb3-b639-4acd-8091-a0516ea2376b" providerId="ADAL" clId="{146BD8F6-FDDD-49D3-A1A6-146C954086FF}" dt="2021-05-24T13:36:18.138" v="3976" actId="790"/>
          <ac:spMkLst>
            <pc:docMk/>
            <pc:sldMk cId="3781687056" sldId="10437"/>
            <ac:spMk id="231" creationId="{D33EE3AC-6A01-4797-B09B-10EDC4BA1F44}"/>
          </ac:spMkLst>
        </pc:spChg>
        <pc:spChg chg="mod">
          <ac:chgData name="Jean QUENTIN" userId="6962deb3-b639-4acd-8091-a0516ea2376b" providerId="ADAL" clId="{146BD8F6-FDDD-49D3-A1A6-146C954086FF}" dt="2021-05-24T13:36:18.138" v="3977" actId="790"/>
          <ac:spMkLst>
            <pc:docMk/>
            <pc:sldMk cId="3781687056" sldId="10437"/>
            <ac:spMk id="236" creationId="{F1ABE7E4-6101-4028-94E8-06D28E561CE1}"/>
          </ac:spMkLst>
        </pc:spChg>
        <pc:spChg chg="mod">
          <ac:chgData name="Jean QUENTIN" userId="6962deb3-b639-4acd-8091-a0516ea2376b" providerId="ADAL" clId="{146BD8F6-FDDD-49D3-A1A6-146C954086FF}" dt="2021-05-24T13:36:18.138" v="3978" actId="790"/>
          <ac:spMkLst>
            <pc:docMk/>
            <pc:sldMk cId="3781687056" sldId="10437"/>
            <ac:spMk id="237" creationId="{3BCC8D0B-8609-4886-88F3-BE2664FA764C}"/>
          </ac:spMkLst>
        </pc:spChg>
      </pc:sldChg>
      <pc:sldChg chg="modSp mod">
        <pc:chgData name="Jean QUENTIN" userId="6962deb3-b639-4acd-8091-a0516ea2376b" providerId="ADAL" clId="{146BD8F6-FDDD-49D3-A1A6-146C954086FF}" dt="2021-05-25T12:21:32.114" v="14251" actId="20577"/>
        <pc:sldMkLst>
          <pc:docMk/>
          <pc:sldMk cId="203190409" sldId="10438"/>
        </pc:sldMkLst>
        <pc:spChg chg="mod">
          <ac:chgData name="Jean QUENTIN" userId="6962deb3-b639-4acd-8091-a0516ea2376b" providerId="ADAL" clId="{146BD8F6-FDDD-49D3-A1A6-146C954086FF}" dt="2021-05-24T13:36:21.030" v="5497" actId="790"/>
          <ac:spMkLst>
            <pc:docMk/>
            <pc:sldMk cId="203190409" sldId="10438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21.015" v="5489" actId="790"/>
          <ac:spMkLst>
            <pc:docMk/>
            <pc:sldMk cId="203190409" sldId="10438"/>
            <ac:spMk id="3" creationId="{F2961EB7-FC0B-4AEF-8BF3-7969101BE0A7}"/>
          </ac:spMkLst>
        </pc:spChg>
        <pc:spChg chg="mod">
          <ac:chgData name="Jean QUENTIN" userId="6962deb3-b639-4acd-8091-a0516ea2376b" providerId="ADAL" clId="{146BD8F6-FDDD-49D3-A1A6-146C954086FF}" dt="2021-05-24T13:36:21.015" v="5490" actId="790"/>
          <ac:spMkLst>
            <pc:docMk/>
            <pc:sldMk cId="203190409" sldId="10438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21.030" v="5498" actId="790"/>
          <ac:spMkLst>
            <pc:docMk/>
            <pc:sldMk cId="203190409" sldId="10438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21.030" v="5499" actId="790"/>
          <ac:spMkLst>
            <pc:docMk/>
            <pc:sldMk cId="203190409" sldId="10438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21.030" v="5495" actId="790"/>
          <ac:spMkLst>
            <pc:docMk/>
            <pc:sldMk cId="203190409" sldId="10438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21.030" v="5496" actId="790"/>
          <ac:spMkLst>
            <pc:docMk/>
            <pc:sldMk cId="203190409" sldId="10438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21.030" v="5500" actId="790"/>
          <ac:spMkLst>
            <pc:docMk/>
            <pc:sldMk cId="203190409" sldId="10438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21.061" v="5514" actId="790"/>
          <ac:spMkLst>
            <pc:docMk/>
            <pc:sldMk cId="203190409" sldId="10438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21.015" v="5493" actId="790"/>
          <ac:spMkLst>
            <pc:docMk/>
            <pc:sldMk cId="203190409" sldId="10438"/>
            <ac:spMk id="12" creationId="{06146879-726F-492D-B854-B9E140208671}"/>
          </ac:spMkLst>
        </pc:spChg>
        <pc:spChg chg="mod">
          <ac:chgData name="Jean QUENTIN" userId="6962deb3-b639-4acd-8091-a0516ea2376b" providerId="ADAL" clId="{146BD8F6-FDDD-49D3-A1A6-146C954086FF}" dt="2021-05-24T13:36:21.068" v="5521" actId="790"/>
          <ac:spMkLst>
            <pc:docMk/>
            <pc:sldMk cId="203190409" sldId="10438"/>
            <ac:spMk id="13" creationId="{E9F049B4-9F79-4754-AA4A-B557B2A6D3C9}"/>
          </ac:spMkLst>
        </pc:spChg>
        <pc:spChg chg="mod">
          <ac:chgData name="Jean QUENTIN" userId="6962deb3-b639-4acd-8091-a0516ea2376b" providerId="ADAL" clId="{146BD8F6-FDDD-49D3-A1A6-146C954086FF}" dt="2021-05-24T13:36:21.084" v="5532" actId="790"/>
          <ac:spMkLst>
            <pc:docMk/>
            <pc:sldMk cId="203190409" sldId="10438"/>
            <ac:spMk id="15" creationId="{DAE4D5A4-6F3F-4926-A840-226BDE6AAEF8}"/>
          </ac:spMkLst>
        </pc:spChg>
        <pc:spChg chg="mod">
          <ac:chgData name="Jean QUENTIN" userId="6962deb3-b639-4acd-8091-a0516ea2376b" providerId="ADAL" clId="{146BD8F6-FDDD-49D3-A1A6-146C954086FF}" dt="2021-05-24T13:36:21.061" v="5510" actId="790"/>
          <ac:spMkLst>
            <pc:docMk/>
            <pc:sldMk cId="203190409" sldId="10438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21.030" v="5501" actId="790"/>
          <ac:spMkLst>
            <pc:docMk/>
            <pc:sldMk cId="203190409" sldId="10438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5T12:21:32.114" v="14251" actId="20577"/>
          <ac:spMkLst>
            <pc:docMk/>
            <pc:sldMk cId="203190409" sldId="10438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21.030" v="5503" actId="790"/>
          <ac:spMkLst>
            <pc:docMk/>
            <pc:sldMk cId="203190409" sldId="10438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21.030" v="5504" actId="790"/>
          <ac:spMkLst>
            <pc:docMk/>
            <pc:sldMk cId="203190409" sldId="10438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21.061" v="5511" actId="790"/>
          <ac:spMkLst>
            <pc:docMk/>
            <pc:sldMk cId="203190409" sldId="10438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21.030" v="5505" actId="790"/>
          <ac:spMkLst>
            <pc:docMk/>
            <pc:sldMk cId="203190409" sldId="10438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21.046" v="5506" actId="790"/>
          <ac:spMkLst>
            <pc:docMk/>
            <pc:sldMk cId="203190409" sldId="10438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21.015" v="5494" actId="790"/>
          <ac:spMkLst>
            <pc:docMk/>
            <pc:sldMk cId="203190409" sldId="10438"/>
            <ac:spMk id="50" creationId="{06AD3339-7557-4559-B2EA-6A391CF2BF0C}"/>
          </ac:spMkLst>
        </pc:spChg>
        <pc:spChg chg="mod">
          <ac:chgData name="Jean QUENTIN" userId="6962deb3-b639-4acd-8091-a0516ea2376b" providerId="ADAL" clId="{146BD8F6-FDDD-49D3-A1A6-146C954086FF}" dt="2021-05-24T13:36:21.061" v="5512" actId="790"/>
          <ac:spMkLst>
            <pc:docMk/>
            <pc:sldMk cId="203190409" sldId="10438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21.068" v="5516" actId="790"/>
          <ac:spMkLst>
            <pc:docMk/>
            <pc:sldMk cId="203190409" sldId="10438"/>
            <ac:spMk id="90" creationId="{C1682200-357E-4434-8AD7-5A0786BF6D1B}"/>
          </ac:spMkLst>
        </pc:spChg>
        <pc:spChg chg="mod">
          <ac:chgData name="Jean QUENTIN" userId="6962deb3-b639-4acd-8091-a0516ea2376b" providerId="ADAL" clId="{146BD8F6-FDDD-49D3-A1A6-146C954086FF}" dt="2021-05-24T13:36:21.068" v="5519" actId="790"/>
          <ac:spMkLst>
            <pc:docMk/>
            <pc:sldMk cId="203190409" sldId="10438"/>
            <ac:spMk id="96" creationId="{5BB653FA-7502-456B-9DD5-1867522D3A88}"/>
          </ac:spMkLst>
        </pc:spChg>
        <pc:spChg chg="mod">
          <ac:chgData name="Jean QUENTIN" userId="6962deb3-b639-4acd-8091-a0516ea2376b" providerId="ADAL" clId="{146BD8F6-FDDD-49D3-A1A6-146C954086FF}" dt="2021-05-24T13:36:21.046" v="5507" actId="790"/>
          <ac:spMkLst>
            <pc:docMk/>
            <pc:sldMk cId="203190409" sldId="10438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21.015" v="5491" actId="790"/>
          <ac:spMkLst>
            <pc:docMk/>
            <pc:sldMk cId="203190409" sldId="10438"/>
            <ac:spMk id="107" creationId="{31D0AEAA-51DD-4312-8DD3-D5664A3B479D}"/>
          </ac:spMkLst>
        </pc:spChg>
        <pc:spChg chg="mod">
          <ac:chgData name="Jean QUENTIN" userId="6962deb3-b639-4acd-8091-a0516ea2376b" providerId="ADAL" clId="{146BD8F6-FDDD-49D3-A1A6-146C954086FF}" dt="2021-05-24T13:36:21.061" v="5513" actId="790"/>
          <ac:spMkLst>
            <pc:docMk/>
            <pc:sldMk cId="203190409" sldId="10438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21.068" v="5515" actId="790"/>
          <ac:spMkLst>
            <pc:docMk/>
            <pc:sldMk cId="203190409" sldId="10438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4T13:36:21.068" v="5518" actId="790"/>
          <ac:spMkLst>
            <pc:docMk/>
            <pc:sldMk cId="203190409" sldId="10438"/>
            <ac:spMk id="120" creationId="{697B9F9F-BFD2-4BBC-A2BC-06F0D17B4298}"/>
          </ac:spMkLst>
        </pc:spChg>
        <pc:spChg chg="mod">
          <ac:chgData name="Jean QUENTIN" userId="6962deb3-b639-4acd-8091-a0516ea2376b" providerId="ADAL" clId="{146BD8F6-FDDD-49D3-A1A6-146C954086FF}" dt="2021-05-24T13:36:21.068" v="5517" actId="790"/>
          <ac:spMkLst>
            <pc:docMk/>
            <pc:sldMk cId="203190409" sldId="10438"/>
            <ac:spMk id="122" creationId="{7ED4A8D8-06EE-4620-B65B-5E3B52A3ABAE}"/>
          </ac:spMkLst>
        </pc:spChg>
        <pc:spChg chg="mod">
          <ac:chgData name="Jean QUENTIN" userId="6962deb3-b639-4acd-8091-a0516ea2376b" providerId="ADAL" clId="{146BD8F6-FDDD-49D3-A1A6-146C954086FF}" dt="2021-05-24T13:36:21.068" v="5520" actId="790"/>
          <ac:spMkLst>
            <pc:docMk/>
            <pc:sldMk cId="203190409" sldId="10438"/>
            <ac:spMk id="123" creationId="{CCD5F39F-64EB-4F4E-BE6B-002C617492EF}"/>
          </ac:spMkLst>
        </pc:spChg>
        <pc:spChg chg="mod">
          <ac:chgData name="Jean QUENTIN" userId="6962deb3-b639-4acd-8091-a0516ea2376b" providerId="ADAL" clId="{146BD8F6-FDDD-49D3-A1A6-146C954086FF}" dt="2021-05-24T13:36:21.084" v="5529" actId="790"/>
          <ac:spMkLst>
            <pc:docMk/>
            <pc:sldMk cId="203190409" sldId="10438"/>
            <ac:spMk id="154" creationId="{A7269958-7FC5-479F-B17B-49D115F118B6}"/>
          </ac:spMkLst>
        </pc:spChg>
        <pc:spChg chg="mod">
          <ac:chgData name="Jean QUENTIN" userId="6962deb3-b639-4acd-8091-a0516ea2376b" providerId="ADAL" clId="{146BD8F6-FDDD-49D3-A1A6-146C954086FF}" dt="2021-05-24T13:36:21.068" v="5522" actId="790"/>
          <ac:spMkLst>
            <pc:docMk/>
            <pc:sldMk cId="203190409" sldId="10438"/>
            <ac:spMk id="165" creationId="{C389F3EC-7313-454E-9942-F14FD0BD4C77}"/>
          </ac:spMkLst>
        </pc:spChg>
        <pc:spChg chg="mod">
          <ac:chgData name="Jean QUENTIN" userId="6962deb3-b639-4acd-8091-a0516ea2376b" providerId="ADAL" clId="{146BD8F6-FDDD-49D3-A1A6-146C954086FF}" dt="2021-05-24T13:36:21.068" v="5523" actId="790"/>
          <ac:spMkLst>
            <pc:docMk/>
            <pc:sldMk cId="203190409" sldId="10438"/>
            <ac:spMk id="166" creationId="{A3938D6F-1923-42FF-B2ED-6C2BEA79BA03}"/>
          </ac:spMkLst>
        </pc:spChg>
        <pc:spChg chg="mod">
          <ac:chgData name="Jean QUENTIN" userId="6962deb3-b639-4acd-8091-a0516ea2376b" providerId="ADAL" clId="{146BD8F6-FDDD-49D3-A1A6-146C954086FF}" dt="2021-05-24T13:36:21.068" v="5524" actId="790"/>
          <ac:spMkLst>
            <pc:docMk/>
            <pc:sldMk cId="203190409" sldId="10438"/>
            <ac:spMk id="168" creationId="{C423BD9F-9E4A-46B8-89D7-67C1FE84B168}"/>
          </ac:spMkLst>
        </pc:spChg>
        <pc:spChg chg="mod">
          <ac:chgData name="Jean QUENTIN" userId="6962deb3-b639-4acd-8091-a0516ea2376b" providerId="ADAL" clId="{146BD8F6-FDDD-49D3-A1A6-146C954086FF}" dt="2021-05-24T13:36:21.068" v="5525" actId="790"/>
          <ac:spMkLst>
            <pc:docMk/>
            <pc:sldMk cId="203190409" sldId="10438"/>
            <ac:spMk id="169" creationId="{7881ABC3-A97B-4E90-939F-E48D9595FFFF}"/>
          </ac:spMkLst>
        </pc:spChg>
        <pc:spChg chg="mod">
          <ac:chgData name="Jean QUENTIN" userId="6962deb3-b639-4acd-8091-a0516ea2376b" providerId="ADAL" clId="{146BD8F6-FDDD-49D3-A1A6-146C954086FF}" dt="2021-05-24T13:36:21.084" v="5526" actId="790"/>
          <ac:spMkLst>
            <pc:docMk/>
            <pc:sldMk cId="203190409" sldId="10438"/>
            <ac:spMk id="170" creationId="{A886CA56-9620-415B-9489-A004AB6EB706}"/>
          </ac:spMkLst>
        </pc:spChg>
        <pc:spChg chg="mod">
          <ac:chgData name="Jean QUENTIN" userId="6962deb3-b639-4acd-8091-a0516ea2376b" providerId="ADAL" clId="{146BD8F6-FDDD-49D3-A1A6-146C954086FF}" dt="2021-05-24T13:36:21.084" v="5527" actId="790"/>
          <ac:spMkLst>
            <pc:docMk/>
            <pc:sldMk cId="203190409" sldId="10438"/>
            <ac:spMk id="171" creationId="{BCC6DEFD-6FEB-4777-9432-E3B2F5C51000}"/>
          </ac:spMkLst>
        </pc:spChg>
        <pc:spChg chg="mod">
          <ac:chgData name="Jean QUENTIN" userId="6962deb3-b639-4acd-8091-a0516ea2376b" providerId="ADAL" clId="{146BD8F6-FDDD-49D3-A1A6-146C954086FF}" dt="2021-05-24T13:36:21.084" v="5528" actId="790"/>
          <ac:spMkLst>
            <pc:docMk/>
            <pc:sldMk cId="203190409" sldId="10438"/>
            <ac:spMk id="172" creationId="{04568322-5012-422B-991D-C9A4712E25C9}"/>
          </ac:spMkLst>
        </pc:spChg>
        <pc:spChg chg="mod">
          <ac:chgData name="Jean QUENTIN" userId="6962deb3-b639-4acd-8091-a0516ea2376b" providerId="ADAL" clId="{146BD8F6-FDDD-49D3-A1A6-146C954086FF}" dt="2021-05-24T13:36:21.084" v="5530" actId="790"/>
          <ac:spMkLst>
            <pc:docMk/>
            <pc:sldMk cId="203190409" sldId="10438"/>
            <ac:spMk id="197" creationId="{EB1ED8EE-1371-4F31-B475-A7FD22F01C88}"/>
          </ac:spMkLst>
        </pc:spChg>
        <pc:spChg chg="mod">
          <ac:chgData name="Jean QUENTIN" userId="6962deb3-b639-4acd-8091-a0516ea2376b" providerId="ADAL" clId="{146BD8F6-FDDD-49D3-A1A6-146C954086FF}" dt="2021-05-24T13:36:21.084" v="5531" actId="790"/>
          <ac:spMkLst>
            <pc:docMk/>
            <pc:sldMk cId="203190409" sldId="10438"/>
            <ac:spMk id="212" creationId="{F492C173-DFD6-47CF-9BB4-C8925127E1EE}"/>
          </ac:spMkLst>
        </pc:spChg>
        <pc:spChg chg="mod">
          <ac:chgData name="Jean QUENTIN" userId="6962deb3-b639-4acd-8091-a0516ea2376b" providerId="ADAL" clId="{146BD8F6-FDDD-49D3-A1A6-146C954086FF}" dt="2021-05-24T13:36:21.046" v="5508" actId="790"/>
          <ac:spMkLst>
            <pc:docMk/>
            <pc:sldMk cId="203190409" sldId="10438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21.046" v="5509" actId="790"/>
          <ac:spMkLst>
            <pc:docMk/>
            <pc:sldMk cId="203190409" sldId="10438"/>
            <ac:spMk id="1035" creationId="{9164A53F-4711-41A4-BE3D-8D2F4243A495}"/>
          </ac:spMkLst>
        </pc:spChg>
        <pc:spChg chg="mod">
          <ac:chgData name="Jean QUENTIN" userId="6962deb3-b639-4acd-8091-a0516ea2376b" providerId="ADAL" clId="{146BD8F6-FDDD-49D3-A1A6-146C954086FF}" dt="2021-05-24T13:36:21.015" v="5492" actId="790"/>
          <ac:spMkLst>
            <pc:docMk/>
            <pc:sldMk cId="203190409" sldId="10438"/>
            <ac:spMk id="4107" creationId="{EBC573C8-C4E3-432A-81F7-B99236DF594A}"/>
          </ac:spMkLst>
        </pc:spChg>
      </pc:sldChg>
      <pc:sldChg chg="modSp mod">
        <pc:chgData name="Jean QUENTIN" userId="6962deb3-b639-4acd-8091-a0516ea2376b" providerId="ADAL" clId="{146BD8F6-FDDD-49D3-A1A6-146C954086FF}" dt="2021-05-24T13:36:18.423" v="4129" actId="790"/>
        <pc:sldMkLst>
          <pc:docMk/>
          <pc:sldMk cId="1845337448" sldId="10441"/>
        </pc:sldMkLst>
        <pc:spChg chg="mod">
          <ac:chgData name="Jean QUENTIN" userId="6962deb3-b639-4acd-8091-a0516ea2376b" providerId="ADAL" clId="{146BD8F6-FDDD-49D3-A1A6-146C954086FF}" dt="2021-05-24T13:36:18.376" v="4089" actId="790"/>
          <ac:spMkLst>
            <pc:docMk/>
            <pc:sldMk cId="1845337448" sldId="10441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18.361" v="4081" actId="790"/>
          <ac:spMkLst>
            <pc:docMk/>
            <pc:sldMk cId="1845337448" sldId="10441"/>
            <ac:spMk id="3" creationId="{F2961EB7-FC0B-4AEF-8BF3-7969101BE0A7}"/>
          </ac:spMkLst>
        </pc:spChg>
        <pc:spChg chg="mod">
          <ac:chgData name="Jean QUENTIN" userId="6962deb3-b639-4acd-8091-a0516ea2376b" providerId="ADAL" clId="{146BD8F6-FDDD-49D3-A1A6-146C954086FF}" dt="2021-05-24T13:36:18.361" v="4082" actId="790"/>
          <ac:spMkLst>
            <pc:docMk/>
            <pc:sldMk cId="1845337448" sldId="10441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18.376" v="4090" actId="790"/>
          <ac:spMkLst>
            <pc:docMk/>
            <pc:sldMk cId="1845337448" sldId="10441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18.376" v="4091" actId="790"/>
          <ac:spMkLst>
            <pc:docMk/>
            <pc:sldMk cId="1845337448" sldId="10441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18.361" v="4087" actId="790"/>
          <ac:spMkLst>
            <pc:docMk/>
            <pc:sldMk cId="1845337448" sldId="10441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18.361" v="4088" actId="790"/>
          <ac:spMkLst>
            <pc:docMk/>
            <pc:sldMk cId="1845337448" sldId="10441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18.376" v="4092" actId="790"/>
          <ac:spMkLst>
            <pc:docMk/>
            <pc:sldMk cId="1845337448" sldId="10441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18.408" v="4106" actId="790"/>
          <ac:spMkLst>
            <pc:docMk/>
            <pc:sldMk cId="1845337448" sldId="10441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18.361" v="4085" actId="790"/>
          <ac:spMkLst>
            <pc:docMk/>
            <pc:sldMk cId="1845337448" sldId="10441"/>
            <ac:spMk id="12" creationId="{06146879-726F-492D-B854-B9E140208671}"/>
          </ac:spMkLst>
        </pc:spChg>
        <pc:spChg chg="mod">
          <ac:chgData name="Jean QUENTIN" userId="6962deb3-b639-4acd-8091-a0516ea2376b" providerId="ADAL" clId="{146BD8F6-FDDD-49D3-A1A6-146C954086FF}" dt="2021-05-24T13:36:18.408" v="4113" actId="790"/>
          <ac:spMkLst>
            <pc:docMk/>
            <pc:sldMk cId="1845337448" sldId="10441"/>
            <ac:spMk id="13" creationId="{E9F049B4-9F79-4754-AA4A-B557B2A6D3C9}"/>
          </ac:spMkLst>
        </pc:spChg>
        <pc:spChg chg="mod">
          <ac:chgData name="Jean QUENTIN" userId="6962deb3-b639-4acd-8091-a0516ea2376b" providerId="ADAL" clId="{146BD8F6-FDDD-49D3-A1A6-146C954086FF}" dt="2021-05-24T13:36:18.392" v="4102" actId="790"/>
          <ac:spMkLst>
            <pc:docMk/>
            <pc:sldMk cId="1845337448" sldId="10441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18.376" v="4093" actId="790"/>
          <ac:spMkLst>
            <pc:docMk/>
            <pc:sldMk cId="1845337448" sldId="10441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4T13:36:18.376" v="4094" actId="790"/>
          <ac:spMkLst>
            <pc:docMk/>
            <pc:sldMk cId="1845337448" sldId="10441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18.376" v="4095" actId="790"/>
          <ac:spMkLst>
            <pc:docMk/>
            <pc:sldMk cId="1845337448" sldId="10441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18.376" v="4096" actId="790"/>
          <ac:spMkLst>
            <pc:docMk/>
            <pc:sldMk cId="1845337448" sldId="10441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18.392" v="4103" actId="790"/>
          <ac:spMkLst>
            <pc:docMk/>
            <pc:sldMk cId="1845337448" sldId="10441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18.376" v="4097" actId="790"/>
          <ac:spMkLst>
            <pc:docMk/>
            <pc:sldMk cId="1845337448" sldId="10441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18.376" v="4098" actId="790"/>
          <ac:spMkLst>
            <pc:docMk/>
            <pc:sldMk cId="1845337448" sldId="10441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18.361" v="4086" actId="790"/>
          <ac:spMkLst>
            <pc:docMk/>
            <pc:sldMk cId="1845337448" sldId="10441"/>
            <ac:spMk id="50" creationId="{06AD3339-7557-4559-B2EA-6A391CF2BF0C}"/>
          </ac:spMkLst>
        </pc:spChg>
        <pc:spChg chg="mod">
          <ac:chgData name="Jean QUENTIN" userId="6962deb3-b639-4acd-8091-a0516ea2376b" providerId="ADAL" clId="{146BD8F6-FDDD-49D3-A1A6-146C954086FF}" dt="2021-05-24T13:36:18.392" v="4104" actId="790"/>
          <ac:spMkLst>
            <pc:docMk/>
            <pc:sldMk cId="1845337448" sldId="10441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18.408" v="4108" actId="790"/>
          <ac:spMkLst>
            <pc:docMk/>
            <pc:sldMk cId="1845337448" sldId="10441"/>
            <ac:spMk id="90" creationId="{C1682200-357E-4434-8AD7-5A0786BF6D1B}"/>
          </ac:spMkLst>
        </pc:spChg>
        <pc:spChg chg="mod">
          <ac:chgData name="Jean QUENTIN" userId="6962deb3-b639-4acd-8091-a0516ea2376b" providerId="ADAL" clId="{146BD8F6-FDDD-49D3-A1A6-146C954086FF}" dt="2021-05-24T13:36:18.408" v="4111" actId="790"/>
          <ac:spMkLst>
            <pc:docMk/>
            <pc:sldMk cId="1845337448" sldId="10441"/>
            <ac:spMk id="96" creationId="{5BB653FA-7502-456B-9DD5-1867522D3A88}"/>
          </ac:spMkLst>
        </pc:spChg>
        <pc:spChg chg="mod">
          <ac:chgData name="Jean QUENTIN" userId="6962deb3-b639-4acd-8091-a0516ea2376b" providerId="ADAL" clId="{146BD8F6-FDDD-49D3-A1A6-146C954086FF}" dt="2021-05-24T13:36:18.392" v="4099" actId="790"/>
          <ac:spMkLst>
            <pc:docMk/>
            <pc:sldMk cId="1845337448" sldId="10441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18.423" v="4124" actId="790"/>
          <ac:spMkLst>
            <pc:docMk/>
            <pc:sldMk cId="1845337448" sldId="10441"/>
            <ac:spMk id="101" creationId="{8EB0214B-2FE2-432F-AA82-C10DEC9DB30E}"/>
          </ac:spMkLst>
        </pc:spChg>
        <pc:spChg chg="mod">
          <ac:chgData name="Jean QUENTIN" userId="6962deb3-b639-4acd-8091-a0516ea2376b" providerId="ADAL" clId="{146BD8F6-FDDD-49D3-A1A6-146C954086FF}" dt="2021-05-24T13:36:18.361" v="4083" actId="790"/>
          <ac:spMkLst>
            <pc:docMk/>
            <pc:sldMk cId="1845337448" sldId="10441"/>
            <ac:spMk id="107" creationId="{31D0AEAA-51DD-4312-8DD3-D5664A3B479D}"/>
          </ac:spMkLst>
        </pc:spChg>
        <pc:spChg chg="mod">
          <ac:chgData name="Jean QUENTIN" userId="6962deb3-b639-4acd-8091-a0516ea2376b" providerId="ADAL" clId="{146BD8F6-FDDD-49D3-A1A6-146C954086FF}" dt="2021-05-24T13:36:18.408" v="4105" actId="790"/>
          <ac:spMkLst>
            <pc:docMk/>
            <pc:sldMk cId="1845337448" sldId="10441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18.408" v="4107" actId="790"/>
          <ac:spMkLst>
            <pc:docMk/>
            <pc:sldMk cId="1845337448" sldId="10441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4T13:36:18.408" v="4110" actId="790"/>
          <ac:spMkLst>
            <pc:docMk/>
            <pc:sldMk cId="1845337448" sldId="10441"/>
            <ac:spMk id="120" creationId="{697B9F9F-BFD2-4BBC-A2BC-06F0D17B4298}"/>
          </ac:spMkLst>
        </pc:spChg>
        <pc:spChg chg="mod">
          <ac:chgData name="Jean QUENTIN" userId="6962deb3-b639-4acd-8091-a0516ea2376b" providerId="ADAL" clId="{146BD8F6-FDDD-49D3-A1A6-146C954086FF}" dt="2021-05-24T13:36:18.408" v="4109" actId="790"/>
          <ac:spMkLst>
            <pc:docMk/>
            <pc:sldMk cId="1845337448" sldId="10441"/>
            <ac:spMk id="122" creationId="{7ED4A8D8-06EE-4620-B65B-5E3B52A3ABAE}"/>
          </ac:spMkLst>
        </pc:spChg>
        <pc:spChg chg="mod">
          <ac:chgData name="Jean QUENTIN" userId="6962deb3-b639-4acd-8091-a0516ea2376b" providerId="ADAL" clId="{146BD8F6-FDDD-49D3-A1A6-146C954086FF}" dt="2021-05-24T13:36:18.408" v="4112" actId="790"/>
          <ac:spMkLst>
            <pc:docMk/>
            <pc:sldMk cId="1845337448" sldId="10441"/>
            <ac:spMk id="123" creationId="{CCD5F39F-64EB-4F4E-BE6B-002C617492EF}"/>
          </ac:spMkLst>
        </pc:spChg>
        <pc:spChg chg="mod">
          <ac:chgData name="Jean QUENTIN" userId="6962deb3-b639-4acd-8091-a0516ea2376b" providerId="ADAL" clId="{146BD8F6-FDDD-49D3-A1A6-146C954086FF}" dt="2021-05-24T13:36:18.423" v="4125" actId="790"/>
          <ac:spMkLst>
            <pc:docMk/>
            <pc:sldMk cId="1845337448" sldId="10441"/>
            <ac:spMk id="141" creationId="{C19E2399-AA4C-4252-873E-38280C3DF296}"/>
          </ac:spMkLst>
        </pc:spChg>
        <pc:spChg chg="mod">
          <ac:chgData name="Jean QUENTIN" userId="6962deb3-b639-4acd-8091-a0516ea2376b" providerId="ADAL" clId="{146BD8F6-FDDD-49D3-A1A6-146C954086FF}" dt="2021-05-24T13:36:18.423" v="4126" actId="790"/>
          <ac:spMkLst>
            <pc:docMk/>
            <pc:sldMk cId="1845337448" sldId="10441"/>
            <ac:spMk id="144" creationId="{1AE2D588-096B-4C4C-B474-EC3FF281ECD7}"/>
          </ac:spMkLst>
        </pc:spChg>
        <pc:spChg chg="mod">
          <ac:chgData name="Jean QUENTIN" userId="6962deb3-b639-4acd-8091-a0516ea2376b" providerId="ADAL" clId="{146BD8F6-FDDD-49D3-A1A6-146C954086FF}" dt="2021-05-24T13:36:18.423" v="4127" actId="790"/>
          <ac:spMkLst>
            <pc:docMk/>
            <pc:sldMk cId="1845337448" sldId="10441"/>
            <ac:spMk id="146" creationId="{16575D1F-B714-4E35-B5DC-2A598E791BBC}"/>
          </ac:spMkLst>
        </pc:spChg>
        <pc:spChg chg="mod">
          <ac:chgData name="Jean QUENTIN" userId="6962deb3-b639-4acd-8091-a0516ea2376b" providerId="ADAL" clId="{146BD8F6-FDDD-49D3-A1A6-146C954086FF}" dt="2021-05-24T13:36:18.423" v="4128" actId="790"/>
          <ac:spMkLst>
            <pc:docMk/>
            <pc:sldMk cId="1845337448" sldId="10441"/>
            <ac:spMk id="153" creationId="{C4D2AEA3-DC3E-4430-855E-11D7FEBA0E01}"/>
          </ac:spMkLst>
        </pc:spChg>
        <pc:spChg chg="mod">
          <ac:chgData name="Jean QUENTIN" userId="6962deb3-b639-4acd-8091-a0516ea2376b" providerId="ADAL" clId="{146BD8F6-FDDD-49D3-A1A6-146C954086FF}" dt="2021-05-24T13:36:18.423" v="4121" actId="790"/>
          <ac:spMkLst>
            <pc:docMk/>
            <pc:sldMk cId="1845337448" sldId="10441"/>
            <ac:spMk id="154" creationId="{A7269958-7FC5-479F-B17B-49D115F118B6}"/>
          </ac:spMkLst>
        </pc:spChg>
        <pc:spChg chg="mod">
          <ac:chgData name="Jean QUENTIN" userId="6962deb3-b639-4acd-8091-a0516ea2376b" providerId="ADAL" clId="{146BD8F6-FDDD-49D3-A1A6-146C954086FF}" dt="2021-05-24T13:36:18.423" v="4129" actId="790"/>
          <ac:spMkLst>
            <pc:docMk/>
            <pc:sldMk cId="1845337448" sldId="10441"/>
            <ac:spMk id="155" creationId="{24811E8C-1BDE-449F-8847-3DF240F42E2A}"/>
          </ac:spMkLst>
        </pc:spChg>
        <pc:spChg chg="mod">
          <ac:chgData name="Jean QUENTIN" userId="6962deb3-b639-4acd-8091-a0516ea2376b" providerId="ADAL" clId="{146BD8F6-FDDD-49D3-A1A6-146C954086FF}" dt="2021-05-24T13:36:18.408" v="4114" actId="790"/>
          <ac:spMkLst>
            <pc:docMk/>
            <pc:sldMk cId="1845337448" sldId="10441"/>
            <ac:spMk id="165" creationId="{C389F3EC-7313-454E-9942-F14FD0BD4C77}"/>
          </ac:spMkLst>
        </pc:spChg>
        <pc:spChg chg="mod">
          <ac:chgData name="Jean QUENTIN" userId="6962deb3-b639-4acd-8091-a0516ea2376b" providerId="ADAL" clId="{146BD8F6-FDDD-49D3-A1A6-146C954086FF}" dt="2021-05-24T13:36:18.408" v="4115" actId="790"/>
          <ac:spMkLst>
            <pc:docMk/>
            <pc:sldMk cId="1845337448" sldId="10441"/>
            <ac:spMk id="166" creationId="{A3938D6F-1923-42FF-B2ED-6C2BEA79BA03}"/>
          </ac:spMkLst>
        </pc:spChg>
        <pc:spChg chg="mod">
          <ac:chgData name="Jean QUENTIN" userId="6962deb3-b639-4acd-8091-a0516ea2376b" providerId="ADAL" clId="{146BD8F6-FDDD-49D3-A1A6-146C954086FF}" dt="2021-05-24T13:36:18.408" v="4116" actId="790"/>
          <ac:spMkLst>
            <pc:docMk/>
            <pc:sldMk cId="1845337448" sldId="10441"/>
            <ac:spMk id="168" creationId="{C423BD9F-9E4A-46B8-89D7-67C1FE84B168}"/>
          </ac:spMkLst>
        </pc:spChg>
        <pc:spChg chg="mod">
          <ac:chgData name="Jean QUENTIN" userId="6962deb3-b639-4acd-8091-a0516ea2376b" providerId="ADAL" clId="{146BD8F6-FDDD-49D3-A1A6-146C954086FF}" dt="2021-05-24T13:36:18.423" v="4117" actId="790"/>
          <ac:spMkLst>
            <pc:docMk/>
            <pc:sldMk cId="1845337448" sldId="10441"/>
            <ac:spMk id="169" creationId="{7881ABC3-A97B-4E90-939F-E48D9595FFFF}"/>
          </ac:spMkLst>
        </pc:spChg>
        <pc:spChg chg="mod">
          <ac:chgData name="Jean QUENTIN" userId="6962deb3-b639-4acd-8091-a0516ea2376b" providerId="ADAL" clId="{146BD8F6-FDDD-49D3-A1A6-146C954086FF}" dt="2021-05-24T13:36:18.423" v="4118" actId="790"/>
          <ac:spMkLst>
            <pc:docMk/>
            <pc:sldMk cId="1845337448" sldId="10441"/>
            <ac:spMk id="170" creationId="{A886CA56-9620-415B-9489-A004AB6EB706}"/>
          </ac:spMkLst>
        </pc:spChg>
        <pc:spChg chg="mod">
          <ac:chgData name="Jean QUENTIN" userId="6962deb3-b639-4acd-8091-a0516ea2376b" providerId="ADAL" clId="{146BD8F6-FDDD-49D3-A1A6-146C954086FF}" dt="2021-05-24T13:36:18.423" v="4119" actId="790"/>
          <ac:spMkLst>
            <pc:docMk/>
            <pc:sldMk cId="1845337448" sldId="10441"/>
            <ac:spMk id="171" creationId="{BCC6DEFD-6FEB-4777-9432-E3B2F5C51000}"/>
          </ac:spMkLst>
        </pc:spChg>
        <pc:spChg chg="mod">
          <ac:chgData name="Jean QUENTIN" userId="6962deb3-b639-4acd-8091-a0516ea2376b" providerId="ADAL" clId="{146BD8F6-FDDD-49D3-A1A6-146C954086FF}" dt="2021-05-24T13:36:18.423" v="4120" actId="790"/>
          <ac:spMkLst>
            <pc:docMk/>
            <pc:sldMk cId="1845337448" sldId="10441"/>
            <ac:spMk id="172" creationId="{04568322-5012-422B-991D-C9A4712E25C9}"/>
          </ac:spMkLst>
        </pc:spChg>
        <pc:spChg chg="mod">
          <ac:chgData name="Jean QUENTIN" userId="6962deb3-b639-4acd-8091-a0516ea2376b" providerId="ADAL" clId="{146BD8F6-FDDD-49D3-A1A6-146C954086FF}" dt="2021-05-24T13:36:18.423" v="4122" actId="790"/>
          <ac:spMkLst>
            <pc:docMk/>
            <pc:sldMk cId="1845337448" sldId="10441"/>
            <ac:spMk id="197" creationId="{EB1ED8EE-1371-4F31-B475-A7FD22F01C88}"/>
          </ac:spMkLst>
        </pc:spChg>
        <pc:spChg chg="mod">
          <ac:chgData name="Jean QUENTIN" userId="6962deb3-b639-4acd-8091-a0516ea2376b" providerId="ADAL" clId="{146BD8F6-FDDD-49D3-A1A6-146C954086FF}" dt="2021-05-24T13:36:18.423" v="4123" actId="790"/>
          <ac:spMkLst>
            <pc:docMk/>
            <pc:sldMk cId="1845337448" sldId="10441"/>
            <ac:spMk id="212" creationId="{F492C173-DFD6-47CF-9BB4-C8925127E1EE}"/>
          </ac:spMkLst>
        </pc:spChg>
        <pc:spChg chg="mod">
          <ac:chgData name="Jean QUENTIN" userId="6962deb3-b639-4acd-8091-a0516ea2376b" providerId="ADAL" clId="{146BD8F6-FDDD-49D3-A1A6-146C954086FF}" dt="2021-05-24T13:36:18.392" v="4100" actId="790"/>
          <ac:spMkLst>
            <pc:docMk/>
            <pc:sldMk cId="1845337448" sldId="10441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18.392" v="4101" actId="790"/>
          <ac:spMkLst>
            <pc:docMk/>
            <pc:sldMk cId="1845337448" sldId="10441"/>
            <ac:spMk id="1035" creationId="{9164A53F-4711-41A4-BE3D-8D2F4243A495}"/>
          </ac:spMkLst>
        </pc:spChg>
        <pc:spChg chg="mod">
          <ac:chgData name="Jean QUENTIN" userId="6962deb3-b639-4acd-8091-a0516ea2376b" providerId="ADAL" clId="{146BD8F6-FDDD-49D3-A1A6-146C954086FF}" dt="2021-05-24T13:36:18.361" v="4084" actId="790"/>
          <ac:spMkLst>
            <pc:docMk/>
            <pc:sldMk cId="1845337448" sldId="10441"/>
            <ac:spMk id="4107" creationId="{EBC573C8-C4E3-432A-81F7-B99236DF594A}"/>
          </ac:spMkLst>
        </pc:spChg>
      </pc:sldChg>
      <pc:sldChg chg="modSp mod">
        <pc:chgData name="Jean QUENTIN" userId="6962deb3-b639-4acd-8091-a0516ea2376b" providerId="ADAL" clId="{146BD8F6-FDDD-49D3-A1A6-146C954086FF}" dt="2021-05-24T13:36:20.983" v="5480" actId="790"/>
        <pc:sldMkLst>
          <pc:docMk/>
          <pc:sldMk cId="119867206" sldId="10442"/>
        </pc:sldMkLst>
        <pc:spChg chg="mod">
          <ac:chgData name="Jean QUENTIN" userId="6962deb3-b639-4acd-8091-a0516ea2376b" providerId="ADAL" clId="{146BD8F6-FDDD-49D3-A1A6-146C954086FF}" dt="2021-05-24T13:36:20.930" v="5470" actId="790"/>
          <ac:spMkLst>
            <pc:docMk/>
            <pc:sldMk cId="119867206" sldId="10442"/>
            <ac:spMk id="2" creationId="{65FB54C3-7A29-4F52-9D6B-AA323F834961}"/>
          </ac:spMkLst>
        </pc:spChg>
        <pc:spChg chg="mod">
          <ac:chgData name="Jean QUENTIN" userId="6962deb3-b639-4acd-8091-a0516ea2376b" providerId="ADAL" clId="{146BD8F6-FDDD-49D3-A1A6-146C954086FF}" dt="2021-05-24T13:36:20.968" v="5471" actId="790"/>
          <ac:spMkLst>
            <pc:docMk/>
            <pc:sldMk cId="119867206" sldId="10442"/>
            <ac:spMk id="6" creationId="{17814E99-965C-4895-9646-E33069A9A320}"/>
          </ac:spMkLst>
        </pc:spChg>
        <pc:spChg chg="mod">
          <ac:chgData name="Jean QUENTIN" userId="6962deb3-b639-4acd-8091-a0516ea2376b" providerId="ADAL" clId="{146BD8F6-FDDD-49D3-A1A6-146C954086FF}" dt="2021-05-24T13:36:20.968" v="5472" actId="790"/>
          <ac:spMkLst>
            <pc:docMk/>
            <pc:sldMk cId="119867206" sldId="10442"/>
            <ac:spMk id="7" creationId="{82AE89E6-D4E3-4178-B8E1-8AE6595F0637}"/>
          </ac:spMkLst>
        </pc:spChg>
        <pc:spChg chg="mod">
          <ac:chgData name="Jean QUENTIN" userId="6962deb3-b639-4acd-8091-a0516ea2376b" providerId="ADAL" clId="{146BD8F6-FDDD-49D3-A1A6-146C954086FF}" dt="2021-05-24T13:36:20.968" v="5473" actId="790"/>
          <ac:spMkLst>
            <pc:docMk/>
            <pc:sldMk cId="119867206" sldId="10442"/>
            <ac:spMk id="8" creationId="{9F4269E6-46DB-47B7-95A3-54D40A0E47A1}"/>
          </ac:spMkLst>
        </pc:spChg>
        <pc:spChg chg="mod">
          <ac:chgData name="Jean QUENTIN" userId="6962deb3-b639-4acd-8091-a0516ea2376b" providerId="ADAL" clId="{146BD8F6-FDDD-49D3-A1A6-146C954086FF}" dt="2021-05-24T13:36:20.968" v="5474" actId="790"/>
          <ac:spMkLst>
            <pc:docMk/>
            <pc:sldMk cId="119867206" sldId="10442"/>
            <ac:spMk id="9" creationId="{2D4E4221-24DC-43CD-B5D5-370F991FE917}"/>
          </ac:spMkLst>
        </pc:spChg>
        <pc:spChg chg="mod">
          <ac:chgData name="Jean QUENTIN" userId="6962deb3-b639-4acd-8091-a0516ea2376b" providerId="ADAL" clId="{146BD8F6-FDDD-49D3-A1A6-146C954086FF}" dt="2021-05-24T13:36:20.983" v="5475" actId="790"/>
          <ac:spMkLst>
            <pc:docMk/>
            <pc:sldMk cId="119867206" sldId="10442"/>
            <ac:spMk id="10" creationId="{E8C45A6F-E245-4010-97F3-89B076D31E91}"/>
          </ac:spMkLst>
        </pc:spChg>
        <pc:spChg chg="mod">
          <ac:chgData name="Jean QUENTIN" userId="6962deb3-b639-4acd-8091-a0516ea2376b" providerId="ADAL" clId="{146BD8F6-FDDD-49D3-A1A6-146C954086FF}" dt="2021-05-24T13:36:20.983" v="5476" actId="790"/>
          <ac:spMkLst>
            <pc:docMk/>
            <pc:sldMk cId="119867206" sldId="10442"/>
            <ac:spMk id="12" creationId="{1AE79417-FE24-4346-9D97-86AA44877733}"/>
          </ac:spMkLst>
        </pc:spChg>
        <pc:spChg chg="mod">
          <ac:chgData name="Jean QUENTIN" userId="6962deb3-b639-4acd-8091-a0516ea2376b" providerId="ADAL" clId="{146BD8F6-FDDD-49D3-A1A6-146C954086FF}" dt="2021-05-24T13:36:20.983" v="5477" actId="790"/>
          <ac:spMkLst>
            <pc:docMk/>
            <pc:sldMk cId="119867206" sldId="10442"/>
            <ac:spMk id="14" creationId="{547A547C-C0C3-4B16-BFF7-9DFEC12870C1}"/>
          </ac:spMkLst>
        </pc:spChg>
        <pc:spChg chg="mod">
          <ac:chgData name="Jean QUENTIN" userId="6962deb3-b639-4acd-8091-a0516ea2376b" providerId="ADAL" clId="{146BD8F6-FDDD-49D3-A1A6-146C954086FF}" dt="2021-05-24T13:36:20.983" v="5479" actId="790"/>
          <ac:spMkLst>
            <pc:docMk/>
            <pc:sldMk cId="119867206" sldId="10442"/>
            <ac:spMk id="15" creationId="{5D22D7AF-E656-45E3-A226-B8CF9280DB09}"/>
          </ac:spMkLst>
        </pc:spChg>
        <pc:spChg chg="mod">
          <ac:chgData name="Jean QUENTIN" userId="6962deb3-b639-4acd-8091-a0516ea2376b" providerId="ADAL" clId="{146BD8F6-FDDD-49D3-A1A6-146C954086FF}" dt="2021-05-24T13:36:20.983" v="5480" actId="790"/>
          <ac:spMkLst>
            <pc:docMk/>
            <pc:sldMk cId="119867206" sldId="10442"/>
            <ac:spMk id="16" creationId="{E625AD53-64CF-42F3-AA64-D4ABD13045AB}"/>
          </ac:spMkLst>
        </pc:spChg>
        <pc:spChg chg="mod">
          <ac:chgData name="Jean QUENTIN" userId="6962deb3-b639-4acd-8091-a0516ea2376b" providerId="ADAL" clId="{146BD8F6-FDDD-49D3-A1A6-146C954086FF}" dt="2021-05-24T13:36:20.983" v="5478" actId="790"/>
          <ac:spMkLst>
            <pc:docMk/>
            <pc:sldMk cId="119867206" sldId="10442"/>
            <ac:spMk id="17" creationId="{5329159C-AA45-4FCE-B188-EE02B9D769D6}"/>
          </ac:spMkLst>
        </pc:spChg>
      </pc:sldChg>
      <pc:sldChg chg="modSp mod">
        <pc:chgData name="Jean QUENTIN" userId="6962deb3-b639-4acd-8091-a0516ea2376b" providerId="ADAL" clId="{146BD8F6-FDDD-49D3-A1A6-146C954086FF}" dt="2021-05-24T13:36:24.043" v="6782" actId="790"/>
        <pc:sldMkLst>
          <pc:docMk/>
          <pc:sldMk cId="378554613" sldId="10443"/>
        </pc:sldMkLst>
        <pc:spChg chg="mod">
          <ac:chgData name="Jean QUENTIN" userId="6962deb3-b639-4acd-8091-a0516ea2376b" providerId="ADAL" clId="{146BD8F6-FDDD-49D3-A1A6-146C954086FF}" dt="2021-05-24T13:36:23.837" v="6719" actId="790"/>
          <ac:spMkLst>
            <pc:docMk/>
            <pc:sldMk cId="378554613" sldId="10443"/>
            <ac:spMk id="2" creationId="{E19F901F-5492-47C0-A6F7-DF38EE87C63C}"/>
          </ac:spMkLst>
        </pc:spChg>
        <pc:spChg chg="mod">
          <ac:chgData name="Jean QUENTIN" userId="6962deb3-b639-4acd-8091-a0516ea2376b" providerId="ADAL" clId="{146BD8F6-FDDD-49D3-A1A6-146C954086FF}" dt="2021-05-24T13:36:23.837" v="6720" actId="790"/>
          <ac:spMkLst>
            <pc:docMk/>
            <pc:sldMk cId="378554613" sldId="10443"/>
            <ac:spMk id="3" creationId="{EA36DEC0-367F-4462-9ECA-BD4E3ABDD7AD}"/>
          </ac:spMkLst>
        </pc:spChg>
        <pc:spChg chg="mod">
          <ac:chgData name="Jean QUENTIN" userId="6962deb3-b639-4acd-8091-a0516ea2376b" providerId="ADAL" clId="{146BD8F6-FDDD-49D3-A1A6-146C954086FF}" dt="2021-05-24T13:36:23.837" v="6721" actId="790"/>
          <ac:spMkLst>
            <pc:docMk/>
            <pc:sldMk cId="378554613" sldId="10443"/>
            <ac:spMk id="4" creationId="{36E8441A-7CAA-4835-B0E0-73093E7211AF}"/>
          </ac:spMkLst>
        </pc:spChg>
        <pc:spChg chg="mod">
          <ac:chgData name="Jean QUENTIN" userId="6962deb3-b639-4acd-8091-a0516ea2376b" providerId="ADAL" clId="{146BD8F6-FDDD-49D3-A1A6-146C954086FF}" dt="2021-05-24T13:36:23.837" v="6722" actId="790"/>
          <ac:spMkLst>
            <pc:docMk/>
            <pc:sldMk cId="378554613" sldId="10443"/>
            <ac:spMk id="5" creationId="{B595370E-355C-4B5F-A978-CDD15547DBD1}"/>
          </ac:spMkLst>
        </pc:spChg>
        <pc:spChg chg="mod">
          <ac:chgData name="Jean QUENTIN" userId="6962deb3-b639-4acd-8091-a0516ea2376b" providerId="ADAL" clId="{146BD8F6-FDDD-49D3-A1A6-146C954086FF}" dt="2021-05-24T13:36:23.837" v="6723" actId="790"/>
          <ac:spMkLst>
            <pc:docMk/>
            <pc:sldMk cId="378554613" sldId="10443"/>
            <ac:spMk id="6" creationId="{609D4ECD-A435-4FC4-8FA3-4F4EB4E1037F}"/>
          </ac:spMkLst>
        </pc:spChg>
        <pc:spChg chg="mod">
          <ac:chgData name="Jean QUENTIN" userId="6962deb3-b639-4acd-8091-a0516ea2376b" providerId="ADAL" clId="{146BD8F6-FDDD-49D3-A1A6-146C954086FF}" dt="2021-05-24T13:36:23.837" v="6724" actId="790"/>
          <ac:spMkLst>
            <pc:docMk/>
            <pc:sldMk cId="378554613" sldId="10443"/>
            <ac:spMk id="7" creationId="{3519796A-9FDF-4BE6-8C17-7B847140DB1E}"/>
          </ac:spMkLst>
        </pc:spChg>
        <pc:spChg chg="mod">
          <ac:chgData name="Jean QUENTIN" userId="6962deb3-b639-4acd-8091-a0516ea2376b" providerId="ADAL" clId="{146BD8F6-FDDD-49D3-A1A6-146C954086FF}" dt="2021-05-24T13:36:23.837" v="6725" actId="790"/>
          <ac:spMkLst>
            <pc:docMk/>
            <pc:sldMk cId="378554613" sldId="10443"/>
            <ac:spMk id="8" creationId="{C0F9EC2E-5B9C-44C3-8BBC-04E6A56A04D9}"/>
          </ac:spMkLst>
        </pc:spChg>
        <pc:spChg chg="mod">
          <ac:chgData name="Jean QUENTIN" userId="6962deb3-b639-4acd-8091-a0516ea2376b" providerId="ADAL" clId="{146BD8F6-FDDD-49D3-A1A6-146C954086FF}" dt="2021-05-24T13:36:23.837" v="6726" actId="790"/>
          <ac:spMkLst>
            <pc:docMk/>
            <pc:sldMk cId="378554613" sldId="10443"/>
            <ac:spMk id="9" creationId="{317041DE-AACE-4076-B336-98D4DFCF2F8D}"/>
          </ac:spMkLst>
        </pc:spChg>
        <pc:spChg chg="mod">
          <ac:chgData name="Jean QUENTIN" userId="6962deb3-b639-4acd-8091-a0516ea2376b" providerId="ADAL" clId="{146BD8F6-FDDD-49D3-A1A6-146C954086FF}" dt="2021-05-24T13:36:23.853" v="6727" actId="790"/>
          <ac:spMkLst>
            <pc:docMk/>
            <pc:sldMk cId="378554613" sldId="10443"/>
            <ac:spMk id="10" creationId="{96B7A014-AD04-4B6B-93EF-F8AE892DB682}"/>
          </ac:spMkLst>
        </pc:spChg>
        <pc:spChg chg="mod">
          <ac:chgData name="Jean QUENTIN" userId="6962deb3-b639-4acd-8091-a0516ea2376b" providerId="ADAL" clId="{146BD8F6-FDDD-49D3-A1A6-146C954086FF}" dt="2021-05-24T13:36:23.853" v="6728" actId="790"/>
          <ac:spMkLst>
            <pc:docMk/>
            <pc:sldMk cId="378554613" sldId="10443"/>
            <ac:spMk id="11" creationId="{BF229D2B-E1C5-4C07-819B-6B198291B445}"/>
          </ac:spMkLst>
        </pc:spChg>
        <pc:spChg chg="mod">
          <ac:chgData name="Jean QUENTIN" userId="6962deb3-b639-4acd-8091-a0516ea2376b" providerId="ADAL" clId="{146BD8F6-FDDD-49D3-A1A6-146C954086FF}" dt="2021-05-24T13:36:23.853" v="6729" actId="790"/>
          <ac:spMkLst>
            <pc:docMk/>
            <pc:sldMk cId="378554613" sldId="10443"/>
            <ac:spMk id="12" creationId="{3EFA3E8A-E38B-412F-A7AC-89C4DD936271}"/>
          </ac:spMkLst>
        </pc:spChg>
        <pc:spChg chg="mod">
          <ac:chgData name="Jean QUENTIN" userId="6962deb3-b639-4acd-8091-a0516ea2376b" providerId="ADAL" clId="{146BD8F6-FDDD-49D3-A1A6-146C954086FF}" dt="2021-05-24T13:36:23.853" v="6730" actId="790"/>
          <ac:spMkLst>
            <pc:docMk/>
            <pc:sldMk cId="378554613" sldId="10443"/>
            <ac:spMk id="13" creationId="{17705788-120B-4AC9-B719-CCF70341BA1F}"/>
          </ac:spMkLst>
        </pc:spChg>
        <pc:spChg chg="mod">
          <ac:chgData name="Jean QUENTIN" userId="6962deb3-b639-4acd-8091-a0516ea2376b" providerId="ADAL" clId="{146BD8F6-FDDD-49D3-A1A6-146C954086FF}" dt="2021-05-24T13:36:23.853" v="6731" actId="790"/>
          <ac:spMkLst>
            <pc:docMk/>
            <pc:sldMk cId="378554613" sldId="10443"/>
            <ac:spMk id="14" creationId="{724AF84E-9B10-405B-8DB6-FA7988A7668D}"/>
          </ac:spMkLst>
        </pc:spChg>
        <pc:spChg chg="mod">
          <ac:chgData name="Jean QUENTIN" userId="6962deb3-b639-4acd-8091-a0516ea2376b" providerId="ADAL" clId="{146BD8F6-FDDD-49D3-A1A6-146C954086FF}" dt="2021-05-24T13:36:23.853" v="6732" actId="790"/>
          <ac:spMkLst>
            <pc:docMk/>
            <pc:sldMk cId="378554613" sldId="10443"/>
            <ac:spMk id="15" creationId="{34C45BC7-2142-44BC-8D88-77D9EBC4EA6E}"/>
          </ac:spMkLst>
        </pc:spChg>
        <pc:spChg chg="mod">
          <ac:chgData name="Jean QUENTIN" userId="6962deb3-b639-4acd-8091-a0516ea2376b" providerId="ADAL" clId="{146BD8F6-FDDD-49D3-A1A6-146C954086FF}" dt="2021-05-24T13:36:23.853" v="6733" actId="790"/>
          <ac:spMkLst>
            <pc:docMk/>
            <pc:sldMk cId="378554613" sldId="10443"/>
            <ac:spMk id="16" creationId="{41A679EC-8321-4F10-B731-7F5C67FA2AC4}"/>
          </ac:spMkLst>
        </pc:spChg>
        <pc:spChg chg="mod">
          <ac:chgData name="Jean QUENTIN" userId="6962deb3-b639-4acd-8091-a0516ea2376b" providerId="ADAL" clId="{146BD8F6-FDDD-49D3-A1A6-146C954086FF}" dt="2021-05-24T13:36:23.853" v="6734" actId="790"/>
          <ac:spMkLst>
            <pc:docMk/>
            <pc:sldMk cId="378554613" sldId="10443"/>
            <ac:spMk id="17" creationId="{2935E5F8-84AB-433D-881B-5B0E1C57BA6F}"/>
          </ac:spMkLst>
        </pc:spChg>
        <pc:spChg chg="mod">
          <ac:chgData name="Jean QUENTIN" userId="6962deb3-b639-4acd-8091-a0516ea2376b" providerId="ADAL" clId="{146BD8F6-FDDD-49D3-A1A6-146C954086FF}" dt="2021-05-24T13:36:23.853" v="6735" actId="790"/>
          <ac:spMkLst>
            <pc:docMk/>
            <pc:sldMk cId="378554613" sldId="10443"/>
            <ac:spMk id="18" creationId="{B0A62E94-BF7E-40AC-B764-BB2A54C0C494}"/>
          </ac:spMkLst>
        </pc:spChg>
        <pc:spChg chg="mod">
          <ac:chgData name="Jean QUENTIN" userId="6962deb3-b639-4acd-8091-a0516ea2376b" providerId="ADAL" clId="{146BD8F6-FDDD-49D3-A1A6-146C954086FF}" dt="2021-05-24T13:36:23.868" v="6736" actId="790"/>
          <ac:spMkLst>
            <pc:docMk/>
            <pc:sldMk cId="378554613" sldId="10443"/>
            <ac:spMk id="19" creationId="{027A9967-715F-48E8-B963-0D3A8F664B42}"/>
          </ac:spMkLst>
        </pc:spChg>
        <pc:spChg chg="mod">
          <ac:chgData name="Jean QUENTIN" userId="6962deb3-b639-4acd-8091-a0516ea2376b" providerId="ADAL" clId="{146BD8F6-FDDD-49D3-A1A6-146C954086FF}" dt="2021-05-24T13:36:23.875" v="6737" actId="790"/>
          <ac:spMkLst>
            <pc:docMk/>
            <pc:sldMk cId="378554613" sldId="10443"/>
            <ac:spMk id="45" creationId="{EB8DCDA0-B944-46B1-94A1-3BC57FE2558C}"/>
          </ac:spMkLst>
        </pc:spChg>
        <pc:spChg chg="mod">
          <ac:chgData name="Jean QUENTIN" userId="6962deb3-b639-4acd-8091-a0516ea2376b" providerId="ADAL" clId="{146BD8F6-FDDD-49D3-A1A6-146C954086FF}" dt="2021-05-24T13:36:23.890" v="6738" actId="790"/>
          <ac:spMkLst>
            <pc:docMk/>
            <pc:sldMk cId="378554613" sldId="10443"/>
            <ac:spMk id="46" creationId="{7B138FEF-21CD-48C0-BC88-FE04EB25D3AA}"/>
          </ac:spMkLst>
        </pc:spChg>
        <pc:spChg chg="mod">
          <ac:chgData name="Jean QUENTIN" userId="6962deb3-b639-4acd-8091-a0516ea2376b" providerId="ADAL" clId="{146BD8F6-FDDD-49D3-A1A6-146C954086FF}" dt="2021-05-24T13:36:23.890" v="6739" actId="790"/>
          <ac:spMkLst>
            <pc:docMk/>
            <pc:sldMk cId="378554613" sldId="10443"/>
            <ac:spMk id="47" creationId="{C8752D5D-1277-4ECD-BD07-8C2295A5CD51}"/>
          </ac:spMkLst>
        </pc:spChg>
        <pc:spChg chg="mod">
          <ac:chgData name="Jean QUENTIN" userId="6962deb3-b639-4acd-8091-a0516ea2376b" providerId="ADAL" clId="{146BD8F6-FDDD-49D3-A1A6-146C954086FF}" dt="2021-05-24T13:36:23.890" v="6740" actId="790"/>
          <ac:spMkLst>
            <pc:docMk/>
            <pc:sldMk cId="378554613" sldId="10443"/>
            <ac:spMk id="49" creationId="{73FF325B-AA43-4315-A9B8-69EBF61E787C}"/>
          </ac:spMkLst>
        </pc:spChg>
        <pc:spChg chg="mod">
          <ac:chgData name="Jean QUENTIN" userId="6962deb3-b639-4acd-8091-a0516ea2376b" providerId="ADAL" clId="{146BD8F6-FDDD-49D3-A1A6-146C954086FF}" dt="2021-05-24T13:36:23.890" v="6741" actId="790"/>
          <ac:spMkLst>
            <pc:docMk/>
            <pc:sldMk cId="378554613" sldId="10443"/>
            <ac:spMk id="52" creationId="{B01F8A17-D5BB-48D0-9812-19B9E7EC3664}"/>
          </ac:spMkLst>
        </pc:spChg>
        <pc:spChg chg="mod">
          <ac:chgData name="Jean QUENTIN" userId="6962deb3-b639-4acd-8091-a0516ea2376b" providerId="ADAL" clId="{146BD8F6-FDDD-49D3-A1A6-146C954086FF}" dt="2021-05-24T13:36:23.890" v="6742" actId="790"/>
          <ac:spMkLst>
            <pc:docMk/>
            <pc:sldMk cId="378554613" sldId="10443"/>
            <ac:spMk id="54" creationId="{CBD01CF7-FE13-4ECB-AB15-2BFF82F48911}"/>
          </ac:spMkLst>
        </pc:spChg>
        <pc:spChg chg="mod">
          <ac:chgData name="Jean QUENTIN" userId="6962deb3-b639-4acd-8091-a0516ea2376b" providerId="ADAL" clId="{146BD8F6-FDDD-49D3-A1A6-146C954086FF}" dt="2021-05-24T13:36:23.890" v="6743" actId="790"/>
          <ac:spMkLst>
            <pc:docMk/>
            <pc:sldMk cId="378554613" sldId="10443"/>
            <ac:spMk id="55" creationId="{B63F3251-C420-4EC6-A652-BED9B1662C49}"/>
          </ac:spMkLst>
        </pc:spChg>
        <pc:spChg chg="mod">
          <ac:chgData name="Jean QUENTIN" userId="6962deb3-b639-4acd-8091-a0516ea2376b" providerId="ADAL" clId="{146BD8F6-FDDD-49D3-A1A6-146C954086FF}" dt="2021-05-24T13:36:23.890" v="6744" actId="790"/>
          <ac:spMkLst>
            <pc:docMk/>
            <pc:sldMk cId="378554613" sldId="10443"/>
            <ac:spMk id="57" creationId="{69054210-C4B6-4FB4-80AD-FD0685FDB8A7}"/>
          </ac:spMkLst>
        </pc:spChg>
        <pc:spChg chg="mod">
          <ac:chgData name="Jean QUENTIN" userId="6962deb3-b639-4acd-8091-a0516ea2376b" providerId="ADAL" clId="{146BD8F6-FDDD-49D3-A1A6-146C954086FF}" dt="2021-05-24T13:36:23.906" v="6745" actId="790"/>
          <ac:spMkLst>
            <pc:docMk/>
            <pc:sldMk cId="378554613" sldId="10443"/>
            <ac:spMk id="58" creationId="{232AEBA7-7474-41B4-B82F-C3A42529BB0E}"/>
          </ac:spMkLst>
        </pc:spChg>
        <pc:spChg chg="mod">
          <ac:chgData name="Jean QUENTIN" userId="6962deb3-b639-4acd-8091-a0516ea2376b" providerId="ADAL" clId="{146BD8F6-FDDD-49D3-A1A6-146C954086FF}" dt="2021-05-24T13:36:23.906" v="6746" actId="790"/>
          <ac:spMkLst>
            <pc:docMk/>
            <pc:sldMk cId="378554613" sldId="10443"/>
            <ac:spMk id="63" creationId="{61A1973B-5E55-44A7-880E-BA9B0E602E07}"/>
          </ac:spMkLst>
        </pc:spChg>
        <pc:spChg chg="mod">
          <ac:chgData name="Jean QUENTIN" userId="6962deb3-b639-4acd-8091-a0516ea2376b" providerId="ADAL" clId="{146BD8F6-FDDD-49D3-A1A6-146C954086FF}" dt="2021-05-24T13:36:23.906" v="6747" actId="790"/>
          <ac:spMkLst>
            <pc:docMk/>
            <pc:sldMk cId="378554613" sldId="10443"/>
            <ac:spMk id="64" creationId="{454B325B-9049-498F-95B6-2D362EE8E082}"/>
          </ac:spMkLst>
        </pc:spChg>
        <pc:spChg chg="mod">
          <ac:chgData name="Jean QUENTIN" userId="6962deb3-b639-4acd-8091-a0516ea2376b" providerId="ADAL" clId="{146BD8F6-FDDD-49D3-A1A6-146C954086FF}" dt="2021-05-24T13:36:23.906" v="6748" actId="790"/>
          <ac:spMkLst>
            <pc:docMk/>
            <pc:sldMk cId="378554613" sldId="10443"/>
            <ac:spMk id="65" creationId="{1E938B2A-4E75-4F22-B677-0E92942C3BF0}"/>
          </ac:spMkLst>
        </pc:spChg>
        <pc:spChg chg="mod">
          <ac:chgData name="Jean QUENTIN" userId="6962deb3-b639-4acd-8091-a0516ea2376b" providerId="ADAL" clId="{146BD8F6-FDDD-49D3-A1A6-146C954086FF}" dt="2021-05-24T13:36:23.906" v="6749" actId="790"/>
          <ac:spMkLst>
            <pc:docMk/>
            <pc:sldMk cId="378554613" sldId="10443"/>
            <ac:spMk id="69" creationId="{DBCAE63A-1BB7-4D88-AF4F-3EA225B48E8E}"/>
          </ac:spMkLst>
        </pc:spChg>
        <pc:spChg chg="mod">
          <ac:chgData name="Jean QUENTIN" userId="6962deb3-b639-4acd-8091-a0516ea2376b" providerId="ADAL" clId="{146BD8F6-FDDD-49D3-A1A6-146C954086FF}" dt="2021-05-24T13:36:23.906" v="6750" actId="790"/>
          <ac:spMkLst>
            <pc:docMk/>
            <pc:sldMk cId="378554613" sldId="10443"/>
            <ac:spMk id="70" creationId="{F1C05B6A-4C6A-49A8-B882-43C0D93B017C}"/>
          </ac:spMkLst>
        </pc:spChg>
        <pc:spChg chg="mod">
          <ac:chgData name="Jean QUENTIN" userId="6962deb3-b639-4acd-8091-a0516ea2376b" providerId="ADAL" clId="{146BD8F6-FDDD-49D3-A1A6-146C954086FF}" dt="2021-05-24T13:36:23.906" v="6751" actId="790"/>
          <ac:spMkLst>
            <pc:docMk/>
            <pc:sldMk cId="378554613" sldId="10443"/>
            <ac:spMk id="72" creationId="{D30E9580-C8AB-4324-8ACD-5E2FFF909617}"/>
          </ac:spMkLst>
        </pc:spChg>
        <pc:spChg chg="mod">
          <ac:chgData name="Jean QUENTIN" userId="6962deb3-b639-4acd-8091-a0516ea2376b" providerId="ADAL" clId="{146BD8F6-FDDD-49D3-A1A6-146C954086FF}" dt="2021-05-24T13:36:23.906" v="6752" actId="790"/>
          <ac:spMkLst>
            <pc:docMk/>
            <pc:sldMk cId="378554613" sldId="10443"/>
            <ac:spMk id="73" creationId="{10BC5ECF-96B8-4588-B214-C8B1A33C3323}"/>
          </ac:spMkLst>
        </pc:spChg>
        <pc:spChg chg="mod">
          <ac:chgData name="Jean QUENTIN" userId="6962deb3-b639-4acd-8091-a0516ea2376b" providerId="ADAL" clId="{146BD8F6-FDDD-49D3-A1A6-146C954086FF}" dt="2021-05-24T13:36:23.922" v="6753" actId="790"/>
          <ac:spMkLst>
            <pc:docMk/>
            <pc:sldMk cId="378554613" sldId="10443"/>
            <ac:spMk id="74" creationId="{B1E3592B-DCB2-4C49-AA17-FD77A5513DF7}"/>
          </ac:spMkLst>
        </pc:spChg>
        <pc:spChg chg="mod">
          <ac:chgData name="Jean QUENTIN" userId="6962deb3-b639-4acd-8091-a0516ea2376b" providerId="ADAL" clId="{146BD8F6-FDDD-49D3-A1A6-146C954086FF}" dt="2021-05-24T13:36:23.922" v="6754" actId="790"/>
          <ac:spMkLst>
            <pc:docMk/>
            <pc:sldMk cId="378554613" sldId="10443"/>
            <ac:spMk id="75" creationId="{40464EC8-3ED2-479F-AA13-547A901D2AFC}"/>
          </ac:spMkLst>
        </pc:spChg>
        <pc:spChg chg="mod">
          <ac:chgData name="Jean QUENTIN" userId="6962deb3-b639-4acd-8091-a0516ea2376b" providerId="ADAL" clId="{146BD8F6-FDDD-49D3-A1A6-146C954086FF}" dt="2021-05-24T13:36:23.922" v="6755" actId="790"/>
          <ac:spMkLst>
            <pc:docMk/>
            <pc:sldMk cId="378554613" sldId="10443"/>
            <ac:spMk id="76" creationId="{10D9986C-9CA4-417C-9CD4-BC05991D62D9}"/>
          </ac:spMkLst>
        </pc:spChg>
        <pc:spChg chg="mod">
          <ac:chgData name="Jean QUENTIN" userId="6962deb3-b639-4acd-8091-a0516ea2376b" providerId="ADAL" clId="{146BD8F6-FDDD-49D3-A1A6-146C954086FF}" dt="2021-05-24T13:36:23.922" v="6756" actId="790"/>
          <ac:spMkLst>
            <pc:docMk/>
            <pc:sldMk cId="378554613" sldId="10443"/>
            <ac:spMk id="82" creationId="{E9135B47-2D9D-4245-B195-852DFE06A01F}"/>
          </ac:spMkLst>
        </pc:spChg>
        <pc:spChg chg="mod">
          <ac:chgData name="Jean QUENTIN" userId="6962deb3-b639-4acd-8091-a0516ea2376b" providerId="ADAL" clId="{146BD8F6-FDDD-49D3-A1A6-146C954086FF}" dt="2021-05-24T13:36:23.922" v="6757" actId="790"/>
          <ac:spMkLst>
            <pc:docMk/>
            <pc:sldMk cId="378554613" sldId="10443"/>
            <ac:spMk id="83" creationId="{F605E2FE-2D03-47CF-A9E0-A06DF1E80BA3}"/>
          </ac:spMkLst>
        </pc:spChg>
        <pc:spChg chg="mod">
          <ac:chgData name="Jean QUENTIN" userId="6962deb3-b639-4acd-8091-a0516ea2376b" providerId="ADAL" clId="{146BD8F6-FDDD-49D3-A1A6-146C954086FF}" dt="2021-05-24T13:36:23.922" v="6758" actId="790"/>
          <ac:spMkLst>
            <pc:docMk/>
            <pc:sldMk cId="378554613" sldId="10443"/>
            <ac:spMk id="84" creationId="{8F0B4BBB-A591-4171-B679-F336E5C5CEC8}"/>
          </ac:spMkLst>
        </pc:spChg>
        <pc:spChg chg="mod">
          <ac:chgData name="Jean QUENTIN" userId="6962deb3-b639-4acd-8091-a0516ea2376b" providerId="ADAL" clId="{146BD8F6-FDDD-49D3-A1A6-146C954086FF}" dt="2021-05-24T13:36:23.922" v="6759" actId="790"/>
          <ac:spMkLst>
            <pc:docMk/>
            <pc:sldMk cId="378554613" sldId="10443"/>
            <ac:spMk id="95" creationId="{2B208BB2-6D57-419B-BE99-9FB2EB9BB080}"/>
          </ac:spMkLst>
        </pc:spChg>
        <pc:spChg chg="mod">
          <ac:chgData name="Jean QUENTIN" userId="6962deb3-b639-4acd-8091-a0516ea2376b" providerId="ADAL" clId="{146BD8F6-FDDD-49D3-A1A6-146C954086FF}" dt="2021-05-24T13:36:23.922" v="6760" actId="790"/>
          <ac:spMkLst>
            <pc:docMk/>
            <pc:sldMk cId="378554613" sldId="10443"/>
            <ac:spMk id="96" creationId="{F15561ED-FA6A-4BBA-9A97-BB0743C9E791}"/>
          </ac:spMkLst>
        </pc:spChg>
        <pc:spChg chg="mod">
          <ac:chgData name="Jean QUENTIN" userId="6962deb3-b639-4acd-8091-a0516ea2376b" providerId="ADAL" clId="{146BD8F6-FDDD-49D3-A1A6-146C954086FF}" dt="2021-05-24T13:36:23.922" v="6761" actId="790"/>
          <ac:spMkLst>
            <pc:docMk/>
            <pc:sldMk cId="378554613" sldId="10443"/>
            <ac:spMk id="97" creationId="{1E59D88E-0852-47C8-A0C2-EC18D5E724D9}"/>
          </ac:spMkLst>
        </pc:spChg>
        <pc:spChg chg="mod">
          <ac:chgData name="Jean QUENTIN" userId="6962deb3-b639-4acd-8091-a0516ea2376b" providerId="ADAL" clId="{146BD8F6-FDDD-49D3-A1A6-146C954086FF}" dt="2021-05-24T13:36:23.937" v="6762" actId="790"/>
          <ac:spMkLst>
            <pc:docMk/>
            <pc:sldMk cId="378554613" sldId="10443"/>
            <ac:spMk id="98" creationId="{80D609C3-770A-4A62-A60B-1A41FF145B8B}"/>
          </ac:spMkLst>
        </pc:spChg>
        <pc:spChg chg="mod">
          <ac:chgData name="Jean QUENTIN" userId="6962deb3-b639-4acd-8091-a0516ea2376b" providerId="ADAL" clId="{146BD8F6-FDDD-49D3-A1A6-146C954086FF}" dt="2021-05-24T13:36:23.937" v="6763" actId="790"/>
          <ac:spMkLst>
            <pc:docMk/>
            <pc:sldMk cId="378554613" sldId="10443"/>
            <ac:spMk id="99" creationId="{C94C71C7-5F58-4E59-8751-2AE80C8761F5}"/>
          </ac:spMkLst>
        </pc:spChg>
        <pc:spChg chg="mod">
          <ac:chgData name="Jean QUENTIN" userId="6962deb3-b639-4acd-8091-a0516ea2376b" providerId="ADAL" clId="{146BD8F6-FDDD-49D3-A1A6-146C954086FF}" dt="2021-05-24T13:36:23.937" v="6764" actId="790"/>
          <ac:spMkLst>
            <pc:docMk/>
            <pc:sldMk cId="378554613" sldId="10443"/>
            <ac:spMk id="100" creationId="{D4CDCB67-63A4-46DD-8EBE-619304AC23AA}"/>
          </ac:spMkLst>
        </pc:spChg>
        <pc:spChg chg="mod">
          <ac:chgData name="Jean QUENTIN" userId="6962deb3-b639-4acd-8091-a0516ea2376b" providerId="ADAL" clId="{146BD8F6-FDDD-49D3-A1A6-146C954086FF}" dt="2021-05-24T13:36:23.953" v="6765" actId="790"/>
          <ac:spMkLst>
            <pc:docMk/>
            <pc:sldMk cId="378554613" sldId="10443"/>
            <ac:spMk id="101" creationId="{BEE69406-F245-4940-A3D8-6BB2373960DE}"/>
          </ac:spMkLst>
        </pc:spChg>
        <pc:spChg chg="mod">
          <ac:chgData name="Jean QUENTIN" userId="6962deb3-b639-4acd-8091-a0516ea2376b" providerId="ADAL" clId="{146BD8F6-FDDD-49D3-A1A6-146C954086FF}" dt="2021-05-24T13:36:23.953" v="6766" actId="790"/>
          <ac:spMkLst>
            <pc:docMk/>
            <pc:sldMk cId="378554613" sldId="10443"/>
            <ac:spMk id="127" creationId="{F380DE95-6AD2-484E-95AC-1ACA750EB303}"/>
          </ac:spMkLst>
        </pc:spChg>
        <pc:spChg chg="mod">
          <ac:chgData name="Jean QUENTIN" userId="6962deb3-b639-4acd-8091-a0516ea2376b" providerId="ADAL" clId="{146BD8F6-FDDD-49D3-A1A6-146C954086FF}" dt="2021-05-24T13:36:23.960" v="6767" actId="790"/>
          <ac:spMkLst>
            <pc:docMk/>
            <pc:sldMk cId="378554613" sldId="10443"/>
            <ac:spMk id="128" creationId="{0AB5F0BD-376D-447A-9032-749FB078936B}"/>
          </ac:spMkLst>
        </pc:spChg>
        <pc:spChg chg="mod">
          <ac:chgData name="Jean QUENTIN" userId="6962deb3-b639-4acd-8091-a0516ea2376b" providerId="ADAL" clId="{146BD8F6-FDDD-49D3-A1A6-146C954086FF}" dt="2021-05-24T13:36:23.962" v="6768" actId="790"/>
          <ac:spMkLst>
            <pc:docMk/>
            <pc:sldMk cId="378554613" sldId="10443"/>
            <ac:spMk id="129" creationId="{4A04D1B5-5D04-4208-90C7-27C5B3DF6BAB}"/>
          </ac:spMkLst>
        </pc:spChg>
        <pc:spChg chg="mod">
          <ac:chgData name="Jean QUENTIN" userId="6962deb3-b639-4acd-8091-a0516ea2376b" providerId="ADAL" clId="{146BD8F6-FDDD-49D3-A1A6-146C954086FF}" dt="2021-05-24T13:36:23.964" v="6769" actId="790"/>
          <ac:spMkLst>
            <pc:docMk/>
            <pc:sldMk cId="378554613" sldId="10443"/>
            <ac:spMk id="130" creationId="{7D99563A-3C11-4314-8E30-616D59FB0030}"/>
          </ac:spMkLst>
        </pc:spChg>
        <pc:spChg chg="mod">
          <ac:chgData name="Jean QUENTIN" userId="6962deb3-b639-4acd-8091-a0516ea2376b" providerId="ADAL" clId="{146BD8F6-FDDD-49D3-A1A6-146C954086FF}" dt="2021-05-24T13:36:23.966" v="6770" actId="790"/>
          <ac:spMkLst>
            <pc:docMk/>
            <pc:sldMk cId="378554613" sldId="10443"/>
            <ac:spMk id="131" creationId="{A0CF7030-74D6-41D0-9786-9F4BB7CAC9A7}"/>
          </ac:spMkLst>
        </pc:spChg>
        <pc:spChg chg="mod">
          <ac:chgData name="Jean QUENTIN" userId="6962deb3-b639-4acd-8091-a0516ea2376b" providerId="ADAL" clId="{146BD8F6-FDDD-49D3-A1A6-146C954086FF}" dt="2021-05-24T13:36:23.973" v="6771" actId="790"/>
          <ac:spMkLst>
            <pc:docMk/>
            <pc:sldMk cId="378554613" sldId="10443"/>
            <ac:spMk id="132" creationId="{2E738EF8-B3B7-4757-806E-88E0B1DF2612}"/>
          </ac:spMkLst>
        </pc:spChg>
        <pc:spChg chg="mod">
          <ac:chgData name="Jean QUENTIN" userId="6962deb3-b639-4acd-8091-a0516ea2376b" providerId="ADAL" clId="{146BD8F6-FDDD-49D3-A1A6-146C954086FF}" dt="2021-05-24T13:36:23.987" v="6772" actId="790"/>
          <ac:spMkLst>
            <pc:docMk/>
            <pc:sldMk cId="378554613" sldId="10443"/>
            <ac:spMk id="147" creationId="{81BCCAD9-ACBB-4315-8102-539D64974B9D}"/>
          </ac:spMkLst>
        </pc:spChg>
        <pc:spChg chg="mod">
          <ac:chgData name="Jean QUENTIN" userId="6962deb3-b639-4acd-8091-a0516ea2376b" providerId="ADAL" clId="{146BD8F6-FDDD-49D3-A1A6-146C954086FF}" dt="2021-05-24T13:36:23.990" v="6773" actId="790"/>
          <ac:spMkLst>
            <pc:docMk/>
            <pc:sldMk cId="378554613" sldId="10443"/>
            <ac:spMk id="148" creationId="{448DFD26-A3F4-495C-8CC0-96A9E41F69F3}"/>
          </ac:spMkLst>
        </pc:spChg>
        <pc:spChg chg="mod">
          <ac:chgData name="Jean QUENTIN" userId="6962deb3-b639-4acd-8091-a0516ea2376b" providerId="ADAL" clId="{146BD8F6-FDDD-49D3-A1A6-146C954086FF}" dt="2021-05-24T13:36:23.992" v="6774" actId="790"/>
          <ac:spMkLst>
            <pc:docMk/>
            <pc:sldMk cId="378554613" sldId="10443"/>
            <ac:spMk id="149" creationId="{0090C71F-8FB4-4DE7-9BA3-7589EFDFECAD}"/>
          </ac:spMkLst>
        </pc:spChg>
        <pc:spChg chg="mod">
          <ac:chgData name="Jean QUENTIN" userId="6962deb3-b639-4acd-8091-a0516ea2376b" providerId="ADAL" clId="{146BD8F6-FDDD-49D3-A1A6-146C954086FF}" dt="2021-05-24T13:36:23.994" v="6775" actId="790"/>
          <ac:spMkLst>
            <pc:docMk/>
            <pc:sldMk cId="378554613" sldId="10443"/>
            <ac:spMk id="150" creationId="{062E4221-AD36-4890-8A26-24CC90897E91}"/>
          </ac:spMkLst>
        </pc:spChg>
        <pc:spChg chg="mod">
          <ac:chgData name="Jean QUENTIN" userId="6962deb3-b639-4acd-8091-a0516ea2376b" providerId="ADAL" clId="{146BD8F6-FDDD-49D3-A1A6-146C954086FF}" dt="2021-05-24T13:36:23.996" v="6776" actId="790"/>
          <ac:spMkLst>
            <pc:docMk/>
            <pc:sldMk cId="378554613" sldId="10443"/>
            <ac:spMk id="151" creationId="{5E64C097-F81E-4F7D-9E0A-18252B921E98}"/>
          </ac:spMkLst>
        </pc:spChg>
        <pc:spChg chg="mod">
          <ac:chgData name="Jean QUENTIN" userId="6962deb3-b639-4acd-8091-a0516ea2376b" providerId="ADAL" clId="{146BD8F6-FDDD-49D3-A1A6-146C954086FF}" dt="2021-05-24T13:36:23.999" v="6777" actId="790"/>
          <ac:spMkLst>
            <pc:docMk/>
            <pc:sldMk cId="378554613" sldId="10443"/>
            <ac:spMk id="156" creationId="{836B22C9-514D-461D-930E-666A255DE5AD}"/>
          </ac:spMkLst>
        </pc:spChg>
        <pc:spChg chg="mod">
          <ac:chgData name="Jean QUENTIN" userId="6962deb3-b639-4acd-8091-a0516ea2376b" providerId="ADAL" clId="{146BD8F6-FDDD-49D3-A1A6-146C954086FF}" dt="2021-05-24T13:36:24" v="6778" actId="790"/>
          <ac:spMkLst>
            <pc:docMk/>
            <pc:sldMk cId="378554613" sldId="10443"/>
            <ac:spMk id="158" creationId="{679E835B-88A5-4118-A2E6-97B6B6433350}"/>
          </ac:spMkLst>
        </pc:spChg>
        <pc:spChg chg="mod">
          <ac:chgData name="Jean QUENTIN" userId="6962deb3-b639-4acd-8091-a0516ea2376b" providerId="ADAL" clId="{146BD8F6-FDDD-49D3-A1A6-146C954086FF}" dt="2021-05-24T13:36:24.001" v="6779" actId="790"/>
          <ac:spMkLst>
            <pc:docMk/>
            <pc:sldMk cId="378554613" sldId="10443"/>
            <ac:spMk id="159" creationId="{E6015557-5508-470E-AD12-F745612E8427}"/>
          </ac:spMkLst>
        </pc:spChg>
        <pc:spChg chg="mod">
          <ac:chgData name="Jean QUENTIN" userId="6962deb3-b639-4acd-8091-a0516ea2376b" providerId="ADAL" clId="{146BD8F6-FDDD-49D3-A1A6-146C954086FF}" dt="2021-05-24T13:36:24.004" v="6780" actId="790"/>
          <ac:spMkLst>
            <pc:docMk/>
            <pc:sldMk cId="378554613" sldId="10443"/>
            <ac:spMk id="160" creationId="{403E01D2-B873-45D0-9C1A-757FC06E435A}"/>
          </ac:spMkLst>
        </pc:spChg>
        <pc:spChg chg="mod">
          <ac:chgData name="Jean QUENTIN" userId="6962deb3-b639-4acd-8091-a0516ea2376b" providerId="ADAL" clId="{146BD8F6-FDDD-49D3-A1A6-146C954086FF}" dt="2021-05-24T13:36:24.008" v="6781" actId="790"/>
          <ac:spMkLst>
            <pc:docMk/>
            <pc:sldMk cId="378554613" sldId="10443"/>
            <ac:spMk id="161" creationId="{A2CDDECB-C2EB-4AC1-95C8-A59FA2CA16BB}"/>
          </ac:spMkLst>
        </pc:spChg>
        <pc:spChg chg="mod">
          <ac:chgData name="Jean QUENTIN" userId="6962deb3-b639-4acd-8091-a0516ea2376b" providerId="ADAL" clId="{146BD8F6-FDDD-49D3-A1A6-146C954086FF}" dt="2021-05-24T13:36:24.043" v="6782" actId="790"/>
          <ac:spMkLst>
            <pc:docMk/>
            <pc:sldMk cId="378554613" sldId="10443"/>
            <ac:spMk id="162" creationId="{A5B49362-B700-474F-869D-13632EDB5039}"/>
          </ac:spMkLst>
        </pc:spChg>
      </pc:sldChg>
      <pc:sldChg chg="modSp mod">
        <pc:chgData name="Jean QUENTIN" userId="6962deb3-b639-4acd-8091-a0516ea2376b" providerId="ADAL" clId="{146BD8F6-FDDD-49D3-A1A6-146C954086FF}" dt="2021-05-24T13:36:18.778" v="4289" actId="790"/>
        <pc:sldMkLst>
          <pc:docMk/>
          <pc:sldMk cId="3186676131" sldId="10444"/>
        </pc:sldMkLst>
        <pc:spChg chg="mod">
          <ac:chgData name="Jean QUENTIN" userId="6962deb3-b639-4acd-8091-a0516ea2376b" providerId="ADAL" clId="{146BD8F6-FDDD-49D3-A1A6-146C954086FF}" dt="2021-05-24T13:36:18.677" v="4240" actId="790"/>
          <ac:spMkLst>
            <pc:docMk/>
            <pc:sldMk cId="3186676131" sldId="10444"/>
            <ac:spMk id="2" creationId="{1B8B41D0-3B5A-41F2-BD36-274CA5605C3A}"/>
          </ac:spMkLst>
        </pc:spChg>
        <pc:spChg chg="mod">
          <ac:chgData name="Jean QUENTIN" userId="6962deb3-b639-4acd-8091-a0516ea2376b" providerId="ADAL" clId="{146BD8F6-FDDD-49D3-A1A6-146C954086FF}" dt="2021-05-24T13:36:18.724" v="4270" actId="790"/>
          <ac:spMkLst>
            <pc:docMk/>
            <pc:sldMk cId="3186676131" sldId="10444"/>
            <ac:spMk id="3" creationId="{F2961EB7-FC0B-4AEF-8BF3-7969101BE0A7}"/>
          </ac:spMkLst>
        </pc:spChg>
        <pc:spChg chg="mod">
          <ac:chgData name="Jean QUENTIN" userId="6962deb3-b639-4acd-8091-a0516ea2376b" providerId="ADAL" clId="{146BD8F6-FDDD-49D3-A1A6-146C954086FF}" dt="2021-05-24T13:36:18.677" v="4235" actId="790"/>
          <ac:spMkLst>
            <pc:docMk/>
            <pc:sldMk cId="3186676131" sldId="10444"/>
            <ac:spMk id="4" creationId="{43E0D5C7-0986-42B1-8E8C-7B58D0CBD773}"/>
          </ac:spMkLst>
        </pc:spChg>
        <pc:spChg chg="mod">
          <ac:chgData name="Jean QUENTIN" userId="6962deb3-b639-4acd-8091-a0516ea2376b" providerId="ADAL" clId="{146BD8F6-FDDD-49D3-A1A6-146C954086FF}" dt="2021-05-24T13:36:18.677" v="4241" actId="790"/>
          <ac:spMkLst>
            <pc:docMk/>
            <pc:sldMk cId="3186676131" sldId="10444"/>
            <ac:spMk id="5" creationId="{32E0BE14-B2E8-4A96-ADE4-0BE247A47D79}"/>
          </ac:spMkLst>
        </pc:spChg>
        <pc:spChg chg="mod">
          <ac:chgData name="Jean QUENTIN" userId="6962deb3-b639-4acd-8091-a0516ea2376b" providerId="ADAL" clId="{146BD8F6-FDDD-49D3-A1A6-146C954086FF}" dt="2021-05-24T13:36:18.677" v="4242" actId="790"/>
          <ac:spMkLst>
            <pc:docMk/>
            <pc:sldMk cId="3186676131" sldId="10444"/>
            <ac:spMk id="6" creationId="{8AEA1672-C0F9-4DB2-A6F4-76831980F749}"/>
          </ac:spMkLst>
        </pc:spChg>
        <pc:spChg chg="mod">
          <ac:chgData name="Jean QUENTIN" userId="6962deb3-b639-4acd-8091-a0516ea2376b" providerId="ADAL" clId="{146BD8F6-FDDD-49D3-A1A6-146C954086FF}" dt="2021-05-24T13:36:18.677" v="4238" actId="790"/>
          <ac:spMkLst>
            <pc:docMk/>
            <pc:sldMk cId="3186676131" sldId="10444"/>
            <ac:spMk id="7" creationId="{064EAC16-1947-4EB5-B699-F79BA984701D}"/>
          </ac:spMkLst>
        </pc:spChg>
        <pc:spChg chg="mod">
          <ac:chgData name="Jean QUENTIN" userId="6962deb3-b639-4acd-8091-a0516ea2376b" providerId="ADAL" clId="{146BD8F6-FDDD-49D3-A1A6-146C954086FF}" dt="2021-05-24T13:36:18.677" v="4239" actId="790"/>
          <ac:spMkLst>
            <pc:docMk/>
            <pc:sldMk cId="3186676131" sldId="10444"/>
            <ac:spMk id="8" creationId="{17235FB0-B480-4F11-BAB2-ECCE97A0AE35}"/>
          </ac:spMkLst>
        </pc:spChg>
        <pc:spChg chg="mod">
          <ac:chgData name="Jean QUENTIN" userId="6962deb3-b639-4acd-8091-a0516ea2376b" providerId="ADAL" clId="{146BD8F6-FDDD-49D3-A1A6-146C954086FF}" dt="2021-05-24T13:36:18.677" v="4243" actId="790"/>
          <ac:spMkLst>
            <pc:docMk/>
            <pc:sldMk cId="3186676131" sldId="10444"/>
            <ac:spMk id="9" creationId="{E57AC7D2-FC03-4826-B2B4-B86B10C8A912}"/>
          </ac:spMkLst>
        </pc:spChg>
        <pc:spChg chg="mod">
          <ac:chgData name="Jean QUENTIN" userId="6962deb3-b639-4acd-8091-a0516ea2376b" providerId="ADAL" clId="{146BD8F6-FDDD-49D3-A1A6-146C954086FF}" dt="2021-05-24T13:36:18.709" v="4257" actId="790"/>
          <ac:spMkLst>
            <pc:docMk/>
            <pc:sldMk cId="3186676131" sldId="10444"/>
            <ac:spMk id="10" creationId="{EC4BC8E5-CDE6-4BDA-8B1B-E89284306AC8}"/>
          </ac:spMkLst>
        </pc:spChg>
        <pc:spChg chg="mod">
          <ac:chgData name="Jean QUENTIN" userId="6962deb3-b639-4acd-8091-a0516ea2376b" providerId="ADAL" clId="{146BD8F6-FDDD-49D3-A1A6-146C954086FF}" dt="2021-05-24T13:36:18.724" v="4271" actId="790"/>
          <ac:spMkLst>
            <pc:docMk/>
            <pc:sldMk cId="3186676131" sldId="10444"/>
            <ac:spMk id="12" creationId="{06146879-726F-492D-B854-B9E140208671}"/>
          </ac:spMkLst>
        </pc:spChg>
        <pc:spChg chg="mod">
          <ac:chgData name="Jean QUENTIN" userId="6962deb3-b639-4acd-8091-a0516ea2376b" providerId="ADAL" clId="{146BD8F6-FDDD-49D3-A1A6-146C954086FF}" dt="2021-05-24T13:36:18.740" v="4277" actId="790"/>
          <ac:spMkLst>
            <pc:docMk/>
            <pc:sldMk cId="3186676131" sldId="10444"/>
            <ac:spMk id="13" creationId="{E9F049B4-9F79-4754-AA4A-B557B2A6D3C9}"/>
          </ac:spMkLst>
        </pc:spChg>
        <pc:spChg chg="mod">
          <ac:chgData name="Jean QUENTIN" userId="6962deb3-b639-4acd-8091-a0516ea2376b" providerId="ADAL" clId="{146BD8F6-FDDD-49D3-A1A6-146C954086FF}" dt="2021-05-24T13:36:18.709" v="4253" actId="790"/>
          <ac:spMkLst>
            <pc:docMk/>
            <pc:sldMk cId="3186676131" sldId="10444"/>
            <ac:spMk id="18" creationId="{E5E5B17C-AF5B-4FCB-935E-796FE66056AC}"/>
          </ac:spMkLst>
        </pc:spChg>
        <pc:spChg chg="mod">
          <ac:chgData name="Jean QUENTIN" userId="6962deb3-b639-4acd-8091-a0516ea2376b" providerId="ADAL" clId="{146BD8F6-FDDD-49D3-A1A6-146C954086FF}" dt="2021-05-24T13:36:18.677" v="4244" actId="790"/>
          <ac:spMkLst>
            <pc:docMk/>
            <pc:sldMk cId="3186676131" sldId="10444"/>
            <ac:spMk id="19" creationId="{D183DC4A-A310-4818-8DE5-DD81DA31ACA2}"/>
          </ac:spMkLst>
        </pc:spChg>
        <pc:spChg chg="mod">
          <ac:chgData name="Jean QUENTIN" userId="6962deb3-b639-4acd-8091-a0516ea2376b" providerId="ADAL" clId="{146BD8F6-FDDD-49D3-A1A6-146C954086FF}" dt="2021-05-24T13:36:18.693" v="4245" actId="790"/>
          <ac:spMkLst>
            <pc:docMk/>
            <pc:sldMk cId="3186676131" sldId="10444"/>
            <ac:spMk id="20" creationId="{54E8F179-87EF-4A92-9C29-92D7E20EB946}"/>
          </ac:spMkLst>
        </pc:spChg>
        <pc:spChg chg="mod">
          <ac:chgData name="Jean QUENTIN" userId="6962deb3-b639-4acd-8091-a0516ea2376b" providerId="ADAL" clId="{146BD8F6-FDDD-49D3-A1A6-146C954086FF}" dt="2021-05-24T13:36:18.693" v="4246" actId="790"/>
          <ac:spMkLst>
            <pc:docMk/>
            <pc:sldMk cId="3186676131" sldId="10444"/>
            <ac:spMk id="21" creationId="{44BA4EC0-19D7-41DC-B319-396D8267BC37}"/>
          </ac:spMkLst>
        </pc:spChg>
        <pc:spChg chg="mod">
          <ac:chgData name="Jean QUENTIN" userId="6962deb3-b639-4acd-8091-a0516ea2376b" providerId="ADAL" clId="{146BD8F6-FDDD-49D3-A1A6-146C954086FF}" dt="2021-05-24T13:36:18.693" v="4247" actId="790"/>
          <ac:spMkLst>
            <pc:docMk/>
            <pc:sldMk cId="3186676131" sldId="10444"/>
            <ac:spMk id="22" creationId="{43B8FABF-5816-42AC-8939-29224794884E}"/>
          </ac:spMkLst>
        </pc:spChg>
        <pc:spChg chg="mod">
          <ac:chgData name="Jean QUENTIN" userId="6962deb3-b639-4acd-8091-a0516ea2376b" providerId="ADAL" clId="{146BD8F6-FDDD-49D3-A1A6-146C954086FF}" dt="2021-05-24T13:36:18.778" v="4283" actId="790"/>
          <ac:spMkLst>
            <pc:docMk/>
            <pc:sldMk cId="3186676131" sldId="10444"/>
            <ac:spMk id="29" creationId="{D4661B80-5EE1-48F5-BFBD-98AF2499F029}"/>
          </ac:spMkLst>
        </pc:spChg>
        <pc:spChg chg="mod">
          <ac:chgData name="Jean QUENTIN" userId="6962deb3-b639-4acd-8091-a0516ea2376b" providerId="ADAL" clId="{146BD8F6-FDDD-49D3-A1A6-146C954086FF}" dt="2021-05-24T13:36:18.709" v="4254" actId="790"/>
          <ac:spMkLst>
            <pc:docMk/>
            <pc:sldMk cId="3186676131" sldId="10444"/>
            <ac:spMk id="33" creationId="{243F8FAD-0118-4F1B-B40B-A7D84FD36396}"/>
          </ac:spMkLst>
        </pc:spChg>
        <pc:spChg chg="mod">
          <ac:chgData name="Jean QUENTIN" userId="6962deb3-b639-4acd-8091-a0516ea2376b" providerId="ADAL" clId="{146BD8F6-FDDD-49D3-A1A6-146C954086FF}" dt="2021-05-24T13:36:18.693" v="4248" actId="790"/>
          <ac:spMkLst>
            <pc:docMk/>
            <pc:sldMk cId="3186676131" sldId="10444"/>
            <ac:spMk id="47" creationId="{9E10C541-E455-4AF2-AA1A-715E3DF2DDC1}"/>
          </ac:spMkLst>
        </pc:spChg>
        <pc:spChg chg="mod">
          <ac:chgData name="Jean QUENTIN" userId="6962deb3-b639-4acd-8091-a0516ea2376b" providerId="ADAL" clId="{146BD8F6-FDDD-49D3-A1A6-146C954086FF}" dt="2021-05-24T13:36:18.693" v="4249" actId="790"/>
          <ac:spMkLst>
            <pc:docMk/>
            <pc:sldMk cId="3186676131" sldId="10444"/>
            <ac:spMk id="49" creationId="{B10468A4-1BAC-4153-BC9A-99B8715C0AD1}"/>
          </ac:spMkLst>
        </pc:spChg>
        <pc:spChg chg="mod">
          <ac:chgData name="Jean QUENTIN" userId="6962deb3-b639-4acd-8091-a0516ea2376b" providerId="ADAL" clId="{146BD8F6-FDDD-49D3-A1A6-146C954086FF}" dt="2021-05-24T13:36:18.724" v="4272" actId="790"/>
          <ac:spMkLst>
            <pc:docMk/>
            <pc:sldMk cId="3186676131" sldId="10444"/>
            <ac:spMk id="50" creationId="{06AD3339-7557-4559-B2EA-6A391CF2BF0C}"/>
          </ac:spMkLst>
        </pc:spChg>
        <pc:spChg chg="mod">
          <ac:chgData name="Jean QUENTIN" userId="6962deb3-b639-4acd-8091-a0516ea2376b" providerId="ADAL" clId="{146BD8F6-FDDD-49D3-A1A6-146C954086FF}" dt="2021-05-24T13:36:18.709" v="4255" actId="790"/>
          <ac:spMkLst>
            <pc:docMk/>
            <pc:sldMk cId="3186676131" sldId="10444"/>
            <ac:spMk id="88" creationId="{336D463B-B815-4500-8F61-78A091129044}"/>
          </ac:spMkLst>
        </pc:spChg>
        <pc:spChg chg="mod">
          <ac:chgData name="Jean QUENTIN" userId="6962deb3-b639-4acd-8091-a0516ea2376b" providerId="ADAL" clId="{146BD8F6-FDDD-49D3-A1A6-146C954086FF}" dt="2021-05-24T13:36:18.709" v="4259" actId="790"/>
          <ac:spMkLst>
            <pc:docMk/>
            <pc:sldMk cId="3186676131" sldId="10444"/>
            <ac:spMk id="90" creationId="{C1682200-357E-4434-8AD7-5A0786BF6D1B}"/>
          </ac:spMkLst>
        </pc:spChg>
        <pc:spChg chg="mod">
          <ac:chgData name="Jean QUENTIN" userId="6962deb3-b639-4acd-8091-a0516ea2376b" providerId="ADAL" clId="{146BD8F6-FDDD-49D3-A1A6-146C954086FF}" dt="2021-05-24T13:36:18.740" v="4275" actId="790"/>
          <ac:spMkLst>
            <pc:docMk/>
            <pc:sldMk cId="3186676131" sldId="10444"/>
            <ac:spMk id="96" creationId="{5BB653FA-7502-456B-9DD5-1867522D3A88}"/>
          </ac:spMkLst>
        </pc:spChg>
        <pc:spChg chg="mod">
          <ac:chgData name="Jean QUENTIN" userId="6962deb3-b639-4acd-8091-a0516ea2376b" providerId="ADAL" clId="{146BD8F6-FDDD-49D3-A1A6-146C954086FF}" dt="2021-05-24T13:36:18.693" v="4250" actId="790"/>
          <ac:spMkLst>
            <pc:docMk/>
            <pc:sldMk cId="3186676131" sldId="10444"/>
            <ac:spMk id="100" creationId="{EF6C7B41-C54E-4684-BB9A-36701E115EBF}"/>
          </ac:spMkLst>
        </pc:spChg>
        <pc:spChg chg="mod">
          <ac:chgData name="Jean QUENTIN" userId="6962deb3-b639-4acd-8091-a0516ea2376b" providerId="ADAL" clId="{146BD8F6-FDDD-49D3-A1A6-146C954086FF}" dt="2021-05-24T13:36:18.740" v="4279" actId="790"/>
          <ac:spMkLst>
            <pc:docMk/>
            <pc:sldMk cId="3186676131" sldId="10444"/>
            <ac:spMk id="102" creationId="{F73D6114-13EA-4394-9588-C5437D84D81B}"/>
          </ac:spMkLst>
        </pc:spChg>
        <pc:spChg chg="mod">
          <ac:chgData name="Jean QUENTIN" userId="6962deb3-b639-4acd-8091-a0516ea2376b" providerId="ADAL" clId="{146BD8F6-FDDD-49D3-A1A6-146C954086FF}" dt="2021-05-24T13:36:18.677" v="4236" actId="790"/>
          <ac:spMkLst>
            <pc:docMk/>
            <pc:sldMk cId="3186676131" sldId="10444"/>
            <ac:spMk id="107" creationId="{31D0AEAA-51DD-4312-8DD3-D5664A3B479D}"/>
          </ac:spMkLst>
        </pc:spChg>
        <pc:spChg chg="mod">
          <ac:chgData name="Jean QUENTIN" userId="6962deb3-b639-4acd-8091-a0516ea2376b" providerId="ADAL" clId="{146BD8F6-FDDD-49D3-A1A6-146C954086FF}" dt="2021-05-24T13:36:18.709" v="4256" actId="790"/>
          <ac:spMkLst>
            <pc:docMk/>
            <pc:sldMk cId="3186676131" sldId="10444"/>
            <ac:spMk id="108" creationId="{B4E79E7D-0395-4CE2-8F8E-F7FFDE4BA106}"/>
          </ac:spMkLst>
        </pc:spChg>
        <pc:spChg chg="mod">
          <ac:chgData name="Jean QUENTIN" userId="6962deb3-b639-4acd-8091-a0516ea2376b" providerId="ADAL" clId="{146BD8F6-FDDD-49D3-A1A6-146C954086FF}" dt="2021-05-24T13:36:18.709" v="4258" actId="790"/>
          <ac:spMkLst>
            <pc:docMk/>
            <pc:sldMk cId="3186676131" sldId="10444"/>
            <ac:spMk id="119" creationId="{EEF55E94-FD53-41D7-A423-6B56C40D88A1}"/>
          </ac:spMkLst>
        </pc:spChg>
        <pc:spChg chg="mod">
          <ac:chgData name="Jean QUENTIN" userId="6962deb3-b639-4acd-8091-a0516ea2376b" providerId="ADAL" clId="{146BD8F6-FDDD-49D3-A1A6-146C954086FF}" dt="2021-05-24T13:36:18.724" v="4274" actId="790"/>
          <ac:spMkLst>
            <pc:docMk/>
            <pc:sldMk cId="3186676131" sldId="10444"/>
            <ac:spMk id="120" creationId="{697B9F9F-BFD2-4BBC-A2BC-06F0D17B4298}"/>
          </ac:spMkLst>
        </pc:spChg>
        <pc:spChg chg="mod">
          <ac:chgData name="Jean QUENTIN" userId="6962deb3-b639-4acd-8091-a0516ea2376b" providerId="ADAL" clId="{146BD8F6-FDDD-49D3-A1A6-146C954086FF}" dt="2021-05-24T13:36:18.724" v="4273" actId="790"/>
          <ac:spMkLst>
            <pc:docMk/>
            <pc:sldMk cId="3186676131" sldId="10444"/>
            <ac:spMk id="122" creationId="{7ED4A8D8-06EE-4620-B65B-5E3B52A3ABAE}"/>
          </ac:spMkLst>
        </pc:spChg>
        <pc:spChg chg="mod">
          <ac:chgData name="Jean QUENTIN" userId="6962deb3-b639-4acd-8091-a0516ea2376b" providerId="ADAL" clId="{146BD8F6-FDDD-49D3-A1A6-146C954086FF}" dt="2021-05-24T13:36:18.740" v="4276" actId="790"/>
          <ac:spMkLst>
            <pc:docMk/>
            <pc:sldMk cId="3186676131" sldId="10444"/>
            <ac:spMk id="123" creationId="{CCD5F39F-64EB-4F4E-BE6B-002C617492EF}"/>
          </ac:spMkLst>
        </pc:spChg>
        <pc:spChg chg="mod">
          <ac:chgData name="Jean QUENTIN" userId="6962deb3-b639-4acd-8091-a0516ea2376b" providerId="ADAL" clId="{146BD8F6-FDDD-49D3-A1A6-146C954086FF}" dt="2021-05-24T13:36:18.755" v="4280" actId="790"/>
          <ac:spMkLst>
            <pc:docMk/>
            <pc:sldMk cId="3186676131" sldId="10444"/>
            <ac:spMk id="134" creationId="{6B4E0DC8-DDD6-4557-BA29-2351AE686AFF}"/>
          </ac:spMkLst>
        </pc:spChg>
        <pc:spChg chg="mod">
          <ac:chgData name="Jean QUENTIN" userId="6962deb3-b639-4acd-8091-a0516ea2376b" providerId="ADAL" clId="{146BD8F6-FDDD-49D3-A1A6-146C954086FF}" dt="2021-05-24T13:36:18.762" v="4281" actId="790"/>
          <ac:spMkLst>
            <pc:docMk/>
            <pc:sldMk cId="3186676131" sldId="10444"/>
            <ac:spMk id="138" creationId="{279E6DEF-1C4D-4696-B825-7122AC695BE5}"/>
          </ac:spMkLst>
        </pc:spChg>
        <pc:spChg chg="mod">
          <ac:chgData name="Jean QUENTIN" userId="6962deb3-b639-4acd-8091-a0516ea2376b" providerId="ADAL" clId="{146BD8F6-FDDD-49D3-A1A6-146C954086FF}" dt="2021-05-24T13:36:18.762" v="4282" actId="790"/>
          <ac:spMkLst>
            <pc:docMk/>
            <pc:sldMk cId="3186676131" sldId="10444"/>
            <ac:spMk id="144" creationId="{8F3BDE8F-DB0C-4D11-B86C-50FF55DED7FE}"/>
          </ac:spMkLst>
        </pc:spChg>
        <pc:spChg chg="mod">
          <ac:chgData name="Jean QUENTIN" userId="6962deb3-b639-4acd-8091-a0516ea2376b" providerId="ADAL" clId="{146BD8F6-FDDD-49D3-A1A6-146C954086FF}" dt="2021-05-24T13:36:18.724" v="4264" actId="790"/>
          <ac:spMkLst>
            <pc:docMk/>
            <pc:sldMk cId="3186676131" sldId="10444"/>
            <ac:spMk id="154" creationId="{A7269958-7FC5-479F-B17B-49D115F118B6}"/>
          </ac:spMkLst>
        </pc:spChg>
        <pc:spChg chg="mod">
          <ac:chgData name="Jean QUENTIN" userId="6962deb3-b639-4acd-8091-a0516ea2376b" providerId="ADAL" clId="{146BD8F6-FDDD-49D3-A1A6-146C954086FF}" dt="2021-05-24T13:36:18.724" v="4267" actId="790"/>
          <ac:spMkLst>
            <pc:docMk/>
            <pc:sldMk cId="3186676131" sldId="10444"/>
            <ac:spMk id="159" creationId="{B1BCC205-D7BB-4643-BF09-2992F3238E10}"/>
          </ac:spMkLst>
        </pc:spChg>
        <pc:spChg chg="mod">
          <ac:chgData name="Jean QUENTIN" userId="6962deb3-b639-4acd-8091-a0516ea2376b" providerId="ADAL" clId="{146BD8F6-FDDD-49D3-A1A6-146C954086FF}" dt="2021-05-24T13:36:18.709" v="4260" actId="790"/>
          <ac:spMkLst>
            <pc:docMk/>
            <pc:sldMk cId="3186676131" sldId="10444"/>
            <ac:spMk id="165" creationId="{C389F3EC-7313-454E-9942-F14FD0BD4C77}"/>
          </ac:spMkLst>
        </pc:spChg>
        <pc:spChg chg="mod">
          <ac:chgData name="Jean QUENTIN" userId="6962deb3-b639-4acd-8091-a0516ea2376b" providerId="ADAL" clId="{146BD8F6-FDDD-49D3-A1A6-146C954086FF}" dt="2021-05-24T13:36:18.724" v="4268" actId="790"/>
          <ac:spMkLst>
            <pc:docMk/>
            <pc:sldMk cId="3186676131" sldId="10444"/>
            <ac:spMk id="166" creationId="{A3938D6F-1923-42FF-B2ED-6C2BEA79BA03}"/>
          </ac:spMkLst>
        </pc:spChg>
        <pc:spChg chg="mod">
          <ac:chgData name="Jean QUENTIN" userId="6962deb3-b639-4acd-8091-a0516ea2376b" providerId="ADAL" clId="{146BD8F6-FDDD-49D3-A1A6-146C954086FF}" dt="2021-05-24T13:36:18.740" v="4278" actId="790"/>
          <ac:spMkLst>
            <pc:docMk/>
            <pc:sldMk cId="3186676131" sldId="10444"/>
            <ac:spMk id="168" creationId="{C423BD9F-9E4A-46B8-89D7-67C1FE84B168}"/>
          </ac:spMkLst>
        </pc:spChg>
        <pc:spChg chg="mod">
          <ac:chgData name="Jean QUENTIN" userId="6962deb3-b639-4acd-8091-a0516ea2376b" providerId="ADAL" clId="{146BD8F6-FDDD-49D3-A1A6-146C954086FF}" dt="2021-05-24T13:36:18.709" v="4261" actId="790"/>
          <ac:spMkLst>
            <pc:docMk/>
            <pc:sldMk cId="3186676131" sldId="10444"/>
            <ac:spMk id="169" creationId="{7881ABC3-A97B-4E90-939F-E48D9595FFFF}"/>
          </ac:spMkLst>
        </pc:spChg>
        <pc:spChg chg="mod">
          <ac:chgData name="Jean QUENTIN" userId="6962deb3-b639-4acd-8091-a0516ea2376b" providerId="ADAL" clId="{146BD8F6-FDDD-49D3-A1A6-146C954086FF}" dt="2021-05-24T13:36:18.724" v="4262" actId="790"/>
          <ac:spMkLst>
            <pc:docMk/>
            <pc:sldMk cId="3186676131" sldId="10444"/>
            <ac:spMk id="170" creationId="{A886CA56-9620-415B-9489-A004AB6EB706}"/>
          </ac:spMkLst>
        </pc:spChg>
        <pc:spChg chg="mod">
          <ac:chgData name="Jean QUENTIN" userId="6962deb3-b639-4acd-8091-a0516ea2376b" providerId="ADAL" clId="{146BD8F6-FDDD-49D3-A1A6-146C954086FF}" dt="2021-05-24T13:36:18.724" v="4263" actId="790"/>
          <ac:spMkLst>
            <pc:docMk/>
            <pc:sldMk cId="3186676131" sldId="10444"/>
            <ac:spMk id="171" creationId="{BCC6DEFD-6FEB-4777-9432-E3B2F5C51000}"/>
          </ac:spMkLst>
        </pc:spChg>
        <pc:spChg chg="mod">
          <ac:chgData name="Jean QUENTIN" userId="6962deb3-b639-4acd-8091-a0516ea2376b" providerId="ADAL" clId="{146BD8F6-FDDD-49D3-A1A6-146C954086FF}" dt="2021-05-24T13:36:18.724" v="4269" actId="790"/>
          <ac:spMkLst>
            <pc:docMk/>
            <pc:sldMk cId="3186676131" sldId="10444"/>
            <ac:spMk id="172" creationId="{04568322-5012-422B-991D-C9A4712E25C9}"/>
          </ac:spMkLst>
        </pc:spChg>
        <pc:spChg chg="mod">
          <ac:chgData name="Jean QUENTIN" userId="6962deb3-b639-4acd-8091-a0516ea2376b" providerId="ADAL" clId="{146BD8F6-FDDD-49D3-A1A6-146C954086FF}" dt="2021-05-24T13:36:18.778" v="4284" actId="790"/>
          <ac:spMkLst>
            <pc:docMk/>
            <pc:sldMk cId="3186676131" sldId="10444"/>
            <ac:spMk id="174" creationId="{DC0F08AF-8ADE-4433-8307-ED43F84D0DCC}"/>
          </ac:spMkLst>
        </pc:spChg>
        <pc:spChg chg="mod">
          <ac:chgData name="Jean QUENTIN" userId="6962deb3-b639-4acd-8091-a0516ea2376b" providerId="ADAL" clId="{146BD8F6-FDDD-49D3-A1A6-146C954086FF}" dt="2021-05-24T13:36:18.778" v="4285" actId="790"/>
          <ac:spMkLst>
            <pc:docMk/>
            <pc:sldMk cId="3186676131" sldId="10444"/>
            <ac:spMk id="186" creationId="{F2FE201E-FB2E-4FB2-9AF8-51F02E7F68D2}"/>
          </ac:spMkLst>
        </pc:spChg>
        <pc:spChg chg="mod">
          <ac:chgData name="Jean QUENTIN" userId="6962deb3-b639-4acd-8091-a0516ea2376b" providerId="ADAL" clId="{146BD8F6-FDDD-49D3-A1A6-146C954086FF}" dt="2021-05-24T13:36:18.778" v="4286" actId="790"/>
          <ac:spMkLst>
            <pc:docMk/>
            <pc:sldMk cId="3186676131" sldId="10444"/>
            <ac:spMk id="187" creationId="{3ECD9B9B-A705-4089-9594-212A41EF7034}"/>
          </ac:spMkLst>
        </pc:spChg>
        <pc:spChg chg="mod">
          <ac:chgData name="Jean QUENTIN" userId="6962deb3-b639-4acd-8091-a0516ea2376b" providerId="ADAL" clId="{146BD8F6-FDDD-49D3-A1A6-146C954086FF}" dt="2021-05-24T13:36:18.778" v="4287" actId="790"/>
          <ac:spMkLst>
            <pc:docMk/>
            <pc:sldMk cId="3186676131" sldId="10444"/>
            <ac:spMk id="188" creationId="{8650B8D7-2F20-41EF-942C-3138C502BDDF}"/>
          </ac:spMkLst>
        </pc:spChg>
        <pc:spChg chg="mod">
          <ac:chgData name="Jean QUENTIN" userId="6962deb3-b639-4acd-8091-a0516ea2376b" providerId="ADAL" clId="{146BD8F6-FDDD-49D3-A1A6-146C954086FF}" dt="2021-05-24T13:36:18.778" v="4288" actId="790"/>
          <ac:spMkLst>
            <pc:docMk/>
            <pc:sldMk cId="3186676131" sldId="10444"/>
            <ac:spMk id="189" creationId="{13186B74-6471-4593-A76A-1D0500A1A6AC}"/>
          </ac:spMkLst>
        </pc:spChg>
        <pc:spChg chg="mod">
          <ac:chgData name="Jean QUENTIN" userId="6962deb3-b639-4acd-8091-a0516ea2376b" providerId="ADAL" clId="{146BD8F6-FDDD-49D3-A1A6-146C954086FF}" dt="2021-05-24T13:36:18.778" v="4289" actId="790"/>
          <ac:spMkLst>
            <pc:docMk/>
            <pc:sldMk cId="3186676131" sldId="10444"/>
            <ac:spMk id="190" creationId="{F7D7AD75-8C50-41A1-97D2-7048446D7ED5}"/>
          </ac:spMkLst>
        </pc:spChg>
        <pc:spChg chg="mod">
          <ac:chgData name="Jean QUENTIN" userId="6962deb3-b639-4acd-8091-a0516ea2376b" providerId="ADAL" clId="{146BD8F6-FDDD-49D3-A1A6-146C954086FF}" dt="2021-05-24T13:36:18.724" v="4265" actId="790"/>
          <ac:spMkLst>
            <pc:docMk/>
            <pc:sldMk cId="3186676131" sldId="10444"/>
            <ac:spMk id="197" creationId="{EB1ED8EE-1371-4F31-B475-A7FD22F01C88}"/>
          </ac:spMkLst>
        </pc:spChg>
        <pc:spChg chg="mod">
          <ac:chgData name="Jean QUENTIN" userId="6962deb3-b639-4acd-8091-a0516ea2376b" providerId="ADAL" clId="{146BD8F6-FDDD-49D3-A1A6-146C954086FF}" dt="2021-05-24T13:36:18.724" v="4266" actId="790"/>
          <ac:spMkLst>
            <pc:docMk/>
            <pc:sldMk cId="3186676131" sldId="10444"/>
            <ac:spMk id="212" creationId="{F492C173-DFD6-47CF-9BB4-C8925127E1EE}"/>
          </ac:spMkLst>
        </pc:spChg>
        <pc:spChg chg="mod">
          <ac:chgData name="Jean QUENTIN" userId="6962deb3-b639-4acd-8091-a0516ea2376b" providerId="ADAL" clId="{146BD8F6-FDDD-49D3-A1A6-146C954086FF}" dt="2021-05-24T13:36:18.709" v="4251" actId="790"/>
          <ac:spMkLst>
            <pc:docMk/>
            <pc:sldMk cId="3186676131" sldId="10444"/>
            <ac:spMk id="1031" creationId="{A3845A5C-C65F-4C44-AE3B-D3285DF51268}"/>
          </ac:spMkLst>
        </pc:spChg>
        <pc:spChg chg="mod">
          <ac:chgData name="Jean QUENTIN" userId="6962deb3-b639-4acd-8091-a0516ea2376b" providerId="ADAL" clId="{146BD8F6-FDDD-49D3-A1A6-146C954086FF}" dt="2021-05-24T13:36:18.709" v="4252" actId="790"/>
          <ac:spMkLst>
            <pc:docMk/>
            <pc:sldMk cId="3186676131" sldId="10444"/>
            <ac:spMk id="1035" creationId="{9164A53F-4711-41A4-BE3D-8D2F4243A495}"/>
          </ac:spMkLst>
        </pc:spChg>
        <pc:spChg chg="mod">
          <ac:chgData name="Jean QUENTIN" userId="6962deb3-b639-4acd-8091-a0516ea2376b" providerId="ADAL" clId="{146BD8F6-FDDD-49D3-A1A6-146C954086FF}" dt="2021-05-24T13:36:18.677" v="4237" actId="790"/>
          <ac:spMkLst>
            <pc:docMk/>
            <pc:sldMk cId="3186676131" sldId="10444"/>
            <ac:spMk id="4107" creationId="{EBC573C8-C4E3-432A-81F7-B99236DF594A}"/>
          </ac:spMkLst>
        </pc:spChg>
      </pc:sldChg>
      <pc:sldChg chg="modSp mod">
        <pc:chgData name="Jean QUENTIN" userId="6962deb3-b639-4acd-8091-a0516ea2376b" providerId="ADAL" clId="{146BD8F6-FDDD-49D3-A1A6-146C954086FF}" dt="2021-05-24T13:36:20.930" v="5469" actId="790"/>
        <pc:sldMkLst>
          <pc:docMk/>
          <pc:sldMk cId="3037564285" sldId="10446"/>
        </pc:sldMkLst>
        <pc:spChg chg="mod">
          <ac:chgData name="Jean QUENTIN" userId="6962deb3-b639-4acd-8091-a0516ea2376b" providerId="ADAL" clId="{146BD8F6-FDDD-49D3-A1A6-146C954086FF}" dt="2021-05-24T13:36:20.867" v="5442" actId="790"/>
          <ac:spMkLst>
            <pc:docMk/>
            <pc:sldMk cId="3037564285" sldId="10446"/>
            <ac:spMk id="2" creationId="{F603210B-1675-4AF7-9A14-5F2A22C81270}"/>
          </ac:spMkLst>
        </pc:spChg>
        <pc:spChg chg="mod">
          <ac:chgData name="Jean QUENTIN" userId="6962deb3-b639-4acd-8091-a0516ea2376b" providerId="ADAL" clId="{146BD8F6-FDDD-49D3-A1A6-146C954086FF}" dt="2021-05-24T13:36:20.867" v="5443" actId="790"/>
          <ac:spMkLst>
            <pc:docMk/>
            <pc:sldMk cId="3037564285" sldId="10446"/>
            <ac:spMk id="4" creationId="{74ADDBE6-49E4-4049-B7BF-EE415633C5F5}"/>
          </ac:spMkLst>
        </pc:spChg>
        <pc:spChg chg="mod">
          <ac:chgData name="Jean QUENTIN" userId="6962deb3-b639-4acd-8091-a0516ea2376b" providerId="ADAL" clId="{146BD8F6-FDDD-49D3-A1A6-146C954086FF}" dt="2021-05-24T13:36:20.883" v="5444" actId="790"/>
          <ac:spMkLst>
            <pc:docMk/>
            <pc:sldMk cId="3037564285" sldId="10446"/>
            <ac:spMk id="5" creationId="{B0DA252B-E0E1-4EDA-AD43-C3699C200482}"/>
          </ac:spMkLst>
        </pc:spChg>
        <pc:spChg chg="mod">
          <ac:chgData name="Jean QUENTIN" userId="6962deb3-b639-4acd-8091-a0516ea2376b" providerId="ADAL" clId="{146BD8F6-FDDD-49D3-A1A6-146C954086FF}" dt="2021-05-24T13:36:20.883" v="5445" actId="790"/>
          <ac:spMkLst>
            <pc:docMk/>
            <pc:sldMk cId="3037564285" sldId="10446"/>
            <ac:spMk id="6" creationId="{459DE8FF-F3A0-454B-89BD-EA7D3F0085F4}"/>
          </ac:spMkLst>
        </pc:spChg>
        <pc:spChg chg="mod">
          <ac:chgData name="Jean QUENTIN" userId="6962deb3-b639-4acd-8091-a0516ea2376b" providerId="ADAL" clId="{146BD8F6-FDDD-49D3-A1A6-146C954086FF}" dt="2021-05-24T13:36:20.883" v="5446" actId="790"/>
          <ac:spMkLst>
            <pc:docMk/>
            <pc:sldMk cId="3037564285" sldId="10446"/>
            <ac:spMk id="8" creationId="{A6584CFE-199B-42FA-9B02-35D30052E24D}"/>
          </ac:spMkLst>
        </pc:spChg>
        <pc:spChg chg="mod">
          <ac:chgData name="Jean QUENTIN" userId="6962deb3-b639-4acd-8091-a0516ea2376b" providerId="ADAL" clId="{146BD8F6-FDDD-49D3-A1A6-146C954086FF}" dt="2021-05-24T13:36:20.883" v="5447" actId="790"/>
          <ac:spMkLst>
            <pc:docMk/>
            <pc:sldMk cId="3037564285" sldId="10446"/>
            <ac:spMk id="9" creationId="{5513411E-B0D4-4A2B-B16E-9DD5102ED097}"/>
          </ac:spMkLst>
        </pc:spChg>
        <pc:spChg chg="mod">
          <ac:chgData name="Jean QUENTIN" userId="6962deb3-b639-4acd-8091-a0516ea2376b" providerId="ADAL" clId="{146BD8F6-FDDD-49D3-A1A6-146C954086FF}" dt="2021-05-24T13:36:20.914" v="5463" actId="790"/>
          <ac:spMkLst>
            <pc:docMk/>
            <pc:sldMk cId="3037564285" sldId="10446"/>
            <ac:spMk id="11" creationId="{E7BC247D-1E44-429A-AF83-8E39E9FFE026}"/>
          </ac:spMkLst>
        </pc:spChg>
        <pc:spChg chg="mod">
          <ac:chgData name="Jean QUENTIN" userId="6962deb3-b639-4acd-8091-a0516ea2376b" providerId="ADAL" clId="{146BD8F6-FDDD-49D3-A1A6-146C954086FF}" dt="2021-05-24T13:36:20.914" v="5462" actId="790"/>
          <ac:spMkLst>
            <pc:docMk/>
            <pc:sldMk cId="3037564285" sldId="10446"/>
            <ac:spMk id="12" creationId="{C7013414-76D7-4268-AAD2-A87055DAACA5}"/>
          </ac:spMkLst>
        </pc:spChg>
        <pc:spChg chg="mod">
          <ac:chgData name="Jean QUENTIN" userId="6962deb3-b639-4acd-8091-a0516ea2376b" providerId="ADAL" clId="{146BD8F6-FDDD-49D3-A1A6-146C954086FF}" dt="2021-05-24T13:36:20.914" v="5464" actId="790"/>
          <ac:spMkLst>
            <pc:docMk/>
            <pc:sldMk cId="3037564285" sldId="10446"/>
            <ac:spMk id="31" creationId="{97E5D4A5-0DD4-47F0-90BC-7FD43285E269}"/>
          </ac:spMkLst>
        </pc:spChg>
        <pc:spChg chg="mod">
          <ac:chgData name="Jean QUENTIN" userId="6962deb3-b639-4acd-8091-a0516ea2376b" providerId="ADAL" clId="{146BD8F6-FDDD-49D3-A1A6-146C954086FF}" dt="2021-05-24T13:36:20.883" v="5448" actId="790"/>
          <ac:spMkLst>
            <pc:docMk/>
            <pc:sldMk cId="3037564285" sldId="10446"/>
            <ac:spMk id="32" creationId="{72E4FA22-5F72-4B8A-966C-5EAB2962F5DE}"/>
          </ac:spMkLst>
        </pc:spChg>
        <pc:spChg chg="mod">
          <ac:chgData name="Jean QUENTIN" userId="6962deb3-b639-4acd-8091-a0516ea2376b" providerId="ADAL" clId="{146BD8F6-FDDD-49D3-A1A6-146C954086FF}" dt="2021-05-24T13:36:20.883" v="5449" actId="790"/>
          <ac:spMkLst>
            <pc:docMk/>
            <pc:sldMk cId="3037564285" sldId="10446"/>
            <ac:spMk id="33" creationId="{BC847A98-E385-4268-A8B8-68418B0916EB}"/>
          </ac:spMkLst>
        </pc:spChg>
        <pc:spChg chg="mod">
          <ac:chgData name="Jean QUENTIN" userId="6962deb3-b639-4acd-8091-a0516ea2376b" providerId="ADAL" clId="{146BD8F6-FDDD-49D3-A1A6-146C954086FF}" dt="2021-05-24T13:36:20.899" v="5450" actId="790"/>
          <ac:spMkLst>
            <pc:docMk/>
            <pc:sldMk cId="3037564285" sldId="10446"/>
            <ac:spMk id="34" creationId="{98055D65-32A6-4AE6-AA0E-584E4895BE34}"/>
          </ac:spMkLst>
        </pc:spChg>
        <pc:spChg chg="mod">
          <ac:chgData name="Jean QUENTIN" userId="6962deb3-b639-4acd-8091-a0516ea2376b" providerId="ADAL" clId="{146BD8F6-FDDD-49D3-A1A6-146C954086FF}" dt="2021-05-24T13:36:20.899" v="5451" actId="790"/>
          <ac:spMkLst>
            <pc:docMk/>
            <pc:sldMk cId="3037564285" sldId="10446"/>
            <ac:spMk id="35" creationId="{81BD3286-79C1-4AD5-827B-F5E96A7F940D}"/>
          </ac:spMkLst>
        </pc:spChg>
        <pc:spChg chg="mod">
          <ac:chgData name="Jean QUENTIN" userId="6962deb3-b639-4acd-8091-a0516ea2376b" providerId="ADAL" clId="{146BD8F6-FDDD-49D3-A1A6-146C954086FF}" dt="2021-05-24T13:36:20.899" v="5452" actId="790"/>
          <ac:spMkLst>
            <pc:docMk/>
            <pc:sldMk cId="3037564285" sldId="10446"/>
            <ac:spMk id="36" creationId="{9D0D108D-E040-46E8-9D27-8421B7B8A6B6}"/>
          </ac:spMkLst>
        </pc:spChg>
        <pc:spChg chg="mod">
          <ac:chgData name="Jean QUENTIN" userId="6962deb3-b639-4acd-8091-a0516ea2376b" providerId="ADAL" clId="{146BD8F6-FDDD-49D3-A1A6-146C954086FF}" dt="2021-05-24T13:36:20.899" v="5453" actId="790"/>
          <ac:spMkLst>
            <pc:docMk/>
            <pc:sldMk cId="3037564285" sldId="10446"/>
            <ac:spMk id="37" creationId="{685DD430-D135-4898-B681-DADA54449406}"/>
          </ac:spMkLst>
        </pc:spChg>
        <pc:spChg chg="mod">
          <ac:chgData name="Jean QUENTIN" userId="6962deb3-b639-4acd-8091-a0516ea2376b" providerId="ADAL" clId="{146BD8F6-FDDD-49D3-A1A6-146C954086FF}" dt="2021-05-24T13:36:20.914" v="5454" actId="790"/>
          <ac:spMkLst>
            <pc:docMk/>
            <pc:sldMk cId="3037564285" sldId="10446"/>
            <ac:spMk id="38" creationId="{33227BCF-594C-48FC-A668-E9496B25076E}"/>
          </ac:spMkLst>
        </pc:spChg>
        <pc:spChg chg="mod">
          <ac:chgData name="Jean QUENTIN" userId="6962deb3-b639-4acd-8091-a0516ea2376b" providerId="ADAL" clId="{146BD8F6-FDDD-49D3-A1A6-146C954086FF}" dt="2021-05-24T13:36:20.914" v="5455" actId="790"/>
          <ac:spMkLst>
            <pc:docMk/>
            <pc:sldMk cId="3037564285" sldId="10446"/>
            <ac:spMk id="42" creationId="{FB53C860-4349-483B-9A2E-4EA3FEEC44A4}"/>
          </ac:spMkLst>
        </pc:spChg>
        <pc:spChg chg="mod">
          <ac:chgData name="Jean QUENTIN" userId="6962deb3-b639-4acd-8091-a0516ea2376b" providerId="ADAL" clId="{146BD8F6-FDDD-49D3-A1A6-146C954086FF}" dt="2021-05-24T13:36:20.914" v="5456" actId="790"/>
          <ac:spMkLst>
            <pc:docMk/>
            <pc:sldMk cId="3037564285" sldId="10446"/>
            <ac:spMk id="43" creationId="{9BAD9349-B578-4C93-89B0-5E143458F95D}"/>
          </ac:spMkLst>
        </pc:spChg>
        <pc:spChg chg="mod">
          <ac:chgData name="Jean QUENTIN" userId="6962deb3-b639-4acd-8091-a0516ea2376b" providerId="ADAL" clId="{146BD8F6-FDDD-49D3-A1A6-146C954086FF}" dt="2021-05-24T13:36:20.930" v="5469" actId="790"/>
          <ac:spMkLst>
            <pc:docMk/>
            <pc:sldMk cId="3037564285" sldId="10446"/>
            <ac:spMk id="45" creationId="{9858D135-1CE8-4023-B383-64DDA4FA4FF5}"/>
          </ac:spMkLst>
        </pc:spChg>
        <pc:spChg chg="mod">
          <ac:chgData name="Jean QUENTIN" userId="6962deb3-b639-4acd-8091-a0516ea2376b" providerId="ADAL" clId="{146BD8F6-FDDD-49D3-A1A6-146C954086FF}" dt="2021-05-24T13:36:20.914" v="5457" actId="790"/>
          <ac:spMkLst>
            <pc:docMk/>
            <pc:sldMk cId="3037564285" sldId="10446"/>
            <ac:spMk id="58" creationId="{F3BBC108-E3A8-4285-8482-6573BB5A9BFA}"/>
          </ac:spMkLst>
        </pc:spChg>
        <pc:spChg chg="mod">
          <ac:chgData name="Jean QUENTIN" userId="6962deb3-b639-4acd-8091-a0516ea2376b" providerId="ADAL" clId="{146BD8F6-FDDD-49D3-A1A6-146C954086FF}" dt="2021-05-24T13:36:20.914" v="5458" actId="790"/>
          <ac:spMkLst>
            <pc:docMk/>
            <pc:sldMk cId="3037564285" sldId="10446"/>
            <ac:spMk id="60" creationId="{502A1A2A-5BE4-4CEC-87C8-F81B82FE17A0}"/>
          </ac:spMkLst>
        </pc:spChg>
        <pc:spChg chg="mod">
          <ac:chgData name="Jean QUENTIN" userId="6962deb3-b639-4acd-8091-a0516ea2376b" providerId="ADAL" clId="{146BD8F6-FDDD-49D3-A1A6-146C954086FF}" dt="2021-05-24T13:36:20.914" v="5459" actId="790"/>
          <ac:spMkLst>
            <pc:docMk/>
            <pc:sldMk cId="3037564285" sldId="10446"/>
            <ac:spMk id="69" creationId="{19F48430-90DF-40FF-A00A-84E93A59C005}"/>
          </ac:spMkLst>
        </pc:spChg>
        <pc:spChg chg="mod">
          <ac:chgData name="Jean QUENTIN" userId="6962deb3-b639-4acd-8091-a0516ea2376b" providerId="ADAL" clId="{146BD8F6-FDDD-49D3-A1A6-146C954086FF}" dt="2021-05-24T13:36:20.914" v="5460" actId="790"/>
          <ac:spMkLst>
            <pc:docMk/>
            <pc:sldMk cId="3037564285" sldId="10446"/>
            <ac:spMk id="70" creationId="{712AF8AD-F5B4-45E9-AA35-3836D1A918F9}"/>
          </ac:spMkLst>
        </pc:spChg>
        <pc:spChg chg="mod">
          <ac:chgData name="Jean QUENTIN" userId="6962deb3-b639-4acd-8091-a0516ea2376b" providerId="ADAL" clId="{146BD8F6-FDDD-49D3-A1A6-146C954086FF}" dt="2021-05-24T13:36:20.914" v="5461" actId="790"/>
          <ac:spMkLst>
            <pc:docMk/>
            <pc:sldMk cId="3037564285" sldId="10446"/>
            <ac:spMk id="73" creationId="{37CE42CA-0196-4A12-823E-1A27C547E4D3}"/>
          </ac:spMkLst>
        </pc:spChg>
        <pc:spChg chg="mod">
          <ac:chgData name="Jean QUENTIN" userId="6962deb3-b639-4acd-8091-a0516ea2376b" providerId="ADAL" clId="{146BD8F6-FDDD-49D3-A1A6-146C954086FF}" dt="2021-05-24T13:36:20.914" v="5465" actId="790"/>
          <ac:spMkLst>
            <pc:docMk/>
            <pc:sldMk cId="3037564285" sldId="10446"/>
            <ac:spMk id="78" creationId="{9A9481B5-737E-45DE-81D8-2F715985CC57}"/>
          </ac:spMkLst>
        </pc:spChg>
        <pc:spChg chg="mod">
          <ac:chgData name="Jean QUENTIN" userId="6962deb3-b639-4acd-8091-a0516ea2376b" providerId="ADAL" clId="{146BD8F6-FDDD-49D3-A1A6-146C954086FF}" dt="2021-05-24T13:36:20.914" v="5466" actId="790"/>
          <ac:spMkLst>
            <pc:docMk/>
            <pc:sldMk cId="3037564285" sldId="10446"/>
            <ac:spMk id="80" creationId="{53EEF4E9-317D-4996-82F1-5D806F6EA3E2}"/>
          </ac:spMkLst>
        </pc:spChg>
        <pc:spChg chg="mod">
          <ac:chgData name="Jean QUENTIN" userId="6962deb3-b639-4acd-8091-a0516ea2376b" providerId="ADAL" clId="{146BD8F6-FDDD-49D3-A1A6-146C954086FF}" dt="2021-05-24T13:36:20.930" v="5467" actId="790"/>
          <ac:spMkLst>
            <pc:docMk/>
            <pc:sldMk cId="3037564285" sldId="10446"/>
            <ac:spMk id="84" creationId="{4A5E7AB0-2297-4CD5-A92F-B96EE98B1D1A}"/>
          </ac:spMkLst>
        </pc:spChg>
        <pc:spChg chg="mod">
          <ac:chgData name="Jean QUENTIN" userId="6962deb3-b639-4acd-8091-a0516ea2376b" providerId="ADAL" clId="{146BD8F6-FDDD-49D3-A1A6-146C954086FF}" dt="2021-05-24T13:36:20.930" v="5468" actId="790"/>
          <ac:spMkLst>
            <pc:docMk/>
            <pc:sldMk cId="3037564285" sldId="10446"/>
            <ac:spMk id="85" creationId="{1A835908-83BB-404C-AE36-6D07AE32C2A9}"/>
          </ac:spMkLst>
        </pc:spChg>
      </pc:sldChg>
      <pc:sldChg chg="modSp mod">
        <pc:chgData name="Jean QUENTIN" userId="6962deb3-b639-4acd-8091-a0516ea2376b" providerId="ADAL" clId="{146BD8F6-FDDD-49D3-A1A6-146C954086FF}" dt="2021-05-24T13:36:18.292" v="4047" actId="790"/>
        <pc:sldMkLst>
          <pc:docMk/>
          <pc:sldMk cId="3968368318" sldId="10448"/>
        </pc:sldMkLst>
        <pc:spChg chg="mod">
          <ac:chgData name="Jean QUENTIN" userId="6962deb3-b639-4acd-8091-a0516ea2376b" providerId="ADAL" clId="{146BD8F6-FDDD-49D3-A1A6-146C954086FF}" dt="2021-05-24T13:36:18.223" v="4015" actId="790"/>
          <ac:spMkLst>
            <pc:docMk/>
            <pc:sldMk cId="3968368318" sldId="10448"/>
            <ac:spMk id="2" creationId="{22CE637A-08CD-4B57-9E43-4D794A97D425}"/>
          </ac:spMkLst>
        </pc:spChg>
        <pc:spChg chg="mod">
          <ac:chgData name="Jean QUENTIN" userId="6962deb3-b639-4acd-8091-a0516ea2376b" providerId="ADAL" clId="{146BD8F6-FDDD-49D3-A1A6-146C954086FF}" dt="2021-05-24T13:36:18.223" v="4017" actId="790"/>
          <ac:spMkLst>
            <pc:docMk/>
            <pc:sldMk cId="3968368318" sldId="10448"/>
            <ac:spMk id="18" creationId="{B77F2001-EECC-4091-A46F-B13C297AFD91}"/>
          </ac:spMkLst>
        </pc:spChg>
        <pc:spChg chg="mod">
          <ac:chgData name="Jean QUENTIN" userId="6962deb3-b639-4acd-8091-a0516ea2376b" providerId="ADAL" clId="{146BD8F6-FDDD-49D3-A1A6-146C954086FF}" dt="2021-05-24T13:36:18.223" v="4016" actId="790"/>
          <ac:spMkLst>
            <pc:docMk/>
            <pc:sldMk cId="3968368318" sldId="10448"/>
            <ac:spMk id="23" creationId="{0C95EF0E-C411-407B-BF74-3CD0A42FA4B6}"/>
          </ac:spMkLst>
        </pc:spChg>
        <pc:spChg chg="mod">
          <ac:chgData name="Jean QUENTIN" userId="6962deb3-b639-4acd-8091-a0516ea2376b" providerId="ADAL" clId="{146BD8F6-FDDD-49D3-A1A6-146C954086FF}" dt="2021-05-24T13:36:18.223" v="4018" actId="790"/>
          <ac:spMkLst>
            <pc:docMk/>
            <pc:sldMk cId="3968368318" sldId="10448"/>
            <ac:spMk id="26" creationId="{1467DC4C-D91B-4890-86E8-8B6B324D9380}"/>
          </ac:spMkLst>
        </pc:spChg>
        <pc:spChg chg="mod">
          <ac:chgData name="Jean QUENTIN" userId="6962deb3-b639-4acd-8091-a0516ea2376b" providerId="ADAL" clId="{146BD8F6-FDDD-49D3-A1A6-146C954086FF}" dt="2021-05-24T13:36:18.223" v="4019" actId="790"/>
          <ac:spMkLst>
            <pc:docMk/>
            <pc:sldMk cId="3968368318" sldId="10448"/>
            <ac:spMk id="29" creationId="{D49177BB-F71C-42AC-9A8C-812D68405634}"/>
          </ac:spMkLst>
        </pc:spChg>
        <pc:spChg chg="mod">
          <ac:chgData name="Jean QUENTIN" userId="6962deb3-b639-4acd-8091-a0516ea2376b" providerId="ADAL" clId="{146BD8F6-FDDD-49D3-A1A6-146C954086FF}" dt="2021-05-24T13:36:18.223" v="4020" actId="790"/>
          <ac:spMkLst>
            <pc:docMk/>
            <pc:sldMk cId="3968368318" sldId="10448"/>
            <ac:spMk id="30" creationId="{990B3219-5A14-48A6-A29D-258D28CA817A}"/>
          </ac:spMkLst>
        </pc:spChg>
        <pc:spChg chg="mod">
          <ac:chgData name="Jean QUENTIN" userId="6962deb3-b639-4acd-8091-a0516ea2376b" providerId="ADAL" clId="{146BD8F6-FDDD-49D3-A1A6-146C954086FF}" dt="2021-05-24T13:36:18.223" v="4021" actId="790"/>
          <ac:spMkLst>
            <pc:docMk/>
            <pc:sldMk cId="3968368318" sldId="10448"/>
            <ac:spMk id="31" creationId="{98270023-57CC-4644-A288-9156D3D5FBCE}"/>
          </ac:spMkLst>
        </pc:spChg>
        <pc:spChg chg="mod">
          <ac:chgData name="Jean QUENTIN" userId="6962deb3-b639-4acd-8091-a0516ea2376b" providerId="ADAL" clId="{146BD8F6-FDDD-49D3-A1A6-146C954086FF}" dt="2021-05-24T13:36:18.223" v="4022" actId="790"/>
          <ac:spMkLst>
            <pc:docMk/>
            <pc:sldMk cId="3968368318" sldId="10448"/>
            <ac:spMk id="32" creationId="{9E722F19-F936-4688-BE29-34529CE98CFB}"/>
          </ac:spMkLst>
        </pc:spChg>
        <pc:spChg chg="mod">
          <ac:chgData name="Jean QUENTIN" userId="6962deb3-b639-4acd-8091-a0516ea2376b" providerId="ADAL" clId="{146BD8F6-FDDD-49D3-A1A6-146C954086FF}" dt="2021-05-24T13:36:18.223" v="4023" actId="790"/>
          <ac:spMkLst>
            <pc:docMk/>
            <pc:sldMk cId="3968368318" sldId="10448"/>
            <ac:spMk id="41" creationId="{013DFE0D-012C-4AE2-A406-883249D468BC}"/>
          </ac:spMkLst>
        </pc:spChg>
        <pc:spChg chg="mod">
          <ac:chgData name="Jean QUENTIN" userId="6962deb3-b639-4acd-8091-a0516ea2376b" providerId="ADAL" clId="{146BD8F6-FDDD-49D3-A1A6-146C954086FF}" dt="2021-05-24T13:36:18.254" v="4031" actId="790"/>
          <ac:spMkLst>
            <pc:docMk/>
            <pc:sldMk cId="3968368318" sldId="10448"/>
            <ac:spMk id="44" creationId="{0B53E553-6743-45FB-AE8E-BF6F0D532CEA}"/>
          </ac:spMkLst>
        </pc:spChg>
        <pc:spChg chg="mod">
          <ac:chgData name="Jean QUENTIN" userId="6962deb3-b639-4acd-8091-a0516ea2376b" providerId="ADAL" clId="{146BD8F6-FDDD-49D3-A1A6-146C954086FF}" dt="2021-05-24T13:36:18.238" v="4024" actId="790"/>
          <ac:spMkLst>
            <pc:docMk/>
            <pc:sldMk cId="3968368318" sldId="10448"/>
            <ac:spMk id="45" creationId="{81D23D10-6232-4D82-8BCF-13B9525E1855}"/>
          </ac:spMkLst>
        </pc:spChg>
        <pc:spChg chg="mod">
          <ac:chgData name="Jean QUENTIN" userId="6962deb3-b639-4acd-8091-a0516ea2376b" providerId="ADAL" clId="{146BD8F6-FDDD-49D3-A1A6-146C954086FF}" dt="2021-05-24T13:36:18.238" v="4025" actId="790"/>
          <ac:spMkLst>
            <pc:docMk/>
            <pc:sldMk cId="3968368318" sldId="10448"/>
            <ac:spMk id="46" creationId="{041E4A41-5EFF-4E8D-82D0-B598CD53AEB6}"/>
          </ac:spMkLst>
        </pc:spChg>
        <pc:spChg chg="mod">
          <ac:chgData name="Jean QUENTIN" userId="6962deb3-b639-4acd-8091-a0516ea2376b" providerId="ADAL" clId="{146BD8F6-FDDD-49D3-A1A6-146C954086FF}" dt="2021-05-24T13:36:18.238" v="4026" actId="790"/>
          <ac:spMkLst>
            <pc:docMk/>
            <pc:sldMk cId="3968368318" sldId="10448"/>
            <ac:spMk id="49" creationId="{9FC58EF0-5CD6-4A71-8940-F6C8C883FBD1}"/>
          </ac:spMkLst>
        </pc:spChg>
        <pc:spChg chg="mod">
          <ac:chgData name="Jean QUENTIN" userId="6962deb3-b639-4acd-8091-a0516ea2376b" providerId="ADAL" clId="{146BD8F6-FDDD-49D3-A1A6-146C954086FF}" dt="2021-05-24T13:36:18.238" v="4027" actId="790"/>
          <ac:spMkLst>
            <pc:docMk/>
            <pc:sldMk cId="3968368318" sldId="10448"/>
            <ac:spMk id="50" creationId="{0B6C5844-4A3E-4824-8EAE-60D3B3E1BFF5}"/>
          </ac:spMkLst>
        </pc:spChg>
        <pc:spChg chg="mod">
          <ac:chgData name="Jean QUENTIN" userId="6962deb3-b639-4acd-8091-a0516ea2376b" providerId="ADAL" clId="{146BD8F6-FDDD-49D3-A1A6-146C954086FF}" dt="2021-05-24T13:36:18.238" v="4028" actId="790"/>
          <ac:spMkLst>
            <pc:docMk/>
            <pc:sldMk cId="3968368318" sldId="10448"/>
            <ac:spMk id="51" creationId="{8F8A1894-627E-4A77-8FEF-2E5519D9FC48}"/>
          </ac:spMkLst>
        </pc:spChg>
        <pc:spChg chg="mod">
          <ac:chgData name="Jean QUENTIN" userId="6962deb3-b639-4acd-8091-a0516ea2376b" providerId="ADAL" clId="{146BD8F6-FDDD-49D3-A1A6-146C954086FF}" dt="2021-05-24T13:36:18.254" v="4029" actId="790"/>
          <ac:spMkLst>
            <pc:docMk/>
            <pc:sldMk cId="3968368318" sldId="10448"/>
            <ac:spMk id="52" creationId="{76A2D6C4-57ED-451A-A7F1-033FE34AB68E}"/>
          </ac:spMkLst>
        </pc:spChg>
        <pc:spChg chg="mod">
          <ac:chgData name="Jean QUENTIN" userId="6962deb3-b639-4acd-8091-a0516ea2376b" providerId="ADAL" clId="{146BD8F6-FDDD-49D3-A1A6-146C954086FF}" dt="2021-05-24T13:36:18.254" v="4030" actId="790"/>
          <ac:spMkLst>
            <pc:docMk/>
            <pc:sldMk cId="3968368318" sldId="10448"/>
            <ac:spMk id="53" creationId="{1D696651-4ADA-4682-8B2D-872B8258B7F2}"/>
          </ac:spMkLst>
        </pc:spChg>
        <pc:spChg chg="mod">
          <ac:chgData name="Jean QUENTIN" userId="6962deb3-b639-4acd-8091-a0516ea2376b" providerId="ADAL" clId="{146BD8F6-FDDD-49D3-A1A6-146C954086FF}" dt="2021-05-24T13:36:18.261" v="4032" actId="790"/>
          <ac:spMkLst>
            <pc:docMk/>
            <pc:sldMk cId="3968368318" sldId="10448"/>
            <ac:spMk id="59" creationId="{3DAFC222-EE91-423E-A279-AC68BF7E5200}"/>
          </ac:spMkLst>
        </pc:spChg>
        <pc:spChg chg="mod">
          <ac:chgData name="Jean QUENTIN" userId="6962deb3-b639-4acd-8091-a0516ea2376b" providerId="ADAL" clId="{146BD8F6-FDDD-49D3-A1A6-146C954086FF}" dt="2021-05-24T13:36:18.276" v="4036" actId="790"/>
          <ac:spMkLst>
            <pc:docMk/>
            <pc:sldMk cId="3968368318" sldId="10448"/>
            <ac:spMk id="66" creationId="{B9F94985-511B-4593-BED8-531D9DDB34BC}"/>
          </ac:spMkLst>
        </pc:spChg>
        <pc:spChg chg="mod">
          <ac:chgData name="Jean QUENTIN" userId="6962deb3-b639-4acd-8091-a0516ea2376b" providerId="ADAL" clId="{146BD8F6-FDDD-49D3-A1A6-146C954086FF}" dt="2021-05-24T13:36:18.276" v="4037" actId="790"/>
          <ac:spMkLst>
            <pc:docMk/>
            <pc:sldMk cId="3968368318" sldId="10448"/>
            <ac:spMk id="69" creationId="{DA89BA4E-15F3-45D7-AC53-C7B00BDF69BA}"/>
          </ac:spMkLst>
        </pc:spChg>
        <pc:spChg chg="mod">
          <ac:chgData name="Jean QUENTIN" userId="6962deb3-b639-4acd-8091-a0516ea2376b" providerId="ADAL" clId="{146BD8F6-FDDD-49D3-A1A6-146C954086FF}" dt="2021-05-24T13:36:18.276" v="4038" actId="790"/>
          <ac:spMkLst>
            <pc:docMk/>
            <pc:sldMk cId="3968368318" sldId="10448"/>
            <ac:spMk id="70" creationId="{1C84C3EF-8C31-4EE7-872D-C166B49C2FF4}"/>
          </ac:spMkLst>
        </pc:spChg>
        <pc:spChg chg="mod">
          <ac:chgData name="Jean QUENTIN" userId="6962deb3-b639-4acd-8091-a0516ea2376b" providerId="ADAL" clId="{146BD8F6-FDDD-49D3-A1A6-146C954086FF}" dt="2021-05-24T13:36:18.276" v="4039" actId="790"/>
          <ac:spMkLst>
            <pc:docMk/>
            <pc:sldMk cId="3968368318" sldId="10448"/>
            <ac:spMk id="72" creationId="{EBB284DA-4049-4637-8581-206F535B6594}"/>
          </ac:spMkLst>
        </pc:spChg>
        <pc:spChg chg="mod">
          <ac:chgData name="Jean QUENTIN" userId="6962deb3-b639-4acd-8091-a0516ea2376b" providerId="ADAL" clId="{146BD8F6-FDDD-49D3-A1A6-146C954086FF}" dt="2021-05-24T13:36:18.276" v="4040" actId="790"/>
          <ac:spMkLst>
            <pc:docMk/>
            <pc:sldMk cId="3968368318" sldId="10448"/>
            <ac:spMk id="75" creationId="{3B90C99E-5118-46A1-8F4B-BC0DCBD5F532}"/>
          </ac:spMkLst>
        </pc:spChg>
        <pc:spChg chg="mod">
          <ac:chgData name="Jean QUENTIN" userId="6962deb3-b639-4acd-8091-a0516ea2376b" providerId="ADAL" clId="{146BD8F6-FDDD-49D3-A1A6-146C954086FF}" dt="2021-05-24T13:36:18.276" v="4041" actId="790"/>
          <ac:spMkLst>
            <pc:docMk/>
            <pc:sldMk cId="3968368318" sldId="10448"/>
            <ac:spMk id="78" creationId="{29A37347-61AA-4078-80BD-C960E43A81AF}"/>
          </ac:spMkLst>
        </pc:spChg>
        <pc:spChg chg="mod">
          <ac:chgData name="Jean QUENTIN" userId="6962deb3-b639-4acd-8091-a0516ea2376b" providerId="ADAL" clId="{146BD8F6-FDDD-49D3-A1A6-146C954086FF}" dt="2021-05-24T13:36:18.276" v="4044" actId="790"/>
          <ac:spMkLst>
            <pc:docMk/>
            <pc:sldMk cId="3968368318" sldId="10448"/>
            <ac:spMk id="81" creationId="{21CC608C-B99A-4A42-9697-626D17010014}"/>
          </ac:spMkLst>
        </pc:spChg>
        <pc:spChg chg="mod">
          <ac:chgData name="Jean QUENTIN" userId="6962deb3-b639-4acd-8091-a0516ea2376b" providerId="ADAL" clId="{146BD8F6-FDDD-49D3-A1A6-146C954086FF}" dt="2021-05-24T13:36:18.276" v="4042" actId="790"/>
          <ac:spMkLst>
            <pc:docMk/>
            <pc:sldMk cId="3968368318" sldId="10448"/>
            <ac:spMk id="87" creationId="{011A9D4A-70AD-43A5-9A8B-1BA37B50CD90}"/>
          </ac:spMkLst>
        </pc:spChg>
        <pc:spChg chg="mod">
          <ac:chgData name="Jean QUENTIN" userId="6962deb3-b639-4acd-8091-a0516ea2376b" providerId="ADAL" clId="{146BD8F6-FDDD-49D3-A1A6-146C954086FF}" dt="2021-05-24T13:36:18.276" v="4043" actId="790"/>
          <ac:spMkLst>
            <pc:docMk/>
            <pc:sldMk cId="3968368318" sldId="10448"/>
            <ac:spMk id="92" creationId="{8AB39739-AED6-4791-9E02-58EE9F6AB505}"/>
          </ac:spMkLst>
        </pc:spChg>
        <pc:spChg chg="mod">
          <ac:chgData name="Jean QUENTIN" userId="6962deb3-b639-4acd-8091-a0516ea2376b" providerId="ADAL" clId="{146BD8F6-FDDD-49D3-A1A6-146C954086FF}" dt="2021-05-24T13:36:18.261" v="4033" actId="790"/>
          <ac:spMkLst>
            <pc:docMk/>
            <pc:sldMk cId="3968368318" sldId="10448"/>
            <ac:spMk id="94" creationId="{BF59A564-3768-4FD0-BB89-C2C9D89D7D6F}"/>
          </ac:spMkLst>
        </pc:spChg>
        <pc:spChg chg="mod">
          <ac:chgData name="Jean QUENTIN" userId="6962deb3-b639-4acd-8091-a0516ea2376b" providerId="ADAL" clId="{146BD8F6-FDDD-49D3-A1A6-146C954086FF}" dt="2021-05-24T13:36:18.276" v="4045" actId="790"/>
          <ac:spMkLst>
            <pc:docMk/>
            <pc:sldMk cId="3968368318" sldId="10448"/>
            <ac:spMk id="96" creationId="{CE4E2441-955C-4882-BD20-B9505DC3A971}"/>
          </ac:spMkLst>
        </pc:spChg>
        <pc:spChg chg="mod">
          <ac:chgData name="Jean QUENTIN" userId="6962deb3-b639-4acd-8091-a0516ea2376b" providerId="ADAL" clId="{146BD8F6-FDDD-49D3-A1A6-146C954086FF}" dt="2021-05-24T13:36:18.261" v="4034" actId="790"/>
          <ac:spMkLst>
            <pc:docMk/>
            <pc:sldMk cId="3968368318" sldId="10448"/>
            <ac:spMk id="97" creationId="{8FC70572-4538-4FAA-BEC9-F74E3EC477C1}"/>
          </ac:spMkLst>
        </pc:spChg>
        <pc:spChg chg="mod">
          <ac:chgData name="Jean QUENTIN" userId="6962deb3-b639-4acd-8091-a0516ea2376b" providerId="ADAL" clId="{146BD8F6-FDDD-49D3-A1A6-146C954086FF}" dt="2021-05-24T13:36:18.261" v="4035" actId="790"/>
          <ac:spMkLst>
            <pc:docMk/>
            <pc:sldMk cId="3968368318" sldId="10448"/>
            <ac:spMk id="98" creationId="{FC1F4A9D-DB6A-4376-88B8-66395C2A5202}"/>
          </ac:spMkLst>
        </pc:spChg>
        <pc:spChg chg="mod">
          <ac:chgData name="Jean QUENTIN" userId="6962deb3-b639-4acd-8091-a0516ea2376b" providerId="ADAL" clId="{146BD8F6-FDDD-49D3-A1A6-146C954086FF}" dt="2021-05-24T13:36:18.292" v="4046" actId="790"/>
          <ac:spMkLst>
            <pc:docMk/>
            <pc:sldMk cId="3968368318" sldId="10448"/>
            <ac:spMk id="99" creationId="{A3D680AA-841F-4FE7-9115-FEE6A855B5C5}"/>
          </ac:spMkLst>
        </pc:spChg>
        <pc:spChg chg="mod">
          <ac:chgData name="Jean QUENTIN" userId="6962deb3-b639-4acd-8091-a0516ea2376b" providerId="ADAL" clId="{146BD8F6-FDDD-49D3-A1A6-146C954086FF}" dt="2021-05-24T13:36:18.292" v="4047" actId="790"/>
          <ac:spMkLst>
            <pc:docMk/>
            <pc:sldMk cId="3968368318" sldId="10448"/>
            <ac:spMk id="100" creationId="{C3A9358C-94EE-4710-B0E3-5B8CA00D88D5}"/>
          </ac:spMkLst>
        </pc:spChg>
      </pc:sldChg>
      <pc:sldChg chg="modSp mod">
        <pc:chgData name="Jean QUENTIN" userId="6962deb3-b639-4acd-8091-a0516ea2376b" providerId="ADAL" clId="{146BD8F6-FDDD-49D3-A1A6-146C954086FF}" dt="2021-05-24T13:36:19.965" v="4935" actId="790"/>
        <pc:sldMkLst>
          <pc:docMk/>
          <pc:sldMk cId="3405907677" sldId="10449"/>
        </pc:sldMkLst>
        <pc:spChg chg="mod">
          <ac:chgData name="Jean QUENTIN" userId="6962deb3-b639-4acd-8091-a0516ea2376b" providerId="ADAL" clId="{146BD8F6-FDDD-49D3-A1A6-146C954086FF}" dt="2021-05-24T13:36:19.865" v="4853" actId="790"/>
          <ac:spMkLst>
            <pc:docMk/>
            <pc:sldMk cId="3405907677" sldId="10449"/>
            <ac:spMk id="2" creationId="{531041C5-E8A2-412F-8DD7-D013B496B687}"/>
          </ac:spMkLst>
        </pc:spChg>
        <pc:spChg chg="mod">
          <ac:chgData name="Jean QUENTIN" userId="6962deb3-b639-4acd-8091-a0516ea2376b" providerId="ADAL" clId="{146BD8F6-FDDD-49D3-A1A6-146C954086FF}" dt="2021-05-24T13:36:19.865" v="4854" actId="790"/>
          <ac:spMkLst>
            <pc:docMk/>
            <pc:sldMk cId="3405907677" sldId="10449"/>
            <ac:spMk id="3" creationId="{D941C407-20D6-482D-8915-AB38B57418D3}"/>
          </ac:spMkLst>
        </pc:spChg>
        <pc:spChg chg="mod">
          <ac:chgData name="Jean QUENTIN" userId="6962deb3-b639-4acd-8091-a0516ea2376b" providerId="ADAL" clId="{146BD8F6-FDDD-49D3-A1A6-146C954086FF}" dt="2021-05-24T13:36:19.865" v="4855" actId="790"/>
          <ac:spMkLst>
            <pc:docMk/>
            <pc:sldMk cId="3405907677" sldId="10449"/>
            <ac:spMk id="4" creationId="{32F85835-036E-4F3E-8BFF-2ABE5E844311}"/>
          </ac:spMkLst>
        </pc:spChg>
        <pc:spChg chg="mod">
          <ac:chgData name="Jean QUENTIN" userId="6962deb3-b639-4acd-8091-a0516ea2376b" providerId="ADAL" clId="{146BD8F6-FDDD-49D3-A1A6-146C954086FF}" dt="2021-05-24T13:36:19.865" v="4856" actId="790"/>
          <ac:spMkLst>
            <pc:docMk/>
            <pc:sldMk cId="3405907677" sldId="10449"/>
            <ac:spMk id="5" creationId="{B82F449A-DABE-4C5F-AC72-1CD88F08F3F8}"/>
          </ac:spMkLst>
        </pc:spChg>
        <pc:spChg chg="mod">
          <ac:chgData name="Jean QUENTIN" userId="6962deb3-b639-4acd-8091-a0516ea2376b" providerId="ADAL" clId="{146BD8F6-FDDD-49D3-A1A6-146C954086FF}" dt="2021-05-24T13:36:19.896" v="4882" actId="790"/>
          <ac:spMkLst>
            <pc:docMk/>
            <pc:sldMk cId="3405907677" sldId="10449"/>
            <ac:spMk id="13" creationId="{3B30A3CA-590A-4A51-AA32-7AFB85C131DA}"/>
          </ac:spMkLst>
        </pc:spChg>
        <pc:spChg chg="mod">
          <ac:chgData name="Jean QUENTIN" userId="6962deb3-b639-4acd-8091-a0516ea2376b" providerId="ADAL" clId="{146BD8F6-FDDD-49D3-A1A6-146C954086FF}" dt="2021-05-24T13:36:19.896" v="4883" actId="790"/>
          <ac:spMkLst>
            <pc:docMk/>
            <pc:sldMk cId="3405907677" sldId="10449"/>
            <ac:spMk id="14" creationId="{3B30A3CA-590A-4A51-AA32-7AFB85C131DA}"/>
          </ac:spMkLst>
        </pc:spChg>
        <pc:spChg chg="mod">
          <ac:chgData name="Jean QUENTIN" userId="6962deb3-b639-4acd-8091-a0516ea2376b" providerId="ADAL" clId="{146BD8F6-FDDD-49D3-A1A6-146C954086FF}" dt="2021-05-24T13:36:19.896" v="4884" actId="790"/>
          <ac:spMkLst>
            <pc:docMk/>
            <pc:sldMk cId="3405907677" sldId="10449"/>
            <ac:spMk id="16" creationId="{A3DDF398-9E20-4E28-92A0-F1C2DBE27BF0}"/>
          </ac:spMkLst>
        </pc:spChg>
        <pc:spChg chg="mod">
          <ac:chgData name="Jean QUENTIN" userId="6962deb3-b639-4acd-8091-a0516ea2376b" providerId="ADAL" clId="{146BD8F6-FDDD-49D3-A1A6-146C954086FF}" dt="2021-05-24T13:36:19.896" v="4885" actId="790"/>
          <ac:spMkLst>
            <pc:docMk/>
            <pc:sldMk cId="3405907677" sldId="10449"/>
            <ac:spMk id="17" creationId="{31CD3EEA-CBD9-4B6E-8261-B1EE77EE3676}"/>
          </ac:spMkLst>
        </pc:spChg>
        <pc:spChg chg="mod">
          <ac:chgData name="Jean QUENTIN" userId="6962deb3-b639-4acd-8091-a0516ea2376b" providerId="ADAL" clId="{146BD8F6-FDDD-49D3-A1A6-146C954086FF}" dt="2021-05-24T13:36:19.865" v="4857" actId="790"/>
          <ac:spMkLst>
            <pc:docMk/>
            <pc:sldMk cId="3405907677" sldId="10449"/>
            <ac:spMk id="25" creationId="{EC1EF9D0-C614-4BB0-BC35-3EDAADC576F4}"/>
          </ac:spMkLst>
        </pc:spChg>
        <pc:spChg chg="mod">
          <ac:chgData name="Jean QUENTIN" userId="6962deb3-b639-4acd-8091-a0516ea2376b" providerId="ADAL" clId="{146BD8F6-FDDD-49D3-A1A6-146C954086FF}" dt="2021-05-24T13:36:19.865" v="4858" actId="790"/>
          <ac:spMkLst>
            <pc:docMk/>
            <pc:sldMk cId="3405907677" sldId="10449"/>
            <ac:spMk id="69" creationId="{F3DA172A-54AD-441E-9D06-5E433C2498C6}"/>
          </ac:spMkLst>
        </pc:spChg>
        <pc:spChg chg="mod">
          <ac:chgData name="Jean QUENTIN" userId="6962deb3-b639-4acd-8091-a0516ea2376b" providerId="ADAL" clId="{146BD8F6-FDDD-49D3-A1A6-146C954086FF}" dt="2021-05-24T13:36:19.965" v="4935" actId="790"/>
          <ac:spMkLst>
            <pc:docMk/>
            <pc:sldMk cId="3405907677" sldId="10449"/>
            <ac:spMk id="121" creationId="{1BDF9902-26D5-476E-8A88-A45A632F2F6E}"/>
          </ac:spMkLst>
        </pc:spChg>
        <pc:spChg chg="mod">
          <ac:chgData name="Jean QUENTIN" userId="6962deb3-b639-4acd-8091-a0516ea2376b" providerId="ADAL" clId="{146BD8F6-FDDD-49D3-A1A6-146C954086FF}" dt="2021-05-24T13:36:19.880" v="4865" actId="790"/>
          <ac:spMkLst>
            <pc:docMk/>
            <pc:sldMk cId="3405907677" sldId="10449"/>
            <ac:spMk id="210" creationId="{FAD83A7F-F110-47F4-9764-8294FCD34C3B}"/>
          </ac:spMkLst>
        </pc:spChg>
        <pc:spChg chg="mod">
          <ac:chgData name="Jean QUENTIN" userId="6962deb3-b639-4acd-8091-a0516ea2376b" providerId="ADAL" clId="{146BD8F6-FDDD-49D3-A1A6-146C954086FF}" dt="2021-05-24T13:36:19.880" v="4866" actId="790"/>
          <ac:spMkLst>
            <pc:docMk/>
            <pc:sldMk cId="3405907677" sldId="10449"/>
            <ac:spMk id="225" creationId="{7679DE8E-39F8-485C-A0DC-BE05C3B4972F}"/>
          </ac:spMkLst>
        </pc:spChg>
        <pc:spChg chg="mod">
          <ac:chgData name="Jean QUENTIN" userId="6962deb3-b639-4acd-8091-a0516ea2376b" providerId="ADAL" clId="{146BD8F6-FDDD-49D3-A1A6-146C954086FF}" dt="2021-05-24T13:36:19.865" v="4859" actId="790"/>
          <ac:spMkLst>
            <pc:docMk/>
            <pc:sldMk cId="3405907677" sldId="10449"/>
            <ac:spMk id="230" creationId="{9EA79B0A-01B5-4610-951C-41B3946C28C3}"/>
          </ac:spMkLst>
        </pc:spChg>
        <pc:spChg chg="mod">
          <ac:chgData name="Jean QUENTIN" userId="6962deb3-b639-4acd-8091-a0516ea2376b" providerId="ADAL" clId="{146BD8F6-FDDD-49D3-A1A6-146C954086FF}" dt="2021-05-24T13:36:19.865" v="4860" actId="790"/>
          <ac:spMkLst>
            <pc:docMk/>
            <pc:sldMk cId="3405907677" sldId="10449"/>
            <ac:spMk id="246" creationId="{7F1F97ED-F6F2-481A-8BE1-2903CCD48A4D}"/>
          </ac:spMkLst>
        </pc:spChg>
        <pc:spChg chg="mod">
          <ac:chgData name="Jean QUENTIN" userId="6962deb3-b639-4acd-8091-a0516ea2376b" providerId="ADAL" clId="{146BD8F6-FDDD-49D3-A1A6-146C954086FF}" dt="2021-05-24T13:36:19.927" v="4909" actId="790"/>
          <ac:spMkLst>
            <pc:docMk/>
            <pc:sldMk cId="3405907677" sldId="10449"/>
            <ac:spMk id="252" creationId="{77C078FA-ECDF-445F-AB6F-0A015B53334F}"/>
          </ac:spMkLst>
        </pc:spChg>
        <pc:spChg chg="mod">
          <ac:chgData name="Jean QUENTIN" userId="6962deb3-b639-4acd-8091-a0516ea2376b" providerId="ADAL" clId="{146BD8F6-FDDD-49D3-A1A6-146C954086FF}" dt="2021-05-24T13:36:19.927" v="4910" actId="790"/>
          <ac:spMkLst>
            <pc:docMk/>
            <pc:sldMk cId="3405907677" sldId="10449"/>
            <ac:spMk id="253" creationId="{C5F8EE71-A1ED-49D0-8285-A1A08F8BD77E}"/>
          </ac:spMkLst>
        </pc:spChg>
        <pc:spChg chg="mod">
          <ac:chgData name="Jean QUENTIN" userId="6962deb3-b639-4acd-8091-a0516ea2376b" providerId="ADAL" clId="{146BD8F6-FDDD-49D3-A1A6-146C954086FF}" dt="2021-05-24T13:36:19.927" v="4911" actId="790"/>
          <ac:spMkLst>
            <pc:docMk/>
            <pc:sldMk cId="3405907677" sldId="10449"/>
            <ac:spMk id="254" creationId="{4E933E1C-26AB-49C1-AEE7-14922BFE7D2E}"/>
          </ac:spMkLst>
        </pc:spChg>
        <pc:spChg chg="mod">
          <ac:chgData name="Jean QUENTIN" userId="6962deb3-b639-4acd-8091-a0516ea2376b" providerId="ADAL" clId="{146BD8F6-FDDD-49D3-A1A6-146C954086FF}" dt="2021-05-24T13:36:19.912" v="4899" actId="790"/>
          <ac:spMkLst>
            <pc:docMk/>
            <pc:sldMk cId="3405907677" sldId="10449"/>
            <ac:spMk id="258" creationId="{1B6A9CD0-BD14-4B49-B9C9-1ABF2E3962FC}"/>
          </ac:spMkLst>
        </pc:spChg>
        <pc:spChg chg="mod">
          <ac:chgData name="Jean QUENTIN" userId="6962deb3-b639-4acd-8091-a0516ea2376b" providerId="ADAL" clId="{146BD8F6-FDDD-49D3-A1A6-146C954086FF}" dt="2021-05-24T13:36:19.912" v="4900" actId="790"/>
          <ac:spMkLst>
            <pc:docMk/>
            <pc:sldMk cId="3405907677" sldId="10449"/>
            <ac:spMk id="259" creationId="{7A14C56E-AF07-47D5-8815-E79B103F6FD5}"/>
          </ac:spMkLst>
        </pc:spChg>
        <pc:spChg chg="mod">
          <ac:chgData name="Jean QUENTIN" userId="6962deb3-b639-4acd-8091-a0516ea2376b" providerId="ADAL" clId="{146BD8F6-FDDD-49D3-A1A6-146C954086FF}" dt="2021-05-24T13:36:19.912" v="4901" actId="790"/>
          <ac:spMkLst>
            <pc:docMk/>
            <pc:sldMk cId="3405907677" sldId="10449"/>
            <ac:spMk id="260" creationId="{64AB9227-8BE1-4C2E-9A38-EF0B676ACF54}"/>
          </ac:spMkLst>
        </pc:spChg>
        <pc:spChg chg="mod">
          <ac:chgData name="Jean QUENTIN" userId="6962deb3-b639-4acd-8091-a0516ea2376b" providerId="ADAL" clId="{146BD8F6-FDDD-49D3-A1A6-146C954086FF}" dt="2021-05-24T13:36:19.912" v="4902" actId="790"/>
          <ac:spMkLst>
            <pc:docMk/>
            <pc:sldMk cId="3405907677" sldId="10449"/>
            <ac:spMk id="261" creationId="{94FBBCA6-AF5C-44AA-BF8A-57315C46BA18}"/>
          </ac:spMkLst>
        </pc:spChg>
        <pc:spChg chg="mod">
          <ac:chgData name="Jean QUENTIN" userId="6962deb3-b639-4acd-8091-a0516ea2376b" providerId="ADAL" clId="{146BD8F6-FDDD-49D3-A1A6-146C954086FF}" dt="2021-05-24T13:36:19.927" v="4912" actId="790"/>
          <ac:spMkLst>
            <pc:docMk/>
            <pc:sldMk cId="3405907677" sldId="10449"/>
            <ac:spMk id="263" creationId="{3A6AD19D-020C-4F8C-8E3B-886049E25C88}"/>
          </ac:spMkLst>
        </pc:spChg>
        <pc:spChg chg="mod">
          <ac:chgData name="Jean QUENTIN" userId="6962deb3-b639-4acd-8091-a0516ea2376b" providerId="ADAL" clId="{146BD8F6-FDDD-49D3-A1A6-146C954086FF}" dt="2021-05-24T13:36:19.927" v="4913" actId="790"/>
          <ac:spMkLst>
            <pc:docMk/>
            <pc:sldMk cId="3405907677" sldId="10449"/>
            <ac:spMk id="264" creationId="{8F73D28A-8F96-44B4-A55A-2FF4A5EAACBE}"/>
          </ac:spMkLst>
        </pc:spChg>
        <pc:spChg chg="mod">
          <ac:chgData name="Jean QUENTIN" userId="6962deb3-b639-4acd-8091-a0516ea2376b" providerId="ADAL" clId="{146BD8F6-FDDD-49D3-A1A6-146C954086FF}" dt="2021-05-24T13:36:19.865" v="4861" actId="790"/>
          <ac:spMkLst>
            <pc:docMk/>
            <pc:sldMk cId="3405907677" sldId="10449"/>
            <ac:spMk id="282" creationId="{9A3BB686-B99E-4F71-B428-DE8D1AE104AB}"/>
          </ac:spMkLst>
        </pc:spChg>
        <pc:spChg chg="mod">
          <ac:chgData name="Jean QUENTIN" userId="6962deb3-b639-4acd-8091-a0516ea2376b" providerId="ADAL" clId="{146BD8F6-FDDD-49D3-A1A6-146C954086FF}" dt="2021-05-24T13:36:19.880" v="4867" actId="790"/>
          <ac:spMkLst>
            <pc:docMk/>
            <pc:sldMk cId="3405907677" sldId="10449"/>
            <ac:spMk id="283" creationId="{D5958965-F487-477F-AC5D-E301F9C98F5C}"/>
          </ac:spMkLst>
        </pc:spChg>
        <pc:spChg chg="mod">
          <ac:chgData name="Jean QUENTIN" userId="6962deb3-b639-4acd-8091-a0516ea2376b" providerId="ADAL" clId="{146BD8F6-FDDD-49D3-A1A6-146C954086FF}" dt="2021-05-24T13:36:19.880" v="4868" actId="790"/>
          <ac:spMkLst>
            <pc:docMk/>
            <pc:sldMk cId="3405907677" sldId="10449"/>
            <ac:spMk id="284" creationId="{79B8AED8-86E0-47EF-A5DF-21380B992BB9}"/>
          </ac:spMkLst>
        </pc:spChg>
        <pc:spChg chg="mod">
          <ac:chgData name="Jean QUENTIN" userId="6962deb3-b639-4acd-8091-a0516ea2376b" providerId="ADAL" clId="{146BD8F6-FDDD-49D3-A1A6-146C954086FF}" dt="2021-05-24T13:36:19.880" v="4869" actId="790"/>
          <ac:spMkLst>
            <pc:docMk/>
            <pc:sldMk cId="3405907677" sldId="10449"/>
            <ac:spMk id="286" creationId="{BEFD37FC-1101-4DBE-8A18-40476D5D20B0}"/>
          </ac:spMkLst>
        </pc:spChg>
        <pc:spChg chg="mod">
          <ac:chgData name="Jean QUENTIN" userId="6962deb3-b639-4acd-8091-a0516ea2376b" providerId="ADAL" clId="{146BD8F6-FDDD-49D3-A1A6-146C954086FF}" dt="2021-05-24T13:36:19.880" v="4870" actId="790"/>
          <ac:spMkLst>
            <pc:docMk/>
            <pc:sldMk cId="3405907677" sldId="10449"/>
            <ac:spMk id="287" creationId="{2BBBBAAC-2283-4552-A7AE-9E69EDE10E06}"/>
          </ac:spMkLst>
        </pc:spChg>
        <pc:spChg chg="mod">
          <ac:chgData name="Jean QUENTIN" userId="6962deb3-b639-4acd-8091-a0516ea2376b" providerId="ADAL" clId="{146BD8F6-FDDD-49D3-A1A6-146C954086FF}" dt="2021-05-24T13:36:19.880" v="4871" actId="790"/>
          <ac:spMkLst>
            <pc:docMk/>
            <pc:sldMk cId="3405907677" sldId="10449"/>
            <ac:spMk id="289" creationId="{08FFC2AC-F2C1-4E9F-8966-4F86C52D4348}"/>
          </ac:spMkLst>
        </pc:spChg>
        <pc:spChg chg="mod">
          <ac:chgData name="Jean QUENTIN" userId="6962deb3-b639-4acd-8091-a0516ea2376b" providerId="ADAL" clId="{146BD8F6-FDDD-49D3-A1A6-146C954086FF}" dt="2021-05-24T13:36:19.880" v="4872" actId="790"/>
          <ac:spMkLst>
            <pc:docMk/>
            <pc:sldMk cId="3405907677" sldId="10449"/>
            <ac:spMk id="293" creationId="{617A7A8A-DF61-4D21-A457-8B0899095289}"/>
          </ac:spMkLst>
        </pc:spChg>
        <pc:spChg chg="mod">
          <ac:chgData name="Jean QUENTIN" userId="6962deb3-b639-4acd-8091-a0516ea2376b" providerId="ADAL" clId="{146BD8F6-FDDD-49D3-A1A6-146C954086FF}" dt="2021-05-24T13:36:19.880" v="4873" actId="790"/>
          <ac:spMkLst>
            <pc:docMk/>
            <pc:sldMk cId="3405907677" sldId="10449"/>
            <ac:spMk id="294" creationId="{C2F5995A-D732-4968-B25E-B7B65E43D48B}"/>
          </ac:spMkLst>
        </pc:spChg>
        <pc:spChg chg="mod">
          <ac:chgData name="Jean QUENTIN" userId="6962deb3-b639-4acd-8091-a0516ea2376b" providerId="ADAL" clId="{146BD8F6-FDDD-49D3-A1A6-146C954086FF}" dt="2021-05-24T13:36:19.880" v="4874" actId="790"/>
          <ac:spMkLst>
            <pc:docMk/>
            <pc:sldMk cId="3405907677" sldId="10449"/>
            <ac:spMk id="295" creationId="{ED22F590-D8D1-428D-826E-EE3A067F96A3}"/>
          </ac:spMkLst>
        </pc:spChg>
        <pc:spChg chg="mod">
          <ac:chgData name="Jean QUENTIN" userId="6962deb3-b639-4acd-8091-a0516ea2376b" providerId="ADAL" clId="{146BD8F6-FDDD-49D3-A1A6-146C954086FF}" dt="2021-05-24T13:36:19.880" v="4875" actId="790"/>
          <ac:spMkLst>
            <pc:docMk/>
            <pc:sldMk cId="3405907677" sldId="10449"/>
            <ac:spMk id="296" creationId="{00361E1D-A8D2-4D0A-AA96-0271BCF5E084}"/>
          </ac:spMkLst>
        </pc:spChg>
        <pc:spChg chg="mod">
          <ac:chgData name="Jean QUENTIN" userId="6962deb3-b639-4acd-8091-a0516ea2376b" providerId="ADAL" clId="{146BD8F6-FDDD-49D3-A1A6-146C954086FF}" dt="2021-05-24T13:36:19.880" v="4876" actId="790"/>
          <ac:spMkLst>
            <pc:docMk/>
            <pc:sldMk cId="3405907677" sldId="10449"/>
            <ac:spMk id="297" creationId="{77DC1682-4763-4F4E-8898-D304D40CEE88}"/>
          </ac:spMkLst>
        </pc:spChg>
        <pc:spChg chg="mod">
          <ac:chgData name="Jean QUENTIN" userId="6962deb3-b639-4acd-8091-a0516ea2376b" providerId="ADAL" clId="{146BD8F6-FDDD-49D3-A1A6-146C954086FF}" dt="2021-05-24T13:36:19.896" v="4877" actId="790"/>
          <ac:spMkLst>
            <pc:docMk/>
            <pc:sldMk cId="3405907677" sldId="10449"/>
            <ac:spMk id="298" creationId="{7F85B45B-4746-467D-A51B-2B59987A647B}"/>
          </ac:spMkLst>
        </pc:spChg>
        <pc:spChg chg="mod">
          <ac:chgData name="Jean QUENTIN" userId="6962deb3-b639-4acd-8091-a0516ea2376b" providerId="ADAL" clId="{146BD8F6-FDDD-49D3-A1A6-146C954086FF}" dt="2021-05-24T13:36:19.896" v="4878" actId="790"/>
          <ac:spMkLst>
            <pc:docMk/>
            <pc:sldMk cId="3405907677" sldId="10449"/>
            <ac:spMk id="299" creationId="{8EA1E97D-8D4C-45B3-B0ED-0309A53B6DBC}"/>
          </ac:spMkLst>
        </pc:spChg>
        <pc:spChg chg="mod">
          <ac:chgData name="Jean QUENTIN" userId="6962deb3-b639-4acd-8091-a0516ea2376b" providerId="ADAL" clId="{146BD8F6-FDDD-49D3-A1A6-146C954086FF}" dt="2021-05-24T13:36:19.896" v="4879" actId="790"/>
          <ac:spMkLst>
            <pc:docMk/>
            <pc:sldMk cId="3405907677" sldId="10449"/>
            <ac:spMk id="300" creationId="{B638FE26-EA5A-4C48-B32A-22345AB071AE}"/>
          </ac:spMkLst>
        </pc:spChg>
        <pc:spChg chg="mod">
          <ac:chgData name="Jean QUENTIN" userId="6962deb3-b639-4acd-8091-a0516ea2376b" providerId="ADAL" clId="{146BD8F6-FDDD-49D3-A1A6-146C954086FF}" dt="2021-05-24T13:36:19.896" v="4880" actId="790"/>
          <ac:spMkLst>
            <pc:docMk/>
            <pc:sldMk cId="3405907677" sldId="10449"/>
            <ac:spMk id="301" creationId="{89E4857A-7344-4991-94C0-6D8D83A8C52F}"/>
          </ac:spMkLst>
        </pc:spChg>
        <pc:spChg chg="mod">
          <ac:chgData name="Jean QUENTIN" userId="6962deb3-b639-4acd-8091-a0516ea2376b" providerId="ADAL" clId="{146BD8F6-FDDD-49D3-A1A6-146C954086FF}" dt="2021-05-24T13:36:19.896" v="4881" actId="790"/>
          <ac:spMkLst>
            <pc:docMk/>
            <pc:sldMk cId="3405907677" sldId="10449"/>
            <ac:spMk id="302" creationId="{34B0C0D9-C504-43C9-BA61-0E82CE469A32}"/>
          </ac:spMkLst>
        </pc:spChg>
        <pc:spChg chg="mod">
          <ac:chgData name="Jean QUENTIN" userId="6962deb3-b639-4acd-8091-a0516ea2376b" providerId="ADAL" clId="{146BD8F6-FDDD-49D3-A1A6-146C954086FF}" dt="2021-05-24T13:36:19.912" v="4903" actId="790"/>
          <ac:spMkLst>
            <pc:docMk/>
            <pc:sldMk cId="3405907677" sldId="10449"/>
            <ac:spMk id="309" creationId="{6326AC09-FB2D-49D6-9A41-1BD99472263C}"/>
          </ac:spMkLst>
        </pc:spChg>
        <pc:spChg chg="mod">
          <ac:chgData name="Jean QUENTIN" userId="6962deb3-b639-4acd-8091-a0516ea2376b" providerId="ADAL" clId="{146BD8F6-FDDD-49D3-A1A6-146C954086FF}" dt="2021-05-24T13:36:19.912" v="4904" actId="790"/>
          <ac:spMkLst>
            <pc:docMk/>
            <pc:sldMk cId="3405907677" sldId="10449"/>
            <ac:spMk id="310" creationId="{3FC58E51-6775-4127-B48F-5ABF3ED0F0B6}"/>
          </ac:spMkLst>
        </pc:spChg>
        <pc:spChg chg="mod">
          <ac:chgData name="Jean QUENTIN" userId="6962deb3-b639-4acd-8091-a0516ea2376b" providerId="ADAL" clId="{146BD8F6-FDDD-49D3-A1A6-146C954086FF}" dt="2021-05-24T13:36:19.912" v="4905" actId="790"/>
          <ac:spMkLst>
            <pc:docMk/>
            <pc:sldMk cId="3405907677" sldId="10449"/>
            <ac:spMk id="311" creationId="{1BB45DCF-F95E-4B08-AB01-307F72D17446}"/>
          </ac:spMkLst>
        </pc:spChg>
        <pc:spChg chg="mod">
          <ac:chgData name="Jean QUENTIN" userId="6962deb3-b639-4acd-8091-a0516ea2376b" providerId="ADAL" clId="{146BD8F6-FDDD-49D3-A1A6-146C954086FF}" dt="2021-05-24T13:36:19.927" v="4906" actId="790"/>
          <ac:spMkLst>
            <pc:docMk/>
            <pc:sldMk cId="3405907677" sldId="10449"/>
            <ac:spMk id="312" creationId="{DBCFB3BC-7F78-47EC-93C4-C909CB2A6241}"/>
          </ac:spMkLst>
        </pc:spChg>
        <pc:spChg chg="mod">
          <ac:chgData name="Jean QUENTIN" userId="6962deb3-b639-4acd-8091-a0516ea2376b" providerId="ADAL" clId="{146BD8F6-FDDD-49D3-A1A6-146C954086FF}" dt="2021-05-24T13:36:19.927" v="4914" actId="790"/>
          <ac:spMkLst>
            <pc:docMk/>
            <pc:sldMk cId="3405907677" sldId="10449"/>
            <ac:spMk id="315" creationId="{B86ACEAE-279E-4464-B0F1-1E4FB796DFDE}"/>
          </ac:spMkLst>
        </pc:spChg>
        <pc:spChg chg="mod">
          <ac:chgData name="Jean QUENTIN" userId="6962deb3-b639-4acd-8091-a0516ea2376b" providerId="ADAL" clId="{146BD8F6-FDDD-49D3-A1A6-146C954086FF}" dt="2021-05-24T13:36:19.927" v="4915" actId="790"/>
          <ac:spMkLst>
            <pc:docMk/>
            <pc:sldMk cId="3405907677" sldId="10449"/>
            <ac:spMk id="316" creationId="{5094EB3A-CC95-48C9-973F-C760B1D22377}"/>
          </ac:spMkLst>
        </pc:spChg>
        <pc:spChg chg="mod">
          <ac:chgData name="Jean QUENTIN" userId="6962deb3-b639-4acd-8091-a0516ea2376b" providerId="ADAL" clId="{146BD8F6-FDDD-49D3-A1A6-146C954086FF}" dt="2021-05-24T13:36:19.927" v="4916" actId="790"/>
          <ac:spMkLst>
            <pc:docMk/>
            <pc:sldMk cId="3405907677" sldId="10449"/>
            <ac:spMk id="317" creationId="{28F06F48-8434-46C1-8D21-2FC449B9E820}"/>
          </ac:spMkLst>
        </pc:spChg>
        <pc:spChg chg="mod">
          <ac:chgData name="Jean QUENTIN" userId="6962deb3-b639-4acd-8091-a0516ea2376b" providerId="ADAL" clId="{146BD8F6-FDDD-49D3-A1A6-146C954086FF}" dt="2021-05-24T13:36:19.927" v="4917" actId="790"/>
          <ac:spMkLst>
            <pc:docMk/>
            <pc:sldMk cId="3405907677" sldId="10449"/>
            <ac:spMk id="318" creationId="{787C0A04-9899-45CE-9A1A-3EFD61E0AC8A}"/>
          </ac:spMkLst>
        </pc:spChg>
        <pc:spChg chg="mod">
          <ac:chgData name="Jean QUENTIN" userId="6962deb3-b639-4acd-8091-a0516ea2376b" providerId="ADAL" clId="{146BD8F6-FDDD-49D3-A1A6-146C954086FF}" dt="2021-05-24T13:36:19.927" v="4918" actId="790"/>
          <ac:spMkLst>
            <pc:docMk/>
            <pc:sldMk cId="3405907677" sldId="10449"/>
            <ac:spMk id="319" creationId="{DF1B2BCA-D17E-4D59-BDC5-0C42B763FA55}"/>
          </ac:spMkLst>
        </pc:spChg>
        <pc:spChg chg="mod">
          <ac:chgData name="Jean QUENTIN" userId="6962deb3-b639-4acd-8091-a0516ea2376b" providerId="ADAL" clId="{146BD8F6-FDDD-49D3-A1A6-146C954086FF}" dt="2021-05-24T13:36:19.927" v="4919" actId="790"/>
          <ac:spMkLst>
            <pc:docMk/>
            <pc:sldMk cId="3405907677" sldId="10449"/>
            <ac:spMk id="320" creationId="{71E3C298-CA74-4D82-A078-25A5451AEC25}"/>
          </ac:spMkLst>
        </pc:spChg>
        <pc:spChg chg="mod">
          <ac:chgData name="Jean QUENTIN" userId="6962deb3-b639-4acd-8091-a0516ea2376b" providerId="ADAL" clId="{146BD8F6-FDDD-49D3-A1A6-146C954086FF}" dt="2021-05-24T13:36:19.927" v="4920" actId="790"/>
          <ac:spMkLst>
            <pc:docMk/>
            <pc:sldMk cId="3405907677" sldId="10449"/>
            <ac:spMk id="321" creationId="{61F25FAD-8ADD-40CA-906E-E3BBF7CB8A72}"/>
          </ac:spMkLst>
        </pc:spChg>
        <pc:spChg chg="mod">
          <ac:chgData name="Jean QUENTIN" userId="6962deb3-b639-4acd-8091-a0516ea2376b" providerId="ADAL" clId="{146BD8F6-FDDD-49D3-A1A6-146C954086FF}" dt="2021-05-24T13:36:19.943" v="4921" actId="790"/>
          <ac:spMkLst>
            <pc:docMk/>
            <pc:sldMk cId="3405907677" sldId="10449"/>
            <ac:spMk id="322" creationId="{AC26A4A3-DEBA-4717-A686-5C1FA8FBDA57}"/>
          </ac:spMkLst>
        </pc:spChg>
        <pc:spChg chg="mod">
          <ac:chgData name="Jean QUENTIN" userId="6962deb3-b639-4acd-8091-a0516ea2376b" providerId="ADAL" clId="{146BD8F6-FDDD-49D3-A1A6-146C954086FF}" dt="2021-05-24T13:36:19.943" v="4922" actId="790"/>
          <ac:spMkLst>
            <pc:docMk/>
            <pc:sldMk cId="3405907677" sldId="10449"/>
            <ac:spMk id="323" creationId="{9B6F7FFE-7063-4A6A-A04E-C4AE43A36CB9}"/>
          </ac:spMkLst>
        </pc:spChg>
        <pc:spChg chg="mod">
          <ac:chgData name="Jean QUENTIN" userId="6962deb3-b639-4acd-8091-a0516ea2376b" providerId="ADAL" clId="{146BD8F6-FDDD-49D3-A1A6-146C954086FF}" dt="2021-05-24T13:36:19.943" v="4923" actId="790"/>
          <ac:spMkLst>
            <pc:docMk/>
            <pc:sldMk cId="3405907677" sldId="10449"/>
            <ac:spMk id="324" creationId="{94F0003E-7749-460A-A9F7-A3FF0DAB91E5}"/>
          </ac:spMkLst>
        </pc:spChg>
        <pc:spChg chg="mod">
          <ac:chgData name="Jean QUENTIN" userId="6962deb3-b639-4acd-8091-a0516ea2376b" providerId="ADAL" clId="{146BD8F6-FDDD-49D3-A1A6-146C954086FF}" dt="2021-05-24T13:36:19.943" v="4924" actId="790"/>
          <ac:spMkLst>
            <pc:docMk/>
            <pc:sldMk cId="3405907677" sldId="10449"/>
            <ac:spMk id="365" creationId="{022F56B6-6CA0-428C-A1FD-15AD176ACAB3}"/>
          </ac:spMkLst>
        </pc:spChg>
        <pc:spChg chg="mod">
          <ac:chgData name="Jean QUENTIN" userId="6962deb3-b639-4acd-8091-a0516ea2376b" providerId="ADAL" clId="{146BD8F6-FDDD-49D3-A1A6-146C954086FF}" dt="2021-05-24T13:36:19.927" v="4907" actId="790"/>
          <ac:spMkLst>
            <pc:docMk/>
            <pc:sldMk cId="3405907677" sldId="10449"/>
            <ac:spMk id="367" creationId="{18B703CC-5712-4015-BEEE-38C6EB1064FF}"/>
          </ac:spMkLst>
        </pc:spChg>
        <pc:spChg chg="mod">
          <ac:chgData name="Jean QUENTIN" userId="6962deb3-b639-4acd-8091-a0516ea2376b" providerId="ADAL" clId="{146BD8F6-FDDD-49D3-A1A6-146C954086FF}" dt="2021-05-24T13:36:19.943" v="4925" actId="790"/>
          <ac:spMkLst>
            <pc:docMk/>
            <pc:sldMk cId="3405907677" sldId="10449"/>
            <ac:spMk id="368" creationId="{9C6C47F8-E4C9-45FE-82BC-DEC6B210DFA0}"/>
          </ac:spMkLst>
        </pc:spChg>
        <pc:spChg chg="mod">
          <ac:chgData name="Jean QUENTIN" userId="6962deb3-b639-4acd-8091-a0516ea2376b" providerId="ADAL" clId="{146BD8F6-FDDD-49D3-A1A6-146C954086FF}" dt="2021-05-24T13:36:19.958" v="4926" actId="790"/>
          <ac:spMkLst>
            <pc:docMk/>
            <pc:sldMk cId="3405907677" sldId="10449"/>
            <ac:spMk id="391" creationId="{1999737A-7803-4DC2-98FF-CAFCE5F2598A}"/>
          </ac:spMkLst>
        </pc:spChg>
        <pc:spChg chg="mod">
          <ac:chgData name="Jean QUENTIN" userId="6962deb3-b639-4acd-8091-a0516ea2376b" providerId="ADAL" clId="{146BD8F6-FDDD-49D3-A1A6-146C954086FF}" dt="2021-05-24T13:36:19.958" v="4927" actId="790"/>
          <ac:spMkLst>
            <pc:docMk/>
            <pc:sldMk cId="3405907677" sldId="10449"/>
            <ac:spMk id="392" creationId="{598A130F-C4B7-434F-8605-446749819923}"/>
          </ac:spMkLst>
        </pc:spChg>
        <pc:spChg chg="mod">
          <ac:chgData name="Jean QUENTIN" userId="6962deb3-b639-4acd-8091-a0516ea2376b" providerId="ADAL" clId="{146BD8F6-FDDD-49D3-A1A6-146C954086FF}" dt="2021-05-24T13:36:19.958" v="4928" actId="790"/>
          <ac:spMkLst>
            <pc:docMk/>
            <pc:sldMk cId="3405907677" sldId="10449"/>
            <ac:spMk id="398" creationId="{DB737A02-47A9-4110-AD8F-5EBC15C8C563}"/>
          </ac:spMkLst>
        </pc:spChg>
        <pc:spChg chg="mod">
          <ac:chgData name="Jean QUENTIN" userId="6962deb3-b639-4acd-8091-a0516ea2376b" providerId="ADAL" clId="{146BD8F6-FDDD-49D3-A1A6-146C954086FF}" dt="2021-05-24T13:36:19.958" v="4929" actId="790"/>
          <ac:spMkLst>
            <pc:docMk/>
            <pc:sldMk cId="3405907677" sldId="10449"/>
            <ac:spMk id="420" creationId="{E758489A-B83E-492E-B5E7-1CC796CC11FC}"/>
          </ac:spMkLst>
        </pc:spChg>
        <pc:spChg chg="mod">
          <ac:chgData name="Jean QUENTIN" userId="6962deb3-b639-4acd-8091-a0516ea2376b" providerId="ADAL" clId="{146BD8F6-FDDD-49D3-A1A6-146C954086FF}" dt="2021-05-24T13:36:19.965" v="4930" actId="790"/>
          <ac:spMkLst>
            <pc:docMk/>
            <pc:sldMk cId="3405907677" sldId="10449"/>
            <ac:spMk id="421" creationId="{B5C1707A-482D-47FA-B168-1782C921FE2A}"/>
          </ac:spMkLst>
        </pc:spChg>
        <pc:spChg chg="mod">
          <ac:chgData name="Jean QUENTIN" userId="6962deb3-b639-4acd-8091-a0516ea2376b" providerId="ADAL" clId="{146BD8F6-FDDD-49D3-A1A6-146C954086FF}" dt="2021-05-24T13:36:19.965" v="4931" actId="790"/>
          <ac:spMkLst>
            <pc:docMk/>
            <pc:sldMk cId="3405907677" sldId="10449"/>
            <ac:spMk id="429" creationId="{A6A4A3DA-94B6-42FD-9F6F-035B520E187C}"/>
          </ac:spMkLst>
        </pc:spChg>
        <pc:spChg chg="mod">
          <ac:chgData name="Jean QUENTIN" userId="6962deb3-b639-4acd-8091-a0516ea2376b" providerId="ADAL" clId="{146BD8F6-FDDD-49D3-A1A6-146C954086FF}" dt="2021-05-24T13:36:19.927" v="4908" actId="790"/>
          <ac:spMkLst>
            <pc:docMk/>
            <pc:sldMk cId="3405907677" sldId="10449"/>
            <ac:spMk id="430" creationId="{191E158E-C1A2-48A8-BC15-B7A4CBB9C67F}"/>
          </ac:spMkLst>
        </pc:spChg>
        <pc:spChg chg="mod">
          <ac:chgData name="Jean QUENTIN" userId="6962deb3-b639-4acd-8091-a0516ea2376b" providerId="ADAL" clId="{146BD8F6-FDDD-49D3-A1A6-146C954086FF}" dt="2021-05-24T13:36:19.965" v="4932" actId="790"/>
          <ac:spMkLst>
            <pc:docMk/>
            <pc:sldMk cId="3405907677" sldId="10449"/>
            <ac:spMk id="431" creationId="{9F2EE954-13E2-43A5-BEF9-E8AFAC5ACDFE}"/>
          </ac:spMkLst>
        </pc:spChg>
        <pc:spChg chg="mod">
          <ac:chgData name="Jean QUENTIN" userId="6962deb3-b639-4acd-8091-a0516ea2376b" providerId="ADAL" clId="{146BD8F6-FDDD-49D3-A1A6-146C954086FF}" dt="2021-05-24T13:36:19.965" v="4933" actId="790"/>
          <ac:spMkLst>
            <pc:docMk/>
            <pc:sldMk cId="3405907677" sldId="10449"/>
            <ac:spMk id="433" creationId="{D3C91C66-3ADF-4EB9-8900-EF3E74E554CF}"/>
          </ac:spMkLst>
        </pc:spChg>
        <pc:spChg chg="mod">
          <ac:chgData name="Jean QUENTIN" userId="6962deb3-b639-4acd-8091-a0516ea2376b" providerId="ADAL" clId="{146BD8F6-FDDD-49D3-A1A6-146C954086FF}" dt="2021-05-24T13:36:19.965" v="4934" actId="790"/>
          <ac:spMkLst>
            <pc:docMk/>
            <pc:sldMk cId="3405907677" sldId="10449"/>
            <ac:spMk id="434" creationId="{7F9A7766-BCA7-4A19-AC45-1019C0EB77E6}"/>
          </ac:spMkLst>
        </pc:spChg>
        <pc:spChg chg="mod">
          <ac:chgData name="Jean QUENTIN" userId="6962deb3-b639-4acd-8091-a0516ea2376b" providerId="ADAL" clId="{146BD8F6-FDDD-49D3-A1A6-146C954086FF}" dt="2021-05-24T13:36:19.865" v="4862" actId="790"/>
          <ac:spMkLst>
            <pc:docMk/>
            <pc:sldMk cId="3405907677" sldId="10449"/>
            <ac:spMk id="460" creationId="{31CDE07A-A1FC-4955-B7A7-BD78D1E3566B}"/>
          </ac:spMkLst>
        </pc:spChg>
        <pc:spChg chg="mod">
          <ac:chgData name="Jean QUENTIN" userId="6962deb3-b639-4acd-8091-a0516ea2376b" providerId="ADAL" clId="{146BD8F6-FDDD-49D3-A1A6-146C954086FF}" dt="2021-05-24T13:36:19.896" v="4886" actId="790"/>
          <ac:spMkLst>
            <pc:docMk/>
            <pc:sldMk cId="3405907677" sldId="10449"/>
            <ac:spMk id="468" creationId="{3DBC210C-F1CF-4B2A-9D46-4F8687949454}"/>
          </ac:spMkLst>
        </pc:spChg>
        <pc:spChg chg="mod">
          <ac:chgData name="Jean QUENTIN" userId="6962deb3-b639-4acd-8091-a0516ea2376b" providerId="ADAL" clId="{146BD8F6-FDDD-49D3-A1A6-146C954086FF}" dt="2021-05-24T13:36:19.896" v="4887" actId="790"/>
          <ac:spMkLst>
            <pc:docMk/>
            <pc:sldMk cId="3405907677" sldId="10449"/>
            <ac:spMk id="471" creationId="{4D823A75-B35B-4C54-B6BB-830191E50981}"/>
          </ac:spMkLst>
        </pc:spChg>
        <pc:spChg chg="mod">
          <ac:chgData name="Jean QUENTIN" userId="6962deb3-b639-4acd-8091-a0516ea2376b" providerId="ADAL" clId="{146BD8F6-FDDD-49D3-A1A6-146C954086FF}" dt="2021-05-24T13:36:19.896" v="4888" actId="790"/>
          <ac:spMkLst>
            <pc:docMk/>
            <pc:sldMk cId="3405907677" sldId="10449"/>
            <ac:spMk id="507" creationId="{895380CE-A7E7-45AB-8442-D668F5697CC3}"/>
          </ac:spMkLst>
        </pc:spChg>
        <pc:spChg chg="mod">
          <ac:chgData name="Jean QUENTIN" userId="6962deb3-b639-4acd-8091-a0516ea2376b" providerId="ADAL" clId="{146BD8F6-FDDD-49D3-A1A6-146C954086FF}" dt="2021-05-24T13:36:19.896" v="4889" actId="790"/>
          <ac:spMkLst>
            <pc:docMk/>
            <pc:sldMk cId="3405907677" sldId="10449"/>
            <ac:spMk id="520" creationId="{D1C985CF-D0AA-4ACF-A173-830EFD756774}"/>
          </ac:spMkLst>
        </pc:spChg>
        <pc:spChg chg="mod">
          <ac:chgData name="Jean QUENTIN" userId="6962deb3-b639-4acd-8091-a0516ea2376b" providerId="ADAL" clId="{146BD8F6-FDDD-49D3-A1A6-146C954086FF}" dt="2021-05-24T13:36:19.865" v="4863" actId="790"/>
          <ac:spMkLst>
            <pc:docMk/>
            <pc:sldMk cId="3405907677" sldId="10449"/>
            <ac:spMk id="524" creationId="{9DA0C13D-FDE2-432F-842A-8FDF5BC8E38A}"/>
          </ac:spMkLst>
        </pc:spChg>
        <pc:spChg chg="mod">
          <ac:chgData name="Jean QUENTIN" userId="6962deb3-b639-4acd-8091-a0516ea2376b" providerId="ADAL" clId="{146BD8F6-FDDD-49D3-A1A6-146C954086FF}" dt="2021-05-24T13:36:19.865" v="4864" actId="790"/>
          <ac:spMkLst>
            <pc:docMk/>
            <pc:sldMk cId="3405907677" sldId="10449"/>
            <ac:spMk id="526" creationId="{1E61C816-480E-4818-B936-DD577AC6BF1D}"/>
          </ac:spMkLst>
        </pc:spChg>
        <pc:spChg chg="mod">
          <ac:chgData name="Jean QUENTIN" userId="6962deb3-b639-4acd-8091-a0516ea2376b" providerId="ADAL" clId="{146BD8F6-FDDD-49D3-A1A6-146C954086FF}" dt="2021-05-24T13:36:19.912" v="4890" actId="790"/>
          <ac:spMkLst>
            <pc:docMk/>
            <pc:sldMk cId="3405907677" sldId="10449"/>
            <ac:spMk id="561" creationId="{01A2DBAA-4474-458E-BDEF-E340E8995855}"/>
          </ac:spMkLst>
        </pc:spChg>
        <pc:spChg chg="mod">
          <ac:chgData name="Jean QUENTIN" userId="6962deb3-b639-4acd-8091-a0516ea2376b" providerId="ADAL" clId="{146BD8F6-FDDD-49D3-A1A6-146C954086FF}" dt="2021-05-24T13:36:19.912" v="4891" actId="790"/>
          <ac:spMkLst>
            <pc:docMk/>
            <pc:sldMk cId="3405907677" sldId="10449"/>
            <ac:spMk id="562" creationId="{A2D6A696-51A5-4993-9FD5-8FFC3593925F}"/>
          </ac:spMkLst>
        </pc:spChg>
        <pc:spChg chg="mod">
          <ac:chgData name="Jean QUENTIN" userId="6962deb3-b639-4acd-8091-a0516ea2376b" providerId="ADAL" clId="{146BD8F6-FDDD-49D3-A1A6-146C954086FF}" dt="2021-05-24T13:36:19.912" v="4892" actId="790"/>
          <ac:spMkLst>
            <pc:docMk/>
            <pc:sldMk cId="3405907677" sldId="10449"/>
            <ac:spMk id="563" creationId="{194B8928-FB65-4150-B5CC-395DC7F4EF82}"/>
          </ac:spMkLst>
        </pc:spChg>
        <pc:spChg chg="mod">
          <ac:chgData name="Jean QUENTIN" userId="6962deb3-b639-4acd-8091-a0516ea2376b" providerId="ADAL" clId="{146BD8F6-FDDD-49D3-A1A6-146C954086FF}" dt="2021-05-24T13:36:19.912" v="4893" actId="790"/>
          <ac:spMkLst>
            <pc:docMk/>
            <pc:sldMk cId="3405907677" sldId="10449"/>
            <ac:spMk id="564" creationId="{A6547FC9-EA78-4953-999B-6D8A1C03D5D9}"/>
          </ac:spMkLst>
        </pc:spChg>
        <pc:spChg chg="mod">
          <ac:chgData name="Jean QUENTIN" userId="6962deb3-b639-4acd-8091-a0516ea2376b" providerId="ADAL" clId="{146BD8F6-FDDD-49D3-A1A6-146C954086FF}" dt="2021-05-24T13:36:19.912" v="4894" actId="790"/>
          <ac:spMkLst>
            <pc:docMk/>
            <pc:sldMk cId="3405907677" sldId="10449"/>
            <ac:spMk id="566" creationId="{5034B735-5470-44C8-9214-2F36EE84557A}"/>
          </ac:spMkLst>
        </pc:spChg>
        <pc:spChg chg="mod">
          <ac:chgData name="Jean QUENTIN" userId="6962deb3-b639-4acd-8091-a0516ea2376b" providerId="ADAL" clId="{146BD8F6-FDDD-49D3-A1A6-146C954086FF}" dt="2021-05-24T13:36:19.912" v="4895" actId="790"/>
          <ac:spMkLst>
            <pc:docMk/>
            <pc:sldMk cId="3405907677" sldId="10449"/>
            <ac:spMk id="567" creationId="{7A7AC5FD-4972-4698-9C29-EBE0BC229D2C}"/>
          </ac:spMkLst>
        </pc:spChg>
        <pc:spChg chg="mod">
          <ac:chgData name="Jean QUENTIN" userId="6962deb3-b639-4acd-8091-a0516ea2376b" providerId="ADAL" clId="{146BD8F6-FDDD-49D3-A1A6-146C954086FF}" dt="2021-05-24T13:36:19.912" v="4896" actId="790"/>
          <ac:spMkLst>
            <pc:docMk/>
            <pc:sldMk cId="3405907677" sldId="10449"/>
            <ac:spMk id="568" creationId="{1BB99FC1-A755-41C4-A5B0-42BF784157D7}"/>
          </ac:spMkLst>
        </pc:spChg>
        <pc:spChg chg="mod">
          <ac:chgData name="Jean QUENTIN" userId="6962deb3-b639-4acd-8091-a0516ea2376b" providerId="ADAL" clId="{146BD8F6-FDDD-49D3-A1A6-146C954086FF}" dt="2021-05-24T13:36:19.912" v="4897" actId="790"/>
          <ac:spMkLst>
            <pc:docMk/>
            <pc:sldMk cId="3405907677" sldId="10449"/>
            <ac:spMk id="569" creationId="{03B48CD2-8D5F-467F-95E5-9374434808F1}"/>
          </ac:spMkLst>
        </pc:spChg>
        <pc:spChg chg="mod">
          <ac:chgData name="Jean QUENTIN" userId="6962deb3-b639-4acd-8091-a0516ea2376b" providerId="ADAL" clId="{146BD8F6-FDDD-49D3-A1A6-146C954086FF}" dt="2021-05-24T13:36:19.912" v="4898" actId="790"/>
          <ac:spMkLst>
            <pc:docMk/>
            <pc:sldMk cId="3405907677" sldId="10449"/>
            <ac:spMk id="570" creationId="{A6FC9F8E-9407-4068-9614-2C9B33825B85}"/>
          </ac:spMkLst>
        </pc:spChg>
      </pc:sldChg>
      <pc:sldChg chg="modSp mod">
        <pc:chgData name="Jean QUENTIN" userId="6962deb3-b639-4acd-8091-a0516ea2376b" providerId="ADAL" clId="{146BD8F6-FDDD-49D3-A1A6-146C954086FF}" dt="2021-05-24T13:36:20.012" v="4967" actId="790"/>
        <pc:sldMkLst>
          <pc:docMk/>
          <pc:sldMk cId="1257605897" sldId="10450"/>
        </pc:sldMkLst>
        <pc:spChg chg="mod">
          <ac:chgData name="Jean QUENTIN" userId="6962deb3-b639-4acd-8091-a0516ea2376b" providerId="ADAL" clId="{146BD8F6-FDDD-49D3-A1A6-146C954086FF}" dt="2021-05-24T13:36:19.965" v="4936" actId="790"/>
          <ac:spMkLst>
            <pc:docMk/>
            <pc:sldMk cId="1257605897" sldId="10450"/>
            <ac:spMk id="6" creationId="{FF59DF4D-1286-4935-9878-F5678D3BE873}"/>
          </ac:spMkLst>
        </pc:spChg>
        <pc:spChg chg="mod">
          <ac:chgData name="Jean QUENTIN" userId="6962deb3-b639-4acd-8091-a0516ea2376b" providerId="ADAL" clId="{146BD8F6-FDDD-49D3-A1A6-146C954086FF}" dt="2021-05-24T13:36:19.965" v="4937" actId="790"/>
          <ac:spMkLst>
            <pc:docMk/>
            <pc:sldMk cId="1257605897" sldId="10450"/>
            <ac:spMk id="8" creationId="{9AFE9B11-1BCA-43BA-B650-E93B58945BD5}"/>
          </ac:spMkLst>
        </pc:spChg>
        <pc:spChg chg="mod">
          <ac:chgData name="Jean QUENTIN" userId="6962deb3-b639-4acd-8091-a0516ea2376b" providerId="ADAL" clId="{146BD8F6-FDDD-49D3-A1A6-146C954086FF}" dt="2021-05-24T13:36:20.012" v="4965" actId="790"/>
          <ac:spMkLst>
            <pc:docMk/>
            <pc:sldMk cId="1257605897" sldId="10450"/>
            <ac:spMk id="32" creationId="{9EDD2B4C-E564-475C-AE3E-772167E3D075}"/>
          </ac:spMkLst>
        </pc:spChg>
        <pc:spChg chg="mod">
          <ac:chgData name="Jean QUENTIN" userId="6962deb3-b639-4acd-8091-a0516ea2376b" providerId="ADAL" clId="{146BD8F6-FDDD-49D3-A1A6-146C954086FF}" dt="2021-05-24T13:36:20.012" v="4967" actId="790"/>
          <ac:spMkLst>
            <pc:docMk/>
            <pc:sldMk cId="1257605897" sldId="10450"/>
            <ac:spMk id="38" creationId="{CDB7A5D3-3E60-4B04-BB46-5E6F186462DD}"/>
          </ac:spMkLst>
        </pc:spChg>
        <pc:spChg chg="mod">
          <ac:chgData name="Jean QUENTIN" userId="6962deb3-b639-4acd-8091-a0516ea2376b" providerId="ADAL" clId="{146BD8F6-FDDD-49D3-A1A6-146C954086FF}" dt="2021-05-24T13:36:19.965" v="4938" actId="790"/>
          <ac:spMkLst>
            <pc:docMk/>
            <pc:sldMk cId="1257605897" sldId="10450"/>
            <ac:spMk id="121" creationId="{47882E2C-6CB5-423E-8264-570847330D13}"/>
          </ac:spMkLst>
        </pc:spChg>
        <pc:spChg chg="mod">
          <ac:chgData name="Jean QUENTIN" userId="6962deb3-b639-4acd-8091-a0516ea2376b" providerId="ADAL" clId="{146BD8F6-FDDD-49D3-A1A6-146C954086FF}" dt="2021-05-24T13:36:19.965" v="4939" actId="790"/>
          <ac:spMkLst>
            <pc:docMk/>
            <pc:sldMk cId="1257605897" sldId="10450"/>
            <ac:spMk id="126" creationId="{B679CA33-4BE2-4814-A3F0-D6A3530FF50C}"/>
          </ac:spMkLst>
        </pc:spChg>
        <pc:spChg chg="mod">
          <ac:chgData name="Jean QUENTIN" userId="6962deb3-b639-4acd-8091-a0516ea2376b" providerId="ADAL" clId="{146BD8F6-FDDD-49D3-A1A6-146C954086FF}" dt="2021-05-24T13:36:19.981" v="4940" actId="790"/>
          <ac:spMkLst>
            <pc:docMk/>
            <pc:sldMk cId="1257605897" sldId="10450"/>
            <ac:spMk id="127" creationId="{267F6C37-45F8-4FDB-802A-F81C77D3FF76}"/>
          </ac:spMkLst>
        </pc:spChg>
        <pc:spChg chg="mod">
          <ac:chgData name="Jean QUENTIN" userId="6962deb3-b639-4acd-8091-a0516ea2376b" providerId="ADAL" clId="{146BD8F6-FDDD-49D3-A1A6-146C954086FF}" dt="2021-05-24T13:36:19.981" v="4941" actId="790"/>
          <ac:spMkLst>
            <pc:docMk/>
            <pc:sldMk cId="1257605897" sldId="10450"/>
            <ac:spMk id="128" creationId="{1E677BA0-44F7-4135-94B8-943CCB0E9DEA}"/>
          </ac:spMkLst>
        </pc:spChg>
        <pc:spChg chg="mod">
          <ac:chgData name="Jean QUENTIN" userId="6962deb3-b639-4acd-8091-a0516ea2376b" providerId="ADAL" clId="{146BD8F6-FDDD-49D3-A1A6-146C954086FF}" dt="2021-05-24T13:36:19.981" v="4942" actId="790"/>
          <ac:spMkLst>
            <pc:docMk/>
            <pc:sldMk cId="1257605897" sldId="10450"/>
            <ac:spMk id="161" creationId="{EF2C1507-96DB-4D06-96B8-849FD319EC76}"/>
          </ac:spMkLst>
        </pc:spChg>
        <pc:spChg chg="mod">
          <ac:chgData name="Jean QUENTIN" userId="6962deb3-b639-4acd-8091-a0516ea2376b" providerId="ADAL" clId="{146BD8F6-FDDD-49D3-A1A6-146C954086FF}" dt="2021-05-24T13:36:19.981" v="4943" actId="790"/>
          <ac:spMkLst>
            <pc:docMk/>
            <pc:sldMk cId="1257605897" sldId="10450"/>
            <ac:spMk id="162" creationId="{3B00978C-7DF2-4D38-81B6-88F852D421E4}"/>
          </ac:spMkLst>
        </pc:spChg>
        <pc:spChg chg="mod">
          <ac:chgData name="Jean QUENTIN" userId="6962deb3-b639-4acd-8091-a0516ea2376b" providerId="ADAL" clId="{146BD8F6-FDDD-49D3-A1A6-146C954086FF}" dt="2021-05-24T13:36:19.981" v="4944" actId="790"/>
          <ac:spMkLst>
            <pc:docMk/>
            <pc:sldMk cId="1257605897" sldId="10450"/>
            <ac:spMk id="163" creationId="{5AC39BD9-F409-4C11-BDE7-A3C52B7DC35E}"/>
          </ac:spMkLst>
        </pc:spChg>
        <pc:spChg chg="mod">
          <ac:chgData name="Jean QUENTIN" userId="6962deb3-b639-4acd-8091-a0516ea2376b" providerId="ADAL" clId="{146BD8F6-FDDD-49D3-A1A6-146C954086FF}" dt="2021-05-24T13:36:19.981" v="4945" actId="790"/>
          <ac:spMkLst>
            <pc:docMk/>
            <pc:sldMk cId="1257605897" sldId="10450"/>
            <ac:spMk id="165" creationId="{11B0E31B-DF11-4F77-90D9-B3930E3A282A}"/>
          </ac:spMkLst>
        </pc:spChg>
        <pc:spChg chg="mod">
          <ac:chgData name="Jean QUENTIN" userId="6962deb3-b639-4acd-8091-a0516ea2376b" providerId="ADAL" clId="{146BD8F6-FDDD-49D3-A1A6-146C954086FF}" dt="2021-05-24T13:36:19.981" v="4946" actId="790"/>
          <ac:spMkLst>
            <pc:docMk/>
            <pc:sldMk cId="1257605897" sldId="10450"/>
            <ac:spMk id="166" creationId="{93F25222-C28E-417E-AAA4-154D525DA718}"/>
          </ac:spMkLst>
        </pc:spChg>
        <pc:spChg chg="mod">
          <ac:chgData name="Jean QUENTIN" userId="6962deb3-b639-4acd-8091-a0516ea2376b" providerId="ADAL" clId="{146BD8F6-FDDD-49D3-A1A6-146C954086FF}" dt="2021-05-24T13:36:19.981" v="4947" actId="790"/>
          <ac:spMkLst>
            <pc:docMk/>
            <pc:sldMk cId="1257605897" sldId="10450"/>
            <ac:spMk id="167" creationId="{E079BB12-6805-4470-9A19-4CCB55580F83}"/>
          </ac:spMkLst>
        </pc:spChg>
        <pc:spChg chg="mod">
          <ac:chgData name="Jean QUENTIN" userId="6962deb3-b639-4acd-8091-a0516ea2376b" providerId="ADAL" clId="{146BD8F6-FDDD-49D3-A1A6-146C954086FF}" dt="2021-05-24T13:36:19.981" v="4948" actId="790"/>
          <ac:spMkLst>
            <pc:docMk/>
            <pc:sldMk cId="1257605897" sldId="10450"/>
            <ac:spMk id="168" creationId="{AA8C97FA-E852-46B0-88F3-315D68DCD70D}"/>
          </ac:spMkLst>
        </pc:spChg>
        <pc:spChg chg="mod">
          <ac:chgData name="Jean QUENTIN" userId="6962deb3-b639-4acd-8091-a0516ea2376b" providerId="ADAL" clId="{146BD8F6-FDDD-49D3-A1A6-146C954086FF}" dt="2021-05-24T13:36:19.996" v="4949" actId="790"/>
          <ac:spMkLst>
            <pc:docMk/>
            <pc:sldMk cId="1257605897" sldId="10450"/>
            <ac:spMk id="169" creationId="{F55EF163-CC0E-48F7-9FB3-E7A813E73035}"/>
          </ac:spMkLst>
        </pc:spChg>
        <pc:spChg chg="mod">
          <ac:chgData name="Jean QUENTIN" userId="6962deb3-b639-4acd-8091-a0516ea2376b" providerId="ADAL" clId="{146BD8F6-FDDD-49D3-A1A6-146C954086FF}" dt="2021-05-24T13:36:19.996" v="4950" actId="790"/>
          <ac:spMkLst>
            <pc:docMk/>
            <pc:sldMk cId="1257605897" sldId="10450"/>
            <ac:spMk id="170" creationId="{916415C4-147B-4047-8064-AB3522947855}"/>
          </ac:spMkLst>
        </pc:spChg>
        <pc:spChg chg="mod">
          <ac:chgData name="Jean QUENTIN" userId="6962deb3-b639-4acd-8091-a0516ea2376b" providerId="ADAL" clId="{146BD8F6-FDDD-49D3-A1A6-146C954086FF}" dt="2021-05-24T13:36:19.996" v="4951" actId="790"/>
          <ac:spMkLst>
            <pc:docMk/>
            <pc:sldMk cId="1257605897" sldId="10450"/>
            <ac:spMk id="172" creationId="{32FCFF7F-A543-4C44-BDEB-15421FDE2A43}"/>
          </ac:spMkLst>
        </pc:spChg>
        <pc:spChg chg="mod">
          <ac:chgData name="Jean QUENTIN" userId="6962deb3-b639-4acd-8091-a0516ea2376b" providerId="ADAL" clId="{146BD8F6-FDDD-49D3-A1A6-146C954086FF}" dt="2021-05-24T13:36:19.996" v="4952" actId="790"/>
          <ac:spMkLst>
            <pc:docMk/>
            <pc:sldMk cId="1257605897" sldId="10450"/>
            <ac:spMk id="173" creationId="{FE26A1FC-A2DB-4DF6-96D8-B46AE8026951}"/>
          </ac:spMkLst>
        </pc:spChg>
        <pc:spChg chg="mod">
          <ac:chgData name="Jean QUENTIN" userId="6962deb3-b639-4acd-8091-a0516ea2376b" providerId="ADAL" clId="{146BD8F6-FDDD-49D3-A1A6-146C954086FF}" dt="2021-05-24T13:36:19.996" v="4953" actId="790"/>
          <ac:spMkLst>
            <pc:docMk/>
            <pc:sldMk cId="1257605897" sldId="10450"/>
            <ac:spMk id="174" creationId="{E8B3D778-664A-49A8-B0A7-2E84434ED3A8}"/>
          </ac:spMkLst>
        </pc:spChg>
        <pc:spChg chg="mod">
          <ac:chgData name="Jean QUENTIN" userId="6962deb3-b639-4acd-8091-a0516ea2376b" providerId="ADAL" clId="{146BD8F6-FDDD-49D3-A1A6-146C954086FF}" dt="2021-05-24T13:36:19.996" v="4954" actId="790"/>
          <ac:spMkLst>
            <pc:docMk/>
            <pc:sldMk cId="1257605897" sldId="10450"/>
            <ac:spMk id="175" creationId="{80166264-0FBF-4476-844C-81EC2C24C292}"/>
          </ac:spMkLst>
        </pc:spChg>
        <pc:spChg chg="mod">
          <ac:chgData name="Jean QUENTIN" userId="6962deb3-b639-4acd-8091-a0516ea2376b" providerId="ADAL" clId="{146BD8F6-FDDD-49D3-A1A6-146C954086FF}" dt="2021-05-24T13:36:19.996" v="4955" actId="790"/>
          <ac:spMkLst>
            <pc:docMk/>
            <pc:sldMk cId="1257605897" sldId="10450"/>
            <ac:spMk id="176" creationId="{885596B5-68CC-4CA2-85A9-8B1C03B8C65D}"/>
          </ac:spMkLst>
        </pc:spChg>
        <pc:spChg chg="mod">
          <ac:chgData name="Jean QUENTIN" userId="6962deb3-b639-4acd-8091-a0516ea2376b" providerId="ADAL" clId="{146BD8F6-FDDD-49D3-A1A6-146C954086FF}" dt="2021-05-24T13:36:19.996" v="4956" actId="790"/>
          <ac:spMkLst>
            <pc:docMk/>
            <pc:sldMk cId="1257605897" sldId="10450"/>
            <ac:spMk id="177" creationId="{6826BB62-8A5C-46BF-8049-23D419052F89}"/>
          </ac:spMkLst>
        </pc:spChg>
        <pc:spChg chg="mod">
          <ac:chgData name="Jean QUENTIN" userId="6962deb3-b639-4acd-8091-a0516ea2376b" providerId="ADAL" clId="{146BD8F6-FDDD-49D3-A1A6-146C954086FF}" dt="2021-05-24T13:36:19.996" v="4957" actId="790"/>
          <ac:spMkLst>
            <pc:docMk/>
            <pc:sldMk cId="1257605897" sldId="10450"/>
            <ac:spMk id="178" creationId="{75719BA4-2F49-4E16-BD81-8A1955A4DAE4}"/>
          </ac:spMkLst>
        </pc:spChg>
        <pc:spChg chg="mod">
          <ac:chgData name="Jean QUENTIN" userId="6962deb3-b639-4acd-8091-a0516ea2376b" providerId="ADAL" clId="{146BD8F6-FDDD-49D3-A1A6-146C954086FF}" dt="2021-05-24T13:36:19.996" v="4958" actId="790"/>
          <ac:spMkLst>
            <pc:docMk/>
            <pc:sldMk cId="1257605897" sldId="10450"/>
            <ac:spMk id="179" creationId="{FBF028CB-7E03-4B99-AE38-380E7F2BC7E3}"/>
          </ac:spMkLst>
        </pc:spChg>
        <pc:spChg chg="mod">
          <ac:chgData name="Jean QUENTIN" userId="6962deb3-b639-4acd-8091-a0516ea2376b" providerId="ADAL" clId="{146BD8F6-FDDD-49D3-A1A6-146C954086FF}" dt="2021-05-24T13:36:19.996" v="4959" actId="790"/>
          <ac:spMkLst>
            <pc:docMk/>
            <pc:sldMk cId="1257605897" sldId="10450"/>
            <ac:spMk id="181" creationId="{18A8FF1A-5942-44D5-AD01-129C43FBD7C8}"/>
          </ac:spMkLst>
        </pc:spChg>
        <pc:spChg chg="mod">
          <ac:chgData name="Jean QUENTIN" userId="6962deb3-b639-4acd-8091-a0516ea2376b" providerId="ADAL" clId="{146BD8F6-FDDD-49D3-A1A6-146C954086FF}" dt="2021-05-24T13:36:19.996" v="4960" actId="790"/>
          <ac:spMkLst>
            <pc:docMk/>
            <pc:sldMk cId="1257605897" sldId="10450"/>
            <ac:spMk id="183" creationId="{1899D119-F7CF-4BEE-8372-873E8A2C0F76}"/>
          </ac:spMkLst>
        </pc:spChg>
        <pc:spChg chg="mod">
          <ac:chgData name="Jean QUENTIN" userId="6962deb3-b639-4acd-8091-a0516ea2376b" providerId="ADAL" clId="{146BD8F6-FDDD-49D3-A1A6-146C954086FF}" dt="2021-05-24T13:36:19.996" v="4961" actId="790"/>
          <ac:spMkLst>
            <pc:docMk/>
            <pc:sldMk cId="1257605897" sldId="10450"/>
            <ac:spMk id="186" creationId="{86AA7CBC-74DA-4388-9DE0-860FAF9E0B81}"/>
          </ac:spMkLst>
        </pc:spChg>
        <pc:spChg chg="mod">
          <ac:chgData name="Jean QUENTIN" userId="6962deb3-b639-4acd-8091-a0516ea2376b" providerId="ADAL" clId="{146BD8F6-FDDD-49D3-A1A6-146C954086FF}" dt="2021-05-24T13:36:19.996" v="4962" actId="790"/>
          <ac:spMkLst>
            <pc:docMk/>
            <pc:sldMk cId="1257605897" sldId="10450"/>
            <ac:spMk id="187" creationId="{2B1DFCF5-5CE2-41E4-882A-AA27CCD25FFF}"/>
          </ac:spMkLst>
        </pc:spChg>
        <pc:spChg chg="mod">
          <ac:chgData name="Jean QUENTIN" userId="6962deb3-b639-4acd-8091-a0516ea2376b" providerId="ADAL" clId="{146BD8F6-FDDD-49D3-A1A6-146C954086FF}" dt="2021-05-24T13:36:20.012" v="4963" actId="790"/>
          <ac:spMkLst>
            <pc:docMk/>
            <pc:sldMk cId="1257605897" sldId="10450"/>
            <ac:spMk id="189" creationId="{6B9DCBFF-5597-49E5-BFE3-33C520193F03}"/>
          </ac:spMkLst>
        </pc:spChg>
        <pc:spChg chg="mod">
          <ac:chgData name="Jean QUENTIN" userId="6962deb3-b639-4acd-8091-a0516ea2376b" providerId="ADAL" clId="{146BD8F6-FDDD-49D3-A1A6-146C954086FF}" dt="2021-05-24T13:36:20.012" v="4964" actId="790"/>
          <ac:spMkLst>
            <pc:docMk/>
            <pc:sldMk cId="1257605897" sldId="10450"/>
            <ac:spMk id="190" creationId="{40A8218D-453D-4A85-A645-943A1BA3319A}"/>
          </ac:spMkLst>
        </pc:spChg>
        <pc:spChg chg="mod">
          <ac:chgData name="Jean QUENTIN" userId="6962deb3-b639-4acd-8091-a0516ea2376b" providerId="ADAL" clId="{146BD8F6-FDDD-49D3-A1A6-146C954086FF}" dt="2021-05-24T13:36:20.012" v="4966" actId="790"/>
          <ac:spMkLst>
            <pc:docMk/>
            <pc:sldMk cId="1257605897" sldId="10450"/>
            <ac:spMk id="193" creationId="{71D1FCF9-82DB-43BD-8A7C-4A72C096FE36}"/>
          </ac:spMkLst>
        </pc:spChg>
      </pc:sldChg>
      <pc:sldChg chg="addSp delSp modSp mod">
        <pc:chgData name="Jean QUENTIN" userId="6962deb3-b639-4acd-8091-a0516ea2376b" providerId="ADAL" clId="{146BD8F6-FDDD-49D3-A1A6-146C954086FF}" dt="2021-05-25T14:52:05.994" v="14514" actId="207"/>
        <pc:sldMkLst>
          <pc:docMk/>
          <pc:sldMk cId="946667118" sldId="10451"/>
        </pc:sldMkLst>
        <pc:spChg chg="mod">
          <ac:chgData name="Jean QUENTIN" userId="6962deb3-b639-4acd-8091-a0516ea2376b" providerId="ADAL" clId="{146BD8F6-FDDD-49D3-A1A6-146C954086FF}" dt="2021-05-25T11:15:14.414" v="14237" actId="20577"/>
          <ac:spMkLst>
            <pc:docMk/>
            <pc:sldMk cId="946667118" sldId="10451"/>
            <ac:spMk id="2" creationId="{769247EA-17E8-4C3A-8816-83F479289603}"/>
          </ac:spMkLst>
        </pc:spChg>
        <pc:spChg chg="mod">
          <ac:chgData name="Jean QUENTIN" userId="6962deb3-b639-4acd-8091-a0516ea2376b" providerId="ADAL" clId="{146BD8F6-FDDD-49D3-A1A6-146C954086FF}" dt="2021-05-24T13:36:21.716" v="5793" actId="790"/>
          <ac:spMkLst>
            <pc:docMk/>
            <pc:sldMk cId="946667118" sldId="10451"/>
            <ac:spMk id="3" creationId="{E07D0B56-DB8E-4B78-AC05-7711C9472BF0}"/>
          </ac:spMkLst>
        </pc:spChg>
        <pc:spChg chg="mod">
          <ac:chgData name="Jean QUENTIN" userId="6962deb3-b639-4acd-8091-a0516ea2376b" providerId="ADAL" clId="{146BD8F6-FDDD-49D3-A1A6-146C954086FF}" dt="2021-05-25T10:59:30.837" v="12713" actId="1076"/>
          <ac:spMkLst>
            <pc:docMk/>
            <pc:sldMk cId="946667118" sldId="10451"/>
            <ac:spMk id="4" creationId="{9AE5609A-BCBB-4CCB-8260-AB6BF728C30D}"/>
          </ac:spMkLst>
        </pc:spChg>
        <pc:spChg chg="add mod">
          <ac:chgData name="Jean QUENTIN" userId="6962deb3-b639-4acd-8091-a0516ea2376b" providerId="ADAL" clId="{146BD8F6-FDDD-49D3-A1A6-146C954086FF}" dt="2021-05-25T11:00:33.089" v="12741"/>
          <ac:spMkLst>
            <pc:docMk/>
            <pc:sldMk cId="946667118" sldId="10451"/>
            <ac:spMk id="6" creationId="{5D67F58E-367B-4FE8-B5F9-DCBD69FB1B6B}"/>
          </ac:spMkLst>
        </pc:spChg>
        <pc:spChg chg="mod">
          <ac:chgData name="Jean QUENTIN" userId="6962deb3-b639-4acd-8091-a0516ea2376b" providerId="ADAL" clId="{146BD8F6-FDDD-49D3-A1A6-146C954086FF}" dt="2021-05-24T13:36:21.663" v="5762" actId="790"/>
          <ac:spMkLst>
            <pc:docMk/>
            <pc:sldMk cId="946667118" sldId="10451"/>
            <ac:spMk id="7" creationId="{044946C5-D2A9-4225-9A4A-E922125A0AE1}"/>
          </ac:spMkLst>
        </pc:spChg>
        <pc:spChg chg="mod">
          <ac:chgData name="Jean QUENTIN" userId="6962deb3-b639-4acd-8091-a0516ea2376b" providerId="ADAL" clId="{146BD8F6-FDDD-49D3-A1A6-146C954086FF}" dt="2021-05-25T14:51:00.589" v="14497" actId="207"/>
          <ac:spMkLst>
            <pc:docMk/>
            <pc:sldMk cId="946667118" sldId="10451"/>
            <ac:spMk id="17" creationId="{C9EAEAC2-A4FF-4DD8-9228-E949C4DB6A55}"/>
          </ac:spMkLst>
        </pc:spChg>
        <pc:spChg chg="mod">
          <ac:chgData name="Jean QUENTIN" userId="6962deb3-b639-4acd-8091-a0516ea2376b" providerId="ADAL" clId="{146BD8F6-FDDD-49D3-A1A6-146C954086FF}" dt="2021-05-25T14:51:03.733" v="14498" actId="207"/>
          <ac:spMkLst>
            <pc:docMk/>
            <pc:sldMk cId="946667118" sldId="10451"/>
            <ac:spMk id="20" creationId="{5F5540D3-73DA-4CB5-8CE1-6C8BEAA293F6}"/>
          </ac:spMkLst>
        </pc:spChg>
        <pc:spChg chg="mod">
          <ac:chgData name="Jean QUENTIN" userId="6962deb3-b639-4acd-8091-a0516ea2376b" providerId="ADAL" clId="{146BD8F6-FDDD-49D3-A1A6-146C954086FF}" dt="2021-05-24T13:36:21.669" v="5765" actId="790"/>
          <ac:spMkLst>
            <pc:docMk/>
            <pc:sldMk cId="946667118" sldId="10451"/>
            <ac:spMk id="24" creationId="{9AC553B1-4F81-4C20-B305-7DC8EB1A6187}"/>
          </ac:spMkLst>
        </pc:spChg>
        <pc:spChg chg="mod">
          <ac:chgData name="Jean QUENTIN" userId="6962deb3-b639-4acd-8091-a0516ea2376b" providerId="ADAL" clId="{146BD8F6-FDDD-49D3-A1A6-146C954086FF}" dt="2021-05-25T14:50:54.553" v="14495" actId="207"/>
          <ac:spMkLst>
            <pc:docMk/>
            <pc:sldMk cId="946667118" sldId="10451"/>
            <ac:spMk id="25" creationId="{3E109305-F3C7-486E-897E-2E8221625EF8}"/>
          </ac:spMkLst>
        </pc:spChg>
        <pc:spChg chg="mod">
          <ac:chgData name="Jean QUENTIN" userId="6962deb3-b639-4acd-8091-a0516ea2376b" providerId="ADAL" clId="{146BD8F6-FDDD-49D3-A1A6-146C954086FF}" dt="2021-05-24T13:36:21.669" v="5771" actId="790"/>
          <ac:spMkLst>
            <pc:docMk/>
            <pc:sldMk cId="946667118" sldId="10451"/>
            <ac:spMk id="28" creationId="{F0A42D70-8359-43E9-B3F0-C9955529B0D8}"/>
          </ac:spMkLst>
        </pc:spChg>
        <pc:spChg chg="mod">
          <ac:chgData name="Jean QUENTIN" userId="6962deb3-b639-4acd-8091-a0516ea2376b" providerId="ADAL" clId="{146BD8F6-FDDD-49D3-A1A6-146C954086FF}" dt="2021-05-24T13:36:21.669" v="5767" actId="790"/>
          <ac:spMkLst>
            <pc:docMk/>
            <pc:sldMk cId="946667118" sldId="10451"/>
            <ac:spMk id="29" creationId="{6883ADF0-392A-45C2-A4E3-ABAB2274EB03}"/>
          </ac:spMkLst>
        </pc:spChg>
        <pc:spChg chg="mod">
          <ac:chgData name="Jean QUENTIN" userId="6962deb3-b639-4acd-8091-a0516ea2376b" providerId="ADAL" clId="{146BD8F6-FDDD-49D3-A1A6-146C954086FF}" dt="2021-05-25T14:51:06.490" v="14499" actId="207"/>
          <ac:spMkLst>
            <pc:docMk/>
            <pc:sldMk cId="946667118" sldId="10451"/>
            <ac:spMk id="30" creationId="{DEF0A5A1-4D9F-4E2F-9E07-C79302AD07AD}"/>
          </ac:spMkLst>
        </pc:spChg>
        <pc:spChg chg="mod">
          <ac:chgData name="Jean QUENTIN" userId="6962deb3-b639-4acd-8091-a0516ea2376b" providerId="ADAL" clId="{146BD8F6-FDDD-49D3-A1A6-146C954086FF}" dt="2021-05-24T13:36:21.669" v="5769" actId="790"/>
          <ac:spMkLst>
            <pc:docMk/>
            <pc:sldMk cId="946667118" sldId="10451"/>
            <ac:spMk id="32" creationId="{3FF3FDF5-52D0-49E0-A0E7-824DFE96C177}"/>
          </ac:spMkLst>
        </pc:spChg>
        <pc:spChg chg="mod">
          <ac:chgData name="Jean QUENTIN" userId="6962deb3-b639-4acd-8091-a0516ea2376b" providerId="ADAL" clId="{146BD8F6-FDDD-49D3-A1A6-146C954086FF}" dt="2021-05-24T13:36:21.669" v="5770" actId="790"/>
          <ac:spMkLst>
            <pc:docMk/>
            <pc:sldMk cId="946667118" sldId="10451"/>
            <ac:spMk id="33" creationId="{199DDAA8-0D15-4205-9F4A-142676014187}"/>
          </ac:spMkLst>
        </pc:spChg>
        <pc:spChg chg="mod">
          <ac:chgData name="Jean QUENTIN" userId="6962deb3-b639-4acd-8091-a0516ea2376b" providerId="ADAL" clId="{146BD8F6-FDDD-49D3-A1A6-146C954086FF}" dt="2021-05-24T13:36:21.716" v="5792" actId="790"/>
          <ac:spMkLst>
            <pc:docMk/>
            <pc:sldMk cId="946667118" sldId="10451"/>
            <ac:spMk id="44" creationId="{B0E36B4E-889F-4589-9A08-C01D267B1C72}"/>
          </ac:spMkLst>
        </pc:spChg>
        <pc:spChg chg="mod">
          <ac:chgData name="Jean QUENTIN" userId="6962deb3-b639-4acd-8091-a0516ea2376b" providerId="ADAL" clId="{146BD8F6-FDDD-49D3-A1A6-146C954086FF}" dt="2021-05-24T13:36:21.669" v="5772" actId="790"/>
          <ac:spMkLst>
            <pc:docMk/>
            <pc:sldMk cId="946667118" sldId="10451"/>
            <ac:spMk id="64" creationId="{D18473C9-8757-432D-9AB2-988A0819821F}"/>
          </ac:spMkLst>
        </pc:spChg>
        <pc:spChg chg="mod">
          <ac:chgData name="Jean QUENTIN" userId="6962deb3-b639-4acd-8091-a0516ea2376b" providerId="ADAL" clId="{146BD8F6-FDDD-49D3-A1A6-146C954086FF}" dt="2021-05-24T13:36:21.669" v="5773" actId="790"/>
          <ac:spMkLst>
            <pc:docMk/>
            <pc:sldMk cId="946667118" sldId="10451"/>
            <ac:spMk id="72" creationId="{53F76EF6-A16A-4416-954E-5734C91DB3EA}"/>
          </ac:spMkLst>
        </pc:spChg>
        <pc:spChg chg="mod">
          <ac:chgData name="Jean QUENTIN" userId="6962deb3-b639-4acd-8091-a0516ea2376b" providerId="ADAL" clId="{146BD8F6-FDDD-49D3-A1A6-146C954086FF}" dt="2021-05-24T13:36:21.669" v="5774" actId="790"/>
          <ac:spMkLst>
            <pc:docMk/>
            <pc:sldMk cId="946667118" sldId="10451"/>
            <ac:spMk id="74" creationId="{86FA14E8-7A65-4CBB-A34D-88A87FFA3ACF}"/>
          </ac:spMkLst>
        </pc:spChg>
        <pc:spChg chg="mod">
          <ac:chgData name="Jean QUENTIN" userId="6962deb3-b639-4acd-8091-a0516ea2376b" providerId="ADAL" clId="{146BD8F6-FDDD-49D3-A1A6-146C954086FF}" dt="2021-05-25T14:52:05.994" v="14514" actId="207"/>
          <ac:spMkLst>
            <pc:docMk/>
            <pc:sldMk cId="946667118" sldId="10451"/>
            <ac:spMk id="75" creationId="{C116CA5A-79BC-4753-A781-D939D02B2F40}"/>
          </ac:spMkLst>
        </pc:spChg>
        <pc:spChg chg="mod">
          <ac:chgData name="Jean QUENTIN" userId="6962deb3-b639-4acd-8091-a0516ea2376b" providerId="ADAL" clId="{146BD8F6-FDDD-49D3-A1A6-146C954086FF}" dt="2021-05-24T13:36:21.685" v="5776" actId="790"/>
          <ac:spMkLst>
            <pc:docMk/>
            <pc:sldMk cId="946667118" sldId="10451"/>
            <ac:spMk id="76" creationId="{610286D6-0078-41F1-9A71-66B2525DCCAB}"/>
          </ac:spMkLst>
        </pc:spChg>
        <pc:spChg chg="mod">
          <ac:chgData name="Jean QUENTIN" userId="6962deb3-b639-4acd-8091-a0516ea2376b" providerId="ADAL" clId="{146BD8F6-FDDD-49D3-A1A6-146C954086FF}" dt="2021-05-24T13:36:21.685" v="5777" actId="790"/>
          <ac:spMkLst>
            <pc:docMk/>
            <pc:sldMk cId="946667118" sldId="10451"/>
            <ac:spMk id="77" creationId="{655F16CF-879C-4ED9-9E0C-45719166FD41}"/>
          </ac:spMkLst>
        </pc:spChg>
        <pc:spChg chg="mod">
          <ac:chgData name="Jean QUENTIN" userId="6962deb3-b639-4acd-8091-a0516ea2376b" providerId="ADAL" clId="{146BD8F6-FDDD-49D3-A1A6-146C954086FF}" dt="2021-05-25T14:51:28.066" v="14504" actId="207"/>
          <ac:spMkLst>
            <pc:docMk/>
            <pc:sldMk cId="946667118" sldId="10451"/>
            <ac:spMk id="78" creationId="{C87B6AA9-98E8-446F-8FA4-C5C34CFB04AF}"/>
          </ac:spMkLst>
        </pc:spChg>
        <pc:spChg chg="mod">
          <ac:chgData name="Jean QUENTIN" userId="6962deb3-b639-4acd-8091-a0516ea2376b" providerId="ADAL" clId="{146BD8F6-FDDD-49D3-A1A6-146C954086FF}" dt="2021-05-25T14:51:38.708" v="14506" actId="207"/>
          <ac:spMkLst>
            <pc:docMk/>
            <pc:sldMk cId="946667118" sldId="10451"/>
            <ac:spMk id="79" creationId="{8EBF367E-E2DA-415E-B281-2B9404ED3A46}"/>
          </ac:spMkLst>
        </pc:spChg>
        <pc:spChg chg="mod">
          <ac:chgData name="Jean QUENTIN" userId="6962deb3-b639-4acd-8091-a0516ea2376b" providerId="ADAL" clId="{146BD8F6-FDDD-49D3-A1A6-146C954086FF}" dt="2021-05-25T14:51:45.207" v="14508" actId="207"/>
          <ac:spMkLst>
            <pc:docMk/>
            <pc:sldMk cId="946667118" sldId="10451"/>
            <ac:spMk id="80" creationId="{DF9DF7E7-5FF0-48B8-A1AC-164500254812}"/>
          </ac:spMkLst>
        </pc:spChg>
        <pc:spChg chg="mod">
          <ac:chgData name="Jean QUENTIN" userId="6962deb3-b639-4acd-8091-a0516ea2376b" providerId="ADAL" clId="{146BD8F6-FDDD-49D3-A1A6-146C954086FF}" dt="2021-05-25T14:51:51.148" v="14510" actId="207"/>
          <ac:spMkLst>
            <pc:docMk/>
            <pc:sldMk cId="946667118" sldId="10451"/>
            <ac:spMk id="81" creationId="{09E3A3BE-0DD8-4980-A1CF-2EFA556C927A}"/>
          </ac:spMkLst>
        </pc:spChg>
        <pc:spChg chg="mod">
          <ac:chgData name="Jean QUENTIN" userId="6962deb3-b639-4acd-8091-a0516ea2376b" providerId="ADAL" clId="{146BD8F6-FDDD-49D3-A1A6-146C954086FF}" dt="2021-05-24T13:36:21.685" v="5782" actId="790"/>
          <ac:spMkLst>
            <pc:docMk/>
            <pc:sldMk cId="946667118" sldId="10451"/>
            <ac:spMk id="82" creationId="{79B17794-B5C3-4B9C-8192-450BCE0A6895}"/>
          </ac:spMkLst>
        </pc:spChg>
        <pc:spChg chg="mod">
          <ac:chgData name="Jean QUENTIN" userId="6962deb3-b639-4acd-8091-a0516ea2376b" providerId="ADAL" clId="{146BD8F6-FDDD-49D3-A1A6-146C954086FF}" dt="2021-05-25T14:51:16.251" v="14501" actId="207"/>
          <ac:spMkLst>
            <pc:docMk/>
            <pc:sldMk cId="946667118" sldId="10451"/>
            <ac:spMk id="83" creationId="{A56ACA3E-1DF3-4D17-8A29-417336C3FEA0}"/>
          </ac:spMkLst>
        </pc:spChg>
        <pc:spChg chg="mod">
          <ac:chgData name="Jean QUENTIN" userId="6962deb3-b639-4acd-8091-a0516ea2376b" providerId="ADAL" clId="{146BD8F6-FDDD-49D3-A1A6-146C954086FF}" dt="2021-05-25T14:52:01.968" v="14513" actId="207"/>
          <ac:spMkLst>
            <pc:docMk/>
            <pc:sldMk cId="946667118" sldId="10451"/>
            <ac:spMk id="84" creationId="{6D983CC5-2164-4341-A344-C58A95E2C300}"/>
          </ac:spMkLst>
        </pc:spChg>
        <pc:spChg chg="mod">
          <ac:chgData name="Jean QUENTIN" userId="6962deb3-b639-4acd-8091-a0516ea2376b" providerId="ADAL" clId="{146BD8F6-FDDD-49D3-A1A6-146C954086FF}" dt="2021-05-24T13:36:21.701" v="5785" actId="790"/>
          <ac:spMkLst>
            <pc:docMk/>
            <pc:sldMk cId="946667118" sldId="10451"/>
            <ac:spMk id="85" creationId="{61074D75-11F2-4326-8B1A-211012AA7EFA}"/>
          </ac:spMkLst>
        </pc:spChg>
        <pc:spChg chg="mod">
          <ac:chgData name="Jean QUENTIN" userId="6962deb3-b639-4acd-8091-a0516ea2376b" providerId="ADAL" clId="{146BD8F6-FDDD-49D3-A1A6-146C954086FF}" dt="2021-05-25T14:50:49.858" v="14494" actId="207"/>
          <ac:spMkLst>
            <pc:docMk/>
            <pc:sldMk cId="946667118" sldId="10451"/>
            <ac:spMk id="87" creationId="{F033E597-A1B3-4016-A335-0C6A3111FED6}"/>
          </ac:spMkLst>
        </pc:spChg>
        <pc:spChg chg="mod">
          <ac:chgData name="Jean QUENTIN" userId="6962deb3-b639-4acd-8091-a0516ea2376b" providerId="ADAL" clId="{146BD8F6-FDDD-49D3-A1A6-146C954086FF}" dt="2021-05-24T13:36:21.701" v="5787" actId="790"/>
          <ac:spMkLst>
            <pc:docMk/>
            <pc:sldMk cId="946667118" sldId="10451"/>
            <ac:spMk id="88" creationId="{840038ED-3862-4130-85EF-095858B0A462}"/>
          </ac:spMkLst>
        </pc:spChg>
        <pc:spChg chg="mod">
          <ac:chgData name="Jean QUENTIN" userId="6962deb3-b639-4acd-8091-a0516ea2376b" providerId="ADAL" clId="{146BD8F6-FDDD-49D3-A1A6-146C954086FF}" dt="2021-05-25T14:51:24.835" v="14503" actId="207"/>
          <ac:spMkLst>
            <pc:docMk/>
            <pc:sldMk cId="946667118" sldId="10451"/>
            <ac:spMk id="89" creationId="{EC97F917-C6ED-49BD-B1C9-20BEE6567689}"/>
          </ac:spMkLst>
        </pc:spChg>
        <pc:spChg chg="mod">
          <ac:chgData name="Jean QUENTIN" userId="6962deb3-b639-4acd-8091-a0516ea2376b" providerId="ADAL" clId="{146BD8F6-FDDD-49D3-A1A6-146C954086FF}" dt="2021-05-24T13:36:21.716" v="5791" actId="790"/>
          <ac:spMkLst>
            <pc:docMk/>
            <pc:sldMk cId="946667118" sldId="10451"/>
            <ac:spMk id="90" creationId="{96560CEF-D75B-4D59-874C-6BA982B2C860}"/>
          </ac:spMkLst>
        </pc:spChg>
        <pc:spChg chg="mod">
          <ac:chgData name="Jean QUENTIN" userId="6962deb3-b639-4acd-8091-a0516ea2376b" providerId="ADAL" clId="{146BD8F6-FDDD-49D3-A1A6-146C954086FF}" dt="2021-05-24T13:36:21.701" v="5789" actId="790"/>
          <ac:spMkLst>
            <pc:docMk/>
            <pc:sldMk cId="946667118" sldId="10451"/>
            <ac:spMk id="92" creationId="{DF0A93D5-BC60-4E6D-8984-A337ACD37FF2}"/>
          </ac:spMkLst>
        </pc:spChg>
        <pc:spChg chg="mod">
          <ac:chgData name="Jean QUENTIN" userId="6962deb3-b639-4acd-8091-a0516ea2376b" providerId="ADAL" clId="{146BD8F6-FDDD-49D3-A1A6-146C954086FF}" dt="2021-05-24T13:36:21.701" v="5790" actId="790"/>
          <ac:spMkLst>
            <pc:docMk/>
            <pc:sldMk cId="946667118" sldId="10451"/>
            <ac:spMk id="93" creationId="{7F3E896D-AB39-44B1-A16F-7968DE41B9E3}"/>
          </ac:spMkLst>
        </pc:spChg>
        <pc:grpChg chg="add mod">
          <ac:chgData name="Jean QUENTIN" userId="6962deb3-b639-4acd-8091-a0516ea2376b" providerId="ADAL" clId="{146BD8F6-FDDD-49D3-A1A6-146C954086FF}" dt="2021-05-25T10:59:03.916" v="12708" actId="167"/>
          <ac:grpSpMkLst>
            <pc:docMk/>
            <pc:sldMk cId="946667118" sldId="10451"/>
            <ac:grpSpMk id="5" creationId="{66895C98-3515-4E6E-A5B0-7021F9705239}"/>
          </ac:grpSpMkLst>
        </pc:grpChg>
        <pc:grpChg chg="del mod">
          <ac:chgData name="Jean QUENTIN" userId="6962deb3-b639-4acd-8091-a0516ea2376b" providerId="ADAL" clId="{146BD8F6-FDDD-49D3-A1A6-146C954086FF}" dt="2021-05-25T10:06:54.333" v="12668" actId="165"/>
          <ac:grpSpMkLst>
            <pc:docMk/>
            <pc:sldMk cId="946667118" sldId="10451"/>
            <ac:grpSpMk id="56" creationId="{9869FF28-56EC-4353-9AFD-5C0710359B44}"/>
          </ac:grpSpMkLst>
        </pc:grpChg>
        <pc:picChg chg="mod">
          <ac:chgData name="Jean QUENTIN" userId="6962deb3-b639-4acd-8091-a0516ea2376b" providerId="ADAL" clId="{146BD8F6-FDDD-49D3-A1A6-146C954086FF}" dt="2021-05-25T10:59:30.837" v="12713" actId="1076"/>
          <ac:picMkLst>
            <pc:docMk/>
            <pc:sldMk cId="946667118" sldId="10451"/>
            <ac:picMk id="45" creationId="{9D522030-54BE-415E-BC5E-505143A0D8DF}"/>
          </ac:picMkLst>
        </pc:picChg>
        <pc:picChg chg="mod topLvl">
          <ac:chgData name="Jean QUENTIN" userId="6962deb3-b639-4acd-8091-a0516ea2376b" providerId="ADAL" clId="{146BD8F6-FDDD-49D3-A1A6-146C954086FF}" dt="2021-05-25T10:08:03.907" v="12706" actId="164"/>
          <ac:picMkLst>
            <pc:docMk/>
            <pc:sldMk cId="946667118" sldId="10451"/>
            <ac:picMk id="57" creationId="{30F772CF-5E30-476A-B024-582BF15867F9}"/>
          </ac:picMkLst>
        </pc:picChg>
        <pc:picChg chg="mod topLvl">
          <ac:chgData name="Jean QUENTIN" userId="6962deb3-b639-4acd-8091-a0516ea2376b" providerId="ADAL" clId="{146BD8F6-FDDD-49D3-A1A6-146C954086FF}" dt="2021-05-25T10:08:03.907" v="12706" actId="164"/>
          <ac:picMkLst>
            <pc:docMk/>
            <pc:sldMk cId="946667118" sldId="10451"/>
            <ac:picMk id="59" creationId="{ADF1D5ED-E513-45E3-90D6-400895E99B63}"/>
          </ac:picMkLst>
        </pc:picChg>
        <pc:picChg chg="mod topLvl">
          <ac:chgData name="Jean QUENTIN" userId="6962deb3-b639-4acd-8091-a0516ea2376b" providerId="ADAL" clId="{146BD8F6-FDDD-49D3-A1A6-146C954086FF}" dt="2021-05-25T10:08:03.907" v="12706" actId="164"/>
          <ac:picMkLst>
            <pc:docMk/>
            <pc:sldMk cId="946667118" sldId="10451"/>
            <ac:picMk id="65" creationId="{2A13C374-280C-417A-9EDF-C140250416F9}"/>
          </ac:picMkLst>
        </pc:picChg>
        <pc:picChg chg="add mod">
          <ac:chgData name="Jean QUENTIN" userId="6962deb3-b639-4acd-8091-a0516ea2376b" providerId="ADAL" clId="{146BD8F6-FDDD-49D3-A1A6-146C954086FF}" dt="2021-05-25T10:08:03.907" v="12706" actId="164"/>
          <ac:picMkLst>
            <pc:docMk/>
            <pc:sldMk cId="946667118" sldId="10451"/>
            <ac:picMk id="1026" creationId="{3FED756C-F652-43BF-94E0-5CA236185854}"/>
          </ac:picMkLst>
        </pc:picChg>
      </pc:sldChg>
      <pc:sldChg chg="modSp mod">
        <pc:chgData name="Jean QUENTIN" userId="6962deb3-b639-4acd-8091-a0516ea2376b" providerId="ADAL" clId="{146BD8F6-FDDD-49D3-A1A6-146C954086FF}" dt="2021-05-25T12:28:01.724" v="14281" actId="108"/>
        <pc:sldMkLst>
          <pc:docMk/>
          <pc:sldMk cId="3108913814" sldId="10452"/>
        </pc:sldMkLst>
        <pc:spChg chg="mod">
          <ac:chgData name="Jean QUENTIN" userId="6962deb3-b639-4acd-8091-a0516ea2376b" providerId="ADAL" clId="{146BD8F6-FDDD-49D3-A1A6-146C954086FF}" dt="2021-05-24T13:36:22.033" v="5942" actId="790"/>
          <ac:spMkLst>
            <pc:docMk/>
            <pc:sldMk cId="3108913814" sldId="10452"/>
            <ac:spMk id="2" creationId="{18B86666-70E5-4DDB-BE3A-A1A5EE6EC10B}"/>
          </ac:spMkLst>
        </pc:spChg>
        <pc:spChg chg="mod">
          <ac:chgData name="Jean QUENTIN" userId="6962deb3-b639-4acd-8091-a0516ea2376b" providerId="ADAL" clId="{146BD8F6-FDDD-49D3-A1A6-146C954086FF}" dt="2021-05-24T13:36:22.033" v="5943" actId="790"/>
          <ac:spMkLst>
            <pc:docMk/>
            <pc:sldMk cId="3108913814" sldId="10452"/>
            <ac:spMk id="21" creationId="{376D56F4-F25E-4D83-8351-4EB604D803E7}"/>
          </ac:spMkLst>
        </pc:spChg>
        <pc:spChg chg="mod">
          <ac:chgData name="Jean QUENTIN" userId="6962deb3-b639-4acd-8091-a0516ea2376b" providerId="ADAL" clId="{146BD8F6-FDDD-49D3-A1A6-146C954086FF}" dt="2021-05-24T13:36:22.033" v="5944" actId="790"/>
          <ac:spMkLst>
            <pc:docMk/>
            <pc:sldMk cId="3108913814" sldId="10452"/>
            <ac:spMk id="23" creationId="{96C8F86D-3456-4E1A-9A38-058BB931B01D}"/>
          </ac:spMkLst>
        </pc:spChg>
        <pc:spChg chg="mod">
          <ac:chgData name="Jean QUENTIN" userId="6962deb3-b639-4acd-8091-a0516ea2376b" providerId="ADAL" clId="{146BD8F6-FDDD-49D3-A1A6-146C954086FF}" dt="2021-05-24T13:36:22.033" v="5945" actId="790"/>
          <ac:spMkLst>
            <pc:docMk/>
            <pc:sldMk cId="3108913814" sldId="10452"/>
            <ac:spMk id="25" creationId="{A24A8565-A5A0-42E3-A297-290DCE3B3F2D}"/>
          </ac:spMkLst>
        </pc:spChg>
        <pc:spChg chg="mod">
          <ac:chgData name="Jean QUENTIN" userId="6962deb3-b639-4acd-8091-a0516ea2376b" providerId="ADAL" clId="{146BD8F6-FDDD-49D3-A1A6-146C954086FF}" dt="2021-05-24T13:36:22.048" v="5946" actId="790"/>
          <ac:spMkLst>
            <pc:docMk/>
            <pc:sldMk cId="3108913814" sldId="10452"/>
            <ac:spMk id="26" creationId="{28DA96F7-E2C7-4A2D-AA69-1753555D7016}"/>
          </ac:spMkLst>
        </pc:spChg>
        <pc:spChg chg="mod">
          <ac:chgData name="Jean QUENTIN" userId="6962deb3-b639-4acd-8091-a0516ea2376b" providerId="ADAL" clId="{146BD8F6-FDDD-49D3-A1A6-146C954086FF}" dt="2021-05-24T13:36:22.048" v="5947" actId="790"/>
          <ac:spMkLst>
            <pc:docMk/>
            <pc:sldMk cId="3108913814" sldId="10452"/>
            <ac:spMk id="27" creationId="{E9730100-5BE1-474F-801F-EA2F826D0D02}"/>
          </ac:spMkLst>
        </pc:spChg>
        <pc:spChg chg="mod">
          <ac:chgData name="Jean QUENTIN" userId="6962deb3-b639-4acd-8091-a0516ea2376b" providerId="ADAL" clId="{146BD8F6-FDDD-49D3-A1A6-146C954086FF}" dt="2021-05-24T13:36:22.048" v="5948" actId="790"/>
          <ac:spMkLst>
            <pc:docMk/>
            <pc:sldMk cId="3108913814" sldId="10452"/>
            <ac:spMk id="28" creationId="{018147EB-4BD0-4E0A-A4A6-8DAAA4CC078C}"/>
          </ac:spMkLst>
        </pc:spChg>
        <pc:spChg chg="mod">
          <ac:chgData name="Jean QUENTIN" userId="6962deb3-b639-4acd-8091-a0516ea2376b" providerId="ADAL" clId="{146BD8F6-FDDD-49D3-A1A6-146C954086FF}" dt="2021-05-24T13:36:22.048" v="5949" actId="790"/>
          <ac:spMkLst>
            <pc:docMk/>
            <pc:sldMk cId="3108913814" sldId="10452"/>
            <ac:spMk id="30" creationId="{8001DDD6-9CE5-4D0C-8EC0-91BDDE316A5D}"/>
          </ac:spMkLst>
        </pc:spChg>
        <pc:spChg chg="mod">
          <ac:chgData name="Jean QUENTIN" userId="6962deb3-b639-4acd-8091-a0516ea2376b" providerId="ADAL" clId="{146BD8F6-FDDD-49D3-A1A6-146C954086FF}" dt="2021-05-24T13:36:22.064" v="5950" actId="790"/>
          <ac:spMkLst>
            <pc:docMk/>
            <pc:sldMk cId="3108913814" sldId="10452"/>
            <ac:spMk id="31" creationId="{603FA0EC-0C51-418F-BA57-6852A8F6B5EC}"/>
          </ac:spMkLst>
        </pc:spChg>
        <pc:spChg chg="mod">
          <ac:chgData name="Jean QUENTIN" userId="6962deb3-b639-4acd-8091-a0516ea2376b" providerId="ADAL" clId="{146BD8F6-FDDD-49D3-A1A6-146C954086FF}" dt="2021-05-24T13:36:22.070" v="5951" actId="790"/>
          <ac:spMkLst>
            <pc:docMk/>
            <pc:sldMk cId="3108913814" sldId="10452"/>
            <ac:spMk id="32" creationId="{35FE32B4-8DEE-4D93-8A61-A88C1714C5E9}"/>
          </ac:spMkLst>
        </pc:spChg>
        <pc:spChg chg="mod">
          <ac:chgData name="Jean QUENTIN" userId="6962deb3-b639-4acd-8091-a0516ea2376b" providerId="ADAL" clId="{146BD8F6-FDDD-49D3-A1A6-146C954086FF}" dt="2021-05-24T13:36:22.070" v="5952" actId="790"/>
          <ac:spMkLst>
            <pc:docMk/>
            <pc:sldMk cId="3108913814" sldId="10452"/>
            <ac:spMk id="35" creationId="{31FEC7BE-AF8D-439B-B45F-7647E4E57CE3}"/>
          </ac:spMkLst>
        </pc:spChg>
        <pc:spChg chg="mod">
          <ac:chgData name="Jean QUENTIN" userId="6962deb3-b639-4acd-8091-a0516ea2376b" providerId="ADAL" clId="{146BD8F6-FDDD-49D3-A1A6-146C954086FF}" dt="2021-05-24T13:36:22.070" v="5953" actId="790"/>
          <ac:spMkLst>
            <pc:docMk/>
            <pc:sldMk cId="3108913814" sldId="10452"/>
            <ac:spMk id="37" creationId="{4C0A9B24-29D4-44A2-B4EE-251402C6EAED}"/>
          </ac:spMkLst>
        </pc:spChg>
        <pc:spChg chg="mod">
          <ac:chgData name="Jean QUENTIN" userId="6962deb3-b639-4acd-8091-a0516ea2376b" providerId="ADAL" clId="{146BD8F6-FDDD-49D3-A1A6-146C954086FF}" dt="2021-05-24T13:36:22.070" v="5954" actId="790"/>
          <ac:spMkLst>
            <pc:docMk/>
            <pc:sldMk cId="3108913814" sldId="10452"/>
            <ac:spMk id="38" creationId="{7C36D82C-A126-4E16-8729-C5D8C53B2882}"/>
          </ac:spMkLst>
        </pc:spChg>
        <pc:spChg chg="mod">
          <ac:chgData name="Jean QUENTIN" userId="6962deb3-b639-4acd-8091-a0516ea2376b" providerId="ADAL" clId="{146BD8F6-FDDD-49D3-A1A6-146C954086FF}" dt="2021-05-24T13:36:22.070" v="5955" actId="790"/>
          <ac:spMkLst>
            <pc:docMk/>
            <pc:sldMk cId="3108913814" sldId="10452"/>
            <ac:spMk id="39" creationId="{7EF8488B-74C4-4436-B13F-C414A9E4A12B}"/>
          </ac:spMkLst>
        </pc:spChg>
        <pc:spChg chg="mod">
          <ac:chgData name="Jean QUENTIN" userId="6962deb3-b639-4acd-8091-a0516ea2376b" providerId="ADAL" clId="{146BD8F6-FDDD-49D3-A1A6-146C954086FF}" dt="2021-05-24T13:36:22.070" v="5956" actId="790"/>
          <ac:spMkLst>
            <pc:docMk/>
            <pc:sldMk cId="3108913814" sldId="10452"/>
            <ac:spMk id="40" creationId="{74209801-38CE-4C71-8B6B-5A90ABA78849}"/>
          </ac:spMkLst>
        </pc:spChg>
        <pc:spChg chg="mod">
          <ac:chgData name="Jean QUENTIN" userId="6962deb3-b639-4acd-8091-a0516ea2376b" providerId="ADAL" clId="{146BD8F6-FDDD-49D3-A1A6-146C954086FF}" dt="2021-05-24T13:36:22.070" v="5957" actId="790"/>
          <ac:spMkLst>
            <pc:docMk/>
            <pc:sldMk cId="3108913814" sldId="10452"/>
            <ac:spMk id="42" creationId="{9BEA6BB3-7823-46B7-8F99-978C58F27994}"/>
          </ac:spMkLst>
        </pc:spChg>
        <pc:spChg chg="mod">
          <ac:chgData name="Jean QUENTIN" userId="6962deb3-b639-4acd-8091-a0516ea2376b" providerId="ADAL" clId="{146BD8F6-FDDD-49D3-A1A6-146C954086FF}" dt="2021-05-25T12:28:01.724" v="14281" actId="108"/>
          <ac:spMkLst>
            <pc:docMk/>
            <pc:sldMk cId="3108913814" sldId="10452"/>
            <ac:spMk id="43" creationId="{3509C0CA-6733-47F1-9C68-36F5A76A186F}"/>
          </ac:spMkLst>
        </pc:spChg>
        <pc:spChg chg="mod">
          <ac:chgData name="Jean QUENTIN" userId="6962deb3-b639-4acd-8091-a0516ea2376b" providerId="ADAL" clId="{146BD8F6-FDDD-49D3-A1A6-146C954086FF}" dt="2021-05-24T13:36:22.086" v="5959" actId="790"/>
          <ac:spMkLst>
            <pc:docMk/>
            <pc:sldMk cId="3108913814" sldId="10452"/>
            <ac:spMk id="44" creationId="{028D5372-11E0-4B6A-AB4E-2F0E62DBE004}"/>
          </ac:spMkLst>
        </pc:spChg>
        <pc:spChg chg="mod">
          <ac:chgData name="Jean QUENTIN" userId="6962deb3-b639-4acd-8091-a0516ea2376b" providerId="ADAL" clId="{146BD8F6-FDDD-49D3-A1A6-146C954086FF}" dt="2021-05-24T13:36:22.086" v="5960" actId="790"/>
          <ac:spMkLst>
            <pc:docMk/>
            <pc:sldMk cId="3108913814" sldId="10452"/>
            <ac:spMk id="47" creationId="{2F353796-1633-4991-91E9-0DDC0C5F8959}"/>
          </ac:spMkLst>
        </pc:spChg>
        <pc:spChg chg="mod">
          <ac:chgData name="Jean QUENTIN" userId="6962deb3-b639-4acd-8091-a0516ea2376b" providerId="ADAL" clId="{146BD8F6-FDDD-49D3-A1A6-146C954086FF}" dt="2021-05-24T13:36:22.086" v="5961" actId="790"/>
          <ac:spMkLst>
            <pc:docMk/>
            <pc:sldMk cId="3108913814" sldId="10452"/>
            <ac:spMk id="67" creationId="{50469B1F-7CD7-49B6-AC12-1AF7D67AA284}"/>
          </ac:spMkLst>
        </pc:spChg>
        <pc:spChg chg="mod">
          <ac:chgData name="Jean QUENTIN" userId="6962deb3-b639-4acd-8091-a0516ea2376b" providerId="ADAL" clId="{146BD8F6-FDDD-49D3-A1A6-146C954086FF}" dt="2021-05-24T13:36:22.086" v="5962" actId="790"/>
          <ac:spMkLst>
            <pc:docMk/>
            <pc:sldMk cId="3108913814" sldId="10452"/>
            <ac:spMk id="69" creationId="{8CACD0F1-78C5-47DF-9B55-97782025F6F1}"/>
          </ac:spMkLst>
        </pc:spChg>
        <pc:spChg chg="mod">
          <ac:chgData name="Jean QUENTIN" userId="6962deb3-b639-4acd-8091-a0516ea2376b" providerId="ADAL" clId="{146BD8F6-FDDD-49D3-A1A6-146C954086FF}" dt="2021-05-24T13:36:22.086" v="5963" actId="790"/>
          <ac:spMkLst>
            <pc:docMk/>
            <pc:sldMk cId="3108913814" sldId="10452"/>
            <ac:spMk id="74" creationId="{878D71E6-9162-44C2-B9C4-B3270F9F1662}"/>
          </ac:spMkLst>
        </pc:spChg>
        <pc:spChg chg="mod">
          <ac:chgData name="Jean QUENTIN" userId="6962deb3-b639-4acd-8091-a0516ea2376b" providerId="ADAL" clId="{146BD8F6-FDDD-49D3-A1A6-146C954086FF}" dt="2021-05-24T13:36:22.086" v="5964" actId="790"/>
          <ac:spMkLst>
            <pc:docMk/>
            <pc:sldMk cId="3108913814" sldId="10452"/>
            <ac:spMk id="75" creationId="{4F7820F8-458C-4E27-9B06-2683EAFC9132}"/>
          </ac:spMkLst>
        </pc:spChg>
        <pc:spChg chg="mod">
          <ac:chgData name="Jean QUENTIN" userId="6962deb3-b639-4acd-8091-a0516ea2376b" providerId="ADAL" clId="{146BD8F6-FDDD-49D3-A1A6-146C954086FF}" dt="2021-05-24T13:36:22.102" v="5965" actId="790"/>
          <ac:spMkLst>
            <pc:docMk/>
            <pc:sldMk cId="3108913814" sldId="10452"/>
            <ac:spMk id="76" creationId="{7E569FB1-5338-4D77-B044-98449E372EA0}"/>
          </ac:spMkLst>
        </pc:spChg>
      </pc:sldChg>
      <pc:sldChg chg="modSp mod">
        <pc:chgData name="Jean QUENTIN" userId="6962deb3-b639-4acd-8091-a0516ea2376b" providerId="ADAL" clId="{146BD8F6-FDDD-49D3-A1A6-146C954086FF}" dt="2021-05-24T13:36:24.442" v="6841" actId="790"/>
        <pc:sldMkLst>
          <pc:docMk/>
          <pc:sldMk cId="3299669485" sldId="10453"/>
        </pc:sldMkLst>
        <pc:spChg chg="mod">
          <ac:chgData name="Jean QUENTIN" userId="6962deb3-b639-4acd-8091-a0516ea2376b" providerId="ADAL" clId="{146BD8F6-FDDD-49D3-A1A6-146C954086FF}" dt="2021-05-24T13:36:24.257" v="6816" actId="790"/>
          <ac:spMkLst>
            <pc:docMk/>
            <pc:sldMk cId="3299669485" sldId="10453"/>
            <ac:spMk id="2" creationId="{076A8F7F-F895-46CF-AE68-CFD9FFD3C71A}"/>
          </ac:spMkLst>
        </pc:spChg>
        <pc:spChg chg="mod">
          <ac:chgData name="Jean QUENTIN" userId="6962deb3-b639-4acd-8091-a0516ea2376b" providerId="ADAL" clId="{146BD8F6-FDDD-49D3-A1A6-146C954086FF}" dt="2021-05-24T13:36:24.262" v="6817" actId="790"/>
          <ac:spMkLst>
            <pc:docMk/>
            <pc:sldMk cId="3299669485" sldId="10453"/>
            <ac:spMk id="3" creationId="{84B816E9-5737-4E3C-BC42-45239C0FF87F}"/>
          </ac:spMkLst>
        </pc:spChg>
        <pc:spChg chg="mod">
          <ac:chgData name="Jean QUENTIN" userId="6962deb3-b639-4acd-8091-a0516ea2376b" providerId="ADAL" clId="{146BD8F6-FDDD-49D3-A1A6-146C954086FF}" dt="2021-05-24T13:36:24.272" v="6818" actId="790"/>
          <ac:spMkLst>
            <pc:docMk/>
            <pc:sldMk cId="3299669485" sldId="10453"/>
            <ac:spMk id="6" creationId="{EE03F86E-BBFC-4F4A-8702-386CBBDCEE19}"/>
          </ac:spMkLst>
        </pc:spChg>
        <pc:spChg chg="mod">
          <ac:chgData name="Jean QUENTIN" userId="6962deb3-b639-4acd-8091-a0516ea2376b" providerId="ADAL" clId="{146BD8F6-FDDD-49D3-A1A6-146C954086FF}" dt="2021-05-24T13:36:24.280" v="6819" actId="790"/>
          <ac:spMkLst>
            <pc:docMk/>
            <pc:sldMk cId="3299669485" sldId="10453"/>
            <ac:spMk id="7" creationId="{E78AAE0E-6DCE-4797-A7F4-B1B37CB93314}"/>
          </ac:spMkLst>
        </pc:spChg>
        <pc:spChg chg="mod">
          <ac:chgData name="Jean QUENTIN" userId="6962deb3-b639-4acd-8091-a0516ea2376b" providerId="ADAL" clId="{146BD8F6-FDDD-49D3-A1A6-146C954086FF}" dt="2021-05-24T13:36:24.289" v="6820" actId="790"/>
          <ac:spMkLst>
            <pc:docMk/>
            <pc:sldMk cId="3299669485" sldId="10453"/>
            <ac:spMk id="8" creationId="{3B88483B-584C-43C8-90CB-A4ED8D3B8EF1}"/>
          </ac:spMkLst>
        </pc:spChg>
        <pc:spChg chg="mod">
          <ac:chgData name="Jean QUENTIN" userId="6962deb3-b639-4acd-8091-a0516ea2376b" providerId="ADAL" clId="{146BD8F6-FDDD-49D3-A1A6-146C954086FF}" dt="2021-05-24T13:36:24.294" v="6821" actId="790"/>
          <ac:spMkLst>
            <pc:docMk/>
            <pc:sldMk cId="3299669485" sldId="10453"/>
            <ac:spMk id="30" creationId="{7AEFA4BF-95C1-4B9F-BAED-7F3D65E36953}"/>
          </ac:spMkLst>
        </pc:spChg>
        <pc:spChg chg="mod">
          <ac:chgData name="Jean QUENTIN" userId="6962deb3-b639-4acd-8091-a0516ea2376b" providerId="ADAL" clId="{146BD8F6-FDDD-49D3-A1A6-146C954086FF}" dt="2021-05-24T13:36:24.296" v="6822" actId="790"/>
          <ac:spMkLst>
            <pc:docMk/>
            <pc:sldMk cId="3299669485" sldId="10453"/>
            <ac:spMk id="31" creationId="{C5AAF232-FA7E-4D12-8C14-C126CD5AD3F6}"/>
          </ac:spMkLst>
        </pc:spChg>
        <pc:spChg chg="mod">
          <ac:chgData name="Jean QUENTIN" userId="6962deb3-b639-4acd-8091-a0516ea2376b" providerId="ADAL" clId="{146BD8F6-FDDD-49D3-A1A6-146C954086FF}" dt="2021-05-24T13:36:24.308" v="6823" actId="790"/>
          <ac:spMkLst>
            <pc:docMk/>
            <pc:sldMk cId="3299669485" sldId="10453"/>
            <ac:spMk id="32" creationId="{ADD17A7D-92D5-47C6-AAAD-44BA9FDFF1E0}"/>
          </ac:spMkLst>
        </pc:spChg>
        <pc:spChg chg="mod">
          <ac:chgData name="Jean QUENTIN" userId="6962deb3-b639-4acd-8091-a0516ea2376b" providerId="ADAL" clId="{146BD8F6-FDDD-49D3-A1A6-146C954086FF}" dt="2021-05-24T13:36:24.312" v="6824" actId="790"/>
          <ac:spMkLst>
            <pc:docMk/>
            <pc:sldMk cId="3299669485" sldId="10453"/>
            <ac:spMk id="34" creationId="{8D786EEA-243D-478A-96AD-4EE36D24EEC5}"/>
          </ac:spMkLst>
        </pc:spChg>
        <pc:spChg chg="mod">
          <ac:chgData name="Jean QUENTIN" userId="6962deb3-b639-4acd-8091-a0516ea2376b" providerId="ADAL" clId="{146BD8F6-FDDD-49D3-A1A6-146C954086FF}" dt="2021-05-24T13:36:24.329" v="6825" actId="790"/>
          <ac:spMkLst>
            <pc:docMk/>
            <pc:sldMk cId="3299669485" sldId="10453"/>
            <ac:spMk id="35" creationId="{4C04A7B0-6488-4CD7-B031-03A28FF53A58}"/>
          </ac:spMkLst>
        </pc:spChg>
        <pc:spChg chg="mod">
          <ac:chgData name="Jean QUENTIN" userId="6962deb3-b639-4acd-8091-a0516ea2376b" providerId="ADAL" clId="{146BD8F6-FDDD-49D3-A1A6-146C954086FF}" dt="2021-05-24T13:36:24.333" v="6826" actId="790"/>
          <ac:spMkLst>
            <pc:docMk/>
            <pc:sldMk cId="3299669485" sldId="10453"/>
            <ac:spMk id="36" creationId="{9382A20A-0B3D-463A-AEC3-C532FDB33D91}"/>
          </ac:spMkLst>
        </pc:spChg>
        <pc:spChg chg="mod">
          <ac:chgData name="Jean QUENTIN" userId="6962deb3-b639-4acd-8091-a0516ea2376b" providerId="ADAL" clId="{146BD8F6-FDDD-49D3-A1A6-146C954086FF}" dt="2021-05-24T13:36:24.336" v="6827" actId="790"/>
          <ac:spMkLst>
            <pc:docMk/>
            <pc:sldMk cId="3299669485" sldId="10453"/>
            <ac:spMk id="37" creationId="{4E5D2729-4716-4A95-8C80-499870A59A5E}"/>
          </ac:spMkLst>
        </pc:spChg>
        <pc:spChg chg="mod">
          <ac:chgData name="Jean QUENTIN" userId="6962deb3-b639-4acd-8091-a0516ea2376b" providerId="ADAL" clId="{146BD8F6-FDDD-49D3-A1A6-146C954086FF}" dt="2021-05-24T13:36:24.343" v="6828" actId="790"/>
          <ac:spMkLst>
            <pc:docMk/>
            <pc:sldMk cId="3299669485" sldId="10453"/>
            <ac:spMk id="38" creationId="{6E74EB4C-948E-479D-9388-E353F2C35B4D}"/>
          </ac:spMkLst>
        </pc:spChg>
        <pc:spChg chg="mod">
          <ac:chgData name="Jean QUENTIN" userId="6962deb3-b639-4acd-8091-a0516ea2376b" providerId="ADAL" clId="{146BD8F6-FDDD-49D3-A1A6-146C954086FF}" dt="2021-05-24T13:36:24.346" v="6829" actId="790"/>
          <ac:spMkLst>
            <pc:docMk/>
            <pc:sldMk cId="3299669485" sldId="10453"/>
            <ac:spMk id="39" creationId="{766FCB01-62BC-49BD-8966-B0A88648D1AB}"/>
          </ac:spMkLst>
        </pc:spChg>
        <pc:spChg chg="mod">
          <ac:chgData name="Jean QUENTIN" userId="6962deb3-b639-4acd-8091-a0516ea2376b" providerId="ADAL" clId="{146BD8F6-FDDD-49D3-A1A6-146C954086FF}" dt="2021-05-24T13:36:24.347" v="6830" actId="790"/>
          <ac:spMkLst>
            <pc:docMk/>
            <pc:sldMk cId="3299669485" sldId="10453"/>
            <ac:spMk id="40" creationId="{A716C21A-E3AE-4CC7-B632-0770D9D1BA5C}"/>
          </ac:spMkLst>
        </pc:spChg>
        <pc:spChg chg="mod">
          <ac:chgData name="Jean QUENTIN" userId="6962deb3-b639-4acd-8091-a0516ea2376b" providerId="ADAL" clId="{146BD8F6-FDDD-49D3-A1A6-146C954086FF}" dt="2021-05-24T13:36:24.351" v="6831" actId="790"/>
          <ac:spMkLst>
            <pc:docMk/>
            <pc:sldMk cId="3299669485" sldId="10453"/>
            <ac:spMk id="45" creationId="{BC70D51B-4593-4C1B-8167-A8E4773461B9}"/>
          </ac:spMkLst>
        </pc:spChg>
        <pc:spChg chg="mod">
          <ac:chgData name="Jean QUENTIN" userId="6962deb3-b639-4acd-8091-a0516ea2376b" providerId="ADAL" clId="{146BD8F6-FDDD-49D3-A1A6-146C954086FF}" dt="2021-05-24T13:36:24.354" v="6832" actId="790"/>
          <ac:spMkLst>
            <pc:docMk/>
            <pc:sldMk cId="3299669485" sldId="10453"/>
            <ac:spMk id="47" creationId="{1AE83938-735F-48E1-B53E-A09E2B89F0A2}"/>
          </ac:spMkLst>
        </pc:spChg>
        <pc:spChg chg="mod">
          <ac:chgData name="Jean QUENTIN" userId="6962deb3-b639-4acd-8091-a0516ea2376b" providerId="ADAL" clId="{146BD8F6-FDDD-49D3-A1A6-146C954086FF}" dt="2021-05-24T13:36:24.357" v="6833" actId="790"/>
          <ac:spMkLst>
            <pc:docMk/>
            <pc:sldMk cId="3299669485" sldId="10453"/>
            <ac:spMk id="49" creationId="{C8D5DEFD-5D3F-4551-8F65-08CA84C3F969}"/>
          </ac:spMkLst>
        </pc:spChg>
        <pc:spChg chg="mod">
          <ac:chgData name="Jean QUENTIN" userId="6962deb3-b639-4acd-8091-a0516ea2376b" providerId="ADAL" clId="{146BD8F6-FDDD-49D3-A1A6-146C954086FF}" dt="2021-05-24T13:36:24.362" v="6834" actId="790"/>
          <ac:spMkLst>
            <pc:docMk/>
            <pc:sldMk cId="3299669485" sldId="10453"/>
            <ac:spMk id="50" creationId="{077802DF-08F1-45FE-A513-064905643493}"/>
          </ac:spMkLst>
        </pc:spChg>
        <pc:spChg chg="mod">
          <ac:chgData name="Jean QUENTIN" userId="6962deb3-b639-4acd-8091-a0516ea2376b" providerId="ADAL" clId="{146BD8F6-FDDD-49D3-A1A6-146C954086FF}" dt="2021-05-24T13:36:24.429" v="6840" actId="790"/>
          <ac:spMkLst>
            <pc:docMk/>
            <pc:sldMk cId="3299669485" sldId="10453"/>
            <ac:spMk id="53" creationId="{0E0947CD-F2C1-4CB8-9233-C0E20B62961C}"/>
          </ac:spMkLst>
        </pc:spChg>
        <pc:spChg chg="mod">
          <ac:chgData name="Jean QUENTIN" userId="6962deb3-b639-4acd-8091-a0516ea2376b" providerId="ADAL" clId="{146BD8F6-FDDD-49D3-A1A6-146C954086FF}" dt="2021-05-24T13:36:24.442" v="6841" actId="790"/>
          <ac:spMkLst>
            <pc:docMk/>
            <pc:sldMk cId="3299669485" sldId="10453"/>
            <ac:spMk id="56" creationId="{36CDFFDD-487A-4C2F-87DD-A339EEFA29E1}"/>
          </ac:spMkLst>
        </pc:spChg>
        <pc:spChg chg="mod">
          <ac:chgData name="Jean QUENTIN" userId="6962deb3-b639-4acd-8091-a0516ea2376b" providerId="ADAL" clId="{146BD8F6-FDDD-49D3-A1A6-146C954086FF}" dt="2021-05-24T13:36:24.366" v="6835" actId="790"/>
          <ac:spMkLst>
            <pc:docMk/>
            <pc:sldMk cId="3299669485" sldId="10453"/>
            <ac:spMk id="93" creationId="{B8679077-D452-46D0-A661-FDF487360092}"/>
          </ac:spMkLst>
        </pc:spChg>
        <pc:spChg chg="mod">
          <ac:chgData name="Jean QUENTIN" userId="6962deb3-b639-4acd-8091-a0516ea2376b" providerId="ADAL" clId="{146BD8F6-FDDD-49D3-A1A6-146C954086FF}" dt="2021-05-24T13:36:24.376" v="6836" actId="790"/>
          <ac:spMkLst>
            <pc:docMk/>
            <pc:sldMk cId="3299669485" sldId="10453"/>
            <ac:spMk id="94" creationId="{BDD7F547-3501-4278-AC3F-8BB57279ACB9}"/>
          </ac:spMkLst>
        </pc:spChg>
        <pc:spChg chg="mod">
          <ac:chgData name="Jean QUENTIN" userId="6962deb3-b639-4acd-8091-a0516ea2376b" providerId="ADAL" clId="{146BD8F6-FDDD-49D3-A1A6-146C954086FF}" dt="2021-05-24T13:36:24.385" v="6837" actId="790"/>
          <ac:spMkLst>
            <pc:docMk/>
            <pc:sldMk cId="3299669485" sldId="10453"/>
            <ac:spMk id="95" creationId="{3EC38CA6-491D-4320-8DEC-584C755D04B6}"/>
          </ac:spMkLst>
        </pc:spChg>
        <pc:spChg chg="mod">
          <ac:chgData name="Jean QUENTIN" userId="6962deb3-b639-4acd-8091-a0516ea2376b" providerId="ADAL" clId="{146BD8F6-FDDD-49D3-A1A6-146C954086FF}" dt="2021-05-24T13:36:24.406" v="6838" actId="790"/>
          <ac:spMkLst>
            <pc:docMk/>
            <pc:sldMk cId="3299669485" sldId="10453"/>
            <ac:spMk id="96" creationId="{FBB7D235-E014-4FCE-BC74-C29BFD28D17F}"/>
          </ac:spMkLst>
        </pc:spChg>
        <pc:spChg chg="mod">
          <ac:chgData name="Jean QUENTIN" userId="6962deb3-b639-4acd-8091-a0516ea2376b" providerId="ADAL" clId="{146BD8F6-FDDD-49D3-A1A6-146C954086FF}" dt="2021-05-24T13:36:24.415" v="6839" actId="790"/>
          <ac:spMkLst>
            <pc:docMk/>
            <pc:sldMk cId="3299669485" sldId="10453"/>
            <ac:spMk id="97" creationId="{594140F8-2792-40AD-850A-2AAD0CC4A0F4}"/>
          </ac:spMkLst>
        </pc:spChg>
      </pc:sldChg>
      <pc:sldChg chg="modSp mod ord">
        <pc:chgData name="Jean QUENTIN" userId="6962deb3-b639-4acd-8091-a0516ea2376b" providerId="ADAL" clId="{146BD8F6-FDDD-49D3-A1A6-146C954086FF}" dt="2021-05-25T12:53:11.224" v="14352" actId="20578"/>
        <pc:sldMkLst>
          <pc:docMk/>
          <pc:sldMk cId="3177853375" sldId="10454"/>
        </pc:sldMkLst>
        <pc:spChg chg="mod">
          <ac:chgData name="Jean QUENTIN" userId="6962deb3-b639-4acd-8091-a0516ea2376b" providerId="ADAL" clId="{146BD8F6-FDDD-49D3-A1A6-146C954086FF}" dt="2021-05-24T13:36:21.716" v="5794" actId="790"/>
          <ac:spMkLst>
            <pc:docMk/>
            <pc:sldMk cId="3177853375" sldId="10454"/>
            <ac:spMk id="9" creationId="{D4C396AB-A618-464F-94D0-FDF3162C882F}"/>
          </ac:spMkLst>
        </pc:spChg>
        <pc:spChg chg="mod">
          <ac:chgData name="Jean QUENTIN" userId="6962deb3-b639-4acd-8091-a0516ea2376b" providerId="ADAL" clId="{146BD8F6-FDDD-49D3-A1A6-146C954086FF}" dt="2021-05-24T13:36:21.716" v="5795" actId="790"/>
          <ac:spMkLst>
            <pc:docMk/>
            <pc:sldMk cId="3177853375" sldId="10454"/>
            <ac:spMk id="10" creationId="{26804255-20E5-4E94-A4F5-920E329EFCF5}"/>
          </ac:spMkLst>
        </pc:spChg>
        <pc:spChg chg="mod">
          <ac:chgData name="Jean QUENTIN" userId="6962deb3-b639-4acd-8091-a0516ea2376b" providerId="ADAL" clId="{146BD8F6-FDDD-49D3-A1A6-146C954086FF}" dt="2021-05-24T13:36:21.716" v="5796" actId="790"/>
          <ac:spMkLst>
            <pc:docMk/>
            <pc:sldMk cId="3177853375" sldId="10454"/>
            <ac:spMk id="11" creationId="{366B7BDF-4463-42BD-A85C-F01387D4E694}"/>
          </ac:spMkLst>
        </pc:spChg>
        <pc:spChg chg="mod">
          <ac:chgData name="Jean QUENTIN" userId="6962deb3-b639-4acd-8091-a0516ea2376b" providerId="ADAL" clId="{146BD8F6-FDDD-49D3-A1A6-146C954086FF}" dt="2021-05-24T13:36:21.716" v="5797" actId="790"/>
          <ac:spMkLst>
            <pc:docMk/>
            <pc:sldMk cId="3177853375" sldId="10454"/>
            <ac:spMk id="12" creationId="{9FC46527-9943-4603-A87B-832AB4E5463F}"/>
          </ac:spMkLst>
        </pc:spChg>
        <pc:spChg chg="mod">
          <ac:chgData name="Jean QUENTIN" userId="6962deb3-b639-4acd-8091-a0516ea2376b" providerId="ADAL" clId="{146BD8F6-FDDD-49D3-A1A6-146C954086FF}" dt="2021-05-24T13:36:21.716" v="5798" actId="790"/>
          <ac:spMkLst>
            <pc:docMk/>
            <pc:sldMk cId="3177853375" sldId="10454"/>
            <ac:spMk id="13" creationId="{1B4BF4F1-8F5E-4892-AC86-2A3F1E191766}"/>
          </ac:spMkLst>
        </pc:spChg>
        <pc:spChg chg="mod">
          <ac:chgData name="Jean QUENTIN" userId="6962deb3-b639-4acd-8091-a0516ea2376b" providerId="ADAL" clId="{146BD8F6-FDDD-49D3-A1A6-146C954086FF}" dt="2021-05-24T13:36:21.716" v="5799" actId="790"/>
          <ac:spMkLst>
            <pc:docMk/>
            <pc:sldMk cId="3177853375" sldId="10454"/>
            <ac:spMk id="14" creationId="{54A347A6-C1C0-427E-9F0F-E67A7A34B869}"/>
          </ac:spMkLst>
        </pc:spChg>
        <pc:spChg chg="mod">
          <ac:chgData name="Jean QUENTIN" userId="6962deb3-b639-4acd-8091-a0516ea2376b" providerId="ADAL" clId="{146BD8F6-FDDD-49D3-A1A6-146C954086FF}" dt="2021-05-24T13:36:21.732" v="5800" actId="790"/>
          <ac:spMkLst>
            <pc:docMk/>
            <pc:sldMk cId="3177853375" sldId="10454"/>
            <ac:spMk id="18" creationId="{5A81D160-8721-446A-9C5E-3BA38AA2B941}"/>
          </ac:spMkLst>
        </pc:spChg>
        <pc:spChg chg="mod">
          <ac:chgData name="Jean QUENTIN" userId="6962deb3-b639-4acd-8091-a0516ea2376b" providerId="ADAL" clId="{146BD8F6-FDDD-49D3-A1A6-146C954086FF}" dt="2021-05-24T13:36:21.747" v="5811" actId="790"/>
          <ac:spMkLst>
            <pc:docMk/>
            <pc:sldMk cId="3177853375" sldId="10454"/>
            <ac:spMk id="29" creationId="{453B5121-2F30-4856-BBAB-A6B2A2C01B1A}"/>
          </ac:spMkLst>
        </pc:spChg>
        <pc:spChg chg="mod">
          <ac:chgData name="Jean QUENTIN" userId="6962deb3-b639-4acd-8091-a0516ea2376b" providerId="ADAL" clId="{146BD8F6-FDDD-49D3-A1A6-146C954086FF}" dt="2021-05-24T13:36:21.732" v="5801" actId="790"/>
          <ac:spMkLst>
            <pc:docMk/>
            <pc:sldMk cId="3177853375" sldId="10454"/>
            <ac:spMk id="40" creationId="{4B65849B-86CA-4D71-9950-D0231A4AC02F}"/>
          </ac:spMkLst>
        </pc:spChg>
        <pc:spChg chg="mod">
          <ac:chgData name="Jean QUENTIN" userId="6962deb3-b639-4acd-8091-a0516ea2376b" providerId="ADAL" clId="{146BD8F6-FDDD-49D3-A1A6-146C954086FF}" dt="2021-05-24T13:36:21.732" v="5802" actId="790"/>
          <ac:spMkLst>
            <pc:docMk/>
            <pc:sldMk cId="3177853375" sldId="10454"/>
            <ac:spMk id="41" creationId="{41D3736C-17D5-407B-A454-92BA4EEBEE51}"/>
          </ac:spMkLst>
        </pc:spChg>
        <pc:spChg chg="mod">
          <ac:chgData name="Jean QUENTIN" userId="6962deb3-b639-4acd-8091-a0516ea2376b" providerId="ADAL" clId="{146BD8F6-FDDD-49D3-A1A6-146C954086FF}" dt="2021-05-24T13:36:21.732" v="5803" actId="790"/>
          <ac:spMkLst>
            <pc:docMk/>
            <pc:sldMk cId="3177853375" sldId="10454"/>
            <ac:spMk id="42" creationId="{5985DB3D-7C62-4A85-926C-852C05193A03}"/>
          </ac:spMkLst>
        </pc:spChg>
        <pc:spChg chg="mod">
          <ac:chgData name="Jean QUENTIN" userId="6962deb3-b639-4acd-8091-a0516ea2376b" providerId="ADAL" clId="{146BD8F6-FDDD-49D3-A1A6-146C954086FF}" dt="2021-05-24T13:36:21.732" v="5804" actId="790"/>
          <ac:spMkLst>
            <pc:docMk/>
            <pc:sldMk cId="3177853375" sldId="10454"/>
            <ac:spMk id="43" creationId="{C7726A82-A9BE-4C03-AB6C-1A867B76F0A5}"/>
          </ac:spMkLst>
        </pc:spChg>
        <pc:spChg chg="mod">
          <ac:chgData name="Jean QUENTIN" userId="6962deb3-b639-4acd-8091-a0516ea2376b" providerId="ADAL" clId="{146BD8F6-FDDD-49D3-A1A6-146C954086FF}" dt="2021-05-24T13:36:21.732" v="5805" actId="790"/>
          <ac:spMkLst>
            <pc:docMk/>
            <pc:sldMk cId="3177853375" sldId="10454"/>
            <ac:spMk id="44" creationId="{64EA8B46-EDBA-492C-8605-0C57BB873C71}"/>
          </ac:spMkLst>
        </pc:spChg>
        <pc:spChg chg="mod">
          <ac:chgData name="Jean QUENTIN" userId="6962deb3-b639-4acd-8091-a0516ea2376b" providerId="ADAL" clId="{146BD8F6-FDDD-49D3-A1A6-146C954086FF}" dt="2021-05-24T13:36:21.732" v="5806" actId="790"/>
          <ac:spMkLst>
            <pc:docMk/>
            <pc:sldMk cId="3177853375" sldId="10454"/>
            <ac:spMk id="48" creationId="{C242D873-E73A-46FF-88E4-4F7FF592F386}"/>
          </ac:spMkLst>
        </pc:spChg>
        <pc:spChg chg="mod">
          <ac:chgData name="Jean QUENTIN" userId="6962deb3-b639-4acd-8091-a0516ea2376b" providerId="ADAL" clId="{146BD8F6-FDDD-49D3-A1A6-146C954086FF}" dt="2021-05-24T13:36:21.732" v="5807" actId="790"/>
          <ac:spMkLst>
            <pc:docMk/>
            <pc:sldMk cId="3177853375" sldId="10454"/>
            <ac:spMk id="49" creationId="{5B79BA09-24AF-4DD4-A40D-1BA5E697B06D}"/>
          </ac:spMkLst>
        </pc:spChg>
        <pc:spChg chg="mod">
          <ac:chgData name="Jean QUENTIN" userId="6962deb3-b639-4acd-8091-a0516ea2376b" providerId="ADAL" clId="{146BD8F6-FDDD-49D3-A1A6-146C954086FF}" dt="2021-05-24T13:36:21.732" v="5808" actId="790"/>
          <ac:spMkLst>
            <pc:docMk/>
            <pc:sldMk cId="3177853375" sldId="10454"/>
            <ac:spMk id="50" creationId="{2D78B40F-EBB8-4307-9278-EC1CE8575E76}"/>
          </ac:spMkLst>
        </pc:spChg>
        <pc:spChg chg="mod">
          <ac:chgData name="Jean QUENTIN" userId="6962deb3-b639-4acd-8091-a0516ea2376b" providerId="ADAL" clId="{146BD8F6-FDDD-49D3-A1A6-146C954086FF}" dt="2021-05-24T13:36:21.747" v="5809" actId="790"/>
          <ac:spMkLst>
            <pc:docMk/>
            <pc:sldMk cId="3177853375" sldId="10454"/>
            <ac:spMk id="51" creationId="{38A00563-F0E4-4DD2-BCC0-2CE8730B5ECB}"/>
          </ac:spMkLst>
        </pc:spChg>
        <pc:spChg chg="mod">
          <ac:chgData name="Jean QUENTIN" userId="6962deb3-b639-4acd-8091-a0516ea2376b" providerId="ADAL" clId="{146BD8F6-FDDD-49D3-A1A6-146C954086FF}" dt="2021-05-24T13:36:21.747" v="5810" actId="790"/>
          <ac:spMkLst>
            <pc:docMk/>
            <pc:sldMk cId="3177853375" sldId="10454"/>
            <ac:spMk id="52" creationId="{FF17630E-6039-47E0-A099-F9AF44449B48}"/>
          </ac:spMkLst>
        </pc:spChg>
      </pc:sldChg>
      <pc:sldChg chg="modSp mod">
        <pc:chgData name="Jean QUENTIN" userId="6962deb3-b639-4acd-8091-a0516ea2376b" providerId="ADAL" clId="{146BD8F6-FDDD-49D3-A1A6-146C954086FF}" dt="2021-05-24T13:36:22.418" v="6162" actId="790"/>
        <pc:sldMkLst>
          <pc:docMk/>
          <pc:sldMk cId="510332781" sldId="10456"/>
        </pc:sldMkLst>
        <pc:spChg chg="mod">
          <ac:chgData name="Jean QUENTIN" userId="6962deb3-b639-4acd-8091-a0516ea2376b" providerId="ADAL" clId="{146BD8F6-FDDD-49D3-A1A6-146C954086FF}" dt="2021-05-24T13:36:22.349" v="6119" actId="790"/>
          <ac:spMkLst>
            <pc:docMk/>
            <pc:sldMk cId="510332781" sldId="10456"/>
            <ac:spMk id="2" creationId="{1678585C-13E7-4B22-B596-E69AA0B67605}"/>
          </ac:spMkLst>
        </pc:spChg>
        <pc:spChg chg="mod">
          <ac:chgData name="Jean QUENTIN" userId="6962deb3-b639-4acd-8091-a0516ea2376b" providerId="ADAL" clId="{146BD8F6-FDDD-49D3-A1A6-146C954086FF}" dt="2021-05-24T13:36:22.349" v="6120" actId="790"/>
          <ac:spMkLst>
            <pc:docMk/>
            <pc:sldMk cId="510332781" sldId="10456"/>
            <ac:spMk id="8" creationId="{A0DF13B0-6CDA-42C9-B9C3-CEBF2440866D}"/>
          </ac:spMkLst>
        </pc:spChg>
        <pc:spChg chg="mod">
          <ac:chgData name="Jean QUENTIN" userId="6962deb3-b639-4acd-8091-a0516ea2376b" providerId="ADAL" clId="{146BD8F6-FDDD-49D3-A1A6-146C954086FF}" dt="2021-05-24T13:36:22.365" v="6127" actId="790"/>
          <ac:spMkLst>
            <pc:docMk/>
            <pc:sldMk cId="510332781" sldId="10456"/>
            <ac:spMk id="9" creationId="{14AD1532-5D17-484B-A9E0-A80410DF5E9A}"/>
          </ac:spMkLst>
        </pc:spChg>
        <pc:spChg chg="mod">
          <ac:chgData name="Jean QUENTIN" userId="6962deb3-b639-4acd-8091-a0516ea2376b" providerId="ADAL" clId="{146BD8F6-FDDD-49D3-A1A6-146C954086FF}" dt="2021-05-24T13:36:22.418" v="6162" actId="790"/>
          <ac:spMkLst>
            <pc:docMk/>
            <pc:sldMk cId="510332781" sldId="10456"/>
            <ac:spMk id="10" creationId="{4DDE9FB7-F45F-4680-9700-03FF7C001A12}"/>
          </ac:spMkLst>
        </pc:spChg>
        <pc:spChg chg="mod">
          <ac:chgData name="Jean QUENTIN" userId="6962deb3-b639-4acd-8091-a0516ea2376b" providerId="ADAL" clId="{146BD8F6-FDDD-49D3-A1A6-146C954086FF}" dt="2021-05-24T13:36:22.371" v="6129" actId="790"/>
          <ac:spMkLst>
            <pc:docMk/>
            <pc:sldMk cId="510332781" sldId="10456"/>
            <ac:spMk id="12" creationId="{D8E25155-3270-437F-8B24-435F5AEA00E0}"/>
          </ac:spMkLst>
        </pc:spChg>
        <pc:spChg chg="mod">
          <ac:chgData name="Jean QUENTIN" userId="6962deb3-b639-4acd-8091-a0516ea2376b" providerId="ADAL" clId="{146BD8F6-FDDD-49D3-A1A6-146C954086FF}" dt="2021-05-24T13:36:22.371" v="6132" actId="790"/>
          <ac:spMkLst>
            <pc:docMk/>
            <pc:sldMk cId="510332781" sldId="10456"/>
            <ac:spMk id="56" creationId="{C38FC55C-E529-44CA-A3C3-52CDAA0FFA2C}"/>
          </ac:spMkLst>
        </pc:spChg>
        <pc:spChg chg="mod">
          <ac:chgData name="Jean QUENTIN" userId="6962deb3-b639-4acd-8091-a0516ea2376b" providerId="ADAL" clId="{146BD8F6-FDDD-49D3-A1A6-146C954086FF}" dt="2021-05-24T13:36:22.371" v="6133" actId="790"/>
          <ac:spMkLst>
            <pc:docMk/>
            <pc:sldMk cId="510332781" sldId="10456"/>
            <ac:spMk id="63" creationId="{B30A0BF5-7928-48B0-AA04-585B99F5721B}"/>
          </ac:spMkLst>
        </pc:spChg>
        <pc:spChg chg="mod">
          <ac:chgData name="Jean QUENTIN" userId="6962deb3-b639-4acd-8091-a0516ea2376b" providerId="ADAL" clId="{146BD8F6-FDDD-49D3-A1A6-146C954086FF}" dt="2021-05-24T13:36:22.365" v="6126" actId="790"/>
          <ac:spMkLst>
            <pc:docMk/>
            <pc:sldMk cId="510332781" sldId="10456"/>
            <ac:spMk id="75" creationId="{DA7A61FE-7AB3-404C-B6D0-0341AB4AED0B}"/>
          </ac:spMkLst>
        </pc:spChg>
        <pc:spChg chg="mod">
          <ac:chgData name="Jean QUENTIN" userId="6962deb3-b639-4acd-8091-a0516ea2376b" providerId="ADAL" clId="{146BD8F6-FDDD-49D3-A1A6-146C954086FF}" dt="2021-05-24T13:36:22.371" v="6135" actId="790"/>
          <ac:spMkLst>
            <pc:docMk/>
            <pc:sldMk cId="510332781" sldId="10456"/>
            <ac:spMk id="76" creationId="{308CB204-27DB-4B46-9EB7-186FB3180E2B}"/>
          </ac:spMkLst>
        </pc:spChg>
        <pc:spChg chg="mod">
          <ac:chgData name="Jean QUENTIN" userId="6962deb3-b639-4acd-8091-a0516ea2376b" providerId="ADAL" clId="{146BD8F6-FDDD-49D3-A1A6-146C954086FF}" dt="2021-05-24T13:36:22.387" v="6136" actId="790"/>
          <ac:spMkLst>
            <pc:docMk/>
            <pc:sldMk cId="510332781" sldId="10456"/>
            <ac:spMk id="78" creationId="{02D3BCB9-429C-4D16-8650-DB5B13CEEAE5}"/>
          </ac:spMkLst>
        </pc:spChg>
        <pc:spChg chg="mod">
          <ac:chgData name="Jean QUENTIN" userId="6962deb3-b639-4acd-8091-a0516ea2376b" providerId="ADAL" clId="{146BD8F6-FDDD-49D3-A1A6-146C954086FF}" dt="2021-05-24T13:36:22.387" v="6137" actId="790"/>
          <ac:spMkLst>
            <pc:docMk/>
            <pc:sldMk cId="510332781" sldId="10456"/>
            <ac:spMk id="79" creationId="{05CE9003-406E-4C58-9418-17361678E171}"/>
          </ac:spMkLst>
        </pc:spChg>
        <pc:spChg chg="mod">
          <ac:chgData name="Jean QUENTIN" userId="6962deb3-b639-4acd-8091-a0516ea2376b" providerId="ADAL" clId="{146BD8F6-FDDD-49D3-A1A6-146C954086FF}" dt="2021-05-24T13:36:22.387" v="6138" actId="790"/>
          <ac:spMkLst>
            <pc:docMk/>
            <pc:sldMk cId="510332781" sldId="10456"/>
            <ac:spMk id="81" creationId="{3E439A77-9F2F-4980-AB85-ED840F2C0A8B}"/>
          </ac:spMkLst>
        </pc:spChg>
        <pc:spChg chg="mod">
          <ac:chgData name="Jean QUENTIN" userId="6962deb3-b639-4acd-8091-a0516ea2376b" providerId="ADAL" clId="{146BD8F6-FDDD-49D3-A1A6-146C954086FF}" dt="2021-05-24T13:36:22.387" v="6139" actId="790"/>
          <ac:spMkLst>
            <pc:docMk/>
            <pc:sldMk cId="510332781" sldId="10456"/>
            <ac:spMk id="82" creationId="{E2D76940-EEEC-42C3-9F31-77EA96944FAA}"/>
          </ac:spMkLst>
        </pc:spChg>
        <pc:spChg chg="mod">
          <ac:chgData name="Jean QUENTIN" userId="6962deb3-b639-4acd-8091-a0516ea2376b" providerId="ADAL" clId="{146BD8F6-FDDD-49D3-A1A6-146C954086FF}" dt="2021-05-24T13:36:22.387" v="6140" actId="790"/>
          <ac:spMkLst>
            <pc:docMk/>
            <pc:sldMk cId="510332781" sldId="10456"/>
            <ac:spMk id="84" creationId="{E46E8DAE-3404-441B-A661-135A0072D68D}"/>
          </ac:spMkLst>
        </pc:spChg>
        <pc:spChg chg="mod">
          <ac:chgData name="Jean QUENTIN" userId="6962deb3-b639-4acd-8091-a0516ea2376b" providerId="ADAL" clId="{146BD8F6-FDDD-49D3-A1A6-146C954086FF}" dt="2021-05-24T13:36:22.387" v="6141" actId="790"/>
          <ac:spMkLst>
            <pc:docMk/>
            <pc:sldMk cId="510332781" sldId="10456"/>
            <ac:spMk id="88" creationId="{9487F1F7-CDC0-436C-B153-A367A6D943C7}"/>
          </ac:spMkLst>
        </pc:spChg>
        <pc:spChg chg="mod">
          <ac:chgData name="Jean QUENTIN" userId="6962deb3-b639-4acd-8091-a0516ea2376b" providerId="ADAL" clId="{146BD8F6-FDDD-49D3-A1A6-146C954086FF}" dt="2021-05-24T13:36:22.387" v="6142" actId="790"/>
          <ac:spMkLst>
            <pc:docMk/>
            <pc:sldMk cId="510332781" sldId="10456"/>
            <ac:spMk id="90" creationId="{C200A7DB-0104-4AE9-908C-6C38D57F8166}"/>
          </ac:spMkLst>
        </pc:spChg>
        <pc:spChg chg="mod">
          <ac:chgData name="Jean QUENTIN" userId="6962deb3-b639-4acd-8091-a0516ea2376b" providerId="ADAL" clId="{146BD8F6-FDDD-49D3-A1A6-146C954086FF}" dt="2021-05-24T13:36:22.387" v="6143" actId="790"/>
          <ac:spMkLst>
            <pc:docMk/>
            <pc:sldMk cId="510332781" sldId="10456"/>
            <ac:spMk id="91" creationId="{15A9E8BB-ADC2-4318-9D2C-304EE384F556}"/>
          </ac:spMkLst>
        </pc:spChg>
        <pc:spChg chg="mod">
          <ac:chgData name="Jean QUENTIN" userId="6962deb3-b639-4acd-8091-a0516ea2376b" providerId="ADAL" clId="{146BD8F6-FDDD-49D3-A1A6-146C954086FF}" dt="2021-05-24T13:36:22.387" v="6144" actId="790"/>
          <ac:spMkLst>
            <pc:docMk/>
            <pc:sldMk cId="510332781" sldId="10456"/>
            <ac:spMk id="96" creationId="{AF2248C6-36BB-4F36-8143-EDA94C8237D2}"/>
          </ac:spMkLst>
        </pc:spChg>
        <pc:spChg chg="mod">
          <ac:chgData name="Jean QUENTIN" userId="6962deb3-b639-4acd-8091-a0516ea2376b" providerId="ADAL" clId="{146BD8F6-FDDD-49D3-A1A6-146C954086FF}" dt="2021-05-24T13:36:22.387" v="6145" actId="790"/>
          <ac:spMkLst>
            <pc:docMk/>
            <pc:sldMk cId="510332781" sldId="10456"/>
            <ac:spMk id="97" creationId="{DA4BE8A8-9C19-4A0D-8B77-D0047B30993B}"/>
          </ac:spMkLst>
        </pc:spChg>
        <pc:spChg chg="mod">
          <ac:chgData name="Jean QUENTIN" userId="6962deb3-b639-4acd-8091-a0516ea2376b" providerId="ADAL" clId="{146BD8F6-FDDD-49D3-A1A6-146C954086FF}" dt="2021-05-24T13:36:22.349" v="6122" actId="790"/>
          <ac:spMkLst>
            <pc:docMk/>
            <pc:sldMk cId="510332781" sldId="10456"/>
            <ac:spMk id="100" creationId="{92E34ABB-577C-4CC5-A619-617AA6CDC8DC}"/>
          </ac:spMkLst>
        </pc:spChg>
        <pc:spChg chg="mod">
          <ac:chgData name="Jean QUENTIN" userId="6962deb3-b639-4acd-8091-a0516ea2376b" providerId="ADAL" clId="{146BD8F6-FDDD-49D3-A1A6-146C954086FF}" dt="2021-05-24T13:36:22.387" v="6146" actId="790"/>
          <ac:spMkLst>
            <pc:docMk/>
            <pc:sldMk cId="510332781" sldId="10456"/>
            <ac:spMk id="102" creationId="{2E5C41C9-BDCF-48F4-839F-4B1F4C79F0EC}"/>
          </ac:spMkLst>
        </pc:spChg>
        <pc:spChg chg="mod">
          <ac:chgData name="Jean QUENTIN" userId="6962deb3-b639-4acd-8091-a0516ea2376b" providerId="ADAL" clId="{146BD8F6-FDDD-49D3-A1A6-146C954086FF}" dt="2021-05-24T13:36:22.371" v="6128" actId="790"/>
          <ac:spMkLst>
            <pc:docMk/>
            <pc:sldMk cId="510332781" sldId="10456"/>
            <ac:spMk id="105" creationId="{EE11D568-D344-4CCB-B559-7182FFADC6A0}"/>
          </ac:spMkLst>
        </pc:spChg>
        <pc:spChg chg="mod">
          <ac:chgData name="Jean QUENTIN" userId="6962deb3-b639-4acd-8091-a0516ea2376b" providerId="ADAL" clId="{146BD8F6-FDDD-49D3-A1A6-146C954086FF}" dt="2021-05-24T13:36:22.402" v="6148" actId="790"/>
          <ac:spMkLst>
            <pc:docMk/>
            <pc:sldMk cId="510332781" sldId="10456"/>
            <ac:spMk id="106" creationId="{16ACCA96-275F-49D5-A379-20B4A5462CB8}"/>
          </ac:spMkLst>
        </pc:spChg>
        <pc:spChg chg="mod">
          <ac:chgData name="Jean QUENTIN" userId="6962deb3-b639-4acd-8091-a0516ea2376b" providerId="ADAL" clId="{146BD8F6-FDDD-49D3-A1A6-146C954086FF}" dt="2021-05-24T13:36:22.402" v="6150" actId="790"/>
          <ac:spMkLst>
            <pc:docMk/>
            <pc:sldMk cId="510332781" sldId="10456"/>
            <ac:spMk id="107" creationId="{7A3B4CC5-CD25-42F7-BC02-B0529BC6C569}"/>
          </ac:spMkLst>
        </pc:spChg>
        <pc:spChg chg="mod">
          <ac:chgData name="Jean QUENTIN" userId="6962deb3-b639-4acd-8091-a0516ea2376b" providerId="ADAL" clId="{146BD8F6-FDDD-49D3-A1A6-146C954086FF}" dt="2021-05-24T13:36:22.402" v="6149" actId="790"/>
          <ac:spMkLst>
            <pc:docMk/>
            <pc:sldMk cId="510332781" sldId="10456"/>
            <ac:spMk id="108" creationId="{AD94A0C4-4EC9-4D2E-AF6A-C75C673F58F4}"/>
          </ac:spMkLst>
        </pc:spChg>
        <pc:spChg chg="mod">
          <ac:chgData name="Jean QUENTIN" userId="6962deb3-b639-4acd-8091-a0516ea2376b" providerId="ADAL" clId="{146BD8F6-FDDD-49D3-A1A6-146C954086FF}" dt="2021-05-24T13:36:22.402" v="6151" actId="790"/>
          <ac:spMkLst>
            <pc:docMk/>
            <pc:sldMk cId="510332781" sldId="10456"/>
            <ac:spMk id="112" creationId="{5BD3C787-F8A7-4079-B9CA-39618C895E12}"/>
          </ac:spMkLst>
        </pc:spChg>
        <pc:spChg chg="mod">
          <ac:chgData name="Jean QUENTIN" userId="6962deb3-b639-4acd-8091-a0516ea2376b" providerId="ADAL" clId="{146BD8F6-FDDD-49D3-A1A6-146C954086FF}" dt="2021-05-24T13:36:22.402" v="6152" actId="790"/>
          <ac:spMkLst>
            <pc:docMk/>
            <pc:sldMk cId="510332781" sldId="10456"/>
            <ac:spMk id="113" creationId="{8E621201-C6E7-4264-84D9-B1AB5804AAC6}"/>
          </ac:spMkLst>
        </pc:spChg>
        <pc:spChg chg="mod">
          <ac:chgData name="Jean QUENTIN" userId="6962deb3-b639-4acd-8091-a0516ea2376b" providerId="ADAL" clId="{146BD8F6-FDDD-49D3-A1A6-146C954086FF}" dt="2021-05-24T13:36:22.402" v="6153" actId="790"/>
          <ac:spMkLst>
            <pc:docMk/>
            <pc:sldMk cId="510332781" sldId="10456"/>
            <ac:spMk id="114" creationId="{FACBB86D-782C-4F1D-AABF-680DE5065652}"/>
          </ac:spMkLst>
        </pc:spChg>
        <pc:spChg chg="mod">
          <ac:chgData name="Jean QUENTIN" userId="6962deb3-b639-4acd-8091-a0516ea2376b" providerId="ADAL" clId="{146BD8F6-FDDD-49D3-A1A6-146C954086FF}" dt="2021-05-24T13:36:22.402" v="6147" actId="790"/>
          <ac:spMkLst>
            <pc:docMk/>
            <pc:sldMk cId="510332781" sldId="10456"/>
            <ac:spMk id="115" creationId="{041BF179-E383-4031-A515-9B74A6D3632B}"/>
          </ac:spMkLst>
        </pc:spChg>
        <pc:spChg chg="mod">
          <ac:chgData name="Jean QUENTIN" userId="6962deb3-b639-4acd-8091-a0516ea2376b" providerId="ADAL" clId="{146BD8F6-FDDD-49D3-A1A6-146C954086FF}" dt="2021-05-24T13:36:22.371" v="6134" actId="790"/>
          <ac:spMkLst>
            <pc:docMk/>
            <pc:sldMk cId="510332781" sldId="10456"/>
            <ac:spMk id="116" creationId="{9EDCB131-8B17-4992-85DD-A17676674CC4}"/>
          </ac:spMkLst>
        </pc:spChg>
        <pc:spChg chg="mod">
          <ac:chgData name="Jean QUENTIN" userId="6962deb3-b639-4acd-8091-a0516ea2376b" providerId="ADAL" clId="{146BD8F6-FDDD-49D3-A1A6-146C954086FF}" dt="2021-05-24T13:36:22.402" v="6154" actId="790"/>
          <ac:spMkLst>
            <pc:docMk/>
            <pc:sldMk cId="510332781" sldId="10456"/>
            <ac:spMk id="118" creationId="{1AB5C0F2-0FE8-4A2B-BA08-9495262BB3B2}"/>
          </ac:spMkLst>
        </pc:spChg>
        <pc:spChg chg="mod">
          <ac:chgData name="Jean QUENTIN" userId="6962deb3-b639-4acd-8091-a0516ea2376b" providerId="ADAL" clId="{146BD8F6-FDDD-49D3-A1A6-146C954086FF}" dt="2021-05-24T13:36:22.402" v="6155" actId="790"/>
          <ac:spMkLst>
            <pc:docMk/>
            <pc:sldMk cId="510332781" sldId="10456"/>
            <ac:spMk id="122" creationId="{14232EB4-3CA5-45E0-A51D-F30ECCFD2670}"/>
          </ac:spMkLst>
        </pc:spChg>
        <pc:spChg chg="mod">
          <ac:chgData name="Jean QUENTIN" userId="6962deb3-b639-4acd-8091-a0516ea2376b" providerId="ADAL" clId="{146BD8F6-FDDD-49D3-A1A6-146C954086FF}" dt="2021-05-24T13:36:22.402" v="6156" actId="790"/>
          <ac:spMkLst>
            <pc:docMk/>
            <pc:sldMk cId="510332781" sldId="10456"/>
            <ac:spMk id="133" creationId="{1DCDBA78-507A-43D1-BF67-CBDCF2E3A3BC}"/>
          </ac:spMkLst>
        </pc:spChg>
        <pc:spChg chg="mod">
          <ac:chgData name="Jean QUENTIN" userId="6962deb3-b639-4acd-8091-a0516ea2376b" providerId="ADAL" clId="{146BD8F6-FDDD-49D3-A1A6-146C954086FF}" dt="2021-05-24T13:36:22.402" v="6157" actId="790"/>
          <ac:spMkLst>
            <pc:docMk/>
            <pc:sldMk cId="510332781" sldId="10456"/>
            <ac:spMk id="135" creationId="{C1CBC5D7-1665-4DC7-A4B5-066E561047DC}"/>
          </ac:spMkLst>
        </pc:spChg>
        <pc:spChg chg="mod">
          <ac:chgData name="Jean QUENTIN" userId="6962deb3-b639-4acd-8091-a0516ea2376b" providerId="ADAL" clId="{146BD8F6-FDDD-49D3-A1A6-146C954086FF}" dt="2021-05-24T13:36:22.402" v="6158" actId="790"/>
          <ac:spMkLst>
            <pc:docMk/>
            <pc:sldMk cId="510332781" sldId="10456"/>
            <ac:spMk id="141" creationId="{33CA6110-61C9-41DE-B63D-8734F487C02F}"/>
          </ac:spMkLst>
        </pc:spChg>
        <pc:spChg chg="mod">
          <ac:chgData name="Jean QUENTIN" userId="6962deb3-b639-4acd-8091-a0516ea2376b" providerId="ADAL" clId="{146BD8F6-FDDD-49D3-A1A6-146C954086FF}" dt="2021-05-24T13:36:22.418" v="6159" actId="790"/>
          <ac:spMkLst>
            <pc:docMk/>
            <pc:sldMk cId="510332781" sldId="10456"/>
            <ac:spMk id="161" creationId="{00CD6261-B8FA-46F3-A5CD-7BFC090694B3}"/>
          </ac:spMkLst>
        </pc:spChg>
        <pc:spChg chg="mod">
          <ac:chgData name="Jean QUENTIN" userId="6962deb3-b639-4acd-8091-a0516ea2376b" providerId="ADAL" clId="{146BD8F6-FDDD-49D3-A1A6-146C954086FF}" dt="2021-05-24T13:36:22.365" v="6125" actId="790"/>
          <ac:spMkLst>
            <pc:docMk/>
            <pc:sldMk cId="510332781" sldId="10456"/>
            <ac:spMk id="170" creationId="{38F09A21-A247-4B0D-AE97-0BC21A011E47}"/>
          </ac:spMkLst>
        </pc:spChg>
        <pc:spChg chg="mod">
          <ac:chgData name="Jean QUENTIN" userId="6962deb3-b639-4acd-8091-a0516ea2376b" providerId="ADAL" clId="{146BD8F6-FDDD-49D3-A1A6-146C954086FF}" dt="2021-05-24T13:36:22.365" v="6123" actId="790"/>
          <ac:spMkLst>
            <pc:docMk/>
            <pc:sldMk cId="510332781" sldId="10456"/>
            <ac:spMk id="171" creationId="{8BE47C39-B15C-4923-B056-1A7A6551495D}"/>
          </ac:spMkLst>
        </pc:spChg>
        <pc:spChg chg="mod">
          <ac:chgData name="Jean QUENTIN" userId="6962deb3-b639-4acd-8091-a0516ea2376b" providerId="ADAL" clId="{146BD8F6-FDDD-49D3-A1A6-146C954086FF}" dt="2021-05-24T13:36:22.365" v="6124" actId="790"/>
          <ac:spMkLst>
            <pc:docMk/>
            <pc:sldMk cId="510332781" sldId="10456"/>
            <ac:spMk id="172" creationId="{6A2F3D48-590B-4D37-8079-54631513DFDF}"/>
          </ac:spMkLst>
        </pc:spChg>
        <pc:spChg chg="mod">
          <ac:chgData name="Jean QUENTIN" userId="6962deb3-b639-4acd-8091-a0516ea2376b" providerId="ADAL" clId="{146BD8F6-FDDD-49D3-A1A6-146C954086FF}" dt="2021-05-24T13:36:22.349" v="6121" actId="790"/>
          <ac:spMkLst>
            <pc:docMk/>
            <pc:sldMk cId="510332781" sldId="10456"/>
            <ac:spMk id="177" creationId="{34CCEF3F-ACBD-4ABD-987D-DF49649F0B7C}"/>
          </ac:spMkLst>
        </pc:spChg>
        <pc:spChg chg="mod">
          <ac:chgData name="Jean QUENTIN" userId="6962deb3-b639-4acd-8091-a0516ea2376b" providerId="ADAL" clId="{146BD8F6-FDDD-49D3-A1A6-146C954086FF}" dt="2021-05-24T13:36:22.418" v="6160" actId="790"/>
          <ac:spMkLst>
            <pc:docMk/>
            <pc:sldMk cId="510332781" sldId="10456"/>
            <ac:spMk id="179" creationId="{01202EC1-E429-45FC-90CB-C87B652A12E4}"/>
          </ac:spMkLst>
        </pc:spChg>
        <pc:spChg chg="mod">
          <ac:chgData name="Jean QUENTIN" userId="6962deb3-b639-4acd-8091-a0516ea2376b" providerId="ADAL" clId="{146BD8F6-FDDD-49D3-A1A6-146C954086FF}" dt="2021-05-24T13:36:22.418" v="6161" actId="790"/>
          <ac:spMkLst>
            <pc:docMk/>
            <pc:sldMk cId="510332781" sldId="10456"/>
            <ac:spMk id="194" creationId="{7E54B05B-A737-40F1-9705-E88F71474971}"/>
          </ac:spMkLst>
        </pc:spChg>
        <pc:spChg chg="mod">
          <ac:chgData name="Jean QUENTIN" userId="6962deb3-b639-4acd-8091-a0516ea2376b" providerId="ADAL" clId="{146BD8F6-FDDD-49D3-A1A6-146C954086FF}" dt="2021-05-24T13:36:22.371" v="6130" actId="790"/>
          <ac:spMkLst>
            <pc:docMk/>
            <pc:sldMk cId="510332781" sldId="10456"/>
            <ac:spMk id="18444" creationId="{D43C63D6-03C7-4E8E-9526-4267F94ECB51}"/>
          </ac:spMkLst>
        </pc:spChg>
        <pc:spChg chg="mod">
          <ac:chgData name="Jean QUENTIN" userId="6962deb3-b639-4acd-8091-a0516ea2376b" providerId="ADAL" clId="{146BD8F6-FDDD-49D3-A1A6-146C954086FF}" dt="2021-05-24T13:36:22.371" v="6131" actId="790"/>
          <ac:spMkLst>
            <pc:docMk/>
            <pc:sldMk cId="510332781" sldId="10456"/>
            <ac:spMk id="18445" creationId="{B7B07674-74C0-48FB-B676-D365C9FD1B36}"/>
          </ac:spMkLst>
        </pc:spChg>
      </pc:sldChg>
      <pc:sldChg chg="modSp mod">
        <pc:chgData name="Jean QUENTIN" userId="6962deb3-b639-4acd-8091-a0516ea2376b" providerId="ADAL" clId="{146BD8F6-FDDD-49D3-A1A6-146C954086FF}" dt="2021-05-24T13:36:17.590" v="3698" actId="790"/>
        <pc:sldMkLst>
          <pc:docMk/>
          <pc:sldMk cId="3875425083" sldId="10457"/>
        </pc:sldMkLst>
        <pc:spChg chg="mod">
          <ac:chgData name="Jean QUENTIN" userId="6962deb3-b639-4acd-8091-a0516ea2376b" providerId="ADAL" clId="{146BD8F6-FDDD-49D3-A1A6-146C954086FF}" dt="2021-05-24T13:36:17.574" v="3691" actId="790"/>
          <ac:spMkLst>
            <pc:docMk/>
            <pc:sldMk cId="3875425083" sldId="10457"/>
            <ac:spMk id="3" creationId="{744C9668-D38F-4DBF-9AE2-129AFE4443E6}"/>
          </ac:spMkLst>
        </pc:spChg>
        <pc:spChg chg="mod">
          <ac:chgData name="Jean QUENTIN" userId="6962deb3-b639-4acd-8091-a0516ea2376b" providerId="ADAL" clId="{146BD8F6-FDDD-49D3-A1A6-146C954086FF}" dt="2021-05-24T13:36:17.574" v="3692" actId="790"/>
          <ac:spMkLst>
            <pc:docMk/>
            <pc:sldMk cId="3875425083" sldId="10457"/>
            <ac:spMk id="4" creationId="{B1DD5068-1806-4730-9DB9-278C1A572145}"/>
          </ac:spMkLst>
        </pc:spChg>
        <pc:spChg chg="mod">
          <ac:chgData name="Jean QUENTIN" userId="6962deb3-b639-4acd-8091-a0516ea2376b" providerId="ADAL" clId="{146BD8F6-FDDD-49D3-A1A6-146C954086FF}" dt="2021-05-24T13:36:17.590" v="3693" actId="790"/>
          <ac:spMkLst>
            <pc:docMk/>
            <pc:sldMk cId="3875425083" sldId="10457"/>
            <ac:spMk id="5" creationId="{3043F534-C5C5-4371-A080-3E7D382D4691}"/>
          </ac:spMkLst>
        </pc:spChg>
        <pc:spChg chg="mod">
          <ac:chgData name="Jean QUENTIN" userId="6962deb3-b639-4acd-8091-a0516ea2376b" providerId="ADAL" clId="{146BD8F6-FDDD-49D3-A1A6-146C954086FF}" dt="2021-05-24T13:36:17.590" v="3698" actId="790"/>
          <ac:spMkLst>
            <pc:docMk/>
            <pc:sldMk cId="3875425083" sldId="10457"/>
            <ac:spMk id="7" creationId="{9DCBC619-97D3-4FF1-B9FE-CBEF775B63E5}"/>
          </ac:spMkLst>
        </pc:spChg>
        <pc:spChg chg="mod">
          <ac:chgData name="Jean QUENTIN" userId="6962deb3-b639-4acd-8091-a0516ea2376b" providerId="ADAL" clId="{146BD8F6-FDDD-49D3-A1A6-146C954086FF}" dt="2021-05-24T13:36:17.590" v="3694" actId="790"/>
          <ac:spMkLst>
            <pc:docMk/>
            <pc:sldMk cId="3875425083" sldId="10457"/>
            <ac:spMk id="18" creationId="{76F36889-FDFC-4A3B-99A2-030305287A37}"/>
          </ac:spMkLst>
        </pc:spChg>
        <pc:spChg chg="mod">
          <ac:chgData name="Jean QUENTIN" userId="6962deb3-b639-4acd-8091-a0516ea2376b" providerId="ADAL" clId="{146BD8F6-FDDD-49D3-A1A6-146C954086FF}" dt="2021-05-24T13:36:17.590" v="3695" actId="790"/>
          <ac:spMkLst>
            <pc:docMk/>
            <pc:sldMk cId="3875425083" sldId="10457"/>
            <ac:spMk id="20" creationId="{9DECDA42-DA1B-4765-9DB2-026DA5BE2D89}"/>
          </ac:spMkLst>
        </pc:spChg>
        <pc:spChg chg="mod">
          <ac:chgData name="Jean QUENTIN" userId="6962deb3-b639-4acd-8091-a0516ea2376b" providerId="ADAL" clId="{146BD8F6-FDDD-49D3-A1A6-146C954086FF}" dt="2021-05-24T13:36:17.590" v="3696" actId="790"/>
          <ac:spMkLst>
            <pc:docMk/>
            <pc:sldMk cId="3875425083" sldId="10457"/>
            <ac:spMk id="22" creationId="{C002634F-3FA9-4AC3-90E2-0D253FC97BF7}"/>
          </ac:spMkLst>
        </pc:spChg>
        <pc:spChg chg="mod">
          <ac:chgData name="Jean QUENTIN" userId="6962deb3-b639-4acd-8091-a0516ea2376b" providerId="ADAL" clId="{146BD8F6-FDDD-49D3-A1A6-146C954086FF}" dt="2021-05-24T13:36:17.590" v="3697" actId="790"/>
          <ac:spMkLst>
            <pc:docMk/>
            <pc:sldMk cId="3875425083" sldId="10457"/>
            <ac:spMk id="24" creationId="{9523976D-7994-4445-A7A3-F04F6C533708}"/>
          </ac:spMkLst>
        </pc:spChg>
      </pc:sldChg>
      <pc:sldChg chg="modSp mod">
        <pc:chgData name="Jean QUENTIN" userId="6962deb3-b639-4acd-8091-a0516ea2376b" providerId="ADAL" clId="{146BD8F6-FDDD-49D3-A1A6-146C954086FF}" dt="2021-05-24T13:36:17.759" v="3780" actId="790"/>
        <pc:sldMkLst>
          <pc:docMk/>
          <pc:sldMk cId="2117336307" sldId="10458"/>
        </pc:sldMkLst>
        <pc:spChg chg="mod">
          <ac:chgData name="Jean QUENTIN" userId="6962deb3-b639-4acd-8091-a0516ea2376b" providerId="ADAL" clId="{146BD8F6-FDDD-49D3-A1A6-146C954086FF}" dt="2021-05-24T13:36:17.690" v="3742" actId="790"/>
          <ac:spMkLst>
            <pc:docMk/>
            <pc:sldMk cId="2117336307" sldId="10458"/>
            <ac:spMk id="2" creationId="{97E194A7-6D37-418C-9122-DDE304798BEF}"/>
          </ac:spMkLst>
        </pc:spChg>
        <pc:spChg chg="mod">
          <ac:chgData name="Jean QUENTIN" userId="6962deb3-b639-4acd-8091-a0516ea2376b" providerId="ADAL" clId="{146BD8F6-FDDD-49D3-A1A6-146C954086FF}" dt="2021-05-24T13:36:17.690" v="3743" actId="790"/>
          <ac:spMkLst>
            <pc:docMk/>
            <pc:sldMk cId="2117336307" sldId="10458"/>
            <ac:spMk id="3" creationId="{8CF4F83C-DF06-481B-B47A-FD3FB9938753}"/>
          </ac:spMkLst>
        </pc:spChg>
        <pc:spChg chg="mod">
          <ac:chgData name="Jean QUENTIN" userId="6962deb3-b639-4acd-8091-a0516ea2376b" providerId="ADAL" clId="{146BD8F6-FDDD-49D3-A1A6-146C954086FF}" dt="2021-05-24T13:36:17.690" v="3744" actId="790"/>
          <ac:spMkLst>
            <pc:docMk/>
            <pc:sldMk cId="2117336307" sldId="10458"/>
            <ac:spMk id="4" creationId="{9A211B58-FC94-42D9-B8A5-6D5DF998B3F7}"/>
          </ac:spMkLst>
        </pc:spChg>
        <pc:spChg chg="mod">
          <ac:chgData name="Jean QUENTIN" userId="6962deb3-b639-4acd-8091-a0516ea2376b" providerId="ADAL" clId="{146BD8F6-FDDD-49D3-A1A6-146C954086FF}" dt="2021-05-24T13:36:17.690" v="3745" actId="790"/>
          <ac:spMkLst>
            <pc:docMk/>
            <pc:sldMk cId="2117336307" sldId="10458"/>
            <ac:spMk id="5" creationId="{C25708FA-3E9E-4816-9525-DFB86044AD07}"/>
          </ac:spMkLst>
        </pc:spChg>
        <pc:spChg chg="mod">
          <ac:chgData name="Jean QUENTIN" userId="6962deb3-b639-4acd-8091-a0516ea2376b" providerId="ADAL" clId="{146BD8F6-FDDD-49D3-A1A6-146C954086FF}" dt="2021-05-24T13:36:17.690" v="3746" actId="790"/>
          <ac:spMkLst>
            <pc:docMk/>
            <pc:sldMk cId="2117336307" sldId="10458"/>
            <ac:spMk id="6" creationId="{A4BC731C-26C0-4283-BB4E-50D5B1717FE8}"/>
          </ac:spMkLst>
        </pc:spChg>
        <pc:spChg chg="mod">
          <ac:chgData name="Jean QUENTIN" userId="6962deb3-b639-4acd-8091-a0516ea2376b" providerId="ADAL" clId="{146BD8F6-FDDD-49D3-A1A6-146C954086FF}" dt="2021-05-24T13:36:17.690" v="3747" actId="790"/>
          <ac:spMkLst>
            <pc:docMk/>
            <pc:sldMk cId="2117336307" sldId="10458"/>
            <ac:spMk id="7" creationId="{5FF043EB-3601-4C22-9167-48A1A3AE1F94}"/>
          </ac:spMkLst>
        </pc:spChg>
        <pc:spChg chg="mod">
          <ac:chgData name="Jean QUENTIN" userId="6962deb3-b639-4acd-8091-a0516ea2376b" providerId="ADAL" clId="{146BD8F6-FDDD-49D3-A1A6-146C954086FF}" dt="2021-05-24T13:36:17.706" v="3748" actId="790"/>
          <ac:spMkLst>
            <pc:docMk/>
            <pc:sldMk cId="2117336307" sldId="10458"/>
            <ac:spMk id="8" creationId="{FFBB7020-4421-4CFB-9AD5-1893BFC8D2F0}"/>
          </ac:spMkLst>
        </pc:spChg>
        <pc:spChg chg="mod">
          <ac:chgData name="Jean QUENTIN" userId="6962deb3-b639-4acd-8091-a0516ea2376b" providerId="ADAL" clId="{146BD8F6-FDDD-49D3-A1A6-146C954086FF}" dt="2021-05-24T13:36:17.706" v="3749" actId="790"/>
          <ac:spMkLst>
            <pc:docMk/>
            <pc:sldMk cId="2117336307" sldId="10458"/>
            <ac:spMk id="9" creationId="{F751E742-ACE5-4311-BEC7-8D8A10732879}"/>
          </ac:spMkLst>
        </pc:spChg>
        <pc:spChg chg="mod">
          <ac:chgData name="Jean QUENTIN" userId="6962deb3-b639-4acd-8091-a0516ea2376b" providerId="ADAL" clId="{146BD8F6-FDDD-49D3-A1A6-146C954086FF}" dt="2021-05-24T13:36:17.706" v="3750" actId="790"/>
          <ac:spMkLst>
            <pc:docMk/>
            <pc:sldMk cId="2117336307" sldId="10458"/>
            <ac:spMk id="10" creationId="{4DF43315-8157-40B9-831B-B3F41D276556}"/>
          </ac:spMkLst>
        </pc:spChg>
        <pc:spChg chg="mod">
          <ac:chgData name="Jean QUENTIN" userId="6962deb3-b639-4acd-8091-a0516ea2376b" providerId="ADAL" clId="{146BD8F6-FDDD-49D3-A1A6-146C954086FF}" dt="2021-05-24T13:36:17.706" v="3751" actId="790"/>
          <ac:spMkLst>
            <pc:docMk/>
            <pc:sldMk cId="2117336307" sldId="10458"/>
            <ac:spMk id="11" creationId="{C6B0A0A6-7DC1-446E-A970-1C78FE7B05E7}"/>
          </ac:spMkLst>
        </pc:spChg>
        <pc:spChg chg="mod">
          <ac:chgData name="Jean QUENTIN" userId="6962deb3-b639-4acd-8091-a0516ea2376b" providerId="ADAL" clId="{146BD8F6-FDDD-49D3-A1A6-146C954086FF}" dt="2021-05-24T13:36:17.706" v="3752" actId="790"/>
          <ac:spMkLst>
            <pc:docMk/>
            <pc:sldMk cId="2117336307" sldId="10458"/>
            <ac:spMk id="12" creationId="{67693F63-D872-4044-ADB2-C400E44ED05F}"/>
          </ac:spMkLst>
        </pc:spChg>
        <pc:spChg chg="mod">
          <ac:chgData name="Jean QUENTIN" userId="6962deb3-b639-4acd-8091-a0516ea2376b" providerId="ADAL" clId="{146BD8F6-FDDD-49D3-A1A6-146C954086FF}" dt="2021-05-24T13:36:17.706" v="3753" actId="790"/>
          <ac:spMkLst>
            <pc:docMk/>
            <pc:sldMk cId="2117336307" sldId="10458"/>
            <ac:spMk id="13" creationId="{FFD2313E-5B14-4DD1-BDBA-9C5889D66C73}"/>
          </ac:spMkLst>
        </pc:spChg>
        <pc:spChg chg="mod">
          <ac:chgData name="Jean QUENTIN" userId="6962deb3-b639-4acd-8091-a0516ea2376b" providerId="ADAL" clId="{146BD8F6-FDDD-49D3-A1A6-146C954086FF}" dt="2021-05-24T13:36:17.706" v="3754" actId="790"/>
          <ac:spMkLst>
            <pc:docMk/>
            <pc:sldMk cId="2117336307" sldId="10458"/>
            <ac:spMk id="14" creationId="{329454EA-414E-4AC5-80E0-57789AEC3CB6}"/>
          </ac:spMkLst>
        </pc:spChg>
        <pc:spChg chg="mod">
          <ac:chgData name="Jean QUENTIN" userId="6962deb3-b639-4acd-8091-a0516ea2376b" providerId="ADAL" clId="{146BD8F6-FDDD-49D3-A1A6-146C954086FF}" dt="2021-05-24T13:36:17.706" v="3755" actId="790"/>
          <ac:spMkLst>
            <pc:docMk/>
            <pc:sldMk cId="2117336307" sldId="10458"/>
            <ac:spMk id="15" creationId="{74475D91-FAA9-4481-BB90-C143AB2CF6AD}"/>
          </ac:spMkLst>
        </pc:spChg>
        <pc:spChg chg="mod">
          <ac:chgData name="Jean QUENTIN" userId="6962deb3-b639-4acd-8091-a0516ea2376b" providerId="ADAL" clId="{146BD8F6-FDDD-49D3-A1A6-146C954086FF}" dt="2021-05-24T13:36:17.706" v="3756" actId="790"/>
          <ac:spMkLst>
            <pc:docMk/>
            <pc:sldMk cId="2117336307" sldId="10458"/>
            <ac:spMk id="16" creationId="{C3B5A392-C953-443D-83BE-3BA88F87E568}"/>
          </ac:spMkLst>
        </pc:spChg>
        <pc:spChg chg="mod">
          <ac:chgData name="Jean QUENTIN" userId="6962deb3-b639-4acd-8091-a0516ea2376b" providerId="ADAL" clId="{146BD8F6-FDDD-49D3-A1A6-146C954086FF}" dt="2021-05-24T13:36:17.706" v="3757" actId="790"/>
          <ac:spMkLst>
            <pc:docMk/>
            <pc:sldMk cId="2117336307" sldId="10458"/>
            <ac:spMk id="17" creationId="{08602E73-CEE9-4D0A-8C3F-5D734DA21856}"/>
          </ac:spMkLst>
        </pc:spChg>
        <pc:spChg chg="mod">
          <ac:chgData name="Jean QUENTIN" userId="6962deb3-b639-4acd-8091-a0516ea2376b" providerId="ADAL" clId="{146BD8F6-FDDD-49D3-A1A6-146C954086FF}" dt="2021-05-24T13:36:17.706" v="3758" actId="790"/>
          <ac:spMkLst>
            <pc:docMk/>
            <pc:sldMk cId="2117336307" sldId="10458"/>
            <ac:spMk id="23" creationId="{B17B5902-BDE5-4C91-98D6-624AA4BD047A}"/>
          </ac:spMkLst>
        </pc:spChg>
        <pc:spChg chg="mod">
          <ac:chgData name="Jean QUENTIN" userId="6962deb3-b639-4acd-8091-a0516ea2376b" providerId="ADAL" clId="{146BD8F6-FDDD-49D3-A1A6-146C954086FF}" dt="2021-05-24T13:36:17.721" v="3759" actId="790"/>
          <ac:spMkLst>
            <pc:docMk/>
            <pc:sldMk cId="2117336307" sldId="10458"/>
            <ac:spMk id="30" creationId="{8781E301-2829-4212-BC5D-10A3652130A7}"/>
          </ac:spMkLst>
        </pc:spChg>
        <pc:spChg chg="mod">
          <ac:chgData name="Jean QUENTIN" userId="6962deb3-b639-4acd-8091-a0516ea2376b" providerId="ADAL" clId="{146BD8F6-FDDD-49D3-A1A6-146C954086FF}" dt="2021-05-24T13:36:17.721" v="3760" actId="790"/>
          <ac:spMkLst>
            <pc:docMk/>
            <pc:sldMk cId="2117336307" sldId="10458"/>
            <ac:spMk id="31" creationId="{FC5D5549-3024-4706-A1D3-2EC5B6005011}"/>
          </ac:spMkLst>
        </pc:spChg>
        <pc:spChg chg="mod">
          <ac:chgData name="Jean QUENTIN" userId="6962deb3-b639-4acd-8091-a0516ea2376b" providerId="ADAL" clId="{146BD8F6-FDDD-49D3-A1A6-146C954086FF}" dt="2021-05-24T13:36:17.721" v="3761" actId="790"/>
          <ac:spMkLst>
            <pc:docMk/>
            <pc:sldMk cId="2117336307" sldId="10458"/>
            <ac:spMk id="32" creationId="{95C2A0B0-3C59-417F-A7AF-CB055F5691A9}"/>
          </ac:spMkLst>
        </pc:spChg>
        <pc:spChg chg="mod">
          <ac:chgData name="Jean QUENTIN" userId="6962deb3-b639-4acd-8091-a0516ea2376b" providerId="ADAL" clId="{146BD8F6-FDDD-49D3-A1A6-146C954086FF}" dt="2021-05-24T13:36:17.721" v="3762" actId="790"/>
          <ac:spMkLst>
            <pc:docMk/>
            <pc:sldMk cId="2117336307" sldId="10458"/>
            <ac:spMk id="33" creationId="{9A17175B-3D0E-49D1-9772-511BEABBDF40}"/>
          </ac:spMkLst>
        </pc:spChg>
        <pc:spChg chg="mod">
          <ac:chgData name="Jean QUENTIN" userId="6962deb3-b639-4acd-8091-a0516ea2376b" providerId="ADAL" clId="{146BD8F6-FDDD-49D3-A1A6-146C954086FF}" dt="2021-05-24T13:36:17.737" v="3763" actId="790"/>
          <ac:spMkLst>
            <pc:docMk/>
            <pc:sldMk cId="2117336307" sldId="10458"/>
            <ac:spMk id="34" creationId="{0D26BFCF-8441-4D95-B0FE-AB36CB9BE014}"/>
          </ac:spMkLst>
        </pc:spChg>
        <pc:spChg chg="mod">
          <ac:chgData name="Jean QUENTIN" userId="6962deb3-b639-4acd-8091-a0516ea2376b" providerId="ADAL" clId="{146BD8F6-FDDD-49D3-A1A6-146C954086FF}" dt="2021-05-24T13:36:17.737" v="3767" actId="790"/>
          <ac:spMkLst>
            <pc:docMk/>
            <pc:sldMk cId="2117336307" sldId="10458"/>
            <ac:spMk id="35" creationId="{06E1E63F-9386-4AA6-9EC4-2C6CC5EDD308}"/>
          </ac:spMkLst>
        </pc:spChg>
        <pc:spChg chg="mod">
          <ac:chgData name="Jean QUENTIN" userId="6962deb3-b639-4acd-8091-a0516ea2376b" providerId="ADAL" clId="{146BD8F6-FDDD-49D3-A1A6-146C954086FF}" dt="2021-05-24T13:36:17.737" v="3764" actId="790"/>
          <ac:spMkLst>
            <pc:docMk/>
            <pc:sldMk cId="2117336307" sldId="10458"/>
            <ac:spMk id="36" creationId="{BBA214AC-0EE9-424B-BD2E-A4BE8AEC5800}"/>
          </ac:spMkLst>
        </pc:spChg>
        <pc:spChg chg="mod">
          <ac:chgData name="Jean QUENTIN" userId="6962deb3-b639-4acd-8091-a0516ea2376b" providerId="ADAL" clId="{146BD8F6-FDDD-49D3-A1A6-146C954086FF}" dt="2021-05-24T13:36:17.737" v="3765" actId="790"/>
          <ac:spMkLst>
            <pc:docMk/>
            <pc:sldMk cId="2117336307" sldId="10458"/>
            <ac:spMk id="37" creationId="{357BF76E-F609-4ABB-AF14-CA5912FE2D08}"/>
          </ac:spMkLst>
        </pc:spChg>
        <pc:spChg chg="mod">
          <ac:chgData name="Jean QUENTIN" userId="6962deb3-b639-4acd-8091-a0516ea2376b" providerId="ADAL" clId="{146BD8F6-FDDD-49D3-A1A6-146C954086FF}" dt="2021-05-24T13:36:17.737" v="3766" actId="790"/>
          <ac:spMkLst>
            <pc:docMk/>
            <pc:sldMk cId="2117336307" sldId="10458"/>
            <ac:spMk id="38" creationId="{3D91B623-E5CB-4481-8380-8F078F4ED175}"/>
          </ac:spMkLst>
        </pc:spChg>
        <pc:spChg chg="mod">
          <ac:chgData name="Jean QUENTIN" userId="6962deb3-b639-4acd-8091-a0516ea2376b" providerId="ADAL" clId="{146BD8F6-FDDD-49D3-A1A6-146C954086FF}" dt="2021-05-24T13:36:17.737" v="3768" actId="790"/>
          <ac:spMkLst>
            <pc:docMk/>
            <pc:sldMk cId="2117336307" sldId="10458"/>
            <ac:spMk id="39" creationId="{70CD7CD0-20DF-417E-BD72-E9F04109C333}"/>
          </ac:spMkLst>
        </pc:spChg>
        <pc:spChg chg="mod">
          <ac:chgData name="Jean QUENTIN" userId="6962deb3-b639-4acd-8091-a0516ea2376b" providerId="ADAL" clId="{146BD8F6-FDDD-49D3-A1A6-146C954086FF}" dt="2021-05-24T13:36:17.737" v="3769" actId="790"/>
          <ac:spMkLst>
            <pc:docMk/>
            <pc:sldMk cId="2117336307" sldId="10458"/>
            <ac:spMk id="40" creationId="{AFC244AE-7080-42F4-A083-866CADB8BE01}"/>
          </ac:spMkLst>
        </pc:spChg>
        <pc:spChg chg="mod">
          <ac:chgData name="Jean QUENTIN" userId="6962deb3-b639-4acd-8091-a0516ea2376b" providerId="ADAL" clId="{146BD8F6-FDDD-49D3-A1A6-146C954086FF}" dt="2021-05-24T13:36:17.753" v="3770" actId="790"/>
          <ac:spMkLst>
            <pc:docMk/>
            <pc:sldMk cId="2117336307" sldId="10458"/>
            <ac:spMk id="41" creationId="{D644EFEF-74F2-4942-8F6E-491C4A28BC12}"/>
          </ac:spMkLst>
        </pc:spChg>
        <pc:spChg chg="mod">
          <ac:chgData name="Jean QUENTIN" userId="6962deb3-b639-4acd-8091-a0516ea2376b" providerId="ADAL" clId="{146BD8F6-FDDD-49D3-A1A6-146C954086FF}" dt="2021-05-24T13:36:17.753" v="3771" actId="790"/>
          <ac:spMkLst>
            <pc:docMk/>
            <pc:sldMk cId="2117336307" sldId="10458"/>
            <ac:spMk id="44" creationId="{168892AE-92E7-4F1F-B412-7FE5E76BF46F}"/>
          </ac:spMkLst>
        </pc:spChg>
        <pc:spChg chg="mod">
          <ac:chgData name="Jean QUENTIN" userId="6962deb3-b639-4acd-8091-a0516ea2376b" providerId="ADAL" clId="{146BD8F6-FDDD-49D3-A1A6-146C954086FF}" dt="2021-05-24T13:36:17.753" v="3772" actId="790"/>
          <ac:spMkLst>
            <pc:docMk/>
            <pc:sldMk cId="2117336307" sldId="10458"/>
            <ac:spMk id="46" creationId="{6AA55E8D-57AF-4945-9E94-DE7A7BE61822}"/>
          </ac:spMkLst>
        </pc:spChg>
        <pc:spChg chg="mod">
          <ac:chgData name="Jean QUENTIN" userId="6962deb3-b639-4acd-8091-a0516ea2376b" providerId="ADAL" clId="{146BD8F6-FDDD-49D3-A1A6-146C954086FF}" dt="2021-05-24T13:36:17.753" v="3773" actId="790"/>
          <ac:spMkLst>
            <pc:docMk/>
            <pc:sldMk cId="2117336307" sldId="10458"/>
            <ac:spMk id="49" creationId="{7F1A8DDF-BB9E-4E12-90EF-9A954D4E9527}"/>
          </ac:spMkLst>
        </pc:spChg>
        <pc:spChg chg="mod">
          <ac:chgData name="Jean QUENTIN" userId="6962deb3-b639-4acd-8091-a0516ea2376b" providerId="ADAL" clId="{146BD8F6-FDDD-49D3-A1A6-146C954086FF}" dt="2021-05-24T13:36:17.753" v="3774" actId="790"/>
          <ac:spMkLst>
            <pc:docMk/>
            <pc:sldMk cId="2117336307" sldId="10458"/>
            <ac:spMk id="50" creationId="{D983CBF4-656D-415F-A0E6-4EF1ECFA98D8}"/>
          </ac:spMkLst>
        </pc:spChg>
        <pc:spChg chg="mod">
          <ac:chgData name="Jean QUENTIN" userId="6962deb3-b639-4acd-8091-a0516ea2376b" providerId="ADAL" clId="{146BD8F6-FDDD-49D3-A1A6-146C954086FF}" dt="2021-05-24T13:36:17.759" v="3775" actId="790"/>
          <ac:spMkLst>
            <pc:docMk/>
            <pc:sldMk cId="2117336307" sldId="10458"/>
            <ac:spMk id="51" creationId="{C518067F-36AA-4233-91AF-1B75DE764C1D}"/>
          </ac:spMkLst>
        </pc:spChg>
        <pc:spChg chg="mod">
          <ac:chgData name="Jean QUENTIN" userId="6962deb3-b639-4acd-8091-a0516ea2376b" providerId="ADAL" clId="{146BD8F6-FDDD-49D3-A1A6-146C954086FF}" dt="2021-05-24T13:36:17.759" v="3776" actId="790"/>
          <ac:spMkLst>
            <pc:docMk/>
            <pc:sldMk cId="2117336307" sldId="10458"/>
            <ac:spMk id="52" creationId="{CB183989-F33A-443E-A9EC-A3EA75137A1D}"/>
          </ac:spMkLst>
        </pc:spChg>
        <pc:spChg chg="mod">
          <ac:chgData name="Jean QUENTIN" userId="6962deb3-b639-4acd-8091-a0516ea2376b" providerId="ADAL" clId="{146BD8F6-FDDD-49D3-A1A6-146C954086FF}" dt="2021-05-24T13:36:17.759" v="3777" actId="790"/>
          <ac:spMkLst>
            <pc:docMk/>
            <pc:sldMk cId="2117336307" sldId="10458"/>
            <ac:spMk id="60" creationId="{14D6537D-0B58-4DB6-B315-DB8469395B6C}"/>
          </ac:spMkLst>
        </pc:spChg>
        <pc:spChg chg="mod">
          <ac:chgData name="Jean QUENTIN" userId="6962deb3-b639-4acd-8091-a0516ea2376b" providerId="ADAL" clId="{146BD8F6-FDDD-49D3-A1A6-146C954086FF}" dt="2021-05-24T13:36:17.759" v="3778" actId="790"/>
          <ac:spMkLst>
            <pc:docMk/>
            <pc:sldMk cId="2117336307" sldId="10458"/>
            <ac:spMk id="61" creationId="{97E650CB-FAC0-446C-B880-E44B6031DF36}"/>
          </ac:spMkLst>
        </pc:spChg>
        <pc:spChg chg="mod">
          <ac:chgData name="Jean QUENTIN" userId="6962deb3-b639-4acd-8091-a0516ea2376b" providerId="ADAL" clId="{146BD8F6-FDDD-49D3-A1A6-146C954086FF}" dt="2021-05-24T13:36:17.759" v="3779" actId="790"/>
          <ac:spMkLst>
            <pc:docMk/>
            <pc:sldMk cId="2117336307" sldId="10458"/>
            <ac:spMk id="62" creationId="{D82C7EEA-6857-42BF-9A36-8E700C58E26A}"/>
          </ac:spMkLst>
        </pc:spChg>
        <pc:spChg chg="mod">
          <ac:chgData name="Jean QUENTIN" userId="6962deb3-b639-4acd-8091-a0516ea2376b" providerId="ADAL" clId="{146BD8F6-FDDD-49D3-A1A6-146C954086FF}" dt="2021-05-24T13:36:17.759" v="3780" actId="790"/>
          <ac:spMkLst>
            <pc:docMk/>
            <pc:sldMk cId="2117336307" sldId="10458"/>
            <ac:spMk id="63" creationId="{B30BB911-AB18-464D-9C82-EC0D38A7511C}"/>
          </ac:spMkLst>
        </pc:spChg>
      </pc:sldChg>
      <pc:sldChg chg="modSp mod">
        <pc:chgData name="Jean QUENTIN" userId="6962deb3-b639-4acd-8091-a0516ea2376b" providerId="ADAL" clId="{146BD8F6-FDDD-49D3-A1A6-146C954086FF}" dt="2021-05-24T13:36:18.677" v="4234" actId="790"/>
        <pc:sldMkLst>
          <pc:docMk/>
          <pc:sldMk cId="2622219198" sldId="10459"/>
        </pc:sldMkLst>
        <pc:spChg chg="mod">
          <ac:chgData name="Jean QUENTIN" userId="6962deb3-b639-4acd-8091-a0516ea2376b" providerId="ADAL" clId="{146BD8F6-FDDD-49D3-A1A6-146C954086FF}" dt="2021-05-24T13:36:18.524" v="4164" actId="790"/>
          <ac:spMkLst>
            <pc:docMk/>
            <pc:sldMk cId="2622219198" sldId="10459"/>
            <ac:spMk id="2" creationId="{E19F901F-5492-47C0-A6F7-DF38EE87C63C}"/>
          </ac:spMkLst>
        </pc:spChg>
        <pc:spChg chg="mod">
          <ac:chgData name="Jean QUENTIN" userId="6962deb3-b639-4acd-8091-a0516ea2376b" providerId="ADAL" clId="{146BD8F6-FDDD-49D3-A1A6-146C954086FF}" dt="2021-05-24T13:36:18.524" v="4165" actId="790"/>
          <ac:spMkLst>
            <pc:docMk/>
            <pc:sldMk cId="2622219198" sldId="10459"/>
            <ac:spMk id="3" creationId="{EA36DEC0-367F-4462-9ECA-BD4E3ABDD7AD}"/>
          </ac:spMkLst>
        </pc:spChg>
        <pc:spChg chg="mod">
          <ac:chgData name="Jean QUENTIN" userId="6962deb3-b639-4acd-8091-a0516ea2376b" providerId="ADAL" clId="{146BD8F6-FDDD-49D3-A1A6-146C954086FF}" dt="2021-05-24T13:36:18.524" v="4166" actId="790"/>
          <ac:spMkLst>
            <pc:docMk/>
            <pc:sldMk cId="2622219198" sldId="10459"/>
            <ac:spMk id="4" creationId="{36E8441A-7CAA-4835-B0E0-73093E7211AF}"/>
          </ac:spMkLst>
        </pc:spChg>
        <pc:spChg chg="mod">
          <ac:chgData name="Jean QUENTIN" userId="6962deb3-b639-4acd-8091-a0516ea2376b" providerId="ADAL" clId="{146BD8F6-FDDD-49D3-A1A6-146C954086FF}" dt="2021-05-24T13:36:18.524" v="4167" actId="790"/>
          <ac:spMkLst>
            <pc:docMk/>
            <pc:sldMk cId="2622219198" sldId="10459"/>
            <ac:spMk id="5" creationId="{B595370E-355C-4B5F-A978-CDD15547DBD1}"/>
          </ac:spMkLst>
        </pc:spChg>
        <pc:spChg chg="mod">
          <ac:chgData name="Jean QUENTIN" userId="6962deb3-b639-4acd-8091-a0516ea2376b" providerId="ADAL" clId="{146BD8F6-FDDD-49D3-A1A6-146C954086FF}" dt="2021-05-24T13:36:18.539" v="4168" actId="790"/>
          <ac:spMkLst>
            <pc:docMk/>
            <pc:sldMk cId="2622219198" sldId="10459"/>
            <ac:spMk id="6" creationId="{609D4ECD-A435-4FC4-8FA3-4F4EB4E1037F}"/>
          </ac:spMkLst>
        </pc:spChg>
        <pc:spChg chg="mod">
          <ac:chgData name="Jean QUENTIN" userId="6962deb3-b639-4acd-8091-a0516ea2376b" providerId="ADAL" clId="{146BD8F6-FDDD-49D3-A1A6-146C954086FF}" dt="2021-05-24T13:36:18.539" v="4169" actId="790"/>
          <ac:spMkLst>
            <pc:docMk/>
            <pc:sldMk cId="2622219198" sldId="10459"/>
            <ac:spMk id="7" creationId="{3519796A-9FDF-4BE6-8C17-7B847140DB1E}"/>
          </ac:spMkLst>
        </pc:spChg>
        <pc:spChg chg="mod">
          <ac:chgData name="Jean QUENTIN" userId="6962deb3-b639-4acd-8091-a0516ea2376b" providerId="ADAL" clId="{146BD8F6-FDDD-49D3-A1A6-146C954086FF}" dt="2021-05-24T13:36:18.539" v="4170" actId="790"/>
          <ac:spMkLst>
            <pc:docMk/>
            <pc:sldMk cId="2622219198" sldId="10459"/>
            <ac:spMk id="8" creationId="{C0F9EC2E-5B9C-44C3-8BBC-04E6A56A04D9}"/>
          </ac:spMkLst>
        </pc:spChg>
        <pc:spChg chg="mod">
          <ac:chgData name="Jean QUENTIN" userId="6962deb3-b639-4acd-8091-a0516ea2376b" providerId="ADAL" clId="{146BD8F6-FDDD-49D3-A1A6-146C954086FF}" dt="2021-05-24T13:36:18.539" v="4171" actId="790"/>
          <ac:spMkLst>
            <pc:docMk/>
            <pc:sldMk cId="2622219198" sldId="10459"/>
            <ac:spMk id="9" creationId="{317041DE-AACE-4076-B336-98D4DFCF2F8D}"/>
          </ac:spMkLst>
        </pc:spChg>
        <pc:spChg chg="mod">
          <ac:chgData name="Jean QUENTIN" userId="6962deb3-b639-4acd-8091-a0516ea2376b" providerId="ADAL" clId="{146BD8F6-FDDD-49D3-A1A6-146C954086FF}" dt="2021-05-24T13:36:18.539" v="4172" actId="790"/>
          <ac:spMkLst>
            <pc:docMk/>
            <pc:sldMk cId="2622219198" sldId="10459"/>
            <ac:spMk id="10" creationId="{96B7A014-AD04-4B6B-93EF-F8AE892DB682}"/>
          </ac:spMkLst>
        </pc:spChg>
        <pc:spChg chg="mod">
          <ac:chgData name="Jean QUENTIN" userId="6962deb3-b639-4acd-8091-a0516ea2376b" providerId="ADAL" clId="{146BD8F6-FDDD-49D3-A1A6-146C954086FF}" dt="2021-05-24T13:36:18.539" v="4173" actId="790"/>
          <ac:spMkLst>
            <pc:docMk/>
            <pc:sldMk cId="2622219198" sldId="10459"/>
            <ac:spMk id="11" creationId="{BF229D2B-E1C5-4C07-819B-6B198291B445}"/>
          </ac:spMkLst>
        </pc:spChg>
        <pc:spChg chg="mod">
          <ac:chgData name="Jean QUENTIN" userId="6962deb3-b639-4acd-8091-a0516ea2376b" providerId="ADAL" clId="{146BD8F6-FDDD-49D3-A1A6-146C954086FF}" dt="2021-05-24T13:36:18.539" v="4174" actId="790"/>
          <ac:spMkLst>
            <pc:docMk/>
            <pc:sldMk cId="2622219198" sldId="10459"/>
            <ac:spMk id="12" creationId="{3EFA3E8A-E38B-412F-A7AC-89C4DD936271}"/>
          </ac:spMkLst>
        </pc:spChg>
        <pc:spChg chg="mod">
          <ac:chgData name="Jean QUENTIN" userId="6962deb3-b639-4acd-8091-a0516ea2376b" providerId="ADAL" clId="{146BD8F6-FDDD-49D3-A1A6-146C954086FF}" dt="2021-05-24T13:36:18.539" v="4175" actId="790"/>
          <ac:spMkLst>
            <pc:docMk/>
            <pc:sldMk cId="2622219198" sldId="10459"/>
            <ac:spMk id="13" creationId="{17705788-120B-4AC9-B719-CCF70341BA1F}"/>
          </ac:spMkLst>
        </pc:spChg>
        <pc:spChg chg="mod">
          <ac:chgData name="Jean QUENTIN" userId="6962deb3-b639-4acd-8091-a0516ea2376b" providerId="ADAL" clId="{146BD8F6-FDDD-49D3-A1A6-146C954086FF}" dt="2021-05-24T13:36:18.539" v="4176" actId="790"/>
          <ac:spMkLst>
            <pc:docMk/>
            <pc:sldMk cId="2622219198" sldId="10459"/>
            <ac:spMk id="14" creationId="{724AF84E-9B10-405B-8DB6-FA7988A7668D}"/>
          </ac:spMkLst>
        </pc:spChg>
        <pc:spChg chg="mod">
          <ac:chgData name="Jean QUENTIN" userId="6962deb3-b639-4acd-8091-a0516ea2376b" providerId="ADAL" clId="{146BD8F6-FDDD-49D3-A1A6-146C954086FF}" dt="2021-05-24T13:36:18.539" v="4177" actId="790"/>
          <ac:spMkLst>
            <pc:docMk/>
            <pc:sldMk cId="2622219198" sldId="10459"/>
            <ac:spMk id="15" creationId="{34C45BC7-2142-44BC-8D88-77D9EBC4EA6E}"/>
          </ac:spMkLst>
        </pc:spChg>
        <pc:spChg chg="mod">
          <ac:chgData name="Jean QUENTIN" userId="6962deb3-b639-4acd-8091-a0516ea2376b" providerId="ADAL" clId="{146BD8F6-FDDD-49D3-A1A6-146C954086FF}" dt="2021-05-24T13:36:18.539" v="4178" actId="790"/>
          <ac:spMkLst>
            <pc:docMk/>
            <pc:sldMk cId="2622219198" sldId="10459"/>
            <ac:spMk id="16" creationId="{41A679EC-8321-4F10-B731-7F5C67FA2AC4}"/>
          </ac:spMkLst>
        </pc:spChg>
        <pc:spChg chg="mod">
          <ac:chgData name="Jean QUENTIN" userId="6962deb3-b639-4acd-8091-a0516ea2376b" providerId="ADAL" clId="{146BD8F6-FDDD-49D3-A1A6-146C954086FF}" dt="2021-05-24T13:36:18.539" v="4179" actId="790"/>
          <ac:spMkLst>
            <pc:docMk/>
            <pc:sldMk cId="2622219198" sldId="10459"/>
            <ac:spMk id="17" creationId="{2935E5F8-84AB-433D-881B-5B0E1C57BA6F}"/>
          </ac:spMkLst>
        </pc:spChg>
        <pc:spChg chg="mod">
          <ac:chgData name="Jean QUENTIN" userId="6962deb3-b639-4acd-8091-a0516ea2376b" providerId="ADAL" clId="{146BD8F6-FDDD-49D3-A1A6-146C954086FF}" dt="2021-05-24T13:36:18.539" v="4180" actId="790"/>
          <ac:spMkLst>
            <pc:docMk/>
            <pc:sldMk cId="2622219198" sldId="10459"/>
            <ac:spMk id="18" creationId="{B0A62E94-BF7E-40AC-B764-BB2A54C0C494}"/>
          </ac:spMkLst>
        </pc:spChg>
        <pc:spChg chg="mod">
          <ac:chgData name="Jean QUENTIN" userId="6962deb3-b639-4acd-8091-a0516ea2376b" providerId="ADAL" clId="{146BD8F6-FDDD-49D3-A1A6-146C954086FF}" dt="2021-05-24T13:36:18.555" v="4181" actId="790"/>
          <ac:spMkLst>
            <pc:docMk/>
            <pc:sldMk cId="2622219198" sldId="10459"/>
            <ac:spMk id="19" creationId="{027A9967-715F-48E8-B963-0D3A8F664B42}"/>
          </ac:spMkLst>
        </pc:spChg>
        <pc:spChg chg="mod">
          <ac:chgData name="Jean QUENTIN" userId="6962deb3-b639-4acd-8091-a0516ea2376b" providerId="ADAL" clId="{146BD8F6-FDDD-49D3-A1A6-146C954086FF}" dt="2021-05-24T13:36:18.561" v="4182" actId="790"/>
          <ac:spMkLst>
            <pc:docMk/>
            <pc:sldMk cId="2622219198" sldId="10459"/>
            <ac:spMk id="45" creationId="{EB8DCDA0-B944-46B1-94A1-3BC57FE2558C}"/>
          </ac:spMkLst>
        </pc:spChg>
        <pc:spChg chg="mod">
          <ac:chgData name="Jean QUENTIN" userId="6962deb3-b639-4acd-8091-a0516ea2376b" providerId="ADAL" clId="{146BD8F6-FDDD-49D3-A1A6-146C954086FF}" dt="2021-05-24T13:36:18.561" v="4183" actId="790"/>
          <ac:spMkLst>
            <pc:docMk/>
            <pc:sldMk cId="2622219198" sldId="10459"/>
            <ac:spMk id="46" creationId="{7B138FEF-21CD-48C0-BC88-FE04EB25D3AA}"/>
          </ac:spMkLst>
        </pc:spChg>
        <pc:spChg chg="mod">
          <ac:chgData name="Jean QUENTIN" userId="6962deb3-b639-4acd-8091-a0516ea2376b" providerId="ADAL" clId="{146BD8F6-FDDD-49D3-A1A6-146C954086FF}" dt="2021-05-24T13:36:18.561" v="4184" actId="790"/>
          <ac:spMkLst>
            <pc:docMk/>
            <pc:sldMk cId="2622219198" sldId="10459"/>
            <ac:spMk id="47" creationId="{C8752D5D-1277-4ECD-BD07-8C2295A5CD51}"/>
          </ac:spMkLst>
        </pc:spChg>
        <pc:spChg chg="mod">
          <ac:chgData name="Jean QUENTIN" userId="6962deb3-b639-4acd-8091-a0516ea2376b" providerId="ADAL" clId="{146BD8F6-FDDD-49D3-A1A6-146C954086FF}" dt="2021-05-24T13:36:18.561" v="4185" actId="790"/>
          <ac:spMkLst>
            <pc:docMk/>
            <pc:sldMk cId="2622219198" sldId="10459"/>
            <ac:spMk id="49" creationId="{73FF325B-AA43-4315-A9B8-69EBF61E787C}"/>
          </ac:spMkLst>
        </pc:spChg>
        <pc:spChg chg="mod">
          <ac:chgData name="Jean QUENTIN" userId="6962deb3-b639-4acd-8091-a0516ea2376b" providerId="ADAL" clId="{146BD8F6-FDDD-49D3-A1A6-146C954086FF}" dt="2021-05-24T13:36:18.561" v="4186" actId="790"/>
          <ac:spMkLst>
            <pc:docMk/>
            <pc:sldMk cId="2622219198" sldId="10459"/>
            <ac:spMk id="52" creationId="{B01F8A17-D5BB-48D0-9812-19B9E7EC3664}"/>
          </ac:spMkLst>
        </pc:spChg>
        <pc:spChg chg="mod">
          <ac:chgData name="Jean QUENTIN" userId="6962deb3-b639-4acd-8091-a0516ea2376b" providerId="ADAL" clId="{146BD8F6-FDDD-49D3-A1A6-146C954086FF}" dt="2021-05-24T13:36:18.561" v="4187" actId="790"/>
          <ac:spMkLst>
            <pc:docMk/>
            <pc:sldMk cId="2622219198" sldId="10459"/>
            <ac:spMk id="54" creationId="{CBD01CF7-FE13-4ECB-AB15-2BFF82F48911}"/>
          </ac:spMkLst>
        </pc:spChg>
        <pc:spChg chg="mod">
          <ac:chgData name="Jean QUENTIN" userId="6962deb3-b639-4acd-8091-a0516ea2376b" providerId="ADAL" clId="{146BD8F6-FDDD-49D3-A1A6-146C954086FF}" dt="2021-05-24T13:36:18.561" v="4188" actId="790"/>
          <ac:spMkLst>
            <pc:docMk/>
            <pc:sldMk cId="2622219198" sldId="10459"/>
            <ac:spMk id="55" creationId="{B63F3251-C420-4EC6-A652-BED9B1662C49}"/>
          </ac:spMkLst>
        </pc:spChg>
        <pc:spChg chg="mod">
          <ac:chgData name="Jean QUENTIN" userId="6962deb3-b639-4acd-8091-a0516ea2376b" providerId="ADAL" clId="{146BD8F6-FDDD-49D3-A1A6-146C954086FF}" dt="2021-05-24T13:36:18.561" v="4189" actId="790"/>
          <ac:spMkLst>
            <pc:docMk/>
            <pc:sldMk cId="2622219198" sldId="10459"/>
            <ac:spMk id="57" creationId="{69054210-C4B6-4FB4-80AD-FD0685FDB8A7}"/>
          </ac:spMkLst>
        </pc:spChg>
        <pc:spChg chg="mod">
          <ac:chgData name="Jean QUENTIN" userId="6962deb3-b639-4acd-8091-a0516ea2376b" providerId="ADAL" clId="{146BD8F6-FDDD-49D3-A1A6-146C954086FF}" dt="2021-05-24T13:36:18.561" v="4190" actId="790"/>
          <ac:spMkLst>
            <pc:docMk/>
            <pc:sldMk cId="2622219198" sldId="10459"/>
            <ac:spMk id="58" creationId="{232AEBA7-7474-41B4-B82F-C3A42529BB0E}"/>
          </ac:spMkLst>
        </pc:spChg>
        <pc:spChg chg="mod">
          <ac:chgData name="Jean QUENTIN" userId="6962deb3-b639-4acd-8091-a0516ea2376b" providerId="ADAL" clId="{146BD8F6-FDDD-49D3-A1A6-146C954086FF}" dt="2021-05-24T13:36:18.577" v="4191" actId="790"/>
          <ac:spMkLst>
            <pc:docMk/>
            <pc:sldMk cId="2622219198" sldId="10459"/>
            <ac:spMk id="63" creationId="{61A1973B-5E55-44A7-880E-BA9B0E602E07}"/>
          </ac:spMkLst>
        </pc:spChg>
        <pc:spChg chg="mod">
          <ac:chgData name="Jean QUENTIN" userId="6962deb3-b639-4acd-8091-a0516ea2376b" providerId="ADAL" clId="{146BD8F6-FDDD-49D3-A1A6-146C954086FF}" dt="2021-05-24T13:36:18.577" v="4192" actId="790"/>
          <ac:spMkLst>
            <pc:docMk/>
            <pc:sldMk cId="2622219198" sldId="10459"/>
            <ac:spMk id="64" creationId="{454B325B-9049-498F-95B6-2D362EE8E082}"/>
          </ac:spMkLst>
        </pc:spChg>
        <pc:spChg chg="mod">
          <ac:chgData name="Jean QUENTIN" userId="6962deb3-b639-4acd-8091-a0516ea2376b" providerId="ADAL" clId="{146BD8F6-FDDD-49D3-A1A6-146C954086FF}" dt="2021-05-24T13:36:18.577" v="4193" actId="790"/>
          <ac:spMkLst>
            <pc:docMk/>
            <pc:sldMk cId="2622219198" sldId="10459"/>
            <ac:spMk id="65" creationId="{1E938B2A-4E75-4F22-B677-0E92942C3BF0}"/>
          </ac:spMkLst>
        </pc:spChg>
        <pc:spChg chg="mod">
          <ac:chgData name="Jean QUENTIN" userId="6962deb3-b639-4acd-8091-a0516ea2376b" providerId="ADAL" clId="{146BD8F6-FDDD-49D3-A1A6-146C954086FF}" dt="2021-05-24T13:36:18.577" v="4194" actId="790"/>
          <ac:spMkLst>
            <pc:docMk/>
            <pc:sldMk cId="2622219198" sldId="10459"/>
            <ac:spMk id="69" creationId="{DBCAE63A-1BB7-4D88-AF4F-3EA225B48E8E}"/>
          </ac:spMkLst>
        </pc:spChg>
        <pc:spChg chg="mod">
          <ac:chgData name="Jean QUENTIN" userId="6962deb3-b639-4acd-8091-a0516ea2376b" providerId="ADAL" clId="{146BD8F6-FDDD-49D3-A1A6-146C954086FF}" dt="2021-05-24T13:36:18.577" v="4195" actId="790"/>
          <ac:spMkLst>
            <pc:docMk/>
            <pc:sldMk cId="2622219198" sldId="10459"/>
            <ac:spMk id="70" creationId="{F1C05B6A-4C6A-49A8-B882-43C0D93B017C}"/>
          </ac:spMkLst>
        </pc:spChg>
        <pc:spChg chg="mod">
          <ac:chgData name="Jean QUENTIN" userId="6962deb3-b639-4acd-8091-a0516ea2376b" providerId="ADAL" clId="{146BD8F6-FDDD-49D3-A1A6-146C954086FF}" dt="2021-05-24T13:36:18.577" v="4196" actId="790"/>
          <ac:spMkLst>
            <pc:docMk/>
            <pc:sldMk cId="2622219198" sldId="10459"/>
            <ac:spMk id="72" creationId="{D30E9580-C8AB-4324-8ACD-5E2FFF909617}"/>
          </ac:spMkLst>
        </pc:spChg>
        <pc:spChg chg="mod">
          <ac:chgData name="Jean QUENTIN" userId="6962deb3-b639-4acd-8091-a0516ea2376b" providerId="ADAL" clId="{146BD8F6-FDDD-49D3-A1A6-146C954086FF}" dt="2021-05-24T13:36:18.577" v="4197" actId="790"/>
          <ac:spMkLst>
            <pc:docMk/>
            <pc:sldMk cId="2622219198" sldId="10459"/>
            <ac:spMk id="73" creationId="{10BC5ECF-96B8-4588-B214-C8B1A33C3323}"/>
          </ac:spMkLst>
        </pc:spChg>
        <pc:spChg chg="mod">
          <ac:chgData name="Jean QUENTIN" userId="6962deb3-b639-4acd-8091-a0516ea2376b" providerId="ADAL" clId="{146BD8F6-FDDD-49D3-A1A6-146C954086FF}" dt="2021-05-24T13:36:18.577" v="4198" actId="790"/>
          <ac:spMkLst>
            <pc:docMk/>
            <pc:sldMk cId="2622219198" sldId="10459"/>
            <ac:spMk id="74" creationId="{B1E3592B-DCB2-4C49-AA17-FD77A5513DF7}"/>
          </ac:spMkLst>
        </pc:spChg>
        <pc:spChg chg="mod">
          <ac:chgData name="Jean QUENTIN" userId="6962deb3-b639-4acd-8091-a0516ea2376b" providerId="ADAL" clId="{146BD8F6-FDDD-49D3-A1A6-146C954086FF}" dt="2021-05-24T13:36:18.577" v="4199" actId="790"/>
          <ac:spMkLst>
            <pc:docMk/>
            <pc:sldMk cId="2622219198" sldId="10459"/>
            <ac:spMk id="75" creationId="{40464EC8-3ED2-479F-AA13-547A901D2AFC}"/>
          </ac:spMkLst>
        </pc:spChg>
        <pc:spChg chg="mod">
          <ac:chgData name="Jean QUENTIN" userId="6962deb3-b639-4acd-8091-a0516ea2376b" providerId="ADAL" clId="{146BD8F6-FDDD-49D3-A1A6-146C954086FF}" dt="2021-05-24T13:36:18.577" v="4200" actId="790"/>
          <ac:spMkLst>
            <pc:docMk/>
            <pc:sldMk cId="2622219198" sldId="10459"/>
            <ac:spMk id="76" creationId="{10D9986C-9CA4-417C-9CD4-BC05991D62D9}"/>
          </ac:spMkLst>
        </pc:spChg>
        <pc:spChg chg="mod">
          <ac:chgData name="Jean QUENTIN" userId="6962deb3-b639-4acd-8091-a0516ea2376b" providerId="ADAL" clId="{146BD8F6-FDDD-49D3-A1A6-146C954086FF}" dt="2021-05-24T13:36:18.577" v="4201" actId="790"/>
          <ac:spMkLst>
            <pc:docMk/>
            <pc:sldMk cId="2622219198" sldId="10459"/>
            <ac:spMk id="82" creationId="{E9135B47-2D9D-4245-B195-852DFE06A01F}"/>
          </ac:spMkLst>
        </pc:spChg>
        <pc:spChg chg="mod">
          <ac:chgData name="Jean QUENTIN" userId="6962deb3-b639-4acd-8091-a0516ea2376b" providerId="ADAL" clId="{146BD8F6-FDDD-49D3-A1A6-146C954086FF}" dt="2021-05-24T13:36:18.577" v="4202" actId="790"/>
          <ac:spMkLst>
            <pc:docMk/>
            <pc:sldMk cId="2622219198" sldId="10459"/>
            <ac:spMk id="83" creationId="{F605E2FE-2D03-47CF-A9E0-A06DF1E80BA3}"/>
          </ac:spMkLst>
        </pc:spChg>
        <pc:spChg chg="mod">
          <ac:chgData name="Jean QUENTIN" userId="6962deb3-b639-4acd-8091-a0516ea2376b" providerId="ADAL" clId="{146BD8F6-FDDD-49D3-A1A6-146C954086FF}" dt="2021-05-24T13:36:18.593" v="4203" actId="790"/>
          <ac:spMkLst>
            <pc:docMk/>
            <pc:sldMk cId="2622219198" sldId="10459"/>
            <ac:spMk id="84" creationId="{8F0B4BBB-A591-4171-B679-F336E5C5CEC8}"/>
          </ac:spMkLst>
        </pc:spChg>
        <pc:spChg chg="mod">
          <ac:chgData name="Jean QUENTIN" userId="6962deb3-b639-4acd-8091-a0516ea2376b" providerId="ADAL" clId="{146BD8F6-FDDD-49D3-A1A6-146C954086FF}" dt="2021-05-24T13:36:18.593" v="4204" actId="790"/>
          <ac:spMkLst>
            <pc:docMk/>
            <pc:sldMk cId="2622219198" sldId="10459"/>
            <ac:spMk id="95" creationId="{2B208BB2-6D57-419B-BE99-9FB2EB9BB080}"/>
          </ac:spMkLst>
        </pc:spChg>
        <pc:spChg chg="mod">
          <ac:chgData name="Jean QUENTIN" userId="6962deb3-b639-4acd-8091-a0516ea2376b" providerId="ADAL" clId="{146BD8F6-FDDD-49D3-A1A6-146C954086FF}" dt="2021-05-24T13:36:18.593" v="4205" actId="790"/>
          <ac:spMkLst>
            <pc:docMk/>
            <pc:sldMk cId="2622219198" sldId="10459"/>
            <ac:spMk id="96" creationId="{F15561ED-FA6A-4BBA-9A97-BB0743C9E791}"/>
          </ac:spMkLst>
        </pc:spChg>
        <pc:spChg chg="mod">
          <ac:chgData name="Jean QUENTIN" userId="6962deb3-b639-4acd-8091-a0516ea2376b" providerId="ADAL" clId="{146BD8F6-FDDD-49D3-A1A6-146C954086FF}" dt="2021-05-24T13:36:18.593" v="4206" actId="790"/>
          <ac:spMkLst>
            <pc:docMk/>
            <pc:sldMk cId="2622219198" sldId="10459"/>
            <ac:spMk id="97" creationId="{1E59D88E-0852-47C8-A0C2-EC18D5E724D9}"/>
          </ac:spMkLst>
        </pc:spChg>
        <pc:spChg chg="mod">
          <ac:chgData name="Jean QUENTIN" userId="6962deb3-b639-4acd-8091-a0516ea2376b" providerId="ADAL" clId="{146BD8F6-FDDD-49D3-A1A6-146C954086FF}" dt="2021-05-24T13:36:18.593" v="4207" actId="790"/>
          <ac:spMkLst>
            <pc:docMk/>
            <pc:sldMk cId="2622219198" sldId="10459"/>
            <ac:spMk id="98" creationId="{80D609C3-770A-4A62-A60B-1A41FF145B8B}"/>
          </ac:spMkLst>
        </pc:spChg>
        <pc:spChg chg="mod">
          <ac:chgData name="Jean QUENTIN" userId="6962deb3-b639-4acd-8091-a0516ea2376b" providerId="ADAL" clId="{146BD8F6-FDDD-49D3-A1A6-146C954086FF}" dt="2021-05-24T13:36:18.593" v="4208" actId="790"/>
          <ac:spMkLst>
            <pc:docMk/>
            <pc:sldMk cId="2622219198" sldId="10459"/>
            <ac:spMk id="101" creationId="{BEE69406-F245-4940-A3D8-6BB2373960DE}"/>
          </ac:spMkLst>
        </pc:spChg>
        <pc:spChg chg="mod">
          <ac:chgData name="Jean QUENTIN" userId="6962deb3-b639-4acd-8091-a0516ea2376b" providerId="ADAL" clId="{146BD8F6-FDDD-49D3-A1A6-146C954086FF}" dt="2021-05-24T13:36:18.593" v="4209" actId="790"/>
          <ac:spMkLst>
            <pc:docMk/>
            <pc:sldMk cId="2622219198" sldId="10459"/>
            <ac:spMk id="131" creationId="{A0CF7030-74D6-41D0-9786-9F4BB7CAC9A7}"/>
          </ac:spMkLst>
        </pc:spChg>
        <pc:spChg chg="mod">
          <ac:chgData name="Jean QUENTIN" userId="6962deb3-b639-4acd-8091-a0516ea2376b" providerId="ADAL" clId="{146BD8F6-FDDD-49D3-A1A6-146C954086FF}" dt="2021-05-24T13:36:18.608" v="4210" actId="790"/>
          <ac:spMkLst>
            <pc:docMk/>
            <pc:sldMk cId="2622219198" sldId="10459"/>
            <ac:spMk id="132" creationId="{2E738EF8-B3B7-4757-806E-88E0B1DF2612}"/>
          </ac:spMkLst>
        </pc:spChg>
        <pc:spChg chg="mod">
          <ac:chgData name="Jean QUENTIN" userId="6962deb3-b639-4acd-8091-a0516ea2376b" providerId="ADAL" clId="{146BD8F6-FDDD-49D3-A1A6-146C954086FF}" dt="2021-05-24T13:36:18.608" v="4211" actId="790"/>
          <ac:spMkLst>
            <pc:docMk/>
            <pc:sldMk cId="2622219198" sldId="10459"/>
            <ac:spMk id="147" creationId="{81BCCAD9-ACBB-4315-8102-539D64974B9D}"/>
          </ac:spMkLst>
        </pc:spChg>
        <pc:spChg chg="mod">
          <ac:chgData name="Jean QUENTIN" userId="6962deb3-b639-4acd-8091-a0516ea2376b" providerId="ADAL" clId="{146BD8F6-FDDD-49D3-A1A6-146C954086FF}" dt="2021-05-24T13:36:18.608" v="4212" actId="790"/>
          <ac:spMkLst>
            <pc:docMk/>
            <pc:sldMk cId="2622219198" sldId="10459"/>
            <ac:spMk id="148" creationId="{448DFD26-A3F4-495C-8CC0-96A9E41F69F3}"/>
          </ac:spMkLst>
        </pc:spChg>
        <pc:spChg chg="mod">
          <ac:chgData name="Jean QUENTIN" userId="6962deb3-b639-4acd-8091-a0516ea2376b" providerId="ADAL" clId="{146BD8F6-FDDD-49D3-A1A6-146C954086FF}" dt="2021-05-24T13:36:18.608" v="4213" actId="790"/>
          <ac:spMkLst>
            <pc:docMk/>
            <pc:sldMk cId="2622219198" sldId="10459"/>
            <ac:spMk id="149" creationId="{0090C71F-8FB4-4DE7-9BA3-7589EFDFECAD}"/>
          </ac:spMkLst>
        </pc:spChg>
        <pc:spChg chg="mod">
          <ac:chgData name="Jean QUENTIN" userId="6962deb3-b639-4acd-8091-a0516ea2376b" providerId="ADAL" clId="{146BD8F6-FDDD-49D3-A1A6-146C954086FF}" dt="2021-05-24T13:36:18.608" v="4214" actId="790"/>
          <ac:spMkLst>
            <pc:docMk/>
            <pc:sldMk cId="2622219198" sldId="10459"/>
            <ac:spMk id="150" creationId="{062E4221-AD36-4890-8A26-24CC90897E91}"/>
          </ac:spMkLst>
        </pc:spChg>
        <pc:spChg chg="mod">
          <ac:chgData name="Jean QUENTIN" userId="6962deb3-b639-4acd-8091-a0516ea2376b" providerId="ADAL" clId="{146BD8F6-FDDD-49D3-A1A6-146C954086FF}" dt="2021-05-24T13:36:18.608" v="4215" actId="790"/>
          <ac:spMkLst>
            <pc:docMk/>
            <pc:sldMk cId="2622219198" sldId="10459"/>
            <ac:spMk id="151" creationId="{5E64C097-F81E-4F7D-9E0A-18252B921E98}"/>
          </ac:spMkLst>
        </pc:spChg>
        <pc:spChg chg="mod">
          <ac:chgData name="Jean QUENTIN" userId="6962deb3-b639-4acd-8091-a0516ea2376b" providerId="ADAL" clId="{146BD8F6-FDDD-49D3-A1A6-146C954086FF}" dt="2021-05-24T13:36:18.639" v="4216" actId="790"/>
          <ac:spMkLst>
            <pc:docMk/>
            <pc:sldMk cId="2622219198" sldId="10459"/>
            <ac:spMk id="162" creationId="{A5B49362-B700-474F-869D-13632EDB5039}"/>
          </ac:spMkLst>
        </pc:spChg>
        <pc:spChg chg="mod">
          <ac:chgData name="Jean QUENTIN" userId="6962deb3-b639-4acd-8091-a0516ea2376b" providerId="ADAL" clId="{146BD8F6-FDDD-49D3-A1A6-146C954086FF}" dt="2021-05-24T13:36:18.662" v="4229" actId="790"/>
          <ac:spMkLst>
            <pc:docMk/>
            <pc:sldMk cId="2622219198" sldId="10459"/>
            <ac:spMk id="163" creationId="{54A525F7-C4EF-45B9-AF85-477C224439A8}"/>
          </ac:spMkLst>
        </pc:spChg>
        <pc:spChg chg="mod">
          <ac:chgData name="Jean QUENTIN" userId="6962deb3-b639-4acd-8091-a0516ea2376b" providerId="ADAL" clId="{146BD8F6-FDDD-49D3-A1A6-146C954086FF}" dt="2021-05-24T13:36:18.662" v="4230" actId="790"/>
          <ac:spMkLst>
            <pc:docMk/>
            <pc:sldMk cId="2622219198" sldId="10459"/>
            <ac:spMk id="164" creationId="{6EE15319-CE88-40B3-82B7-981F52FF7D97}"/>
          </ac:spMkLst>
        </pc:spChg>
        <pc:spChg chg="mod">
          <ac:chgData name="Jean QUENTIN" userId="6962deb3-b639-4acd-8091-a0516ea2376b" providerId="ADAL" clId="{146BD8F6-FDDD-49D3-A1A6-146C954086FF}" dt="2021-05-24T13:36:18.662" v="4231" actId="790"/>
          <ac:spMkLst>
            <pc:docMk/>
            <pc:sldMk cId="2622219198" sldId="10459"/>
            <ac:spMk id="165" creationId="{4FB4E446-0CDF-4CAF-A3F8-D6DE98B3EAEB}"/>
          </ac:spMkLst>
        </pc:spChg>
        <pc:spChg chg="mod">
          <ac:chgData name="Jean QUENTIN" userId="6962deb3-b639-4acd-8091-a0516ea2376b" providerId="ADAL" clId="{146BD8F6-FDDD-49D3-A1A6-146C954086FF}" dt="2021-05-24T13:36:18.662" v="4232" actId="790"/>
          <ac:spMkLst>
            <pc:docMk/>
            <pc:sldMk cId="2622219198" sldId="10459"/>
            <ac:spMk id="166" creationId="{5668BEA4-6F7C-4EEC-A5DA-1296C9AD902C}"/>
          </ac:spMkLst>
        </pc:spChg>
        <pc:spChg chg="mod">
          <ac:chgData name="Jean QUENTIN" userId="6962deb3-b639-4acd-8091-a0516ea2376b" providerId="ADAL" clId="{146BD8F6-FDDD-49D3-A1A6-146C954086FF}" dt="2021-05-24T13:36:18.677" v="4233" actId="790"/>
          <ac:spMkLst>
            <pc:docMk/>
            <pc:sldMk cId="2622219198" sldId="10459"/>
            <ac:spMk id="167" creationId="{70A31A41-D39A-4901-B524-DEB6EC5B4504}"/>
          </ac:spMkLst>
        </pc:spChg>
        <pc:spChg chg="mod">
          <ac:chgData name="Jean QUENTIN" userId="6962deb3-b639-4acd-8091-a0516ea2376b" providerId="ADAL" clId="{146BD8F6-FDDD-49D3-A1A6-146C954086FF}" dt="2021-05-24T13:36:18.639" v="4217" actId="790"/>
          <ac:spMkLst>
            <pc:docMk/>
            <pc:sldMk cId="2622219198" sldId="10459"/>
            <ac:spMk id="172" creationId="{573B193E-922F-4F2A-B0EF-A233D5981190}"/>
          </ac:spMkLst>
        </pc:spChg>
        <pc:spChg chg="mod">
          <ac:chgData name="Jean QUENTIN" userId="6962deb3-b639-4acd-8091-a0516ea2376b" providerId="ADAL" clId="{146BD8F6-FDDD-49D3-A1A6-146C954086FF}" dt="2021-05-24T13:36:18.639" v="4218" actId="790"/>
          <ac:spMkLst>
            <pc:docMk/>
            <pc:sldMk cId="2622219198" sldId="10459"/>
            <ac:spMk id="173" creationId="{0E1F7BD5-C7A9-40EB-BE70-0ED5A5A3E443}"/>
          </ac:spMkLst>
        </pc:spChg>
        <pc:spChg chg="mod">
          <ac:chgData name="Jean QUENTIN" userId="6962deb3-b639-4acd-8091-a0516ea2376b" providerId="ADAL" clId="{146BD8F6-FDDD-49D3-A1A6-146C954086FF}" dt="2021-05-24T13:36:18.639" v="4219" actId="790"/>
          <ac:spMkLst>
            <pc:docMk/>
            <pc:sldMk cId="2622219198" sldId="10459"/>
            <ac:spMk id="174" creationId="{1BD2C0B7-0F4D-4E93-9CBF-5D166B72FB73}"/>
          </ac:spMkLst>
        </pc:spChg>
        <pc:spChg chg="mod">
          <ac:chgData name="Jean QUENTIN" userId="6962deb3-b639-4acd-8091-a0516ea2376b" providerId="ADAL" clId="{146BD8F6-FDDD-49D3-A1A6-146C954086FF}" dt="2021-05-24T13:36:18.639" v="4220" actId="790"/>
          <ac:spMkLst>
            <pc:docMk/>
            <pc:sldMk cId="2622219198" sldId="10459"/>
            <ac:spMk id="175" creationId="{0C39A08F-20B5-4DA9-8952-9C4E259C3CD0}"/>
          </ac:spMkLst>
        </pc:spChg>
        <pc:spChg chg="mod">
          <ac:chgData name="Jean QUENTIN" userId="6962deb3-b639-4acd-8091-a0516ea2376b" providerId="ADAL" clId="{146BD8F6-FDDD-49D3-A1A6-146C954086FF}" dt="2021-05-24T13:36:18.639" v="4221" actId="790"/>
          <ac:spMkLst>
            <pc:docMk/>
            <pc:sldMk cId="2622219198" sldId="10459"/>
            <ac:spMk id="176" creationId="{E452111D-2242-4028-AA71-C83ED46CFF56}"/>
          </ac:spMkLst>
        </pc:spChg>
        <pc:spChg chg="mod">
          <ac:chgData name="Jean QUENTIN" userId="6962deb3-b639-4acd-8091-a0516ea2376b" providerId="ADAL" clId="{146BD8F6-FDDD-49D3-A1A6-146C954086FF}" dt="2021-05-24T13:36:18.639" v="4222" actId="790"/>
          <ac:spMkLst>
            <pc:docMk/>
            <pc:sldMk cId="2622219198" sldId="10459"/>
            <ac:spMk id="177" creationId="{02D6AC18-1DCD-4CCE-937B-AF9ED43AEFF2}"/>
          </ac:spMkLst>
        </pc:spChg>
        <pc:spChg chg="mod">
          <ac:chgData name="Jean QUENTIN" userId="6962deb3-b639-4acd-8091-a0516ea2376b" providerId="ADAL" clId="{146BD8F6-FDDD-49D3-A1A6-146C954086FF}" dt="2021-05-24T13:36:18.655" v="4223" actId="790"/>
          <ac:spMkLst>
            <pc:docMk/>
            <pc:sldMk cId="2622219198" sldId="10459"/>
            <ac:spMk id="178" creationId="{84F748E7-32C8-4D45-B09F-063FE37693E3}"/>
          </ac:spMkLst>
        </pc:spChg>
        <pc:spChg chg="mod">
          <ac:chgData name="Jean QUENTIN" userId="6962deb3-b639-4acd-8091-a0516ea2376b" providerId="ADAL" clId="{146BD8F6-FDDD-49D3-A1A6-146C954086FF}" dt="2021-05-24T13:36:18.662" v="4224" actId="790"/>
          <ac:spMkLst>
            <pc:docMk/>
            <pc:sldMk cId="2622219198" sldId="10459"/>
            <ac:spMk id="179" creationId="{B66B3442-859B-42FD-8236-77D440E52012}"/>
          </ac:spMkLst>
        </pc:spChg>
        <pc:spChg chg="mod">
          <ac:chgData name="Jean QUENTIN" userId="6962deb3-b639-4acd-8091-a0516ea2376b" providerId="ADAL" clId="{146BD8F6-FDDD-49D3-A1A6-146C954086FF}" dt="2021-05-24T13:36:18.662" v="4225" actId="790"/>
          <ac:spMkLst>
            <pc:docMk/>
            <pc:sldMk cId="2622219198" sldId="10459"/>
            <ac:spMk id="180" creationId="{0E9A7E47-BD38-44E5-819C-B5F759AC6D7D}"/>
          </ac:spMkLst>
        </pc:spChg>
        <pc:spChg chg="mod">
          <ac:chgData name="Jean QUENTIN" userId="6962deb3-b639-4acd-8091-a0516ea2376b" providerId="ADAL" clId="{146BD8F6-FDDD-49D3-A1A6-146C954086FF}" dt="2021-05-24T13:36:18.662" v="4226" actId="790"/>
          <ac:spMkLst>
            <pc:docMk/>
            <pc:sldMk cId="2622219198" sldId="10459"/>
            <ac:spMk id="181" creationId="{1BB216E4-6201-48B3-8401-10870BB9DCD5}"/>
          </ac:spMkLst>
        </pc:spChg>
        <pc:spChg chg="mod">
          <ac:chgData name="Jean QUENTIN" userId="6962deb3-b639-4acd-8091-a0516ea2376b" providerId="ADAL" clId="{146BD8F6-FDDD-49D3-A1A6-146C954086FF}" dt="2021-05-24T13:36:18.662" v="4227" actId="790"/>
          <ac:spMkLst>
            <pc:docMk/>
            <pc:sldMk cId="2622219198" sldId="10459"/>
            <ac:spMk id="182" creationId="{C3F31445-4914-4F96-8D31-7A526B1FDCE5}"/>
          </ac:spMkLst>
        </pc:spChg>
        <pc:spChg chg="mod">
          <ac:chgData name="Jean QUENTIN" userId="6962deb3-b639-4acd-8091-a0516ea2376b" providerId="ADAL" clId="{146BD8F6-FDDD-49D3-A1A6-146C954086FF}" dt="2021-05-24T13:36:18.662" v="4228" actId="790"/>
          <ac:spMkLst>
            <pc:docMk/>
            <pc:sldMk cId="2622219198" sldId="10459"/>
            <ac:spMk id="183" creationId="{BEC7A597-F4A8-4974-8375-6E29E8C47B42}"/>
          </ac:spMkLst>
        </pc:spChg>
        <pc:spChg chg="mod">
          <ac:chgData name="Jean QUENTIN" userId="6962deb3-b639-4acd-8091-a0516ea2376b" providerId="ADAL" clId="{146BD8F6-FDDD-49D3-A1A6-146C954086FF}" dt="2021-05-24T13:36:18.677" v="4234" actId="790"/>
          <ac:spMkLst>
            <pc:docMk/>
            <pc:sldMk cId="2622219198" sldId="10459"/>
            <ac:spMk id="190" creationId="{585D1C7F-69A8-4001-89E5-EA9E32584A1B}"/>
          </ac:spMkLst>
        </pc:spChg>
      </pc:sldChg>
      <pc:sldChg chg="modSp mod">
        <pc:chgData name="Jean QUENTIN" userId="6962deb3-b639-4acd-8091-a0516ea2376b" providerId="ADAL" clId="{146BD8F6-FDDD-49D3-A1A6-146C954086FF}" dt="2021-05-24T13:36:19.094" v="4419" actId="790"/>
        <pc:sldMkLst>
          <pc:docMk/>
          <pc:sldMk cId="2233000822" sldId="10460"/>
        </pc:sldMkLst>
        <pc:spChg chg="mod">
          <ac:chgData name="Jean QUENTIN" userId="6962deb3-b639-4acd-8091-a0516ea2376b" providerId="ADAL" clId="{146BD8F6-FDDD-49D3-A1A6-146C954086FF}" dt="2021-05-24T13:36:18.978" v="4370" actId="790"/>
          <ac:spMkLst>
            <pc:docMk/>
            <pc:sldMk cId="2233000822" sldId="10460"/>
            <ac:spMk id="2" creationId="{BA3E4240-1B8B-4AAA-9DCA-9FE236464846}"/>
          </ac:spMkLst>
        </pc:spChg>
        <pc:spChg chg="mod">
          <ac:chgData name="Jean QUENTIN" userId="6962deb3-b639-4acd-8091-a0516ea2376b" providerId="ADAL" clId="{146BD8F6-FDDD-49D3-A1A6-146C954086FF}" dt="2021-05-24T13:36:18.978" v="4371" actId="790"/>
          <ac:spMkLst>
            <pc:docMk/>
            <pc:sldMk cId="2233000822" sldId="10460"/>
            <ac:spMk id="3" creationId="{1773FC09-D385-45A1-AC2E-146DDDE8BD0A}"/>
          </ac:spMkLst>
        </pc:spChg>
        <pc:spChg chg="mod">
          <ac:chgData name="Jean QUENTIN" userId="6962deb3-b639-4acd-8091-a0516ea2376b" providerId="ADAL" clId="{146BD8F6-FDDD-49D3-A1A6-146C954086FF}" dt="2021-05-24T13:36:18.978" v="4372" actId="790"/>
          <ac:spMkLst>
            <pc:docMk/>
            <pc:sldMk cId="2233000822" sldId="10460"/>
            <ac:spMk id="9" creationId="{8EBE87B3-F04E-491F-82E3-AD5C42A920E2}"/>
          </ac:spMkLst>
        </pc:spChg>
        <pc:spChg chg="mod">
          <ac:chgData name="Jean QUENTIN" userId="6962deb3-b639-4acd-8091-a0516ea2376b" providerId="ADAL" clId="{146BD8F6-FDDD-49D3-A1A6-146C954086FF}" dt="2021-05-24T13:36:19.025" v="4392" actId="790"/>
          <ac:spMkLst>
            <pc:docMk/>
            <pc:sldMk cId="2233000822" sldId="10460"/>
            <ac:spMk id="10" creationId="{8B80541E-0CB8-4F46-AA31-1D2CE8ECE50F}"/>
          </ac:spMkLst>
        </pc:spChg>
        <pc:spChg chg="mod">
          <ac:chgData name="Jean QUENTIN" userId="6962deb3-b639-4acd-8091-a0516ea2376b" providerId="ADAL" clId="{146BD8F6-FDDD-49D3-A1A6-146C954086FF}" dt="2021-05-24T13:36:18.978" v="4373" actId="790"/>
          <ac:spMkLst>
            <pc:docMk/>
            <pc:sldMk cId="2233000822" sldId="10460"/>
            <ac:spMk id="12" creationId="{5632CA9B-96AD-46F9-9A8A-B6E6800443DD}"/>
          </ac:spMkLst>
        </pc:spChg>
        <pc:spChg chg="mod">
          <ac:chgData name="Jean QUENTIN" userId="6962deb3-b639-4acd-8091-a0516ea2376b" providerId="ADAL" clId="{146BD8F6-FDDD-49D3-A1A6-146C954086FF}" dt="2021-05-24T13:36:18.994" v="4374" actId="790"/>
          <ac:spMkLst>
            <pc:docMk/>
            <pc:sldMk cId="2233000822" sldId="10460"/>
            <ac:spMk id="13" creationId="{8A47A578-76B7-48A6-B910-8A54E9BC3C53}"/>
          </ac:spMkLst>
        </pc:spChg>
        <pc:spChg chg="mod">
          <ac:chgData name="Jean QUENTIN" userId="6962deb3-b639-4acd-8091-a0516ea2376b" providerId="ADAL" clId="{146BD8F6-FDDD-49D3-A1A6-146C954086FF}" dt="2021-05-24T13:36:18.994" v="4375" actId="790"/>
          <ac:spMkLst>
            <pc:docMk/>
            <pc:sldMk cId="2233000822" sldId="10460"/>
            <ac:spMk id="16" creationId="{4FCCDEAF-F1D6-472C-8877-BCF7D817DF4C}"/>
          </ac:spMkLst>
        </pc:spChg>
        <pc:spChg chg="mod">
          <ac:chgData name="Jean QUENTIN" userId="6962deb3-b639-4acd-8091-a0516ea2376b" providerId="ADAL" clId="{146BD8F6-FDDD-49D3-A1A6-146C954086FF}" dt="2021-05-24T13:36:19.063" v="4406" actId="790"/>
          <ac:spMkLst>
            <pc:docMk/>
            <pc:sldMk cId="2233000822" sldId="10460"/>
            <ac:spMk id="21" creationId="{58337BA2-B7F0-4432-B9BF-C085B3E8B7D0}"/>
          </ac:spMkLst>
        </pc:spChg>
        <pc:spChg chg="mod">
          <ac:chgData name="Jean QUENTIN" userId="6962deb3-b639-4acd-8091-a0516ea2376b" providerId="ADAL" clId="{146BD8F6-FDDD-49D3-A1A6-146C954086FF}" dt="2021-05-24T13:36:19.063" v="4407" actId="790"/>
          <ac:spMkLst>
            <pc:docMk/>
            <pc:sldMk cId="2233000822" sldId="10460"/>
            <ac:spMk id="23" creationId="{CAB7DE97-987C-4E1B-AC28-72D620F2E2AC}"/>
          </ac:spMkLst>
        </pc:spChg>
        <pc:spChg chg="mod">
          <ac:chgData name="Jean QUENTIN" userId="6962deb3-b639-4acd-8091-a0516ea2376b" providerId="ADAL" clId="{146BD8F6-FDDD-49D3-A1A6-146C954086FF}" dt="2021-05-24T13:36:18.994" v="4376" actId="790"/>
          <ac:spMkLst>
            <pc:docMk/>
            <pc:sldMk cId="2233000822" sldId="10460"/>
            <ac:spMk id="24" creationId="{B613E2EA-B96E-46E4-BF88-51F7E87FD434}"/>
          </ac:spMkLst>
        </pc:spChg>
        <pc:spChg chg="mod">
          <ac:chgData name="Jean QUENTIN" userId="6962deb3-b639-4acd-8091-a0516ea2376b" providerId="ADAL" clId="{146BD8F6-FDDD-49D3-A1A6-146C954086FF}" dt="2021-05-24T13:36:18.994" v="4377" actId="790"/>
          <ac:spMkLst>
            <pc:docMk/>
            <pc:sldMk cId="2233000822" sldId="10460"/>
            <ac:spMk id="25" creationId="{0634D66A-E6F6-4578-8A06-11D9F3F9E648}"/>
          </ac:spMkLst>
        </pc:spChg>
        <pc:spChg chg="mod">
          <ac:chgData name="Jean QUENTIN" userId="6962deb3-b639-4acd-8091-a0516ea2376b" providerId="ADAL" clId="{146BD8F6-FDDD-49D3-A1A6-146C954086FF}" dt="2021-05-24T13:36:18.994" v="4378" actId="790"/>
          <ac:spMkLst>
            <pc:docMk/>
            <pc:sldMk cId="2233000822" sldId="10460"/>
            <ac:spMk id="31" creationId="{0C5924EB-4FAB-4EEB-8C48-044C8B950722}"/>
          </ac:spMkLst>
        </pc:spChg>
        <pc:spChg chg="mod">
          <ac:chgData name="Jean QUENTIN" userId="6962deb3-b639-4acd-8091-a0516ea2376b" providerId="ADAL" clId="{146BD8F6-FDDD-49D3-A1A6-146C954086FF}" dt="2021-05-24T13:36:18.994" v="4379" actId="790"/>
          <ac:spMkLst>
            <pc:docMk/>
            <pc:sldMk cId="2233000822" sldId="10460"/>
            <ac:spMk id="32" creationId="{F2EECF5B-E5DE-4D06-85AD-830FFDAFCB24}"/>
          </ac:spMkLst>
        </pc:spChg>
        <pc:spChg chg="mod">
          <ac:chgData name="Jean QUENTIN" userId="6962deb3-b639-4acd-8091-a0516ea2376b" providerId="ADAL" clId="{146BD8F6-FDDD-49D3-A1A6-146C954086FF}" dt="2021-05-24T13:36:19.025" v="4389" actId="790"/>
          <ac:spMkLst>
            <pc:docMk/>
            <pc:sldMk cId="2233000822" sldId="10460"/>
            <ac:spMk id="50" creationId="{3D11D9AD-56B2-4FD0-998A-C3C17321490E}"/>
          </ac:spMkLst>
        </pc:spChg>
        <pc:spChg chg="mod">
          <ac:chgData name="Jean QUENTIN" userId="6962deb3-b639-4acd-8091-a0516ea2376b" providerId="ADAL" clId="{146BD8F6-FDDD-49D3-A1A6-146C954086FF}" dt="2021-05-24T13:36:19.025" v="4390" actId="790"/>
          <ac:spMkLst>
            <pc:docMk/>
            <pc:sldMk cId="2233000822" sldId="10460"/>
            <ac:spMk id="51" creationId="{ABA09096-B3E8-4754-A77D-65D350688B5B}"/>
          </ac:spMkLst>
        </pc:spChg>
        <pc:spChg chg="mod">
          <ac:chgData name="Jean QUENTIN" userId="6962deb3-b639-4acd-8091-a0516ea2376b" providerId="ADAL" clId="{146BD8F6-FDDD-49D3-A1A6-146C954086FF}" dt="2021-05-24T13:36:19.025" v="4391" actId="790"/>
          <ac:spMkLst>
            <pc:docMk/>
            <pc:sldMk cId="2233000822" sldId="10460"/>
            <ac:spMk id="52" creationId="{269DE5CB-BABB-4CE5-BFC8-CA5EE268E23C}"/>
          </ac:spMkLst>
        </pc:spChg>
        <pc:spChg chg="mod">
          <ac:chgData name="Jean QUENTIN" userId="6962deb3-b639-4acd-8091-a0516ea2376b" providerId="ADAL" clId="{146BD8F6-FDDD-49D3-A1A6-146C954086FF}" dt="2021-05-24T13:36:19.025" v="4393" actId="790"/>
          <ac:spMkLst>
            <pc:docMk/>
            <pc:sldMk cId="2233000822" sldId="10460"/>
            <ac:spMk id="54" creationId="{A1ED7959-6972-4CA1-87DE-4A9E265D1EE1}"/>
          </ac:spMkLst>
        </pc:spChg>
        <pc:spChg chg="mod">
          <ac:chgData name="Jean QUENTIN" userId="6962deb3-b639-4acd-8091-a0516ea2376b" providerId="ADAL" clId="{146BD8F6-FDDD-49D3-A1A6-146C954086FF}" dt="2021-05-24T13:36:19.078" v="4413" actId="790"/>
          <ac:spMkLst>
            <pc:docMk/>
            <pc:sldMk cId="2233000822" sldId="10460"/>
            <ac:spMk id="59" creationId="{EA6890C8-3B25-4BC1-B255-6FDC8ACC9FFA}"/>
          </ac:spMkLst>
        </pc:spChg>
        <pc:spChg chg="mod">
          <ac:chgData name="Jean QUENTIN" userId="6962deb3-b639-4acd-8091-a0516ea2376b" providerId="ADAL" clId="{146BD8F6-FDDD-49D3-A1A6-146C954086FF}" dt="2021-05-24T13:36:19.078" v="4414" actId="790"/>
          <ac:spMkLst>
            <pc:docMk/>
            <pc:sldMk cId="2233000822" sldId="10460"/>
            <ac:spMk id="60" creationId="{2E0AF7B1-E1FA-4244-A8B3-5647CA25A2D8}"/>
          </ac:spMkLst>
        </pc:spChg>
        <pc:spChg chg="mod">
          <ac:chgData name="Jean QUENTIN" userId="6962deb3-b639-4acd-8091-a0516ea2376b" providerId="ADAL" clId="{146BD8F6-FDDD-49D3-A1A6-146C954086FF}" dt="2021-05-24T13:36:19.025" v="4394" actId="790"/>
          <ac:spMkLst>
            <pc:docMk/>
            <pc:sldMk cId="2233000822" sldId="10460"/>
            <ac:spMk id="61" creationId="{0CCFF1A2-CE09-4311-BD82-2FC01C7F8607}"/>
          </ac:spMkLst>
        </pc:spChg>
        <pc:spChg chg="mod">
          <ac:chgData name="Jean QUENTIN" userId="6962deb3-b639-4acd-8091-a0516ea2376b" providerId="ADAL" clId="{146BD8F6-FDDD-49D3-A1A6-146C954086FF}" dt="2021-05-24T13:36:19.078" v="4415" actId="790"/>
          <ac:spMkLst>
            <pc:docMk/>
            <pc:sldMk cId="2233000822" sldId="10460"/>
            <ac:spMk id="62" creationId="{FD9C8703-8870-4B66-BD32-4BBDFC990586}"/>
          </ac:spMkLst>
        </pc:spChg>
        <pc:spChg chg="mod">
          <ac:chgData name="Jean QUENTIN" userId="6962deb3-b639-4acd-8091-a0516ea2376b" providerId="ADAL" clId="{146BD8F6-FDDD-49D3-A1A6-146C954086FF}" dt="2021-05-24T13:36:19.078" v="4416" actId="790"/>
          <ac:spMkLst>
            <pc:docMk/>
            <pc:sldMk cId="2233000822" sldId="10460"/>
            <ac:spMk id="63" creationId="{49572747-F2B7-4B82-BACA-746AF07C39A7}"/>
          </ac:spMkLst>
        </pc:spChg>
        <pc:spChg chg="mod">
          <ac:chgData name="Jean QUENTIN" userId="6962deb3-b639-4acd-8091-a0516ea2376b" providerId="ADAL" clId="{146BD8F6-FDDD-49D3-A1A6-146C954086FF}" dt="2021-05-24T13:36:19.078" v="4417" actId="790"/>
          <ac:spMkLst>
            <pc:docMk/>
            <pc:sldMk cId="2233000822" sldId="10460"/>
            <ac:spMk id="64" creationId="{62AD9C8B-EE8D-4437-9A4F-DB3CF9653138}"/>
          </ac:spMkLst>
        </pc:spChg>
        <pc:spChg chg="mod">
          <ac:chgData name="Jean QUENTIN" userId="6962deb3-b639-4acd-8091-a0516ea2376b" providerId="ADAL" clId="{146BD8F6-FDDD-49D3-A1A6-146C954086FF}" dt="2021-05-24T13:36:19.041" v="4395" actId="790"/>
          <ac:spMkLst>
            <pc:docMk/>
            <pc:sldMk cId="2233000822" sldId="10460"/>
            <ac:spMk id="68" creationId="{A5346155-53F6-4492-8069-514F081C33B9}"/>
          </ac:spMkLst>
        </pc:spChg>
        <pc:spChg chg="mod">
          <ac:chgData name="Jean QUENTIN" userId="6962deb3-b639-4acd-8091-a0516ea2376b" providerId="ADAL" clId="{146BD8F6-FDDD-49D3-A1A6-146C954086FF}" dt="2021-05-24T13:36:19.041" v="4396" actId="790"/>
          <ac:spMkLst>
            <pc:docMk/>
            <pc:sldMk cId="2233000822" sldId="10460"/>
            <ac:spMk id="73" creationId="{98DD9878-7EFD-4EE3-8563-0AB6CA847BCD}"/>
          </ac:spMkLst>
        </pc:spChg>
        <pc:spChg chg="mod">
          <ac:chgData name="Jean QUENTIN" userId="6962deb3-b639-4acd-8091-a0516ea2376b" providerId="ADAL" clId="{146BD8F6-FDDD-49D3-A1A6-146C954086FF}" dt="2021-05-24T13:36:19.041" v="4397" actId="790"/>
          <ac:spMkLst>
            <pc:docMk/>
            <pc:sldMk cId="2233000822" sldId="10460"/>
            <ac:spMk id="78" creationId="{5112757C-9BF4-4BA1-9498-541BF2906FB2}"/>
          </ac:spMkLst>
        </pc:spChg>
        <pc:spChg chg="mod">
          <ac:chgData name="Jean QUENTIN" userId="6962deb3-b639-4acd-8091-a0516ea2376b" providerId="ADAL" clId="{146BD8F6-FDDD-49D3-A1A6-146C954086FF}" dt="2021-05-24T13:36:19.041" v="4398" actId="790"/>
          <ac:spMkLst>
            <pc:docMk/>
            <pc:sldMk cId="2233000822" sldId="10460"/>
            <ac:spMk id="79" creationId="{03A27743-6F0C-44CB-A476-520C8741EAE9}"/>
          </ac:spMkLst>
        </pc:spChg>
        <pc:spChg chg="mod">
          <ac:chgData name="Jean QUENTIN" userId="6962deb3-b639-4acd-8091-a0516ea2376b" providerId="ADAL" clId="{146BD8F6-FDDD-49D3-A1A6-146C954086FF}" dt="2021-05-24T13:36:19.056" v="4399" actId="790"/>
          <ac:spMkLst>
            <pc:docMk/>
            <pc:sldMk cId="2233000822" sldId="10460"/>
            <ac:spMk id="80" creationId="{E399A358-1215-4FA3-8339-9689B70175BF}"/>
          </ac:spMkLst>
        </pc:spChg>
        <pc:spChg chg="mod">
          <ac:chgData name="Jean QUENTIN" userId="6962deb3-b639-4acd-8091-a0516ea2376b" providerId="ADAL" clId="{146BD8F6-FDDD-49D3-A1A6-146C954086FF}" dt="2021-05-24T13:36:19.063" v="4408" actId="790"/>
          <ac:spMkLst>
            <pc:docMk/>
            <pc:sldMk cId="2233000822" sldId="10460"/>
            <ac:spMk id="81" creationId="{60F8FC4C-7305-426C-8523-F98FB2B728B2}"/>
          </ac:spMkLst>
        </pc:spChg>
        <pc:spChg chg="mod">
          <ac:chgData name="Jean QUENTIN" userId="6962deb3-b639-4acd-8091-a0516ea2376b" providerId="ADAL" clId="{146BD8F6-FDDD-49D3-A1A6-146C954086FF}" dt="2021-05-24T13:36:19.056" v="4400" actId="790"/>
          <ac:spMkLst>
            <pc:docMk/>
            <pc:sldMk cId="2233000822" sldId="10460"/>
            <ac:spMk id="82" creationId="{378DC2D4-4EBE-4118-8C40-86863555C037}"/>
          </ac:spMkLst>
        </pc:spChg>
        <pc:spChg chg="mod">
          <ac:chgData name="Jean QUENTIN" userId="6962deb3-b639-4acd-8091-a0516ea2376b" providerId="ADAL" clId="{146BD8F6-FDDD-49D3-A1A6-146C954086FF}" dt="2021-05-24T13:36:19.063" v="4401" actId="790"/>
          <ac:spMkLst>
            <pc:docMk/>
            <pc:sldMk cId="2233000822" sldId="10460"/>
            <ac:spMk id="84" creationId="{3C53EFB8-8D77-4743-B5E2-D02A8132C2B0}"/>
          </ac:spMkLst>
        </pc:spChg>
        <pc:spChg chg="mod">
          <ac:chgData name="Jean QUENTIN" userId="6962deb3-b639-4acd-8091-a0516ea2376b" providerId="ADAL" clId="{146BD8F6-FDDD-49D3-A1A6-146C954086FF}" dt="2021-05-24T13:36:19.063" v="4409" actId="790"/>
          <ac:spMkLst>
            <pc:docMk/>
            <pc:sldMk cId="2233000822" sldId="10460"/>
            <ac:spMk id="86" creationId="{5426AF42-AB87-4AFB-94AB-DD1D8EF561A6}"/>
          </ac:spMkLst>
        </pc:spChg>
        <pc:spChg chg="mod">
          <ac:chgData name="Jean QUENTIN" userId="6962deb3-b639-4acd-8091-a0516ea2376b" providerId="ADAL" clId="{146BD8F6-FDDD-49D3-A1A6-146C954086FF}" dt="2021-05-24T13:36:19.009" v="4380" actId="790"/>
          <ac:spMkLst>
            <pc:docMk/>
            <pc:sldMk cId="2233000822" sldId="10460"/>
            <ac:spMk id="88" creationId="{34AD6019-DF31-49B1-9576-11ED4DEEE9F3}"/>
          </ac:spMkLst>
        </pc:spChg>
        <pc:spChg chg="mod">
          <ac:chgData name="Jean QUENTIN" userId="6962deb3-b639-4acd-8091-a0516ea2376b" providerId="ADAL" clId="{146BD8F6-FDDD-49D3-A1A6-146C954086FF}" dt="2021-05-24T13:36:19.009" v="4381" actId="790"/>
          <ac:spMkLst>
            <pc:docMk/>
            <pc:sldMk cId="2233000822" sldId="10460"/>
            <ac:spMk id="89" creationId="{0E3C8382-14B0-4DD7-8CF1-F74F30CA1AB5}"/>
          </ac:spMkLst>
        </pc:spChg>
        <pc:spChg chg="mod">
          <ac:chgData name="Jean QUENTIN" userId="6962deb3-b639-4acd-8091-a0516ea2376b" providerId="ADAL" clId="{146BD8F6-FDDD-49D3-A1A6-146C954086FF}" dt="2021-05-24T13:36:19.009" v="4382" actId="790"/>
          <ac:spMkLst>
            <pc:docMk/>
            <pc:sldMk cId="2233000822" sldId="10460"/>
            <ac:spMk id="90" creationId="{08ED6D2A-682C-461A-BA1C-AC84CBEC2E76}"/>
          </ac:spMkLst>
        </pc:spChg>
        <pc:spChg chg="mod">
          <ac:chgData name="Jean QUENTIN" userId="6962deb3-b639-4acd-8091-a0516ea2376b" providerId="ADAL" clId="{146BD8F6-FDDD-49D3-A1A6-146C954086FF}" dt="2021-05-24T13:36:19.009" v="4383" actId="790"/>
          <ac:spMkLst>
            <pc:docMk/>
            <pc:sldMk cId="2233000822" sldId="10460"/>
            <ac:spMk id="91" creationId="{602468B7-98F9-47C4-8231-08793B2DF3B3}"/>
          </ac:spMkLst>
        </pc:spChg>
        <pc:spChg chg="mod">
          <ac:chgData name="Jean QUENTIN" userId="6962deb3-b639-4acd-8091-a0516ea2376b" providerId="ADAL" clId="{146BD8F6-FDDD-49D3-A1A6-146C954086FF}" dt="2021-05-24T13:36:19.063" v="4402" actId="790"/>
          <ac:spMkLst>
            <pc:docMk/>
            <pc:sldMk cId="2233000822" sldId="10460"/>
            <ac:spMk id="92" creationId="{58B5811A-7C8F-45CF-9D3B-9676978FB9CF}"/>
          </ac:spMkLst>
        </pc:spChg>
        <pc:spChg chg="mod">
          <ac:chgData name="Jean QUENTIN" userId="6962deb3-b639-4acd-8091-a0516ea2376b" providerId="ADAL" clId="{146BD8F6-FDDD-49D3-A1A6-146C954086FF}" dt="2021-05-24T13:36:19.009" v="4384" actId="790"/>
          <ac:spMkLst>
            <pc:docMk/>
            <pc:sldMk cId="2233000822" sldId="10460"/>
            <ac:spMk id="94" creationId="{BF5B00B0-9183-440C-A99F-1C50EFA053F6}"/>
          </ac:spMkLst>
        </pc:spChg>
        <pc:spChg chg="mod">
          <ac:chgData name="Jean QUENTIN" userId="6962deb3-b639-4acd-8091-a0516ea2376b" providerId="ADAL" clId="{146BD8F6-FDDD-49D3-A1A6-146C954086FF}" dt="2021-05-24T13:36:19.009" v="4385" actId="790"/>
          <ac:spMkLst>
            <pc:docMk/>
            <pc:sldMk cId="2233000822" sldId="10460"/>
            <ac:spMk id="95" creationId="{A1CB9407-E980-4B78-9BC3-672647E87D1B}"/>
          </ac:spMkLst>
        </pc:spChg>
        <pc:spChg chg="mod">
          <ac:chgData name="Jean QUENTIN" userId="6962deb3-b639-4acd-8091-a0516ea2376b" providerId="ADAL" clId="{146BD8F6-FDDD-49D3-A1A6-146C954086FF}" dt="2021-05-24T13:36:19.009" v="4386" actId="790"/>
          <ac:spMkLst>
            <pc:docMk/>
            <pc:sldMk cId="2233000822" sldId="10460"/>
            <ac:spMk id="96" creationId="{9C0F66FB-561C-4DB9-BAD1-4012B3F815F5}"/>
          </ac:spMkLst>
        </pc:spChg>
        <pc:spChg chg="mod">
          <ac:chgData name="Jean QUENTIN" userId="6962deb3-b639-4acd-8091-a0516ea2376b" providerId="ADAL" clId="{146BD8F6-FDDD-49D3-A1A6-146C954086FF}" dt="2021-05-24T13:36:19.009" v="4387" actId="790"/>
          <ac:spMkLst>
            <pc:docMk/>
            <pc:sldMk cId="2233000822" sldId="10460"/>
            <ac:spMk id="97" creationId="{C1B3BAF1-8B3C-4DCB-B21F-84C74A57C140}"/>
          </ac:spMkLst>
        </pc:spChg>
        <pc:spChg chg="mod">
          <ac:chgData name="Jean QUENTIN" userId="6962deb3-b639-4acd-8091-a0516ea2376b" providerId="ADAL" clId="{146BD8F6-FDDD-49D3-A1A6-146C954086FF}" dt="2021-05-24T13:36:19.063" v="4403" actId="790"/>
          <ac:spMkLst>
            <pc:docMk/>
            <pc:sldMk cId="2233000822" sldId="10460"/>
            <ac:spMk id="98" creationId="{E7E824A9-0075-4DB7-94CB-07C41244E4EF}"/>
          </ac:spMkLst>
        </pc:spChg>
        <pc:spChg chg="mod">
          <ac:chgData name="Jean QUENTIN" userId="6962deb3-b639-4acd-8091-a0516ea2376b" providerId="ADAL" clId="{146BD8F6-FDDD-49D3-A1A6-146C954086FF}" dt="2021-05-24T13:36:19.063" v="4404" actId="790"/>
          <ac:spMkLst>
            <pc:docMk/>
            <pc:sldMk cId="2233000822" sldId="10460"/>
            <ac:spMk id="99" creationId="{9F13D4F4-DACE-4D56-AD46-7369D3A8494C}"/>
          </ac:spMkLst>
        </pc:spChg>
        <pc:spChg chg="mod">
          <ac:chgData name="Jean QUENTIN" userId="6962deb3-b639-4acd-8091-a0516ea2376b" providerId="ADAL" clId="{146BD8F6-FDDD-49D3-A1A6-146C954086FF}" dt="2021-05-24T13:36:19.078" v="4418" actId="790"/>
          <ac:spMkLst>
            <pc:docMk/>
            <pc:sldMk cId="2233000822" sldId="10460"/>
            <ac:spMk id="104" creationId="{84D904D1-6FD7-411F-9055-7BDDD6F8D510}"/>
          </ac:spMkLst>
        </pc:spChg>
        <pc:spChg chg="mod">
          <ac:chgData name="Jean QUENTIN" userId="6962deb3-b639-4acd-8091-a0516ea2376b" providerId="ADAL" clId="{146BD8F6-FDDD-49D3-A1A6-146C954086FF}" dt="2021-05-24T13:36:19.094" v="4419" actId="790"/>
          <ac:spMkLst>
            <pc:docMk/>
            <pc:sldMk cId="2233000822" sldId="10460"/>
            <ac:spMk id="107" creationId="{E4B14101-5119-4FB2-BCD9-4C0E7BEAF957}"/>
          </ac:spMkLst>
        </pc:spChg>
        <pc:spChg chg="mod">
          <ac:chgData name="Jean QUENTIN" userId="6962deb3-b639-4acd-8091-a0516ea2376b" providerId="ADAL" clId="{146BD8F6-FDDD-49D3-A1A6-146C954086FF}" dt="2021-05-24T13:36:19.063" v="4405" actId="790"/>
          <ac:spMkLst>
            <pc:docMk/>
            <pc:sldMk cId="2233000822" sldId="10460"/>
            <ac:spMk id="109" creationId="{E8BE3BCE-A832-4D22-9958-D819266EA290}"/>
          </ac:spMkLst>
        </pc:spChg>
        <pc:spChg chg="mod">
          <ac:chgData name="Jean QUENTIN" userId="6962deb3-b639-4acd-8091-a0516ea2376b" providerId="ADAL" clId="{146BD8F6-FDDD-49D3-A1A6-146C954086FF}" dt="2021-05-24T13:36:19.078" v="4410" actId="790"/>
          <ac:spMkLst>
            <pc:docMk/>
            <pc:sldMk cId="2233000822" sldId="10460"/>
            <ac:spMk id="114" creationId="{EF7E7272-A5E8-48AE-AF6F-C99EB6336D02}"/>
          </ac:spMkLst>
        </pc:spChg>
        <pc:spChg chg="mod">
          <ac:chgData name="Jean QUENTIN" userId="6962deb3-b639-4acd-8091-a0516ea2376b" providerId="ADAL" clId="{146BD8F6-FDDD-49D3-A1A6-146C954086FF}" dt="2021-05-24T13:36:19.078" v="4411" actId="790"/>
          <ac:spMkLst>
            <pc:docMk/>
            <pc:sldMk cId="2233000822" sldId="10460"/>
            <ac:spMk id="115" creationId="{E4406749-7A4A-41F0-A850-CE3465C20F17}"/>
          </ac:spMkLst>
        </pc:spChg>
        <pc:spChg chg="mod">
          <ac:chgData name="Jean QUENTIN" userId="6962deb3-b639-4acd-8091-a0516ea2376b" providerId="ADAL" clId="{146BD8F6-FDDD-49D3-A1A6-146C954086FF}" dt="2021-05-24T13:36:19.078" v="4412" actId="790"/>
          <ac:spMkLst>
            <pc:docMk/>
            <pc:sldMk cId="2233000822" sldId="10460"/>
            <ac:spMk id="116" creationId="{2806627C-A398-4592-B3EB-4C56D0420050}"/>
          </ac:spMkLst>
        </pc:spChg>
        <pc:spChg chg="mod">
          <ac:chgData name="Jean QUENTIN" userId="6962deb3-b639-4acd-8091-a0516ea2376b" providerId="ADAL" clId="{146BD8F6-FDDD-49D3-A1A6-146C954086FF}" dt="2021-05-24T13:36:19.025" v="4388" actId="790"/>
          <ac:spMkLst>
            <pc:docMk/>
            <pc:sldMk cId="2233000822" sldId="10460"/>
            <ac:spMk id="152" creationId="{FD7ED2BD-3A04-423A-8563-A638727F3B40}"/>
          </ac:spMkLst>
        </pc:spChg>
      </pc:sldChg>
      <pc:sldChg chg="modSp mod">
        <pc:chgData name="Jean QUENTIN" userId="6962deb3-b639-4acd-8091-a0516ea2376b" providerId="ADAL" clId="{146BD8F6-FDDD-49D3-A1A6-146C954086FF}" dt="2021-05-24T13:36:18.978" v="4369" actId="790"/>
        <pc:sldMkLst>
          <pc:docMk/>
          <pc:sldMk cId="2003759014" sldId="10461"/>
        </pc:sldMkLst>
        <pc:spChg chg="mod">
          <ac:chgData name="Jean QUENTIN" userId="6962deb3-b639-4acd-8091-a0516ea2376b" providerId="ADAL" clId="{146BD8F6-FDDD-49D3-A1A6-146C954086FF}" dt="2021-05-24T13:36:18.893" v="4338" actId="790"/>
          <ac:spMkLst>
            <pc:docMk/>
            <pc:sldMk cId="2003759014" sldId="10461"/>
            <ac:spMk id="2" creationId="{076A8F7F-F895-46CF-AE68-CFD9FFD3C71A}"/>
          </ac:spMkLst>
        </pc:spChg>
        <pc:spChg chg="mod">
          <ac:chgData name="Jean QUENTIN" userId="6962deb3-b639-4acd-8091-a0516ea2376b" providerId="ADAL" clId="{146BD8F6-FDDD-49D3-A1A6-146C954086FF}" dt="2021-05-24T13:36:18.893" v="4339" actId="790"/>
          <ac:spMkLst>
            <pc:docMk/>
            <pc:sldMk cId="2003759014" sldId="10461"/>
            <ac:spMk id="3" creationId="{84B816E9-5737-4E3C-BC42-45239C0FF87F}"/>
          </ac:spMkLst>
        </pc:spChg>
        <pc:spChg chg="mod">
          <ac:chgData name="Jean QUENTIN" userId="6962deb3-b639-4acd-8091-a0516ea2376b" providerId="ADAL" clId="{146BD8F6-FDDD-49D3-A1A6-146C954086FF}" dt="2021-05-24T13:36:18.893" v="4340" actId="790"/>
          <ac:spMkLst>
            <pc:docMk/>
            <pc:sldMk cId="2003759014" sldId="10461"/>
            <ac:spMk id="6" creationId="{EE03F86E-BBFC-4F4A-8702-386CBBDCEE19}"/>
          </ac:spMkLst>
        </pc:spChg>
        <pc:spChg chg="mod">
          <ac:chgData name="Jean QUENTIN" userId="6962deb3-b639-4acd-8091-a0516ea2376b" providerId="ADAL" clId="{146BD8F6-FDDD-49D3-A1A6-146C954086FF}" dt="2021-05-24T13:36:18.909" v="4341" actId="790"/>
          <ac:spMkLst>
            <pc:docMk/>
            <pc:sldMk cId="2003759014" sldId="10461"/>
            <ac:spMk id="7" creationId="{E78AAE0E-6DCE-4797-A7F4-B1B37CB93314}"/>
          </ac:spMkLst>
        </pc:spChg>
        <pc:spChg chg="mod">
          <ac:chgData name="Jean QUENTIN" userId="6962deb3-b639-4acd-8091-a0516ea2376b" providerId="ADAL" clId="{146BD8F6-FDDD-49D3-A1A6-146C954086FF}" dt="2021-05-24T13:36:18.909" v="4342" actId="790"/>
          <ac:spMkLst>
            <pc:docMk/>
            <pc:sldMk cId="2003759014" sldId="10461"/>
            <ac:spMk id="8" creationId="{3B88483B-584C-43C8-90CB-A4ED8D3B8EF1}"/>
          </ac:spMkLst>
        </pc:spChg>
        <pc:spChg chg="mod">
          <ac:chgData name="Jean QUENTIN" userId="6962deb3-b639-4acd-8091-a0516ea2376b" providerId="ADAL" clId="{146BD8F6-FDDD-49D3-A1A6-146C954086FF}" dt="2021-05-24T13:36:18.909" v="4343" actId="790"/>
          <ac:spMkLst>
            <pc:docMk/>
            <pc:sldMk cId="2003759014" sldId="10461"/>
            <ac:spMk id="30" creationId="{7AEFA4BF-95C1-4B9F-BAED-7F3D65E36953}"/>
          </ac:spMkLst>
        </pc:spChg>
        <pc:spChg chg="mod">
          <ac:chgData name="Jean QUENTIN" userId="6962deb3-b639-4acd-8091-a0516ea2376b" providerId="ADAL" clId="{146BD8F6-FDDD-49D3-A1A6-146C954086FF}" dt="2021-05-24T13:36:18.909" v="4344" actId="790"/>
          <ac:spMkLst>
            <pc:docMk/>
            <pc:sldMk cId="2003759014" sldId="10461"/>
            <ac:spMk id="31" creationId="{C5AAF232-FA7E-4D12-8C14-C126CD5AD3F6}"/>
          </ac:spMkLst>
        </pc:spChg>
        <pc:spChg chg="mod">
          <ac:chgData name="Jean QUENTIN" userId="6962deb3-b639-4acd-8091-a0516ea2376b" providerId="ADAL" clId="{146BD8F6-FDDD-49D3-A1A6-146C954086FF}" dt="2021-05-24T13:36:18.909" v="4345" actId="790"/>
          <ac:spMkLst>
            <pc:docMk/>
            <pc:sldMk cId="2003759014" sldId="10461"/>
            <ac:spMk id="37" creationId="{4E5D2729-4716-4A95-8C80-499870A59A5E}"/>
          </ac:spMkLst>
        </pc:spChg>
        <pc:spChg chg="mod">
          <ac:chgData name="Jean QUENTIN" userId="6962deb3-b639-4acd-8091-a0516ea2376b" providerId="ADAL" clId="{146BD8F6-FDDD-49D3-A1A6-146C954086FF}" dt="2021-05-24T13:36:18.925" v="4346" actId="790"/>
          <ac:spMkLst>
            <pc:docMk/>
            <pc:sldMk cId="2003759014" sldId="10461"/>
            <ac:spMk id="38" creationId="{6E74EB4C-948E-479D-9388-E353F2C35B4D}"/>
          </ac:spMkLst>
        </pc:spChg>
        <pc:spChg chg="mod">
          <ac:chgData name="Jean QUENTIN" userId="6962deb3-b639-4acd-8091-a0516ea2376b" providerId="ADAL" clId="{146BD8F6-FDDD-49D3-A1A6-146C954086FF}" dt="2021-05-24T13:36:18.925" v="4347" actId="790"/>
          <ac:spMkLst>
            <pc:docMk/>
            <pc:sldMk cId="2003759014" sldId="10461"/>
            <ac:spMk id="39" creationId="{766FCB01-62BC-49BD-8966-B0A88648D1AB}"/>
          </ac:spMkLst>
        </pc:spChg>
        <pc:spChg chg="mod">
          <ac:chgData name="Jean QUENTIN" userId="6962deb3-b639-4acd-8091-a0516ea2376b" providerId="ADAL" clId="{146BD8F6-FDDD-49D3-A1A6-146C954086FF}" dt="2021-05-24T13:36:18.925" v="4348" actId="790"/>
          <ac:spMkLst>
            <pc:docMk/>
            <pc:sldMk cId="2003759014" sldId="10461"/>
            <ac:spMk id="40" creationId="{A716C21A-E3AE-4CC7-B632-0770D9D1BA5C}"/>
          </ac:spMkLst>
        </pc:spChg>
        <pc:spChg chg="mod">
          <ac:chgData name="Jean QUENTIN" userId="6962deb3-b639-4acd-8091-a0516ea2376b" providerId="ADAL" clId="{146BD8F6-FDDD-49D3-A1A6-146C954086FF}" dt="2021-05-24T13:36:18.978" v="4364" actId="790"/>
          <ac:spMkLst>
            <pc:docMk/>
            <pc:sldMk cId="2003759014" sldId="10461"/>
            <ac:spMk id="60" creationId="{2C59FC67-2AC6-4F81-A7A1-88B7F688B462}"/>
          </ac:spMkLst>
        </pc:spChg>
        <pc:spChg chg="mod">
          <ac:chgData name="Jean QUENTIN" userId="6962deb3-b639-4acd-8091-a0516ea2376b" providerId="ADAL" clId="{146BD8F6-FDDD-49D3-A1A6-146C954086FF}" dt="2021-05-24T13:36:18.978" v="4365" actId="790"/>
          <ac:spMkLst>
            <pc:docMk/>
            <pc:sldMk cId="2003759014" sldId="10461"/>
            <ac:spMk id="61" creationId="{34D8A482-BE77-4BF2-BB09-C51C6BA544FB}"/>
          </ac:spMkLst>
        </pc:spChg>
        <pc:spChg chg="mod">
          <ac:chgData name="Jean QUENTIN" userId="6962deb3-b639-4acd-8091-a0516ea2376b" providerId="ADAL" clId="{146BD8F6-FDDD-49D3-A1A6-146C954086FF}" dt="2021-05-24T13:36:18.962" v="4357" actId="790"/>
          <ac:spMkLst>
            <pc:docMk/>
            <pc:sldMk cId="2003759014" sldId="10461"/>
            <ac:spMk id="67" creationId="{0256CC2F-2C47-472B-BDEF-F624F9993066}"/>
          </ac:spMkLst>
        </pc:spChg>
        <pc:spChg chg="mod">
          <ac:chgData name="Jean QUENTIN" userId="6962deb3-b639-4acd-8091-a0516ea2376b" providerId="ADAL" clId="{146BD8F6-FDDD-49D3-A1A6-146C954086FF}" dt="2021-05-24T13:36:18.962" v="4358" actId="790"/>
          <ac:spMkLst>
            <pc:docMk/>
            <pc:sldMk cId="2003759014" sldId="10461"/>
            <ac:spMk id="68" creationId="{5627338E-A842-4061-8375-33FF1D0AA89A}"/>
          </ac:spMkLst>
        </pc:spChg>
        <pc:spChg chg="mod">
          <ac:chgData name="Jean QUENTIN" userId="6962deb3-b639-4acd-8091-a0516ea2376b" providerId="ADAL" clId="{146BD8F6-FDDD-49D3-A1A6-146C954086FF}" dt="2021-05-24T13:36:18.962" v="4359" actId="790"/>
          <ac:spMkLst>
            <pc:docMk/>
            <pc:sldMk cId="2003759014" sldId="10461"/>
            <ac:spMk id="69" creationId="{4583965D-2AA7-4F53-9C17-CC3ED3258CE7}"/>
          </ac:spMkLst>
        </pc:spChg>
        <pc:spChg chg="mod">
          <ac:chgData name="Jean QUENTIN" userId="6962deb3-b639-4acd-8091-a0516ea2376b" providerId="ADAL" clId="{146BD8F6-FDDD-49D3-A1A6-146C954086FF}" dt="2021-05-24T13:36:18.962" v="4360" actId="790"/>
          <ac:spMkLst>
            <pc:docMk/>
            <pc:sldMk cId="2003759014" sldId="10461"/>
            <ac:spMk id="70" creationId="{1073ABE5-E169-45A2-8075-2CCD09E960F7}"/>
          </ac:spMkLst>
        </pc:spChg>
        <pc:spChg chg="mod">
          <ac:chgData name="Jean QUENTIN" userId="6962deb3-b639-4acd-8091-a0516ea2376b" providerId="ADAL" clId="{146BD8F6-FDDD-49D3-A1A6-146C954086FF}" dt="2021-05-24T13:36:18.962" v="4361" actId="790"/>
          <ac:spMkLst>
            <pc:docMk/>
            <pc:sldMk cId="2003759014" sldId="10461"/>
            <ac:spMk id="71" creationId="{698110D9-CF6D-4F76-AC56-7567CDC16298}"/>
          </ac:spMkLst>
        </pc:spChg>
        <pc:spChg chg="mod">
          <ac:chgData name="Jean QUENTIN" userId="6962deb3-b639-4acd-8091-a0516ea2376b" providerId="ADAL" clId="{146BD8F6-FDDD-49D3-A1A6-146C954086FF}" dt="2021-05-24T13:36:18.962" v="4362" actId="790"/>
          <ac:spMkLst>
            <pc:docMk/>
            <pc:sldMk cId="2003759014" sldId="10461"/>
            <ac:spMk id="72" creationId="{E5621FBC-F8B6-4D47-8CF1-3CEBF5E34928}"/>
          </ac:spMkLst>
        </pc:spChg>
        <pc:spChg chg="mod">
          <ac:chgData name="Jean QUENTIN" userId="6962deb3-b639-4acd-8091-a0516ea2376b" providerId="ADAL" clId="{146BD8F6-FDDD-49D3-A1A6-146C954086FF}" dt="2021-05-24T13:36:18.978" v="4363" actId="790"/>
          <ac:spMkLst>
            <pc:docMk/>
            <pc:sldMk cId="2003759014" sldId="10461"/>
            <ac:spMk id="73" creationId="{4E54E019-532A-4A56-ADA2-0C80A354EA97}"/>
          </ac:spMkLst>
        </pc:spChg>
        <pc:spChg chg="mod">
          <ac:chgData name="Jean QUENTIN" userId="6962deb3-b639-4acd-8091-a0516ea2376b" providerId="ADAL" clId="{146BD8F6-FDDD-49D3-A1A6-146C954086FF}" dt="2021-05-24T13:36:18.978" v="4366" actId="790"/>
          <ac:spMkLst>
            <pc:docMk/>
            <pc:sldMk cId="2003759014" sldId="10461"/>
            <ac:spMk id="74" creationId="{AEB0EB96-76FE-44F1-9FD4-36424D66BBC7}"/>
          </ac:spMkLst>
        </pc:spChg>
        <pc:spChg chg="mod">
          <ac:chgData name="Jean QUENTIN" userId="6962deb3-b639-4acd-8091-a0516ea2376b" providerId="ADAL" clId="{146BD8F6-FDDD-49D3-A1A6-146C954086FF}" dt="2021-05-24T13:36:18.978" v="4367" actId="790"/>
          <ac:spMkLst>
            <pc:docMk/>
            <pc:sldMk cId="2003759014" sldId="10461"/>
            <ac:spMk id="75" creationId="{14D832F5-1788-4673-882E-7685E10ADC46}"/>
          </ac:spMkLst>
        </pc:spChg>
        <pc:spChg chg="mod">
          <ac:chgData name="Jean QUENTIN" userId="6962deb3-b639-4acd-8091-a0516ea2376b" providerId="ADAL" clId="{146BD8F6-FDDD-49D3-A1A6-146C954086FF}" dt="2021-05-24T13:36:18.978" v="4368" actId="790"/>
          <ac:spMkLst>
            <pc:docMk/>
            <pc:sldMk cId="2003759014" sldId="10461"/>
            <ac:spMk id="76" creationId="{67D1AEAA-66A3-493A-832C-7CAFC86BD4A3}"/>
          </ac:spMkLst>
        </pc:spChg>
        <pc:spChg chg="mod">
          <ac:chgData name="Jean QUENTIN" userId="6962deb3-b639-4acd-8091-a0516ea2376b" providerId="ADAL" clId="{146BD8F6-FDDD-49D3-A1A6-146C954086FF}" dt="2021-05-24T13:36:18.925" v="4349" actId="790"/>
          <ac:spMkLst>
            <pc:docMk/>
            <pc:sldMk cId="2003759014" sldId="10461"/>
            <ac:spMk id="93" creationId="{B8679077-D452-46D0-A661-FDF487360092}"/>
          </ac:spMkLst>
        </pc:spChg>
        <pc:spChg chg="mod">
          <ac:chgData name="Jean QUENTIN" userId="6962deb3-b639-4acd-8091-a0516ea2376b" providerId="ADAL" clId="{146BD8F6-FDDD-49D3-A1A6-146C954086FF}" dt="2021-05-24T13:36:18.925" v="4350" actId="790"/>
          <ac:spMkLst>
            <pc:docMk/>
            <pc:sldMk cId="2003759014" sldId="10461"/>
            <ac:spMk id="94" creationId="{BDD7F547-3501-4278-AC3F-8BB57279ACB9}"/>
          </ac:spMkLst>
        </pc:spChg>
        <pc:spChg chg="mod">
          <ac:chgData name="Jean QUENTIN" userId="6962deb3-b639-4acd-8091-a0516ea2376b" providerId="ADAL" clId="{146BD8F6-FDDD-49D3-A1A6-146C954086FF}" dt="2021-05-24T13:36:18.925" v="4351" actId="790"/>
          <ac:spMkLst>
            <pc:docMk/>
            <pc:sldMk cId="2003759014" sldId="10461"/>
            <ac:spMk id="95" creationId="{3EC38CA6-491D-4320-8DEC-584C755D04B6}"/>
          </ac:spMkLst>
        </pc:spChg>
        <pc:spChg chg="mod">
          <ac:chgData name="Jean QUENTIN" userId="6962deb3-b639-4acd-8091-a0516ea2376b" providerId="ADAL" clId="{146BD8F6-FDDD-49D3-A1A6-146C954086FF}" dt="2021-05-24T13:36:18.925" v="4352" actId="790"/>
          <ac:spMkLst>
            <pc:docMk/>
            <pc:sldMk cId="2003759014" sldId="10461"/>
            <ac:spMk id="96" creationId="{FBB7D235-E014-4FCE-BC74-C29BFD28D17F}"/>
          </ac:spMkLst>
        </pc:spChg>
        <pc:spChg chg="mod">
          <ac:chgData name="Jean QUENTIN" userId="6962deb3-b639-4acd-8091-a0516ea2376b" providerId="ADAL" clId="{146BD8F6-FDDD-49D3-A1A6-146C954086FF}" dt="2021-05-24T13:36:18.940" v="4353" actId="790"/>
          <ac:spMkLst>
            <pc:docMk/>
            <pc:sldMk cId="2003759014" sldId="10461"/>
            <ac:spMk id="97" creationId="{594140F8-2792-40AD-850A-2AAD0CC4A0F4}"/>
          </ac:spMkLst>
        </pc:spChg>
        <pc:spChg chg="mod">
          <ac:chgData name="Jean QUENTIN" userId="6962deb3-b639-4acd-8091-a0516ea2376b" providerId="ADAL" clId="{146BD8F6-FDDD-49D3-A1A6-146C954086FF}" dt="2021-05-24T13:36:18.940" v="4354" actId="790"/>
          <ac:spMkLst>
            <pc:docMk/>
            <pc:sldMk cId="2003759014" sldId="10461"/>
            <ac:spMk id="105" creationId="{91B75A33-C37F-457E-8F37-6A9450E95B44}"/>
          </ac:spMkLst>
        </pc:spChg>
        <pc:spChg chg="mod">
          <ac:chgData name="Jean QUENTIN" userId="6962deb3-b639-4acd-8091-a0516ea2376b" providerId="ADAL" clId="{146BD8F6-FDDD-49D3-A1A6-146C954086FF}" dt="2021-05-24T13:36:18.940" v="4355" actId="790"/>
          <ac:spMkLst>
            <pc:docMk/>
            <pc:sldMk cId="2003759014" sldId="10461"/>
            <ac:spMk id="118" creationId="{973A32D1-1F27-43CF-8C30-943DBA9F9EEB}"/>
          </ac:spMkLst>
        </pc:spChg>
        <pc:spChg chg="mod">
          <ac:chgData name="Jean QUENTIN" userId="6962deb3-b639-4acd-8091-a0516ea2376b" providerId="ADAL" clId="{146BD8F6-FDDD-49D3-A1A6-146C954086FF}" dt="2021-05-24T13:36:18.940" v="4356" actId="790"/>
          <ac:spMkLst>
            <pc:docMk/>
            <pc:sldMk cId="2003759014" sldId="10461"/>
            <ac:spMk id="122" creationId="{E84D56F7-A433-4DD3-AF89-AE738FF671B3}"/>
          </ac:spMkLst>
        </pc:spChg>
        <pc:spChg chg="mod">
          <ac:chgData name="Jean QUENTIN" userId="6962deb3-b639-4acd-8091-a0516ea2376b" providerId="ADAL" clId="{146BD8F6-FDDD-49D3-A1A6-146C954086FF}" dt="2021-05-24T13:36:18.978" v="4369" actId="790"/>
          <ac:spMkLst>
            <pc:docMk/>
            <pc:sldMk cId="2003759014" sldId="10461"/>
            <ac:spMk id="139" creationId="{B6F4F1CD-801C-4462-B3EF-19E4D60E5415}"/>
          </ac:spMkLst>
        </pc:spChg>
      </pc:sldChg>
      <pc:sldChg chg="modSp mod">
        <pc:chgData name="Jean QUENTIN" userId="6962deb3-b639-4acd-8091-a0516ea2376b" providerId="ADAL" clId="{146BD8F6-FDDD-49D3-A1A6-146C954086FF}" dt="2021-05-25T09:00:13.049" v="12604" actId="33524"/>
        <pc:sldMkLst>
          <pc:docMk/>
          <pc:sldMk cId="994864461" sldId="10463"/>
        </pc:sldMkLst>
        <pc:spChg chg="mod">
          <ac:chgData name="Jean QUENTIN" userId="6962deb3-b639-4acd-8091-a0516ea2376b" providerId="ADAL" clId="{146BD8F6-FDDD-49D3-A1A6-146C954086FF}" dt="2021-05-24T13:36:19.326" v="4543" actId="790"/>
          <ac:spMkLst>
            <pc:docMk/>
            <pc:sldMk cId="994864461" sldId="10463"/>
            <ac:spMk id="2" creationId="{6141F854-3009-40D7-9038-56590105A49E}"/>
          </ac:spMkLst>
        </pc:spChg>
        <pc:spChg chg="mod">
          <ac:chgData name="Jean QUENTIN" userId="6962deb3-b639-4acd-8091-a0516ea2376b" providerId="ADAL" clId="{146BD8F6-FDDD-49D3-A1A6-146C954086FF}" dt="2021-05-24T13:36:19.326" v="4544" actId="790"/>
          <ac:spMkLst>
            <pc:docMk/>
            <pc:sldMk cId="994864461" sldId="10463"/>
            <ac:spMk id="14" creationId="{BF99168B-58D2-49E3-9128-C54D5771CCAF}"/>
          </ac:spMkLst>
        </pc:spChg>
        <pc:spChg chg="mod">
          <ac:chgData name="Jean QUENTIN" userId="6962deb3-b639-4acd-8091-a0516ea2376b" providerId="ADAL" clId="{146BD8F6-FDDD-49D3-A1A6-146C954086FF}" dt="2021-05-24T13:36:19.326" v="4545" actId="790"/>
          <ac:spMkLst>
            <pc:docMk/>
            <pc:sldMk cId="994864461" sldId="10463"/>
            <ac:spMk id="41" creationId="{8514CDF6-D3F3-4CEC-96D8-EB94AFEB3106}"/>
          </ac:spMkLst>
        </pc:spChg>
        <pc:spChg chg="mod">
          <ac:chgData name="Jean QUENTIN" userId="6962deb3-b639-4acd-8091-a0516ea2376b" providerId="ADAL" clId="{146BD8F6-FDDD-49D3-A1A6-146C954086FF}" dt="2021-05-24T13:36:19.326" v="4546" actId="790"/>
          <ac:spMkLst>
            <pc:docMk/>
            <pc:sldMk cId="994864461" sldId="10463"/>
            <ac:spMk id="42" creationId="{B14DB10B-7FE9-42ED-B303-F33106400EA9}"/>
          </ac:spMkLst>
        </pc:spChg>
        <pc:spChg chg="mod">
          <ac:chgData name="Jean QUENTIN" userId="6962deb3-b639-4acd-8091-a0516ea2376b" providerId="ADAL" clId="{146BD8F6-FDDD-49D3-A1A6-146C954086FF}" dt="2021-05-24T13:36:19.326" v="4547" actId="790"/>
          <ac:spMkLst>
            <pc:docMk/>
            <pc:sldMk cId="994864461" sldId="10463"/>
            <ac:spMk id="43" creationId="{E84EA5FA-08E9-40F6-A71F-8BA8F3E3ED99}"/>
          </ac:spMkLst>
        </pc:spChg>
        <pc:spChg chg="mod">
          <ac:chgData name="Jean QUENTIN" userId="6962deb3-b639-4acd-8091-a0516ea2376b" providerId="ADAL" clId="{146BD8F6-FDDD-49D3-A1A6-146C954086FF}" dt="2021-05-24T13:36:19.326" v="4548" actId="790"/>
          <ac:spMkLst>
            <pc:docMk/>
            <pc:sldMk cId="994864461" sldId="10463"/>
            <ac:spMk id="44" creationId="{F595688A-2B2A-4B18-BC8F-3E1BBE846D86}"/>
          </ac:spMkLst>
        </pc:spChg>
        <pc:spChg chg="mod">
          <ac:chgData name="Jean QUENTIN" userId="6962deb3-b639-4acd-8091-a0516ea2376b" providerId="ADAL" clId="{146BD8F6-FDDD-49D3-A1A6-146C954086FF}" dt="2021-05-24T13:36:19.341" v="4549" actId="790"/>
          <ac:spMkLst>
            <pc:docMk/>
            <pc:sldMk cId="994864461" sldId="10463"/>
            <ac:spMk id="45" creationId="{7A651798-9873-484A-BCBC-F1732F254FCF}"/>
          </ac:spMkLst>
        </pc:spChg>
        <pc:spChg chg="mod">
          <ac:chgData name="Jean QUENTIN" userId="6962deb3-b639-4acd-8091-a0516ea2376b" providerId="ADAL" clId="{146BD8F6-FDDD-49D3-A1A6-146C954086FF}" dt="2021-05-24T13:36:19.341" v="4550" actId="790"/>
          <ac:spMkLst>
            <pc:docMk/>
            <pc:sldMk cId="994864461" sldId="10463"/>
            <ac:spMk id="49" creationId="{D81D2065-13CD-4420-A58C-E72AE87D1A42}"/>
          </ac:spMkLst>
        </pc:spChg>
        <pc:spChg chg="mod">
          <ac:chgData name="Jean QUENTIN" userId="6962deb3-b639-4acd-8091-a0516ea2376b" providerId="ADAL" clId="{146BD8F6-FDDD-49D3-A1A6-146C954086FF}" dt="2021-05-24T13:36:19.341" v="4551" actId="790"/>
          <ac:spMkLst>
            <pc:docMk/>
            <pc:sldMk cId="994864461" sldId="10463"/>
            <ac:spMk id="50" creationId="{ACAAB4F1-8D2B-4B8D-A0C1-3794501DF384}"/>
          </ac:spMkLst>
        </pc:spChg>
        <pc:spChg chg="mod">
          <ac:chgData name="Jean QUENTIN" userId="6962deb3-b639-4acd-8091-a0516ea2376b" providerId="ADAL" clId="{146BD8F6-FDDD-49D3-A1A6-146C954086FF}" dt="2021-05-24T13:36:19.341" v="4552" actId="790"/>
          <ac:spMkLst>
            <pc:docMk/>
            <pc:sldMk cId="994864461" sldId="10463"/>
            <ac:spMk id="51" creationId="{CCA5A507-9498-412A-8734-37E9A0CAFBC2}"/>
          </ac:spMkLst>
        </pc:spChg>
        <pc:spChg chg="mod">
          <ac:chgData name="Jean QUENTIN" userId="6962deb3-b639-4acd-8091-a0516ea2376b" providerId="ADAL" clId="{146BD8F6-FDDD-49D3-A1A6-146C954086FF}" dt="2021-05-24T13:36:19.341" v="4553" actId="790"/>
          <ac:spMkLst>
            <pc:docMk/>
            <pc:sldMk cId="994864461" sldId="10463"/>
            <ac:spMk id="52" creationId="{9926A3AA-BF17-44D4-8DE7-9339CF1BE6FD}"/>
          </ac:spMkLst>
        </pc:spChg>
        <pc:spChg chg="mod">
          <ac:chgData name="Jean QUENTIN" userId="6962deb3-b639-4acd-8091-a0516ea2376b" providerId="ADAL" clId="{146BD8F6-FDDD-49D3-A1A6-146C954086FF}" dt="2021-05-24T13:36:19.341" v="4554" actId="790"/>
          <ac:spMkLst>
            <pc:docMk/>
            <pc:sldMk cId="994864461" sldId="10463"/>
            <ac:spMk id="53" creationId="{5E59300E-921D-44E2-90E6-C444434FE1E2}"/>
          </ac:spMkLst>
        </pc:spChg>
        <pc:spChg chg="mod">
          <ac:chgData name="Jean QUENTIN" userId="6962deb3-b639-4acd-8091-a0516ea2376b" providerId="ADAL" clId="{146BD8F6-FDDD-49D3-A1A6-146C954086FF}" dt="2021-05-24T13:36:19.341" v="4555" actId="790"/>
          <ac:spMkLst>
            <pc:docMk/>
            <pc:sldMk cId="994864461" sldId="10463"/>
            <ac:spMk id="56" creationId="{2FB57385-9778-4E16-88A7-927D307E97B3}"/>
          </ac:spMkLst>
        </pc:spChg>
        <pc:spChg chg="mod">
          <ac:chgData name="Jean QUENTIN" userId="6962deb3-b639-4acd-8091-a0516ea2376b" providerId="ADAL" clId="{146BD8F6-FDDD-49D3-A1A6-146C954086FF}" dt="2021-05-24T13:36:19.357" v="4556" actId="790"/>
          <ac:spMkLst>
            <pc:docMk/>
            <pc:sldMk cId="994864461" sldId="10463"/>
            <ac:spMk id="60" creationId="{16434E0F-0445-4AD4-82FB-D64C1DE95F23}"/>
          </ac:spMkLst>
        </pc:spChg>
        <pc:spChg chg="mod">
          <ac:chgData name="Jean QUENTIN" userId="6962deb3-b639-4acd-8091-a0516ea2376b" providerId="ADAL" clId="{146BD8F6-FDDD-49D3-A1A6-146C954086FF}" dt="2021-05-24T13:36:19.357" v="4557" actId="790"/>
          <ac:spMkLst>
            <pc:docMk/>
            <pc:sldMk cId="994864461" sldId="10463"/>
            <ac:spMk id="61" creationId="{A9D37744-99D5-4181-A4E2-3E7AF4C1AAEF}"/>
          </ac:spMkLst>
        </pc:spChg>
        <pc:spChg chg="mod">
          <ac:chgData name="Jean QUENTIN" userId="6962deb3-b639-4acd-8091-a0516ea2376b" providerId="ADAL" clId="{146BD8F6-FDDD-49D3-A1A6-146C954086FF}" dt="2021-05-24T13:36:19.357" v="4558" actId="790"/>
          <ac:spMkLst>
            <pc:docMk/>
            <pc:sldMk cId="994864461" sldId="10463"/>
            <ac:spMk id="62" creationId="{7CA1B84B-275B-4A40-B4C6-ACCA5B1EF060}"/>
          </ac:spMkLst>
        </pc:spChg>
        <pc:spChg chg="mod">
          <ac:chgData name="Jean QUENTIN" userId="6962deb3-b639-4acd-8091-a0516ea2376b" providerId="ADAL" clId="{146BD8F6-FDDD-49D3-A1A6-146C954086FF}" dt="2021-05-24T13:36:19.363" v="4560" actId="790"/>
          <ac:spMkLst>
            <pc:docMk/>
            <pc:sldMk cId="994864461" sldId="10463"/>
            <ac:spMk id="63" creationId="{34C8AF29-90C4-46FA-B9DC-F36ED53B3BDD}"/>
          </ac:spMkLst>
        </pc:spChg>
        <pc:spChg chg="mod">
          <ac:chgData name="Jean QUENTIN" userId="6962deb3-b639-4acd-8091-a0516ea2376b" providerId="ADAL" clId="{146BD8F6-FDDD-49D3-A1A6-146C954086FF}" dt="2021-05-24T13:36:19.363" v="4561" actId="790"/>
          <ac:spMkLst>
            <pc:docMk/>
            <pc:sldMk cId="994864461" sldId="10463"/>
            <ac:spMk id="64" creationId="{2D17AE97-4406-4CDC-B948-322489FAF64E}"/>
          </ac:spMkLst>
        </pc:spChg>
        <pc:spChg chg="mod">
          <ac:chgData name="Jean QUENTIN" userId="6962deb3-b639-4acd-8091-a0516ea2376b" providerId="ADAL" clId="{146BD8F6-FDDD-49D3-A1A6-146C954086FF}" dt="2021-05-24T13:36:19.357" v="4559" actId="790"/>
          <ac:spMkLst>
            <pc:docMk/>
            <pc:sldMk cId="994864461" sldId="10463"/>
            <ac:spMk id="65" creationId="{6959121F-EC41-4CB3-A845-BFD588522528}"/>
          </ac:spMkLst>
        </pc:spChg>
        <pc:spChg chg="mod">
          <ac:chgData name="Jean QUENTIN" userId="6962deb3-b639-4acd-8091-a0516ea2376b" providerId="ADAL" clId="{146BD8F6-FDDD-49D3-A1A6-146C954086FF}" dt="2021-05-24T13:36:19.363" v="4562" actId="790"/>
          <ac:spMkLst>
            <pc:docMk/>
            <pc:sldMk cId="994864461" sldId="10463"/>
            <ac:spMk id="66" creationId="{4479525C-995C-481A-84E6-2CD575176647}"/>
          </ac:spMkLst>
        </pc:spChg>
        <pc:spChg chg="mod">
          <ac:chgData name="Jean QUENTIN" userId="6962deb3-b639-4acd-8091-a0516ea2376b" providerId="ADAL" clId="{146BD8F6-FDDD-49D3-A1A6-146C954086FF}" dt="2021-05-24T13:36:19.363" v="4563" actId="790"/>
          <ac:spMkLst>
            <pc:docMk/>
            <pc:sldMk cId="994864461" sldId="10463"/>
            <ac:spMk id="67" creationId="{04E022E5-2E4D-42E2-AA60-46BE011C9266}"/>
          </ac:spMkLst>
        </pc:spChg>
        <pc:spChg chg="mod">
          <ac:chgData name="Jean QUENTIN" userId="6962deb3-b639-4acd-8091-a0516ea2376b" providerId="ADAL" clId="{146BD8F6-FDDD-49D3-A1A6-146C954086FF}" dt="2021-05-24T13:36:19.363" v="4564" actId="790"/>
          <ac:spMkLst>
            <pc:docMk/>
            <pc:sldMk cId="994864461" sldId="10463"/>
            <ac:spMk id="68" creationId="{E440AB09-76A6-4F09-B7C3-B68484BF0101}"/>
          </ac:spMkLst>
        </pc:spChg>
        <pc:spChg chg="mod">
          <ac:chgData name="Jean QUENTIN" userId="6962deb3-b639-4acd-8091-a0516ea2376b" providerId="ADAL" clId="{146BD8F6-FDDD-49D3-A1A6-146C954086FF}" dt="2021-05-24T13:36:19.363" v="4565" actId="790"/>
          <ac:spMkLst>
            <pc:docMk/>
            <pc:sldMk cId="994864461" sldId="10463"/>
            <ac:spMk id="69" creationId="{2011D7F9-8390-4E30-9AD1-E3611E2BC1CD}"/>
          </ac:spMkLst>
        </pc:spChg>
        <pc:spChg chg="mod">
          <ac:chgData name="Jean QUENTIN" userId="6962deb3-b639-4acd-8091-a0516ea2376b" providerId="ADAL" clId="{146BD8F6-FDDD-49D3-A1A6-146C954086FF}" dt="2021-05-24T13:36:19.363" v="4566" actId="790"/>
          <ac:spMkLst>
            <pc:docMk/>
            <pc:sldMk cId="994864461" sldId="10463"/>
            <ac:spMk id="70" creationId="{AFE4887D-245E-4A5E-8885-8AF19040C140}"/>
          </ac:spMkLst>
        </pc:spChg>
        <pc:spChg chg="mod">
          <ac:chgData name="Jean QUENTIN" userId="6962deb3-b639-4acd-8091-a0516ea2376b" providerId="ADAL" clId="{146BD8F6-FDDD-49D3-A1A6-146C954086FF}" dt="2021-05-24T13:36:19.363" v="4567" actId="790"/>
          <ac:spMkLst>
            <pc:docMk/>
            <pc:sldMk cId="994864461" sldId="10463"/>
            <ac:spMk id="71" creationId="{F0F2AF39-5991-495C-A600-6A657673BFB6}"/>
          </ac:spMkLst>
        </pc:spChg>
        <pc:spChg chg="mod">
          <ac:chgData name="Jean QUENTIN" userId="6962deb3-b639-4acd-8091-a0516ea2376b" providerId="ADAL" clId="{146BD8F6-FDDD-49D3-A1A6-146C954086FF}" dt="2021-05-24T13:36:19.363" v="4568" actId="790"/>
          <ac:spMkLst>
            <pc:docMk/>
            <pc:sldMk cId="994864461" sldId="10463"/>
            <ac:spMk id="72" creationId="{80311AF2-539D-40DF-BC68-A43B2EEB1602}"/>
          </ac:spMkLst>
        </pc:spChg>
        <pc:spChg chg="mod">
          <ac:chgData name="Jean QUENTIN" userId="6962deb3-b639-4acd-8091-a0516ea2376b" providerId="ADAL" clId="{146BD8F6-FDDD-49D3-A1A6-146C954086FF}" dt="2021-05-24T13:36:19.363" v="4569" actId="790"/>
          <ac:spMkLst>
            <pc:docMk/>
            <pc:sldMk cId="994864461" sldId="10463"/>
            <ac:spMk id="73" creationId="{0B2D4FEA-C321-48DA-A508-11F9FD1D872D}"/>
          </ac:spMkLst>
        </pc:spChg>
        <pc:spChg chg="mod">
          <ac:chgData name="Jean QUENTIN" userId="6962deb3-b639-4acd-8091-a0516ea2376b" providerId="ADAL" clId="{146BD8F6-FDDD-49D3-A1A6-146C954086FF}" dt="2021-05-24T13:36:19.363" v="4570" actId="790"/>
          <ac:spMkLst>
            <pc:docMk/>
            <pc:sldMk cId="994864461" sldId="10463"/>
            <ac:spMk id="74" creationId="{6C2C45BC-5F8F-4158-95FA-DBED5FF506B1}"/>
          </ac:spMkLst>
        </pc:spChg>
        <pc:spChg chg="mod">
          <ac:chgData name="Jean QUENTIN" userId="6962deb3-b639-4acd-8091-a0516ea2376b" providerId="ADAL" clId="{146BD8F6-FDDD-49D3-A1A6-146C954086FF}" dt="2021-05-24T13:36:19.363" v="4571" actId="790"/>
          <ac:spMkLst>
            <pc:docMk/>
            <pc:sldMk cId="994864461" sldId="10463"/>
            <ac:spMk id="75" creationId="{7B0FFDE9-FFD9-4A73-8832-170F98D17244}"/>
          </ac:spMkLst>
        </pc:spChg>
        <pc:spChg chg="mod">
          <ac:chgData name="Jean QUENTIN" userId="6962deb3-b639-4acd-8091-a0516ea2376b" providerId="ADAL" clId="{146BD8F6-FDDD-49D3-A1A6-146C954086FF}" dt="2021-05-25T09:00:13.049" v="12604" actId="33524"/>
          <ac:spMkLst>
            <pc:docMk/>
            <pc:sldMk cId="994864461" sldId="10463"/>
            <ac:spMk id="76" creationId="{04AB1183-48A5-4AAB-AFC7-EE17CBA30D1F}"/>
          </ac:spMkLst>
        </pc:spChg>
        <pc:spChg chg="mod">
          <ac:chgData name="Jean QUENTIN" userId="6962deb3-b639-4acd-8091-a0516ea2376b" providerId="ADAL" clId="{146BD8F6-FDDD-49D3-A1A6-146C954086FF}" dt="2021-05-24T13:36:19.379" v="4573" actId="790"/>
          <ac:spMkLst>
            <pc:docMk/>
            <pc:sldMk cId="994864461" sldId="10463"/>
            <ac:spMk id="77" creationId="{953DC0E8-B9BA-4272-838D-47500A00630B}"/>
          </ac:spMkLst>
        </pc:spChg>
        <pc:spChg chg="mod">
          <ac:chgData name="Jean QUENTIN" userId="6962deb3-b639-4acd-8091-a0516ea2376b" providerId="ADAL" clId="{146BD8F6-FDDD-49D3-A1A6-146C954086FF}" dt="2021-05-24T13:36:19.379" v="4574" actId="790"/>
          <ac:spMkLst>
            <pc:docMk/>
            <pc:sldMk cId="994864461" sldId="10463"/>
            <ac:spMk id="78" creationId="{6E94A301-188D-411F-840A-724B132E6629}"/>
          </ac:spMkLst>
        </pc:spChg>
        <pc:spChg chg="mod">
          <ac:chgData name="Jean QUENTIN" userId="6962deb3-b639-4acd-8091-a0516ea2376b" providerId="ADAL" clId="{146BD8F6-FDDD-49D3-A1A6-146C954086FF}" dt="2021-05-24T13:36:19.379" v="4575" actId="790"/>
          <ac:spMkLst>
            <pc:docMk/>
            <pc:sldMk cId="994864461" sldId="10463"/>
            <ac:spMk id="79" creationId="{7F2E29EF-CCA5-49C7-B921-5468D45F7D5D}"/>
          </ac:spMkLst>
        </pc:spChg>
        <pc:spChg chg="mod">
          <ac:chgData name="Jean QUENTIN" userId="6962deb3-b639-4acd-8091-a0516ea2376b" providerId="ADAL" clId="{146BD8F6-FDDD-49D3-A1A6-146C954086FF}" dt="2021-05-24T13:36:19.379" v="4576" actId="790"/>
          <ac:spMkLst>
            <pc:docMk/>
            <pc:sldMk cId="994864461" sldId="10463"/>
            <ac:spMk id="80" creationId="{F2B59353-E19F-4D93-9E7E-E095010072BD}"/>
          </ac:spMkLst>
        </pc:spChg>
        <pc:spChg chg="mod">
          <ac:chgData name="Jean QUENTIN" userId="6962deb3-b639-4acd-8091-a0516ea2376b" providerId="ADAL" clId="{146BD8F6-FDDD-49D3-A1A6-146C954086FF}" dt="2021-05-24T13:36:19.379" v="4577" actId="790"/>
          <ac:spMkLst>
            <pc:docMk/>
            <pc:sldMk cId="994864461" sldId="10463"/>
            <ac:spMk id="81" creationId="{CC201E51-AC66-4CA9-A83C-D0C9C8FFE8BE}"/>
          </ac:spMkLst>
        </pc:spChg>
        <pc:spChg chg="mod">
          <ac:chgData name="Jean QUENTIN" userId="6962deb3-b639-4acd-8091-a0516ea2376b" providerId="ADAL" clId="{146BD8F6-FDDD-49D3-A1A6-146C954086FF}" dt="2021-05-24T13:36:19.379" v="4578" actId="790"/>
          <ac:spMkLst>
            <pc:docMk/>
            <pc:sldMk cId="994864461" sldId="10463"/>
            <ac:spMk id="82" creationId="{89D680A3-5621-4E69-8DC5-AAE03504131D}"/>
          </ac:spMkLst>
        </pc:spChg>
        <pc:spChg chg="mod">
          <ac:chgData name="Jean QUENTIN" userId="6962deb3-b639-4acd-8091-a0516ea2376b" providerId="ADAL" clId="{146BD8F6-FDDD-49D3-A1A6-146C954086FF}" dt="2021-05-24T13:36:19.379" v="4579" actId="790"/>
          <ac:spMkLst>
            <pc:docMk/>
            <pc:sldMk cId="994864461" sldId="10463"/>
            <ac:spMk id="96" creationId="{60AA0A4A-BEEE-4604-956C-953BE71EFC9D}"/>
          </ac:spMkLst>
        </pc:spChg>
        <pc:spChg chg="mod">
          <ac:chgData name="Jean QUENTIN" userId="6962deb3-b639-4acd-8091-a0516ea2376b" providerId="ADAL" clId="{146BD8F6-FDDD-49D3-A1A6-146C954086FF}" dt="2021-05-24T13:36:19.379" v="4580" actId="790"/>
          <ac:spMkLst>
            <pc:docMk/>
            <pc:sldMk cId="994864461" sldId="10463"/>
            <ac:spMk id="109" creationId="{B8C651EF-8C79-4EEF-BCDF-0C547882B32B}"/>
          </ac:spMkLst>
        </pc:spChg>
        <pc:spChg chg="mod">
          <ac:chgData name="Jean QUENTIN" userId="6962deb3-b639-4acd-8091-a0516ea2376b" providerId="ADAL" clId="{146BD8F6-FDDD-49D3-A1A6-146C954086FF}" dt="2021-05-24T13:36:19.379" v="4581" actId="790"/>
          <ac:spMkLst>
            <pc:docMk/>
            <pc:sldMk cId="994864461" sldId="10463"/>
            <ac:spMk id="110" creationId="{C1242745-0D13-455E-8D76-9CABDFB68D09}"/>
          </ac:spMkLst>
        </pc:spChg>
        <pc:spChg chg="mod">
          <ac:chgData name="Jean QUENTIN" userId="6962deb3-b639-4acd-8091-a0516ea2376b" providerId="ADAL" clId="{146BD8F6-FDDD-49D3-A1A6-146C954086FF}" dt="2021-05-24T13:36:19.379" v="4582" actId="790"/>
          <ac:spMkLst>
            <pc:docMk/>
            <pc:sldMk cId="994864461" sldId="10463"/>
            <ac:spMk id="111" creationId="{F76AA831-FD95-45A6-8806-8F9A459A7676}"/>
          </ac:spMkLst>
        </pc:spChg>
        <pc:spChg chg="mod">
          <ac:chgData name="Jean QUENTIN" userId="6962deb3-b639-4acd-8091-a0516ea2376b" providerId="ADAL" clId="{146BD8F6-FDDD-49D3-A1A6-146C954086FF}" dt="2021-05-24T13:36:19.395" v="4583" actId="790"/>
          <ac:spMkLst>
            <pc:docMk/>
            <pc:sldMk cId="994864461" sldId="10463"/>
            <ac:spMk id="112" creationId="{FEDE8EDB-9323-48AA-A8D4-0F9C692E7A3C}"/>
          </ac:spMkLst>
        </pc:spChg>
        <pc:spChg chg="mod">
          <ac:chgData name="Jean QUENTIN" userId="6962deb3-b639-4acd-8091-a0516ea2376b" providerId="ADAL" clId="{146BD8F6-FDDD-49D3-A1A6-146C954086FF}" dt="2021-05-24T13:36:19.395" v="4584" actId="790"/>
          <ac:spMkLst>
            <pc:docMk/>
            <pc:sldMk cId="994864461" sldId="10463"/>
            <ac:spMk id="113" creationId="{66FFCA00-9590-4FD6-BEA6-01F02807C391}"/>
          </ac:spMkLst>
        </pc:spChg>
        <pc:spChg chg="mod">
          <ac:chgData name="Jean QUENTIN" userId="6962deb3-b639-4acd-8091-a0516ea2376b" providerId="ADAL" clId="{146BD8F6-FDDD-49D3-A1A6-146C954086FF}" dt="2021-05-24T13:36:19.395" v="4585" actId="790"/>
          <ac:spMkLst>
            <pc:docMk/>
            <pc:sldMk cId="994864461" sldId="10463"/>
            <ac:spMk id="114" creationId="{83E3983C-7907-4845-8A3C-B826235A80DE}"/>
          </ac:spMkLst>
        </pc:spChg>
        <pc:spChg chg="mod">
          <ac:chgData name="Jean QUENTIN" userId="6962deb3-b639-4acd-8091-a0516ea2376b" providerId="ADAL" clId="{146BD8F6-FDDD-49D3-A1A6-146C954086FF}" dt="2021-05-24T13:36:19.395" v="4586" actId="790"/>
          <ac:spMkLst>
            <pc:docMk/>
            <pc:sldMk cId="994864461" sldId="10463"/>
            <ac:spMk id="115" creationId="{856DB5DA-5C74-47EE-A53D-D14D437C76BE}"/>
          </ac:spMkLst>
        </pc:spChg>
        <pc:spChg chg="mod">
          <ac:chgData name="Jean QUENTIN" userId="6962deb3-b639-4acd-8091-a0516ea2376b" providerId="ADAL" clId="{146BD8F6-FDDD-49D3-A1A6-146C954086FF}" dt="2021-05-24T13:36:19.395" v="4587" actId="790"/>
          <ac:spMkLst>
            <pc:docMk/>
            <pc:sldMk cId="994864461" sldId="10463"/>
            <ac:spMk id="116" creationId="{256E6065-18B1-4B1A-9B1C-395D7858CEF7}"/>
          </ac:spMkLst>
        </pc:spChg>
        <pc:spChg chg="mod">
          <ac:chgData name="Jean QUENTIN" userId="6962deb3-b639-4acd-8091-a0516ea2376b" providerId="ADAL" clId="{146BD8F6-FDDD-49D3-A1A6-146C954086FF}" dt="2021-05-24T13:36:19.395" v="4588" actId="790"/>
          <ac:spMkLst>
            <pc:docMk/>
            <pc:sldMk cId="994864461" sldId="10463"/>
            <ac:spMk id="117" creationId="{8FF8270B-E7B5-4CEF-9925-A038D6A17D9E}"/>
          </ac:spMkLst>
        </pc:spChg>
        <pc:spChg chg="mod">
          <ac:chgData name="Jean QUENTIN" userId="6962deb3-b639-4acd-8091-a0516ea2376b" providerId="ADAL" clId="{146BD8F6-FDDD-49D3-A1A6-146C954086FF}" dt="2021-05-24T13:36:19.395" v="4589" actId="790"/>
          <ac:spMkLst>
            <pc:docMk/>
            <pc:sldMk cId="994864461" sldId="10463"/>
            <ac:spMk id="118" creationId="{1CF9F239-F8D1-473B-9E76-AB8282E7869E}"/>
          </ac:spMkLst>
        </pc:spChg>
        <pc:spChg chg="mod">
          <ac:chgData name="Jean QUENTIN" userId="6962deb3-b639-4acd-8091-a0516ea2376b" providerId="ADAL" clId="{146BD8F6-FDDD-49D3-A1A6-146C954086FF}" dt="2021-05-24T13:36:19.395" v="4590" actId="790"/>
          <ac:spMkLst>
            <pc:docMk/>
            <pc:sldMk cId="994864461" sldId="10463"/>
            <ac:spMk id="119" creationId="{69B6E3C2-D5C0-49B4-903F-13C06B000B16}"/>
          </ac:spMkLst>
        </pc:spChg>
        <pc:spChg chg="mod">
          <ac:chgData name="Jean QUENTIN" userId="6962deb3-b639-4acd-8091-a0516ea2376b" providerId="ADAL" clId="{146BD8F6-FDDD-49D3-A1A6-146C954086FF}" dt="2021-05-24T13:36:19.395" v="4591" actId="790"/>
          <ac:spMkLst>
            <pc:docMk/>
            <pc:sldMk cId="994864461" sldId="10463"/>
            <ac:spMk id="120" creationId="{78EECC20-D216-4136-9D42-27F7C1CFFE8D}"/>
          </ac:spMkLst>
        </pc:spChg>
        <pc:spChg chg="mod">
          <ac:chgData name="Jean QUENTIN" userId="6962deb3-b639-4acd-8091-a0516ea2376b" providerId="ADAL" clId="{146BD8F6-FDDD-49D3-A1A6-146C954086FF}" dt="2021-05-24T13:36:19.395" v="4592" actId="790"/>
          <ac:spMkLst>
            <pc:docMk/>
            <pc:sldMk cId="994864461" sldId="10463"/>
            <ac:spMk id="138" creationId="{786755AD-722C-439B-AACB-BCCC66E0BC2C}"/>
          </ac:spMkLst>
        </pc:spChg>
        <pc:spChg chg="mod">
          <ac:chgData name="Jean QUENTIN" userId="6962deb3-b639-4acd-8091-a0516ea2376b" providerId="ADAL" clId="{146BD8F6-FDDD-49D3-A1A6-146C954086FF}" dt="2021-05-24T13:36:19.395" v="4593" actId="790"/>
          <ac:spMkLst>
            <pc:docMk/>
            <pc:sldMk cId="994864461" sldId="10463"/>
            <ac:spMk id="144" creationId="{6EE8D667-CA8A-4C92-9EF4-8F0051D4E11C}"/>
          </ac:spMkLst>
        </pc:spChg>
        <pc:spChg chg="mod">
          <ac:chgData name="Jean QUENTIN" userId="6962deb3-b639-4acd-8091-a0516ea2376b" providerId="ADAL" clId="{146BD8F6-FDDD-49D3-A1A6-146C954086FF}" dt="2021-05-24T13:36:19.395" v="4594" actId="790"/>
          <ac:spMkLst>
            <pc:docMk/>
            <pc:sldMk cId="994864461" sldId="10463"/>
            <ac:spMk id="152" creationId="{D3C9318C-98C0-4C62-8EBD-9AD019DF3AC0}"/>
          </ac:spMkLst>
        </pc:spChg>
        <pc:spChg chg="mod">
          <ac:chgData name="Jean QUENTIN" userId="6962deb3-b639-4acd-8091-a0516ea2376b" providerId="ADAL" clId="{146BD8F6-FDDD-49D3-A1A6-146C954086FF}" dt="2021-05-24T13:36:19.395" v="4595" actId="790"/>
          <ac:spMkLst>
            <pc:docMk/>
            <pc:sldMk cId="994864461" sldId="10463"/>
            <ac:spMk id="154" creationId="{15C04357-F4FC-4E40-89E9-1938E6F2473A}"/>
          </ac:spMkLst>
        </pc:spChg>
        <pc:spChg chg="mod">
          <ac:chgData name="Jean QUENTIN" userId="6962deb3-b639-4acd-8091-a0516ea2376b" providerId="ADAL" clId="{146BD8F6-FDDD-49D3-A1A6-146C954086FF}" dt="2021-05-24T13:36:19.410" v="4596" actId="790"/>
          <ac:spMkLst>
            <pc:docMk/>
            <pc:sldMk cId="994864461" sldId="10463"/>
            <ac:spMk id="157" creationId="{030C0D2C-3FC1-42D9-B6D4-42F94552EB2A}"/>
          </ac:spMkLst>
        </pc:spChg>
        <pc:spChg chg="mod">
          <ac:chgData name="Jean QUENTIN" userId="6962deb3-b639-4acd-8091-a0516ea2376b" providerId="ADAL" clId="{146BD8F6-FDDD-49D3-A1A6-146C954086FF}" dt="2021-05-24T13:36:19.410" v="4597" actId="790"/>
          <ac:spMkLst>
            <pc:docMk/>
            <pc:sldMk cId="994864461" sldId="10463"/>
            <ac:spMk id="162" creationId="{8226D5C3-E940-4438-8464-F5F38C7B3362}"/>
          </ac:spMkLst>
        </pc:spChg>
        <pc:spChg chg="mod">
          <ac:chgData name="Jean QUENTIN" userId="6962deb3-b639-4acd-8091-a0516ea2376b" providerId="ADAL" clId="{146BD8F6-FDDD-49D3-A1A6-146C954086FF}" dt="2021-05-24T13:36:19.410" v="4598" actId="790"/>
          <ac:spMkLst>
            <pc:docMk/>
            <pc:sldMk cId="994864461" sldId="10463"/>
            <ac:spMk id="163" creationId="{26C15832-81C9-4BE1-A3CD-12515BF77ED9}"/>
          </ac:spMkLst>
        </pc:spChg>
        <pc:spChg chg="mod">
          <ac:chgData name="Jean QUENTIN" userId="6962deb3-b639-4acd-8091-a0516ea2376b" providerId="ADAL" clId="{146BD8F6-FDDD-49D3-A1A6-146C954086FF}" dt="2021-05-24T13:36:19.410" v="4599" actId="790"/>
          <ac:spMkLst>
            <pc:docMk/>
            <pc:sldMk cId="994864461" sldId="10463"/>
            <ac:spMk id="164" creationId="{D679480C-80AA-4247-B47E-1515FE438063}"/>
          </ac:spMkLst>
        </pc:spChg>
      </pc:sldChg>
      <pc:sldChg chg="modSp mod">
        <pc:chgData name="Jean QUENTIN" userId="6962deb3-b639-4acd-8091-a0516ea2376b" providerId="ADAL" clId="{146BD8F6-FDDD-49D3-A1A6-146C954086FF}" dt="2021-05-24T13:36:19.326" v="4542" actId="790"/>
        <pc:sldMkLst>
          <pc:docMk/>
          <pc:sldMk cId="4123958613" sldId="10464"/>
        </pc:sldMkLst>
        <pc:spChg chg="mod">
          <ac:chgData name="Jean QUENTIN" userId="6962deb3-b639-4acd-8091-a0516ea2376b" providerId="ADAL" clId="{146BD8F6-FDDD-49D3-A1A6-146C954086FF}" dt="2021-05-24T13:36:19.210" v="4479" actId="790"/>
          <ac:spMkLst>
            <pc:docMk/>
            <pc:sldMk cId="4123958613" sldId="10464"/>
            <ac:spMk id="2" creationId="{6141F854-3009-40D7-9038-56590105A49E}"/>
          </ac:spMkLst>
        </pc:spChg>
        <pc:spChg chg="mod">
          <ac:chgData name="Jean QUENTIN" userId="6962deb3-b639-4acd-8091-a0516ea2376b" providerId="ADAL" clId="{146BD8F6-FDDD-49D3-A1A6-146C954086FF}" dt="2021-05-24T13:36:19.294" v="4524" actId="790"/>
          <ac:spMkLst>
            <pc:docMk/>
            <pc:sldMk cId="4123958613" sldId="10464"/>
            <ac:spMk id="3" creationId="{560625DF-BB9A-476B-B434-FFCE76A905DE}"/>
          </ac:spMkLst>
        </pc:spChg>
        <pc:spChg chg="mod">
          <ac:chgData name="Jean QUENTIN" userId="6962deb3-b639-4acd-8091-a0516ea2376b" providerId="ADAL" clId="{146BD8F6-FDDD-49D3-A1A6-146C954086FF}" dt="2021-05-24T13:36:19.210" v="4480" actId="790"/>
          <ac:spMkLst>
            <pc:docMk/>
            <pc:sldMk cId="4123958613" sldId="10464"/>
            <ac:spMk id="11" creationId="{563B210D-AA79-4D5F-ACE6-ABADF843D2FA}"/>
          </ac:spMkLst>
        </pc:spChg>
        <pc:spChg chg="mod">
          <ac:chgData name="Jean QUENTIN" userId="6962deb3-b639-4acd-8091-a0516ea2376b" providerId="ADAL" clId="{146BD8F6-FDDD-49D3-A1A6-146C954086FF}" dt="2021-05-24T13:36:19.210" v="4481" actId="790"/>
          <ac:spMkLst>
            <pc:docMk/>
            <pc:sldMk cId="4123958613" sldId="10464"/>
            <ac:spMk id="12" creationId="{1E623B1C-37C8-4895-B26E-15F871736A36}"/>
          </ac:spMkLst>
        </pc:spChg>
        <pc:spChg chg="mod">
          <ac:chgData name="Jean QUENTIN" userId="6962deb3-b639-4acd-8091-a0516ea2376b" providerId="ADAL" clId="{146BD8F6-FDDD-49D3-A1A6-146C954086FF}" dt="2021-05-24T13:36:19.225" v="4482" actId="790"/>
          <ac:spMkLst>
            <pc:docMk/>
            <pc:sldMk cId="4123958613" sldId="10464"/>
            <ac:spMk id="13" creationId="{878F2793-BE4D-4FF3-B02D-53D881283C27}"/>
          </ac:spMkLst>
        </pc:spChg>
        <pc:spChg chg="mod">
          <ac:chgData name="Jean QUENTIN" userId="6962deb3-b639-4acd-8091-a0516ea2376b" providerId="ADAL" clId="{146BD8F6-FDDD-49D3-A1A6-146C954086FF}" dt="2021-05-24T13:36:19.225" v="4483" actId="790"/>
          <ac:spMkLst>
            <pc:docMk/>
            <pc:sldMk cId="4123958613" sldId="10464"/>
            <ac:spMk id="14" creationId="{BF99168B-58D2-49E3-9128-C54D5771CCAF}"/>
          </ac:spMkLst>
        </pc:spChg>
        <pc:spChg chg="mod">
          <ac:chgData name="Jean QUENTIN" userId="6962deb3-b639-4acd-8091-a0516ea2376b" providerId="ADAL" clId="{146BD8F6-FDDD-49D3-A1A6-146C954086FF}" dt="2021-05-24T13:36:19.225" v="4484" actId="790"/>
          <ac:spMkLst>
            <pc:docMk/>
            <pc:sldMk cId="4123958613" sldId="10464"/>
            <ac:spMk id="15" creationId="{05128460-7BFC-4307-97D3-8D6BCE648098}"/>
          </ac:spMkLst>
        </pc:spChg>
        <pc:spChg chg="mod">
          <ac:chgData name="Jean QUENTIN" userId="6962deb3-b639-4acd-8091-a0516ea2376b" providerId="ADAL" clId="{146BD8F6-FDDD-49D3-A1A6-146C954086FF}" dt="2021-05-24T13:36:19.225" v="4485" actId="790"/>
          <ac:spMkLst>
            <pc:docMk/>
            <pc:sldMk cId="4123958613" sldId="10464"/>
            <ac:spMk id="16" creationId="{52DC22F7-50A1-4F9E-BDE2-AEB9287C6358}"/>
          </ac:spMkLst>
        </pc:spChg>
        <pc:spChg chg="mod">
          <ac:chgData name="Jean QUENTIN" userId="6962deb3-b639-4acd-8091-a0516ea2376b" providerId="ADAL" clId="{146BD8F6-FDDD-49D3-A1A6-146C954086FF}" dt="2021-05-24T13:36:19.225" v="4486" actId="790"/>
          <ac:spMkLst>
            <pc:docMk/>
            <pc:sldMk cId="4123958613" sldId="10464"/>
            <ac:spMk id="17" creationId="{13362563-A54C-40FC-9CE3-98BEEED7C283}"/>
          </ac:spMkLst>
        </pc:spChg>
        <pc:spChg chg="mod">
          <ac:chgData name="Jean QUENTIN" userId="6962deb3-b639-4acd-8091-a0516ea2376b" providerId="ADAL" clId="{146BD8F6-FDDD-49D3-A1A6-146C954086FF}" dt="2021-05-24T13:36:19.225" v="4487" actId="790"/>
          <ac:spMkLst>
            <pc:docMk/>
            <pc:sldMk cId="4123958613" sldId="10464"/>
            <ac:spMk id="18" creationId="{A0FC123E-1912-4BE1-A532-BD9FD91F6D4C}"/>
          </ac:spMkLst>
        </pc:spChg>
        <pc:spChg chg="mod">
          <ac:chgData name="Jean QUENTIN" userId="6962deb3-b639-4acd-8091-a0516ea2376b" providerId="ADAL" clId="{146BD8F6-FDDD-49D3-A1A6-146C954086FF}" dt="2021-05-24T13:36:19.225" v="4488" actId="790"/>
          <ac:spMkLst>
            <pc:docMk/>
            <pc:sldMk cId="4123958613" sldId="10464"/>
            <ac:spMk id="19" creationId="{53B1CD2F-0672-4E2A-A3D2-D816C1F3C13A}"/>
          </ac:spMkLst>
        </pc:spChg>
        <pc:spChg chg="mod">
          <ac:chgData name="Jean QUENTIN" userId="6962deb3-b639-4acd-8091-a0516ea2376b" providerId="ADAL" clId="{146BD8F6-FDDD-49D3-A1A6-146C954086FF}" dt="2021-05-24T13:36:19.225" v="4489" actId="790"/>
          <ac:spMkLst>
            <pc:docMk/>
            <pc:sldMk cId="4123958613" sldId="10464"/>
            <ac:spMk id="20" creationId="{2C72074C-EA62-427A-B807-7B4830414ADA}"/>
          </ac:spMkLst>
        </pc:spChg>
        <pc:spChg chg="mod">
          <ac:chgData name="Jean QUENTIN" userId="6962deb3-b639-4acd-8091-a0516ea2376b" providerId="ADAL" clId="{146BD8F6-FDDD-49D3-A1A6-146C954086FF}" dt="2021-05-24T13:36:19.225" v="4490" actId="790"/>
          <ac:spMkLst>
            <pc:docMk/>
            <pc:sldMk cId="4123958613" sldId="10464"/>
            <ac:spMk id="21" creationId="{3CAD7744-8624-4211-8642-F7A97366903A}"/>
          </ac:spMkLst>
        </pc:spChg>
        <pc:spChg chg="mod">
          <ac:chgData name="Jean QUENTIN" userId="6962deb3-b639-4acd-8091-a0516ea2376b" providerId="ADAL" clId="{146BD8F6-FDDD-49D3-A1A6-146C954086FF}" dt="2021-05-24T13:36:19.225" v="4491" actId="790"/>
          <ac:spMkLst>
            <pc:docMk/>
            <pc:sldMk cId="4123958613" sldId="10464"/>
            <ac:spMk id="22" creationId="{0EE64BA2-0E59-4319-86FD-6DC0E3B07DC6}"/>
          </ac:spMkLst>
        </pc:spChg>
        <pc:spChg chg="mod">
          <ac:chgData name="Jean QUENTIN" userId="6962deb3-b639-4acd-8091-a0516ea2376b" providerId="ADAL" clId="{146BD8F6-FDDD-49D3-A1A6-146C954086FF}" dt="2021-05-24T13:36:19.225" v="4492" actId="790"/>
          <ac:spMkLst>
            <pc:docMk/>
            <pc:sldMk cId="4123958613" sldId="10464"/>
            <ac:spMk id="23" creationId="{C50B6671-D4B5-4C43-8259-C37662E047AC}"/>
          </ac:spMkLst>
        </pc:spChg>
        <pc:spChg chg="mod">
          <ac:chgData name="Jean QUENTIN" userId="6962deb3-b639-4acd-8091-a0516ea2376b" providerId="ADAL" clId="{146BD8F6-FDDD-49D3-A1A6-146C954086FF}" dt="2021-05-24T13:36:19.225" v="4493" actId="790"/>
          <ac:spMkLst>
            <pc:docMk/>
            <pc:sldMk cId="4123958613" sldId="10464"/>
            <ac:spMk id="24" creationId="{6FD5383A-D90F-4793-9EE4-978E5E77E6AE}"/>
          </ac:spMkLst>
        </pc:spChg>
        <pc:spChg chg="mod">
          <ac:chgData name="Jean QUENTIN" userId="6962deb3-b639-4acd-8091-a0516ea2376b" providerId="ADAL" clId="{146BD8F6-FDDD-49D3-A1A6-146C954086FF}" dt="2021-05-24T13:36:19.225" v="4494" actId="790"/>
          <ac:spMkLst>
            <pc:docMk/>
            <pc:sldMk cId="4123958613" sldId="10464"/>
            <ac:spMk id="25" creationId="{E73D5AA9-9BED-4CFE-9B15-BA2CA34D3A8F}"/>
          </ac:spMkLst>
        </pc:spChg>
        <pc:spChg chg="mod">
          <ac:chgData name="Jean QUENTIN" userId="6962deb3-b639-4acd-8091-a0516ea2376b" providerId="ADAL" clId="{146BD8F6-FDDD-49D3-A1A6-146C954086FF}" dt="2021-05-24T13:36:19.241" v="4495" actId="790"/>
          <ac:spMkLst>
            <pc:docMk/>
            <pc:sldMk cId="4123958613" sldId="10464"/>
            <ac:spMk id="26" creationId="{1CF178C9-FA09-4B3B-8961-A7D3052DF2A2}"/>
          </ac:spMkLst>
        </pc:spChg>
        <pc:spChg chg="mod">
          <ac:chgData name="Jean QUENTIN" userId="6962deb3-b639-4acd-8091-a0516ea2376b" providerId="ADAL" clId="{146BD8F6-FDDD-49D3-A1A6-146C954086FF}" dt="2021-05-24T13:36:19.241" v="4496" actId="790"/>
          <ac:spMkLst>
            <pc:docMk/>
            <pc:sldMk cId="4123958613" sldId="10464"/>
            <ac:spMk id="27" creationId="{D8D4D570-E556-4136-82DA-1FDC69F4B871}"/>
          </ac:spMkLst>
        </pc:spChg>
        <pc:spChg chg="mod">
          <ac:chgData name="Jean QUENTIN" userId="6962deb3-b639-4acd-8091-a0516ea2376b" providerId="ADAL" clId="{146BD8F6-FDDD-49D3-A1A6-146C954086FF}" dt="2021-05-24T13:36:19.241" v="4497" actId="790"/>
          <ac:spMkLst>
            <pc:docMk/>
            <pc:sldMk cId="4123958613" sldId="10464"/>
            <ac:spMk id="28" creationId="{FCC4D2C6-1441-4E66-A37F-3A76B43E83CE}"/>
          </ac:spMkLst>
        </pc:spChg>
        <pc:spChg chg="mod">
          <ac:chgData name="Jean QUENTIN" userId="6962deb3-b639-4acd-8091-a0516ea2376b" providerId="ADAL" clId="{146BD8F6-FDDD-49D3-A1A6-146C954086FF}" dt="2021-05-24T13:36:19.241" v="4498" actId="790"/>
          <ac:spMkLst>
            <pc:docMk/>
            <pc:sldMk cId="4123958613" sldId="10464"/>
            <ac:spMk id="29" creationId="{4EBEFE44-2A14-4F09-A3EB-58ED287D0203}"/>
          </ac:spMkLst>
        </pc:spChg>
        <pc:spChg chg="mod">
          <ac:chgData name="Jean QUENTIN" userId="6962deb3-b639-4acd-8091-a0516ea2376b" providerId="ADAL" clId="{146BD8F6-FDDD-49D3-A1A6-146C954086FF}" dt="2021-05-24T13:36:19.241" v="4499" actId="790"/>
          <ac:spMkLst>
            <pc:docMk/>
            <pc:sldMk cId="4123958613" sldId="10464"/>
            <ac:spMk id="30" creationId="{0D81CDD6-14AC-4542-8189-57ADD3120D86}"/>
          </ac:spMkLst>
        </pc:spChg>
        <pc:spChg chg="mod">
          <ac:chgData name="Jean QUENTIN" userId="6962deb3-b639-4acd-8091-a0516ea2376b" providerId="ADAL" clId="{146BD8F6-FDDD-49D3-A1A6-146C954086FF}" dt="2021-05-24T13:36:19.241" v="4500" actId="790"/>
          <ac:spMkLst>
            <pc:docMk/>
            <pc:sldMk cId="4123958613" sldId="10464"/>
            <ac:spMk id="31" creationId="{0A21BF8A-4686-4FC7-B72A-00B5F9563C97}"/>
          </ac:spMkLst>
        </pc:spChg>
        <pc:spChg chg="mod">
          <ac:chgData name="Jean QUENTIN" userId="6962deb3-b639-4acd-8091-a0516ea2376b" providerId="ADAL" clId="{146BD8F6-FDDD-49D3-A1A6-146C954086FF}" dt="2021-05-24T13:36:19.241" v="4501" actId="790"/>
          <ac:spMkLst>
            <pc:docMk/>
            <pc:sldMk cId="4123958613" sldId="10464"/>
            <ac:spMk id="32" creationId="{0B4EA174-DBE6-401C-806A-3A9DC28290D2}"/>
          </ac:spMkLst>
        </pc:spChg>
        <pc:spChg chg="mod">
          <ac:chgData name="Jean QUENTIN" userId="6962deb3-b639-4acd-8091-a0516ea2376b" providerId="ADAL" clId="{146BD8F6-FDDD-49D3-A1A6-146C954086FF}" dt="2021-05-24T13:36:19.241" v="4502" actId="790"/>
          <ac:spMkLst>
            <pc:docMk/>
            <pc:sldMk cId="4123958613" sldId="10464"/>
            <ac:spMk id="33" creationId="{6F619186-A29F-47FC-B4C9-60FE5B327007}"/>
          </ac:spMkLst>
        </pc:spChg>
        <pc:spChg chg="mod">
          <ac:chgData name="Jean QUENTIN" userId="6962deb3-b639-4acd-8091-a0516ea2376b" providerId="ADAL" clId="{146BD8F6-FDDD-49D3-A1A6-146C954086FF}" dt="2021-05-24T13:36:19.241" v="4503" actId="790"/>
          <ac:spMkLst>
            <pc:docMk/>
            <pc:sldMk cId="4123958613" sldId="10464"/>
            <ac:spMk id="34" creationId="{7710F13B-8FD8-4679-A9E3-0FF42D7E205D}"/>
          </ac:spMkLst>
        </pc:spChg>
        <pc:spChg chg="mod">
          <ac:chgData name="Jean QUENTIN" userId="6962deb3-b639-4acd-8091-a0516ea2376b" providerId="ADAL" clId="{146BD8F6-FDDD-49D3-A1A6-146C954086FF}" dt="2021-05-24T13:36:19.241" v="4504" actId="790"/>
          <ac:spMkLst>
            <pc:docMk/>
            <pc:sldMk cId="4123958613" sldId="10464"/>
            <ac:spMk id="38" creationId="{443D7E13-5E25-417A-AA2B-D37766447346}"/>
          </ac:spMkLst>
        </pc:spChg>
        <pc:spChg chg="mod">
          <ac:chgData name="Jean QUENTIN" userId="6962deb3-b639-4acd-8091-a0516ea2376b" providerId="ADAL" clId="{146BD8F6-FDDD-49D3-A1A6-146C954086FF}" dt="2021-05-24T13:36:19.241" v="4505" actId="790"/>
          <ac:spMkLst>
            <pc:docMk/>
            <pc:sldMk cId="4123958613" sldId="10464"/>
            <ac:spMk id="39" creationId="{560C4695-6845-4318-AF0C-9108A8886DF2}"/>
          </ac:spMkLst>
        </pc:spChg>
        <pc:spChg chg="mod">
          <ac:chgData name="Jean QUENTIN" userId="6962deb3-b639-4acd-8091-a0516ea2376b" providerId="ADAL" clId="{146BD8F6-FDDD-49D3-A1A6-146C954086FF}" dt="2021-05-24T13:36:19.257" v="4506" actId="790"/>
          <ac:spMkLst>
            <pc:docMk/>
            <pc:sldMk cId="4123958613" sldId="10464"/>
            <ac:spMk id="40" creationId="{951BFB89-3A96-459C-8E4A-080B28FCA297}"/>
          </ac:spMkLst>
        </pc:spChg>
        <pc:spChg chg="mod">
          <ac:chgData name="Jean QUENTIN" userId="6962deb3-b639-4acd-8091-a0516ea2376b" providerId="ADAL" clId="{146BD8F6-FDDD-49D3-A1A6-146C954086FF}" dt="2021-05-24T13:36:19.257" v="4507" actId="790"/>
          <ac:spMkLst>
            <pc:docMk/>
            <pc:sldMk cId="4123958613" sldId="10464"/>
            <ac:spMk id="41" creationId="{8514CDF6-D3F3-4CEC-96D8-EB94AFEB3106}"/>
          </ac:spMkLst>
        </pc:spChg>
        <pc:spChg chg="mod">
          <ac:chgData name="Jean QUENTIN" userId="6962deb3-b639-4acd-8091-a0516ea2376b" providerId="ADAL" clId="{146BD8F6-FDDD-49D3-A1A6-146C954086FF}" dt="2021-05-24T13:36:19.257" v="4508" actId="790"/>
          <ac:spMkLst>
            <pc:docMk/>
            <pc:sldMk cId="4123958613" sldId="10464"/>
            <ac:spMk id="42" creationId="{B14DB10B-7FE9-42ED-B303-F33106400EA9}"/>
          </ac:spMkLst>
        </pc:spChg>
        <pc:spChg chg="mod">
          <ac:chgData name="Jean QUENTIN" userId="6962deb3-b639-4acd-8091-a0516ea2376b" providerId="ADAL" clId="{146BD8F6-FDDD-49D3-A1A6-146C954086FF}" dt="2021-05-24T13:36:19.263" v="4509" actId="790"/>
          <ac:spMkLst>
            <pc:docMk/>
            <pc:sldMk cId="4123958613" sldId="10464"/>
            <ac:spMk id="43" creationId="{E84EA5FA-08E9-40F6-A71F-8BA8F3E3ED99}"/>
          </ac:spMkLst>
        </pc:spChg>
        <pc:spChg chg="mod">
          <ac:chgData name="Jean QUENTIN" userId="6962deb3-b639-4acd-8091-a0516ea2376b" providerId="ADAL" clId="{146BD8F6-FDDD-49D3-A1A6-146C954086FF}" dt="2021-05-24T13:36:19.263" v="4510" actId="790"/>
          <ac:spMkLst>
            <pc:docMk/>
            <pc:sldMk cId="4123958613" sldId="10464"/>
            <ac:spMk id="44" creationId="{F595688A-2B2A-4B18-BC8F-3E1BBE846D86}"/>
          </ac:spMkLst>
        </pc:spChg>
        <pc:spChg chg="mod">
          <ac:chgData name="Jean QUENTIN" userId="6962deb3-b639-4acd-8091-a0516ea2376b" providerId="ADAL" clId="{146BD8F6-FDDD-49D3-A1A6-146C954086FF}" dt="2021-05-24T13:36:19.263" v="4511" actId="790"/>
          <ac:spMkLst>
            <pc:docMk/>
            <pc:sldMk cId="4123958613" sldId="10464"/>
            <ac:spMk id="45" creationId="{7A651798-9873-484A-BCBC-F1732F254FCF}"/>
          </ac:spMkLst>
        </pc:spChg>
        <pc:spChg chg="mod">
          <ac:chgData name="Jean QUENTIN" userId="6962deb3-b639-4acd-8091-a0516ea2376b" providerId="ADAL" clId="{146BD8F6-FDDD-49D3-A1A6-146C954086FF}" dt="2021-05-24T13:36:19.263" v="4512" actId="790"/>
          <ac:spMkLst>
            <pc:docMk/>
            <pc:sldMk cId="4123958613" sldId="10464"/>
            <ac:spMk id="46" creationId="{54AFC57A-2292-4CA3-B567-A14B5835A6E8}"/>
          </ac:spMkLst>
        </pc:spChg>
        <pc:spChg chg="mod">
          <ac:chgData name="Jean QUENTIN" userId="6962deb3-b639-4acd-8091-a0516ea2376b" providerId="ADAL" clId="{146BD8F6-FDDD-49D3-A1A6-146C954086FF}" dt="2021-05-24T13:36:19.263" v="4513" actId="790"/>
          <ac:spMkLst>
            <pc:docMk/>
            <pc:sldMk cId="4123958613" sldId="10464"/>
            <ac:spMk id="47" creationId="{A14096DC-4CAE-4A32-BFA3-6DBFBDDF9334}"/>
          </ac:spMkLst>
        </pc:spChg>
        <pc:spChg chg="mod">
          <ac:chgData name="Jean QUENTIN" userId="6962deb3-b639-4acd-8091-a0516ea2376b" providerId="ADAL" clId="{146BD8F6-FDDD-49D3-A1A6-146C954086FF}" dt="2021-05-24T13:36:19.263" v="4514" actId="790"/>
          <ac:spMkLst>
            <pc:docMk/>
            <pc:sldMk cId="4123958613" sldId="10464"/>
            <ac:spMk id="48" creationId="{071ECFC0-1FE9-49A0-A0B0-4AFD8164EB62}"/>
          </ac:spMkLst>
        </pc:spChg>
        <pc:spChg chg="mod">
          <ac:chgData name="Jean QUENTIN" userId="6962deb3-b639-4acd-8091-a0516ea2376b" providerId="ADAL" clId="{146BD8F6-FDDD-49D3-A1A6-146C954086FF}" dt="2021-05-24T13:36:19.263" v="4515" actId="790"/>
          <ac:spMkLst>
            <pc:docMk/>
            <pc:sldMk cId="4123958613" sldId="10464"/>
            <ac:spMk id="49" creationId="{D81D2065-13CD-4420-A58C-E72AE87D1A42}"/>
          </ac:spMkLst>
        </pc:spChg>
        <pc:spChg chg="mod">
          <ac:chgData name="Jean QUENTIN" userId="6962deb3-b639-4acd-8091-a0516ea2376b" providerId="ADAL" clId="{146BD8F6-FDDD-49D3-A1A6-146C954086FF}" dt="2021-05-24T13:36:19.263" v="4516" actId="790"/>
          <ac:spMkLst>
            <pc:docMk/>
            <pc:sldMk cId="4123958613" sldId="10464"/>
            <ac:spMk id="50" creationId="{ACAAB4F1-8D2B-4B8D-A0C1-3794501DF384}"/>
          </ac:spMkLst>
        </pc:spChg>
        <pc:spChg chg="mod">
          <ac:chgData name="Jean QUENTIN" userId="6962deb3-b639-4acd-8091-a0516ea2376b" providerId="ADAL" clId="{146BD8F6-FDDD-49D3-A1A6-146C954086FF}" dt="2021-05-24T13:36:19.263" v="4517" actId="790"/>
          <ac:spMkLst>
            <pc:docMk/>
            <pc:sldMk cId="4123958613" sldId="10464"/>
            <ac:spMk id="51" creationId="{CCA5A507-9498-412A-8734-37E9A0CAFBC2}"/>
          </ac:spMkLst>
        </pc:spChg>
        <pc:spChg chg="mod">
          <ac:chgData name="Jean QUENTIN" userId="6962deb3-b639-4acd-8091-a0516ea2376b" providerId="ADAL" clId="{146BD8F6-FDDD-49D3-A1A6-146C954086FF}" dt="2021-05-24T13:36:19.263" v="4518" actId="790"/>
          <ac:spMkLst>
            <pc:docMk/>
            <pc:sldMk cId="4123958613" sldId="10464"/>
            <ac:spMk id="52" creationId="{9926A3AA-BF17-44D4-8DE7-9339CF1BE6FD}"/>
          </ac:spMkLst>
        </pc:spChg>
        <pc:spChg chg="mod">
          <ac:chgData name="Jean QUENTIN" userId="6962deb3-b639-4acd-8091-a0516ea2376b" providerId="ADAL" clId="{146BD8F6-FDDD-49D3-A1A6-146C954086FF}" dt="2021-05-24T13:36:19.263" v="4519" actId="790"/>
          <ac:spMkLst>
            <pc:docMk/>
            <pc:sldMk cId="4123958613" sldId="10464"/>
            <ac:spMk id="53" creationId="{5E59300E-921D-44E2-90E6-C444434FE1E2}"/>
          </ac:spMkLst>
        </pc:spChg>
        <pc:spChg chg="mod">
          <ac:chgData name="Jean QUENTIN" userId="6962deb3-b639-4acd-8091-a0516ea2376b" providerId="ADAL" clId="{146BD8F6-FDDD-49D3-A1A6-146C954086FF}" dt="2021-05-24T13:36:19.279" v="4520" actId="790"/>
          <ac:spMkLst>
            <pc:docMk/>
            <pc:sldMk cId="4123958613" sldId="10464"/>
            <ac:spMk id="56" creationId="{2FB57385-9778-4E16-88A7-927D307E97B3}"/>
          </ac:spMkLst>
        </pc:spChg>
        <pc:spChg chg="mod">
          <ac:chgData name="Jean QUENTIN" userId="6962deb3-b639-4acd-8091-a0516ea2376b" providerId="ADAL" clId="{146BD8F6-FDDD-49D3-A1A6-146C954086FF}" dt="2021-05-24T13:36:19.279" v="4521" actId="790"/>
          <ac:spMkLst>
            <pc:docMk/>
            <pc:sldMk cId="4123958613" sldId="10464"/>
            <ac:spMk id="58" creationId="{328B4C86-96DF-4F0B-9DF0-1048DA68F379}"/>
          </ac:spMkLst>
        </pc:spChg>
        <pc:spChg chg="mod">
          <ac:chgData name="Jean QUENTIN" userId="6962deb3-b639-4acd-8091-a0516ea2376b" providerId="ADAL" clId="{146BD8F6-FDDD-49D3-A1A6-146C954086FF}" dt="2021-05-24T13:36:19.294" v="4522" actId="790"/>
          <ac:spMkLst>
            <pc:docMk/>
            <pc:sldMk cId="4123958613" sldId="10464"/>
            <ac:spMk id="61" creationId="{D8946D35-831B-4FB2-9D8B-4DC903BFA94D}"/>
          </ac:spMkLst>
        </pc:spChg>
        <pc:spChg chg="mod">
          <ac:chgData name="Jean QUENTIN" userId="6962deb3-b639-4acd-8091-a0516ea2376b" providerId="ADAL" clId="{146BD8F6-FDDD-49D3-A1A6-146C954086FF}" dt="2021-05-24T13:36:19.294" v="4523" actId="790"/>
          <ac:spMkLst>
            <pc:docMk/>
            <pc:sldMk cId="4123958613" sldId="10464"/>
            <ac:spMk id="62" creationId="{B272D2A6-27B4-4CCB-9AAB-635DCFACB418}"/>
          </ac:spMkLst>
        </pc:spChg>
        <pc:spChg chg="mod">
          <ac:chgData name="Jean QUENTIN" userId="6962deb3-b639-4acd-8091-a0516ea2376b" providerId="ADAL" clId="{146BD8F6-FDDD-49D3-A1A6-146C954086FF}" dt="2021-05-24T13:36:19.294" v="4525" actId="790"/>
          <ac:spMkLst>
            <pc:docMk/>
            <pc:sldMk cId="4123958613" sldId="10464"/>
            <ac:spMk id="63" creationId="{CACC76FC-2977-4355-BF81-4E5EDB67542C}"/>
          </ac:spMkLst>
        </pc:spChg>
        <pc:spChg chg="mod">
          <ac:chgData name="Jean QUENTIN" userId="6962deb3-b639-4acd-8091-a0516ea2376b" providerId="ADAL" clId="{146BD8F6-FDDD-49D3-A1A6-146C954086FF}" dt="2021-05-24T13:36:19.294" v="4526" actId="790"/>
          <ac:spMkLst>
            <pc:docMk/>
            <pc:sldMk cId="4123958613" sldId="10464"/>
            <ac:spMk id="64" creationId="{E69A6A78-2AD3-4D53-8B9B-27B1B6264317}"/>
          </ac:spMkLst>
        </pc:spChg>
        <pc:spChg chg="mod">
          <ac:chgData name="Jean QUENTIN" userId="6962deb3-b639-4acd-8091-a0516ea2376b" providerId="ADAL" clId="{146BD8F6-FDDD-49D3-A1A6-146C954086FF}" dt="2021-05-24T13:36:19.294" v="4527" actId="790"/>
          <ac:spMkLst>
            <pc:docMk/>
            <pc:sldMk cId="4123958613" sldId="10464"/>
            <ac:spMk id="65" creationId="{B996472B-4494-4092-90D2-F9B0598EDA9B}"/>
          </ac:spMkLst>
        </pc:spChg>
        <pc:spChg chg="mod">
          <ac:chgData name="Jean QUENTIN" userId="6962deb3-b639-4acd-8091-a0516ea2376b" providerId="ADAL" clId="{146BD8F6-FDDD-49D3-A1A6-146C954086FF}" dt="2021-05-24T13:36:19.294" v="4528" actId="790"/>
          <ac:spMkLst>
            <pc:docMk/>
            <pc:sldMk cId="4123958613" sldId="10464"/>
            <ac:spMk id="66" creationId="{580E88D8-DB2D-4BAA-87C9-C7877E27FD4E}"/>
          </ac:spMkLst>
        </pc:spChg>
        <pc:spChg chg="mod">
          <ac:chgData name="Jean QUENTIN" userId="6962deb3-b639-4acd-8091-a0516ea2376b" providerId="ADAL" clId="{146BD8F6-FDDD-49D3-A1A6-146C954086FF}" dt="2021-05-24T13:36:19.294" v="4529" actId="790"/>
          <ac:spMkLst>
            <pc:docMk/>
            <pc:sldMk cId="4123958613" sldId="10464"/>
            <ac:spMk id="67" creationId="{29C19D83-CDAD-468C-B418-83C2D1E45543}"/>
          </ac:spMkLst>
        </pc:spChg>
        <pc:spChg chg="mod">
          <ac:chgData name="Jean QUENTIN" userId="6962deb3-b639-4acd-8091-a0516ea2376b" providerId="ADAL" clId="{146BD8F6-FDDD-49D3-A1A6-146C954086FF}" dt="2021-05-24T13:36:19.310" v="4530" actId="790"/>
          <ac:spMkLst>
            <pc:docMk/>
            <pc:sldMk cId="4123958613" sldId="10464"/>
            <ac:spMk id="68" creationId="{7BD2CCAB-CCFD-487A-BBD3-6041900F9E7C}"/>
          </ac:spMkLst>
        </pc:spChg>
        <pc:spChg chg="mod">
          <ac:chgData name="Jean QUENTIN" userId="6962deb3-b639-4acd-8091-a0516ea2376b" providerId="ADAL" clId="{146BD8F6-FDDD-49D3-A1A6-146C954086FF}" dt="2021-05-24T13:36:19.310" v="4531" actId="790"/>
          <ac:spMkLst>
            <pc:docMk/>
            <pc:sldMk cId="4123958613" sldId="10464"/>
            <ac:spMk id="69" creationId="{B7EBBC5A-DA14-4F74-B1F0-E98AF52DABD0}"/>
          </ac:spMkLst>
        </pc:spChg>
        <pc:spChg chg="mod">
          <ac:chgData name="Jean QUENTIN" userId="6962deb3-b639-4acd-8091-a0516ea2376b" providerId="ADAL" clId="{146BD8F6-FDDD-49D3-A1A6-146C954086FF}" dt="2021-05-24T13:36:19.310" v="4532" actId="790"/>
          <ac:spMkLst>
            <pc:docMk/>
            <pc:sldMk cId="4123958613" sldId="10464"/>
            <ac:spMk id="70" creationId="{3291AB25-490F-4B63-A46D-E02764883457}"/>
          </ac:spMkLst>
        </pc:spChg>
        <pc:spChg chg="mod">
          <ac:chgData name="Jean QUENTIN" userId="6962deb3-b639-4acd-8091-a0516ea2376b" providerId="ADAL" clId="{146BD8F6-FDDD-49D3-A1A6-146C954086FF}" dt="2021-05-24T13:36:19.310" v="4533" actId="790"/>
          <ac:spMkLst>
            <pc:docMk/>
            <pc:sldMk cId="4123958613" sldId="10464"/>
            <ac:spMk id="71" creationId="{075BD30D-D6B5-4502-AB64-F5EF3A546F22}"/>
          </ac:spMkLst>
        </pc:spChg>
        <pc:spChg chg="mod">
          <ac:chgData name="Jean QUENTIN" userId="6962deb3-b639-4acd-8091-a0516ea2376b" providerId="ADAL" clId="{146BD8F6-FDDD-49D3-A1A6-146C954086FF}" dt="2021-05-24T13:36:19.310" v="4534" actId="790"/>
          <ac:spMkLst>
            <pc:docMk/>
            <pc:sldMk cId="4123958613" sldId="10464"/>
            <ac:spMk id="72" creationId="{B8A5B5FA-956D-4336-94C9-315F1C4DA686}"/>
          </ac:spMkLst>
        </pc:spChg>
        <pc:spChg chg="mod">
          <ac:chgData name="Jean QUENTIN" userId="6962deb3-b639-4acd-8091-a0516ea2376b" providerId="ADAL" clId="{146BD8F6-FDDD-49D3-A1A6-146C954086FF}" dt="2021-05-24T13:36:19.310" v="4535" actId="790"/>
          <ac:spMkLst>
            <pc:docMk/>
            <pc:sldMk cId="4123958613" sldId="10464"/>
            <ac:spMk id="73" creationId="{BB81862D-1352-415B-9794-C265DDB814EE}"/>
          </ac:spMkLst>
        </pc:spChg>
        <pc:spChg chg="mod">
          <ac:chgData name="Jean QUENTIN" userId="6962deb3-b639-4acd-8091-a0516ea2376b" providerId="ADAL" clId="{146BD8F6-FDDD-49D3-A1A6-146C954086FF}" dt="2021-05-24T13:36:19.310" v="4536" actId="790"/>
          <ac:spMkLst>
            <pc:docMk/>
            <pc:sldMk cId="4123958613" sldId="10464"/>
            <ac:spMk id="74" creationId="{5013318F-F7B4-4AAF-ADC5-C66BF396BB1E}"/>
          </ac:spMkLst>
        </pc:spChg>
        <pc:spChg chg="mod">
          <ac:chgData name="Jean QUENTIN" userId="6962deb3-b639-4acd-8091-a0516ea2376b" providerId="ADAL" clId="{146BD8F6-FDDD-49D3-A1A6-146C954086FF}" dt="2021-05-24T13:36:19.310" v="4537" actId="790"/>
          <ac:spMkLst>
            <pc:docMk/>
            <pc:sldMk cId="4123958613" sldId="10464"/>
            <ac:spMk id="75" creationId="{CB9B43AE-1547-457C-A273-1320CA76CB3B}"/>
          </ac:spMkLst>
        </pc:spChg>
        <pc:spChg chg="mod">
          <ac:chgData name="Jean QUENTIN" userId="6962deb3-b639-4acd-8091-a0516ea2376b" providerId="ADAL" clId="{146BD8F6-FDDD-49D3-A1A6-146C954086FF}" dt="2021-05-24T13:36:19.310" v="4538" actId="790"/>
          <ac:spMkLst>
            <pc:docMk/>
            <pc:sldMk cId="4123958613" sldId="10464"/>
            <ac:spMk id="76" creationId="{AE904024-EA20-4D60-AB0B-C139F02FB2A9}"/>
          </ac:spMkLst>
        </pc:spChg>
        <pc:spChg chg="mod">
          <ac:chgData name="Jean QUENTIN" userId="6962deb3-b639-4acd-8091-a0516ea2376b" providerId="ADAL" clId="{146BD8F6-FDDD-49D3-A1A6-146C954086FF}" dt="2021-05-24T13:36:19.310" v="4539" actId="790"/>
          <ac:spMkLst>
            <pc:docMk/>
            <pc:sldMk cId="4123958613" sldId="10464"/>
            <ac:spMk id="77" creationId="{AB0D4D7A-5D70-4F9E-A762-65CCD88904AC}"/>
          </ac:spMkLst>
        </pc:spChg>
        <pc:spChg chg="mod">
          <ac:chgData name="Jean QUENTIN" userId="6962deb3-b639-4acd-8091-a0516ea2376b" providerId="ADAL" clId="{146BD8F6-FDDD-49D3-A1A6-146C954086FF}" dt="2021-05-24T13:36:19.310" v="4540" actId="790"/>
          <ac:spMkLst>
            <pc:docMk/>
            <pc:sldMk cId="4123958613" sldId="10464"/>
            <ac:spMk id="78" creationId="{E5C79D5F-D2B0-4680-AA6C-E73274912CD4}"/>
          </ac:spMkLst>
        </pc:spChg>
        <pc:spChg chg="mod">
          <ac:chgData name="Jean QUENTIN" userId="6962deb3-b639-4acd-8091-a0516ea2376b" providerId="ADAL" clId="{146BD8F6-FDDD-49D3-A1A6-146C954086FF}" dt="2021-05-24T13:36:19.310" v="4541" actId="790"/>
          <ac:spMkLst>
            <pc:docMk/>
            <pc:sldMk cId="4123958613" sldId="10464"/>
            <ac:spMk id="79" creationId="{43B23F38-045E-49AC-BFC0-E481E439ED01}"/>
          </ac:spMkLst>
        </pc:spChg>
        <pc:spChg chg="mod">
          <ac:chgData name="Jean QUENTIN" userId="6962deb3-b639-4acd-8091-a0516ea2376b" providerId="ADAL" clId="{146BD8F6-FDDD-49D3-A1A6-146C954086FF}" dt="2021-05-24T13:36:19.326" v="4542" actId="790"/>
          <ac:spMkLst>
            <pc:docMk/>
            <pc:sldMk cId="4123958613" sldId="10464"/>
            <ac:spMk id="90" creationId="{F0ACEE5D-E7C7-4907-B468-DDF2B6250FCD}"/>
          </ac:spMkLst>
        </pc:spChg>
      </pc:sldChg>
      <pc:sldChg chg="modSp mod">
        <pc:chgData name="Jean QUENTIN" userId="6962deb3-b639-4acd-8091-a0516ea2376b" providerId="ADAL" clId="{146BD8F6-FDDD-49D3-A1A6-146C954086FF}" dt="2021-05-24T13:36:20.798" v="5420" actId="790"/>
        <pc:sldMkLst>
          <pc:docMk/>
          <pc:sldMk cId="1519874409" sldId="10465"/>
        </pc:sldMkLst>
        <pc:spChg chg="mod">
          <ac:chgData name="Jean QUENTIN" userId="6962deb3-b639-4acd-8091-a0516ea2376b" providerId="ADAL" clId="{146BD8F6-FDDD-49D3-A1A6-146C954086FF}" dt="2021-05-24T13:36:20.729" v="5391" actId="790"/>
          <ac:spMkLst>
            <pc:docMk/>
            <pc:sldMk cId="1519874409" sldId="10465"/>
            <ac:spMk id="2" creationId="{22CE637A-08CD-4B57-9E43-4D794A97D425}"/>
          </ac:spMkLst>
        </pc:spChg>
        <pc:spChg chg="mod">
          <ac:chgData name="Jean QUENTIN" userId="6962deb3-b639-4acd-8091-a0516ea2376b" providerId="ADAL" clId="{146BD8F6-FDDD-49D3-A1A6-146C954086FF}" dt="2021-05-24T13:36:20.745" v="5392" actId="790"/>
          <ac:spMkLst>
            <pc:docMk/>
            <pc:sldMk cId="1519874409" sldId="10465"/>
            <ac:spMk id="17" creationId="{EAAF5B4D-73E3-453B-97EC-E705A8C01554}"/>
          </ac:spMkLst>
        </pc:spChg>
        <pc:spChg chg="mod">
          <ac:chgData name="Jean QUENTIN" userId="6962deb3-b639-4acd-8091-a0516ea2376b" providerId="ADAL" clId="{146BD8F6-FDDD-49D3-A1A6-146C954086FF}" dt="2021-05-24T13:36:20.745" v="5394" actId="790"/>
          <ac:spMkLst>
            <pc:docMk/>
            <pc:sldMk cId="1519874409" sldId="10465"/>
            <ac:spMk id="18" creationId="{B77F2001-EECC-4091-A46F-B13C297AFD91}"/>
          </ac:spMkLst>
        </pc:spChg>
        <pc:spChg chg="mod">
          <ac:chgData name="Jean QUENTIN" userId="6962deb3-b639-4acd-8091-a0516ea2376b" providerId="ADAL" clId="{146BD8F6-FDDD-49D3-A1A6-146C954086FF}" dt="2021-05-24T13:36:20.745" v="5393" actId="790"/>
          <ac:spMkLst>
            <pc:docMk/>
            <pc:sldMk cId="1519874409" sldId="10465"/>
            <ac:spMk id="23" creationId="{0C95EF0E-C411-407B-BF74-3CD0A42FA4B6}"/>
          </ac:spMkLst>
        </pc:spChg>
        <pc:spChg chg="mod">
          <ac:chgData name="Jean QUENTIN" userId="6962deb3-b639-4acd-8091-a0516ea2376b" providerId="ADAL" clId="{146BD8F6-FDDD-49D3-A1A6-146C954086FF}" dt="2021-05-24T13:36:20.745" v="5395" actId="790"/>
          <ac:spMkLst>
            <pc:docMk/>
            <pc:sldMk cId="1519874409" sldId="10465"/>
            <ac:spMk id="26" creationId="{1467DC4C-D91B-4890-86E8-8B6B324D9380}"/>
          </ac:spMkLst>
        </pc:spChg>
        <pc:spChg chg="mod">
          <ac:chgData name="Jean QUENTIN" userId="6962deb3-b639-4acd-8091-a0516ea2376b" providerId="ADAL" clId="{146BD8F6-FDDD-49D3-A1A6-146C954086FF}" dt="2021-05-24T13:36:20.745" v="5396" actId="790"/>
          <ac:spMkLst>
            <pc:docMk/>
            <pc:sldMk cId="1519874409" sldId="10465"/>
            <ac:spMk id="29" creationId="{D49177BB-F71C-42AC-9A8C-812D68405634}"/>
          </ac:spMkLst>
        </pc:spChg>
        <pc:spChg chg="mod">
          <ac:chgData name="Jean QUENTIN" userId="6962deb3-b639-4acd-8091-a0516ea2376b" providerId="ADAL" clId="{146BD8F6-FDDD-49D3-A1A6-146C954086FF}" dt="2021-05-24T13:36:20.745" v="5397" actId="790"/>
          <ac:spMkLst>
            <pc:docMk/>
            <pc:sldMk cId="1519874409" sldId="10465"/>
            <ac:spMk id="30" creationId="{990B3219-5A14-48A6-A29D-258D28CA817A}"/>
          </ac:spMkLst>
        </pc:spChg>
        <pc:spChg chg="mod">
          <ac:chgData name="Jean QUENTIN" userId="6962deb3-b639-4acd-8091-a0516ea2376b" providerId="ADAL" clId="{146BD8F6-FDDD-49D3-A1A6-146C954086FF}" dt="2021-05-24T13:36:20.745" v="5398" actId="790"/>
          <ac:spMkLst>
            <pc:docMk/>
            <pc:sldMk cId="1519874409" sldId="10465"/>
            <ac:spMk id="31" creationId="{98270023-57CC-4644-A288-9156D3D5FBCE}"/>
          </ac:spMkLst>
        </pc:spChg>
        <pc:spChg chg="mod">
          <ac:chgData name="Jean QUENTIN" userId="6962deb3-b639-4acd-8091-a0516ea2376b" providerId="ADAL" clId="{146BD8F6-FDDD-49D3-A1A6-146C954086FF}" dt="2021-05-24T13:36:20.745" v="5399" actId="790"/>
          <ac:spMkLst>
            <pc:docMk/>
            <pc:sldMk cId="1519874409" sldId="10465"/>
            <ac:spMk id="32" creationId="{9E722F19-F936-4688-BE29-34529CE98CFB}"/>
          </ac:spMkLst>
        </pc:spChg>
        <pc:spChg chg="mod">
          <ac:chgData name="Jean QUENTIN" userId="6962deb3-b639-4acd-8091-a0516ea2376b" providerId="ADAL" clId="{146BD8F6-FDDD-49D3-A1A6-146C954086FF}" dt="2021-05-24T13:36:20.745" v="5400" actId="790"/>
          <ac:spMkLst>
            <pc:docMk/>
            <pc:sldMk cId="1519874409" sldId="10465"/>
            <ac:spMk id="41" creationId="{013DFE0D-012C-4AE2-A406-883249D468BC}"/>
          </ac:spMkLst>
        </pc:spChg>
        <pc:spChg chg="mod">
          <ac:chgData name="Jean QUENTIN" userId="6962deb3-b639-4acd-8091-a0516ea2376b" providerId="ADAL" clId="{146BD8F6-FDDD-49D3-A1A6-146C954086FF}" dt="2021-05-24T13:36:20.767" v="5408" actId="790"/>
          <ac:spMkLst>
            <pc:docMk/>
            <pc:sldMk cId="1519874409" sldId="10465"/>
            <ac:spMk id="44" creationId="{0B53E553-6743-45FB-AE8E-BF6F0D532CEA}"/>
          </ac:spMkLst>
        </pc:spChg>
        <pc:spChg chg="mod">
          <ac:chgData name="Jean QUENTIN" userId="6962deb3-b639-4acd-8091-a0516ea2376b" providerId="ADAL" clId="{146BD8F6-FDDD-49D3-A1A6-146C954086FF}" dt="2021-05-24T13:36:20.745" v="5401" actId="790"/>
          <ac:spMkLst>
            <pc:docMk/>
            <pc:sldMk cId="1519874409" sldId="10465"/>
            <ac:spMk id="45" creationId="{81D23D10-6232-4D82-8BCF-13B9525E1855}"/>
          </ac:spMkLst>
        </pc:spChg>
        <pc:spChg chg="mod">
          <ac:chgData name="Jean QUENTIN" userId="6962deb3-b639-4acd-8091-a0516ea2376b" providerId="ADAL" clId="{146BD8F6-FDDD-49D3-A1A6-146C954086FF}" dt="2021-05-24T13:36:20.745" v="5402" actId="790"/>
          <ac:spMkLst>
            <pc:docMk/>
            <pc:sldMk cId="1519874409" sldId="10465"/>
            <ac:spMk id="46" creationId="{041E4A41-5EFF-4E8D-82D0-B598CD53AEB6}"/>
          </ac:spMkLst>
        </pc:spChg>
        <pc:spChg chg="mod">
          <ac:chgData name="Jean QUENTIN" userId="6962deb3-b639-4acd-8091-a0516ea2376b" providerId="ADAL" clId="{146BD8F6-FDDD-49D3-A1A6-146C954086FF}" dt="2021-05-24T13:36:20.761" v="5403" actId="790"/>
          <ac:spMkLst>
            <pc:docMk/>
            <pc:sldMk cId="1519874409" sldId="10465"/>
            <ac:spMk id="49" creationId="{9FC58EF0-5CD6-4A71-8940-F6C8C883FBD1}"/>
          </ac:spMkLst>
        </pc:spChg>
        <pc:spChg chg="mod">
          <ac:chgData name="Jean QUENTIN" userId="6962deb3-b639-4acd-8091-a0516ea2376b" providerId="ADAL" clId="{146BD8F6-FDDD-49D3-A1A6-146C954086FF}" dt="2021-05-24T13:36:20.761" v="5404" actId="790"/>
          <ac:spMkLst>
            <pc:docMk/>
            <pc:sldMk cId="1519874409" sldId="10465"/>
            <ac:spMk id="50" creationId="{0B6C5844-4A3E-4824-8EAE-60D3B3E1BFF5}"/>
          </ac:spMkLst>
        </pc:spChg>
        <pc:spChg chg="mod">
          <ac:chgData name="Jean QUENTIN" userId="6962deb3-b639-4acd-8091-a0516ea2376b" providerId="ADAL" clId="{146BD8F6-FDDD-49D3-A1A6-146C954086FF}" dt="2021-05-24T13:36:20.761" v="5405" actId="790"/>
          <ac:spMkLst>
            <pc:docMk/>
            <pc:sldMk cId="1519874409" sldId="10465"/>
            <ac:spMk id="51" creationId="{8F8A1894-627E-4A77-8FEF-2E5519D9FC48}"/>
          </ac:spMkLst>
        </pc:spChg>
        <pc:spChg chg="mod">
          <ac:chgData name="Jean QUENTIN" userId="6962deb3-b639-4acd-8091-a0516ea2376b" providerId="ADAL" clId="{146BD8F6-FDDD-49D3-A1A6-146C954086FF}" dt="2021-05-24T13:36:20.767" v="5406" actId="790"/>
          <ac:spMkLst>
            <pc:docMk/>
            <pc:sldMk cId="1519874409" sldId="10465"/>
            <ac:spMk id="52" creationId="{76A2D6C4-57ED-451A-A7F1-033FE34AB68E}"/>
          </ac:spMkLst>
        </pc:spChg>
        <pc:spChg chg="mod">
          <ac:chgData name="Jean QUENTIN" userId="6962deb3-b639-4acd-8091-a0516ea2376b" providerId="ADAL" clId="{146BD8F6-FDDD-49D3-A1A6-146C954086FF}" dt="2021-05-24T13:36:20.767" v="5407" actId="790"/>
          <ac:spMkLst>
            <pc:docMk/>
            <pc:sldMk cId="1519874409" sldId="10465"/>
            <ac:spMk id="53" creationId="{1D696651-4ADA-4682-8B2D-872B8258B7F2}"/>
          </ac:spMkLst>
        </pc:spChg>
        <pc:spChg chg="mod">
          <ac:chgData name="Jean QUENTIN" userId="6962deb3-b639-4acd-8091-a0516ea2376b" providerId="ADAL" clId="{146BD8F6-FDDD-49D3-A1A6-146C954086FF}" dt="2021-05-24T13:36:20.767" v="5409" actId="790"/>
          <ac:spMkLst>
            <pc:docMk/>
            <pc:sldMk cId="1519874409" sldId="10465"/>
            <ac:spMk id="59" creationId="{3DAFC222-EE91-423E-A279-AC68BF7E5200}"/>
          </ac:spMkLst>
        </pc:spChg>
        <pc:spChg chg="mod">
          <ac:chgData name="Jean QUENTIN" userId="6962deb3-b639-4acd-8091-a0516ea2376b" providerId="ADAL" clId="{146BD8F6-FDDD-49D3-A1A6-146C954086FF}" dt="2021-05-24T13:36:20.783" v="5413" actId="790"/>
          <ac:spMkLst>
            <pc:docMk/>
            <pc:sldMk cId="1519874409" sldId="10465"/>
            <ac:spMk id="65" creationId="{14DBDE30-5E3A-4F1E-9FBC-F7821E12A88B}"/>
          </ac:spMkLst>
        </pc:spChg>
        <pc:spChg chg="mod">
          <ac:chgData name="Jean QUENTIN" userId="6962deb3-b639-4acd-8091-a0516ea2376b" providerId="ADAL" clId="{146BD8F6-FDDD-49D3-A1A6-146C954086FF}" dt="2021-05-24T13:36:20.783" v="5414" actId="790"/>
          <ac:spMkLst>
            <pc:docMk/>
            <pc:sldMk cId="1519874409" sldId="10465"/>
            <ac:spMk id="75" creationId="{3B90C99E-5118-46A1-8F4B-BC0DCBD5F532}"/>
          </ac:spMkLst>
        </pc:spChg>
        <pc:spChg chg="mod">
          <ac:chgData name="Jean QUENTIN" userId="6962deb3-b639-4acd-8091-a0516ea2376b" providerId="ADAL" clId="{146BD8F6-FDDD-49D3-A1A6-146C954086FF}" dt="2021-05-24T13:36:20.798" v="5415" actId="790"/>
          <ac:spMkLst>
            <pc:docMk/>
            <pc:sldMk cId="1519874409" sldId="10465"/>
            <ac:spMk id="78" creationId="{29A37347-61AA-4078-80BD-C960E43A81AF}"/>
          </ac:spMkLst>
        </pc:spChg>
        <pc:spChg chg="mod">
          <ac:chgData name="Jean QUENTIN" userId="6962deb3-b639-4acd-8091-a0516ea2376b" providerId="ADAL" clId="{146BD8F6-FDDD-49D3-A1A6-146C954086FF}" dt="2021-05-24T13:36:20.798" v="5418" actId="790"/>
          <ac:spMkLst>
            <pc:docMk/>
            <pc:sldMk cId="1519874409" sldId="10465"/>
            <ac:spMk id="81" creationId="{21CC608C-B99A-4A42-9697-626D17010014}"/>
          </ac:spMkLst>
        </pc:spChg>
        <pc:spChg chg="mod">
          <ac:chgData name="Jean QUENTIN" userId="6962deb3-b639-4acd-8091-a0516ea2376b" providerId="ADAL" clId="{146BD8F6-FDDD-49D3-A1A6-146C954086FF}" dt="2021-05-24T13:36:20.798" v="5416" actId="790"/>
          <ac:spMkLst>
            <pc:docMk/>
            <pc:sldMk cId="1519874409" sldId="10465"/>
            <ac:spMk id="87" creationId="{011A9D4A-70AD-43A5-9A8B-1BA37B50CD90}"/>
          </ac:spMkLst>
        </pc:spChg>
        <pc:spChg chg="mod">
          <ac:chgData name="Jean QUENTIN" userId="6962deb3-b639-4acd-8091-a0516ea2376b" providerId="ADAL" clId="{146BD8F6-FDDD-49D3-A1A6-146C954086FF}" dt="2021-05-24T13:36:20.798" v="5417" actId="790"/>
          <ac:spMkLst>
            <pc:docMk/>
            <pc:sldMk cId="1519874409" sldId="10465"/>
            <ac:spMk id="92" creationId="{8AB39739-AED6-4791-9E02-58EE9F6AB505}"/>
          </ac:spMkLst>
        </pc:spChg>
        <pc:spChg chg="mod">
          <ac:chgData name="Jean QUENTIN" userId="6962deb3-b639-4acd-8091-a0516ea2376b" providerId="ADAL" clId="{146BD8F6-FDDD-49D3-A1A6-146C954086FF}" dt="2021-05-24T13:36:20.767" v="5410" actId="790"/>
          <ac:spMkLst>
            <pc:docMk/>
            <pc:sldMk cId="1519874409" sldId="10465"/>
            <ac:spMk id="94" creationId="{BF59A564-3768-4FD0-BB89-C2C9D89D7D6F}"/>
          </ac:spMkLst>
        </pc:spChg>
        <pc:spChg chg="mod">
          <ac:chgData name="Jean QUENTIN" userId="6962deb3-b639-4acd-8091-a0516ea2376b" providerId="ADAL" clId="{146BD8F6-FDDD-49D3-A1A6-146C954086FF}" dt="2021-05-24T13:36:20.798" v="5419" actId="790"/>
          <ac:spMkLst>
            <pc:docMk/>
            <pc:sldMk cId="1519874409" sldId="10465"/>
            <ac:spMk id="96" creationId="{CE4E2441-955C-4882-BD20-B9505DC3A971}"/>
          </ac:spMkLst>
        </pc:spChg>
        <pc:spChg chg="mod">
          <ac:chgData name="Jean QUENTIN" userId="6962deb3-b639-4acd-8091-a0516ea2376b" providerId="ADAL" clId="{146BD8F6-FDDD-49D3-A1A6-146C954086FF}" dt="2021-05-24T13:36:20.783" v="5411" actId="790"/>
          <ac:spMkLst>
            <pc:docMk/>
            <pc:sldMk cId="1519874409" sldId="10465"/>
            <ac:spMk id="97" creationId="{8FC70572-4538-4FAA-BEC9-F74E3EC477C1}"/>
          </ac:spMkLst>
        </pc:spChg>
        <pc:spChg chg="mod">
          <ac:chgData name="Jean QUENTIN" userId="6962deb3-b639-4acd-8091-a0516ea2376b" providerId="ADAL" clId="{146BD8F6-FDDD-49D3-A1A6-146C954086FF}" dt="2021-05-24T13:36:20.783" v="5412" actId="790"/>
          <ac:spMkLst>
            <pc:docMk/>
            <pc:sldMk cId="1519874409" sldId="10465"/>
            <ac:spMk id="98" creationId="{FC1F4A9D-DB6A-4376-88B8-66395C2A5202}"/>
          </ac:spMkLst>
        </pc:spChg>
        <pc:spChg chg="mod">
          <ac:chgData name="Jean QUENTIN" userId="6962deb3-b639-4acd-8091-a0516ea2376b" providerId="ADAL" clId="{146BD8F6-FDDD-49D3-A1A6-146C954086FF}" dt="2021-05-24T13:36:20.798" v="5420" actId="790"/>
          <ac:spMkLst>
            <pc:docMk/>
            <pc:sldMk cId="1519874409" sldId="10465"/>
            <ac:spMk id="99" creationId="{A3D680AA-841F-4FE7-9115-FEE6A855B5C5}"/>
          </ac:spMkLst>
        </pc:spChg>
      </pc:sldChg>
      <pc:sldChg chg="modSp mod">
        <pc:chgData name="Jean QUENTIN" userId="6962deb3-b639-4acd-8091-a0516ea2376b" providerId="ADAL" clId="{146BD8F6-FDDD-49D3-A1A6-146C954086FF}" dt="2021-05-24T13:36:20.513" v="5309" actId="790"/>
        <pc:sldMkLst>
          <pc:docMk/>
          <pc:sldMk cId="3286602149" sldId="10466"/>
        </pc:sldMkLst>
        <pc:spChg chg="mod">
          <ac:chgData name="Jean QUENTIN" userId="6962deb3-b639-4acd-8091-a0516ea2376b" providerId="ADAL" clId="{146BD8F6-FDDD-49D3-A1A6-146C954086FF}" dt="2021-05-24T13:36:20.460" v="5279" actId="790"/>
          <ac:spMkLst>
            <pc:docMk/>
            <pc:sldMk cId="3286602149" sldId="10466"/>
            <ac:spMk id="2" creationId="{873006D4-BF82-4F00-B534-5D28B2DDCEF5}"/>
          </ac:spMkLst>
        </pc:spChg>
        <pc:spChg chg="mod">
          <ac:chgData name="Jean QUENTIN" userId="6962deb3-b639-4acd-8091-a0516ea2376b" providerId="ADAL" clId="{146BD8F6-FDDD-49D3-A1A6-146C954086FF}" dt="2021-05-24T13:36:20.466" v="5280" actId="790"/>
          <ac:spMkLst>
            <pc:docMk/>
            <pc:sldMk cId="3286602149" sldId="10466"/>
            <ac:spMk id="3" creationId="{79D8092C-AC66-484C-9645-EEB08D4A59C6}"/>
          </ac:spMkLst>
        </pc:spChg>
        <pc:spChg chg="mod">
          <ac:chgData name="Jean QUENTIN" userId="6962deb3-b639-4acd-8091-a0516ea2376b" providerId="ADAL" clId="{146BD8F6-FDDD-49D3-A1A6-146C954086FF}" dt="2021-05-24T13:36:20.466" v="5281" actId="790"/>
          <ac:spMkLst>
            <pc:docMk/>
            <pc:sldMk cId="3286602149" sldId="10466"/>
            <ac:spMk id="4" creationId="{02BD46C9-B279-482D-89B3-4956B609E15C}"/>
          </ac:spMkLst>
        </pc:spChg>
        <pc:spChg chg="mod">
          <ac:chgData name="Jean QUENTIN" userId="6962deb3-b639-4acd-8091-a0516ea2376b" providerId="ADAL" clId="{146BD8F6-FDDD-49D3-A1A6-146C954086FF}" dt="2021-05-24T13:36:20.466" v="5282" actId="790"/>
          <ac:spMkLst>
            <pc:docMk/>
            <pc:sldMk cId="3286602149" sldId="10466"/>
            <ac:spMk id="5" creationId="{661F72E1-48F0-44F4-A92A-E722B8B95227}"/>
          </ac:spMkLst>
        </pc:spChg>
        <pc:spChg chg="mod">
          <ac:chgData name="Jean QUENTIN" userId="6962deb3-b639-4acd-8091-a0516ea2376b" providerId="ADAL" clId="{146BD8F6-FDDD-49D3-A1A6-146C954086FF}" dt="2021-05-24T13:36:20.466" v="5284" actId="790"/>
          <ac:spMkLst>
            <pc:docMk/>
            <pc:sldMk cId="3286602149" sldId="10466"/>
            <ac:spMk id="6" creationId="{70B52D0E-DC9C-4722-916E-D6FDF79A7420}"/>
          </ac:spMkLst>
        </pc:spChg>
        <pc:spChg chg="mod">
          <ac:chgData name="Jean QUENTIN" userId="6962deb3-b639-4acd-8091-a0516ea2376b" providerId="ADAL" clId="{146BD8F6-FDDD-49D3-A1A6-146C954086FF}" dt="2021-05-24T13:36:20.482" v="5289" actId="790"/>
          <ac:spMkLst>
            <pc:docMk/>
            <pc:sldMk cId="3286602149" sldId="10466"/>
            <ac:spMk id="15" creationId="{371FD0C6-BD25-4B85-8EAD-0502F14E088E}"/>
          </ac:spMkLst>
        </pc:spChg>
        <pc:spChg chg="mod">
          <ac:chgData name="Jean QUENTIN" userId="6962deb3-b639-4acd-8091-a0516ea2376b" providerId="ADAL" clId="{146BD8F6-FDDD-49D3-A1A6-146C954086FF}" dt="2021-05-24T13:36:20.482" v="5295" actId="790"/>
          <ac:spMkLst>
            <pc:docMk/>
            <pc:sldMk cId="3286602149" sldId="10466"/>
            <ac:spMk id="17" creationId="{A9119019-F679-42BB-B49F-4E0DCA81AB7E}"/>
          </ac:spMkLst>
        </pc:spChg>
        <pc:spChg chg="mod">
          <ac:chgData name="Jean QUENTIN" userId="6962deb3-b639-4acd-8091-a0516ea2376b" providerId="ADAL" clId="{146BD8F6-FDDD-49D3-A1A6-146C954086FF}" dt="2021-05-24T13:36:20.482" v="5296" actId="790"/>
          <ac:spMkLst>
            <pc:docMk/>
            <pc:sldMk cId="3286602149" sldId="10466"/>
            <ac:spMk id="26" creationId="{D02F1702-75A2-41D0-81F2-2BFAC3621779}"/>
          </ac:spMkLst>
        </pc:spChg>
        <pc:spChg chg="mod">
          <ac:chgData name="Jean QUENTIN" userId="6962deb3-b639-4acd-8091-a0516ea2376b" providerId="ADAL" clId="{146BD8F6-FDDD-49D3-A1A6-146C954086FF}" dt="2021-05-24T13:36:20.482" v="5294" actId="790"/>
          <ac:spMkLst>
            <pc:docMk/>
            <pc:sldMk cId="3286602149" sldId="10466"/>
            <ac:spMk id="29" creationId="{89FB3B56-79F8-4EBD-967A-A373F7652C6A}"/>
          </ac:spMkLst>
        </pc:spChg>
        <pc:spChg chg="mod">
          <ac:chgData name="Jean QUENTIN" userId="6962deb3-b639-4acd-8091-a0516ea2376b" providerId="ADAL" clId="{146BD8F6-FDDD-49D3-A1A6-146C954086FF}" dt="2021-05-24T13:36:20.482" v="5297" actId="790"/>
          <ac:spMkLst>
            <pc:docMk/>
            <pc:sldMk cId="3286602149" sldId="10466"/>
            <ac:spMk id="31" creationId="{A8ABB57D-9FC1-44C5-8530-23D192F77D78}"/>
          </ac:spMkLst>
        </pc:spChg>
        <pc:spChg chg="mod">
          <ac:chgData name="Jean QUENTIN" userId="6962deb3-b639-4acd-8091-a0516ea2376b" providerId="ADAL" clId="{146BD8F6-FDDD-49D3-A1A6-146C954086FF}" dt="2021-05-24T13:36:20.482" v="5293" actId="790"/>
          <ac:spMkLst>
            <pc:docMk/>
            <pc:sldMk cId="3286602149" sldId="10466"/>
            <ac:spMk id="32" creationId="{9D4D3A71-F2C6-47DF-BD49-C3D7BFBF9438}"/>
          </ac:spMkLst>
        </pc:spChg>
        <pc:spChg chg="mod">
          <ac:chgData name="Jean QUENTIN" userId="6962deb3-b639-4acd-8091-a0516ea2376b" providerId="ADAL" clId="{146BD8F6-FDDD-49D3-A1A6-146C954086FF}" dt="2021-05-24T13:36:20.482" v="5292" actId="790"/>
          <ac:spMkLst>
            <pc:docMk/>
            <pc:sldMk cId="3286602149" sldId="10466"/>
            <ac:spMk id="35" creationId="{6458FF84-438E-4544-91C9-92CD6839FCA3}"/>
          </ac:spMkLst>
        </pc:spChg>
        <pc:spChg chg="mod">
          <ac:chgData name="Jean QUENTIN" userId="6962deb3-b639-4acd-8091-a0516ea2376b" providerId="ADAL" clId="{146BD8F6-FDDD-49D3-A1A6-146C954086FF}" dt="2021-05-24T13:36:20.466" v="5283" actId="790"/>
          <ac:spMkLst>
            <pc:docMk/>
            <pc:sldMk cId="3286602149" sldId="10466"/>
            <ac:spMk id="36" creationId="{20444DA5-5894-4095-8895-C57452F8E45B}"/>
          </ac:spMkLst>
        </pc:spChg>
        <pc:spChg chg="mod">
          <ac:chgData name="Jean QUENTIN" userId="6962deb3-b639-4acd-8091-a0516ea2376b" providerId="ADAL" clId="{146BD8F6-FDDD-49D3-A1A6-146C954086FF}" dt="2021-05-24T13:36:20.498" v="5298" actId="790"/>
          <ac:spMkLst>
            <pc:docMk/>
            <pc:sldMk cId="3286602149" sldId="10466"/>
            <ac:spMk id="37" creationId="{6503BBF8-FED4-48DE-A886-460FB05439F0}"/>
          </ac:spMkLst>
        </pc:spChg>
        <pc:spChg chg="mod">
          <ac:chgData name="Jean QUENTIN" userId="6962deb3-b639-4acd-8091-a0516ea2376b" providerId="ADAL" clId="{146BD8F6-FDDD-49D3-A1A6-146C954086FF}" dt="2021-05-24T13:36:20.498" v="5299" actId="790"/>
          <ac:spMkLst>
            <pc:docMk/>
            <pc:sldMk cId="3286602149" sldId="10466"/>
            <ac:spMk id="38" creationId="{3F11B4ED-9D89-44C6-97B5-84A9B88A28A0}"/>
          </ac:spMkLst>
        </pc:spChg>
        <pc:spChg chg="mod">
          <ac:chgData name="Jean QUENTIN" userId="6962deb3-b639-4acd-8091-a0516ea2376b" providerId="ADAL" clId="{146BD8F6-FDDD-49D3-A1A6-146C954086FF}" dt="2021-05-24T13:36:20.498" v="5300" actId="790"/>
          <ac:spMkLst>
            <pc:docMk/>
            <pc:sldMk cId="3286602149" sldId="10466"/>
            <ac:spMk id="39" creationId="{8D6F807D-093C-4031-8B72-64CF391C111D}"/>
          </ac:spMkLst>
        </pc:spChg>
        <pc:spChg chg="mod">
          <ac:chgData name="Jean QUENTIN" userId="6962deb3-b639-4acd-8091-a0516ea2376b" providerId="ADAL" clId="{146BD8F6-FDDD-49D3-A1A6-146C954086FF}" dt="2021-05-24T13:36:20.498" v="5301" actId="790"/>
          <ac:spMkLst>
            <pc:docMk/>
            <pc:sldMk cId="3286602149" sldId="10466"/>
            <ac:spMk id="40" creationId="{E671D48A-B1A4-4B26-B60F-65E19EB4D45B}"/>
          </ac:spMkLst>
        </pc:spChg>
        <pc:spChg chg="mod">
          <ac:chgData name="Jean QUENTIN" userId="6962deb3-b639-4acd-8091-a0516ea2376b" providerId="ADAL" clId="{146BD8F6-FDDD-49D3-A1A6-146C954086FF}" dt="2021-05-24T13:36:20.466" v="5285" actId="790"/>
          <ac:spMkLst>
            <pc:docMk/>
            <pc:sldMk cId="3286602149" sldId="10466"/>
            <ac:spMk id="42" creationId="{1247795D-0072-40BA-AF93-9C1D019692A8}"/>
          </ac:spMkLst>
        </pc:spChg>
        <pc:spChg chg="mod">
          <ac:chgData name="Jean QUENTIN" userId="6962deb3-b639-4acd-8091-a0516ea2376b" providerId="ADAL" clId="{146BD8F6-FDDD-49D3-A1A6-146C954086FF}" dt="2021-05-24T13:36:20.482" v="5286" actId="790"/>
          <ac:spMkLst>
            <pc:docMk/>
            <pc:sldMk cId="3286602149" sldId="10466"/>
            <ac:spMk id="43" creationId="{36DDE4C0-A9E6-441D-96A4-45A7DBB77394}"/>
          </ac:spMkLst>
        </pc:spChg>
        <pc:spChg chg="mod">
          <ac:chgData name="Jean QUENTIN" userId="6962deb3-b639-4acd-8091-a0516ea2376b" providerId="ADAL" clId="{146BD8F6-FDDD-49D3-A1A6-146C954086FF}" dt="2021-05-24T13:36:20.482" v="5287" actId="790"/>
          <ac:spMkLst>
            <pc:docMk/>
            <pc:sldMk cId="3286602149" sldId="10466"/>
            <ac:spMk id="44" creationId="{2F8E33B2-FF7C-48A6-A801-E93B48683090}"/>
          </ac:spMkLst>
        </pc:spChg>
        <pc:spChg chg="mod">
          <ac:chgData name="Jean QUENTIN" userId="6962deb3-b639-4acd-8091-a0516ea2376b" providerId="ADAL" clId="{146BD8F6-FDDD-49D3-A1A6-146C954086FF}" dt="2021-05-24T13:36:20.482" v="5288" actId="790"/>
          <ac:spMkLst>
            <pc:docMk/>
            <pc:sldMk cId="3286602149" sldId="10466"/>
            <ac:spMk id="51" creationId="{30907CB5-2327-4812-BF4E-80ADB62C119C}"/>
          </ac:spMkLst>
        </pc:spChg>
        <pc:spChg chg="mod">
          <ac:chgData name="Jean QUENTIN" userId="6962deb3-b639-4acd-8091-a0516ea2376b" providerId="ADAL" clId="{146BD8F6-FDDD-49D3-A1A6-146C954086FF}" dt="2021-05-24T13:36:20.498" v="5303" actId="790"/>
          <ac:spMkLst>
            <pc:docMk/>
            <pc:sldMk cId="3286602149" sldId="10466"/>
            <ac:spMk id="61" creationId="{6AD76FA3-6E7D-4573-94F3-B77C5EE0163C}"/>
          </ac:spMkLst>
        </pc:spChg>
        <pc:spChg chg="mod">
          <ac:chgData name="Jean QUENTIN" userId="6962deb3-b639-4acd-8091-a0516ea2376b" providerId="ADAL" clId="{146BD8F6-FDDD-49D3-A1A6-146C954086FF}" dt="2021-05-24T13:36:20.513" v="5309" actId="790"/>
          <ac:spMkLst>
            <pc:docMk/>
            <pc:sldMk cId="3286602149" sldId="10466"/>
            <ac:spMk id="69" creationId="{01D1152F-DC04-47F3-B3E6-FE427477534B}"/>
          </ac:spMkLst>
        </pc:spChg>
        <pc:spChg chg="mod">
          <ac:chgData name="Jean QUENTIN" userId="6962deb3-b639-4acd-8091-a0516ea2376b" providerId="ADAL" clId="{146BD8F6-FDDD-49D3-A1A6-146C954086FF}" dt="2021-05-24T13:36:20.482" v="5290" actId="790"/>
          <ac:spMkLst>
            <pc:docMk/>
            <pc:sldMk cId="3286602149" sldId="10466"/>
            <ac:spMk id="73" creationId="{C04BD52F-AA2B-4CAE-B639-93262B0CFA81}"/>
          </ac:spMkLst>
        </pc:spChg>
        <pc:spChg chg="mod">
          <ac:chgData name="Jean QUENTIN" userId="6962deb3-b639-4acd-8091-a0516ea2376b" providerId="ADAL" clId="{146BD8F6-FDDD-49D3-A1A6-146C954086FF}" dt="2021-05-24T13:36:20.482" v="5291" actId="790"/>
          <ac:spMkLst>
            <pc:docMk/>
            <pc:sldMk cId="3286602149" sldId="10466"/>
            <ac:spMk id="77" creationId="{34FF3F00-6BF4-4528-85CB-44C6EF344C99}"/>
          </ac:spMkLst>
        </pc:spChg>
        <pc:spChg chg="mod">
          <ac:chgData name="Jean QUENTIN" userId="6962deb3-b639-4acd-8091-a0516ea2376b" providerId="ADAL" clId="{146BD8F6-FDDD-49D3-A1A6-146C954086FF}" dt="2021-05-24T13:36:20.498" v="5302" actId="790"/>
          <ac:spMkLst>
            <pc:docMk/>
            <pc:sldMk cId="3286602149" sldId="10466"/>
            <ac:spMk id="87" creationId="{969B0457-9AFB-478C-83F9-279061671C83}"/>
          </ac:spMkLst>
        </pc:spChg>
        <pc:spChg chg="mod">
          <ac:chgData name="Jean QUENTIN" userId="6962deb3-b639-4acd-8091-a0516ea2376b" providerId="ADAL" clId="{146BD8F6-FDDD-49D3-A1A6-146C954086FF}" dt="2021-05-24T13:36:20.498" v="5304" actId="790"/>
          <ac:spMkLst>
            <pc:docMk/>
            <pc:sldMk cId="3286602149" sldId="10466"/>
            <ac:spMk id="102" creationId="{E0A3228D-D7F4-4A30-B4B2-A7E4D2315ACB}"/>
          </ac:spMkLst>
        </pc:spChg>
        <pc:spChg chg="mod">
          <ac:chgData name="Jean QUENTIN" userId="6962deb3-b639-4acd-8091-a0516ea2376b" providerId="ADAL" clId="{146BD8F6-FDDD-49D3-A1A6-146C954086FF}" dt="2021-05-24T13:36:20.498" v="5305" actId="790"/>
          <ac:spMkLst>
            <pc:docMk/>
            <pc:sldMk cId="3286602149" sldId="10466"/>
            <ac:spMk id="103" creationId="{60955DD5-4169-4F04-B2BF-2D2A64980A04}"/>
          </ac:spMkLst>
        </pc:spChg>
        <pc:spChg chg="mod">
          <ac:chgData name="Jean QUENTIN" userId="6962deb3-b639-4acd-8091-a0516ea2376b" providerId="ADAL" clId="{146BD8F6-FDDD-49D3-A1A6-146C954086FF}" dt="2021-05-24T13:36:20.498" v="5306" actId="790"/>
          <ac:spMkLst>
            <pc:docMk/>
            <pc:sldMk cId="3286602149" sldId="10466"/>
            <ac:spMk id="104" creationId="{4A968F88-0BEE-4D26-A5E9-83CB21CDAC4E}"/>
          </ac:spMkLst>
        </pc:spChg>
        <pc:spChg chg="mod">
          <ac:chgData name="Jean QUENTIN" userId="6962deb3-b639-4acd-8091-a0516ea2376b" providerId="ADAL" clId="{146BD8F6-FDDD-49D3-A1A6-146C954086FF}" dt="2021-05-24T13:36:20.498" v="5307" actId="790"/>
          <ac:spMkLst>
            <pc:docMk/>
            <pc:sldMk cId="3286602149" sldId="10466"/>
            <ac:spMk id="105" creationId="{8CE0D118-0AFC-408B-A2A2-0061AEB48222}"/>
          </ac:spMkLst>
        </pc:spChg>
        <pc:spChg chg="mod">
          <ac:chgData name="Jean QUENTIN" userId="6962deb3-b639-4acd-8091-a0516ea2376b" providerId="ADAL" clId="{146BD8F6-FDDD-49D3-A1A6-146C954086FF}" dt="2021-05-24T13:36:20.513" v="5308" actId="790"/>
          <ac:spMkLst>
            <pc:docMk/>
            <pc:sldMk cId="3286602149" sldId="10466"/>
            <ac:spMk id="120" creationId="{C57198B3-D8BE-4D70-B9B4-2277FF73857B}"/>
          </ac:spMkLst>
        </pc:spChg>
      </pc:sldChg>
      <pc:sldChg chg="modSp mod">
        <pc:chgData name="Jean QUENTIN" userId="6962deb3-b639-4acd-8091-a0516ea2376b" providerId="ADAL" clId="{146BD8F6-FDDD-49D3-A1A6-146C954086FF}" dt="2021-05-24T13:36:22.565" v="6219" actId="790"/>
        <pc:sldMkLst>
          <pc:docMk/>
          <pc:sldMk cId="2049462253" sldId="10467"/>
        </pc:sldMkLst>
        <pc:spChg chg="mod">
          <ac:chgData name="Jean QUENTIN" userId="6962deb3-b639-4acd-8091-a0516ea2376b" providerId="ADAL" clId="{146BD8F6-FDDD-49D3-A1A6-146C954086FF}" dt="2021-05-24T13:36:22.449" v="6171" actId="790"/>
          <ac:spMkLst>
            <pc:docMk/>
            <pc:sldMk cId="2049462253" sldId="10467"/>
            <ac:spMk id="2" creationId="{BA3E4240-1B8B-4AAA-9DCA-9FE236464846}"/>
          </ac:spMkLst>
        </pc:spChg>
        <pc:spChg chg="mod">
          <ac:chgData name="Jean QUENTIN" userId="6962deb3-b639-4acd-8091-a0516ea2376b" providerId="ADAL" clId="{146BD8F6-FDDD-49D3-A1A6-146C954086FF}" dt="2021-05-24T13:36:22.449" v="6172" actId="790"/>
          <ac:spMkLst>
            <pc:docMk/>
            <pc:sldMk cId="2049462253" sldId="10467"/>
            <ac:spMk id="3" creationId="{1773FC09-D385-45A1-AC2E-146DDDE8BD0A}"/>
          </ac:spMkLst>
        </pc:spChg>
        <pc:spChg chg="mod">
          <ac:chgData name="Jean QUENTIN" userId="6962deb3-b639-4acd-8091-a0516ea2376b" providerId="ADAL" clId="{146BD8F6-FDDD-49D3-A1A6-146C954086FF}" dt="2021-05-24T13:36:22.449" v="6173" actId="790"/>
          <ac:spMkLst>
            <pc:docMk/>
            <pc:sldMk cId="2049462253" sldId="10467"/>
            <ac:spMk id="9" creationId="{8EBE87B3-F04E-491F-82E3-AD5C42A920E2}"/>
          </ac:spMkLst>
        </pc:spChg>
        <pc:spChg chg="mod">
          <ac:chgData name="Jean QUENTIN" userId="6962deb3-b639-4acd-8091-a0516ea2376b" providerId="ADAL" clId="{146BD8F6-FDDD-49D3-A1A6-146C954086FF}" dt="2021-05-24T13:36:22.503" v="6193" actId="790"/>
          <ac:spMkLst>
            <pc:docMk/>
            <pc:sldMk cId="2049462253" sldId="10467"/>
            <ac:spMk id="10" creationId="{8B80541E-0CB8-4F46-AA31-1D2CE8ECE50F}"/>
          </ac:spMkLst>
        </pc:spChg>
        <pc:spChg chg="mod">
          <ac:chgData name="Jean QUENTIN" userId="6962deb3-b639-4acd-8091-a0516ea2376b" providerId="ADAL" clId="{146BD8F6-FDDD-49D3-A1A6-146C954086FF}" dt="2021-05-24T13:36:22.449" v="6174" actId="790"/>
          <ac:spMkLst>
            <pc:docMk/>
            <pc:sldMk cId="2049462253" sldId="10467"/>
            <ac:spMk id="12" creationId="{5632CA9B-96AD-46F9-9A8A-B6E6800443DD}"/>
          </ac:spMkLst>
        </pc:spChg>
        <pc:spChg chg="mod">
          <ac:chgData name="Jean QUENTIN" userId="6962deb3-b639-4acd-8091-a0516ea2376b" providerId="ADAL" clId="{146BD8F6-FDDD-49D3-A1A6-146C954086FF}" dt="2021-05-24T13:36:22.449" v="6175" actId="790"/>
          <ac:spMkLst>
            <pc:docMk/>
            <pc:sldMk cId="2049462253" sldId="10467"/>
            <ac:spMk id="13" creationId="{8A47A578-76B7-48A6-B910-8A54E9BC3C53}"/>
          </ac:spMkLst>
        </pc:spChg>
        <pc:spChg chg="mod">
          <ac:chgData name="Jean QUENTIN" userId="6962deb3-b639-4acd-8091-a0516ea2376b" providerId="ADAL" clId="{146BD8F6-FDDD-49D3-A1A6-146C954086FF}" dt="2021-05-24T13:36:22.449" v="6176" actId="790"/>
          <ac:spMkLst>
            <pc:docMk/>
            <pc:sldMk cId="2049462253" sldId="10467"/>
            <ac:spMk id="16" creationId="{4FCCDEAF-F1D6-472C-8877-BCF7D817DF4C}"/>
          </ac:spMkLst>
        </pc:spChg>
        <pc:spChg chg="mod">
          <ac:chgData name="Jean QUENTIN" userId="6962deb3-b639-4acd-8091-a0516ea2376b" providerId="ADAL" clId="{146BD8F6-FDDD-49D3-A1A6-146C954086FF}" dt="2021-05-24T13:36:22.503" v="6198" actId="790"/>
          <ac:spMkLst>
            <pc:docMk/>
            <pc:sldMk cId="2049462253" sldId="10467"/>
            <ac:spMk id="21" creationId="{58337BA2-B7F0-4432-B9BF-C085B3E8B7D0}"/>
          </ac:spMkLst>
        </pc:spChg>
        <pc:spChg chg="mod">
          <ac:chgData name="Jean QUENTIN" userId="6962deb3-b639-4acd-8091-a0516ea2376b" providerId="ADAL" clId="{146BD8F6-FDDD-49D3-A1A6-146C954086FF}" dt="2021-05-24T13:36:22.503" v="6199" actId="790"/>
          <ac:spMkLst>
            <pc:docMk/>
            <pc:sldMk cId="2049462253" sldId="10467"/>
            <ac:spMk id="23" creationId="{CAB7DE97-987C-4E1B-AC28-72D620F2E2AC}"/>
          </ac:spMkLst>
        </pc:spChg>
        <pc:spChg chg="mod">
          <ac:chgData name="Jean QUENTIN" userId="6962deb3-b639-4acd-8091-a0516ea2376b" providerId="ADAL" clId="{146BD8F6-FDDD-49D3-A1A6-146C954086FF}" dt="2021-05-24T13:36:22.465" v="6177" actId="790"/>
          <ac:spMkLst>
            <pc:docMk/>
            <pc:sldMk cId="2049462253" sldId="10467"/>
            <ac:spMk id="24" creationId="{B613E2EA-B96E-46E4-BF88-51F7E87FD434}"/>
          </ac:spMkLst>
        </pc:spChg>
        <pc:spChg chg="mod">
          <ac:chgData name="Jean QUENTIN" userId="6962deb3-b639-4acd-8091-a0516ea2376b" providerId="ADAL" clId="{146BD8F6-FDDD-49D3-A1A6-146C954086FF}" dt="2021-05-24T13:36:22.465" v="6178" actId="790"/>
          <ac:spMkLst>
            <pc:docMk/>
            <pc:sldMk cId="2049462253" sldId="10467"/>
            <ac:spMk id="25" creationId="{0634D66A-E6F6-4578-8A06-11D9F3F9E648}"/>
          </ac:spMkLst>
        </pc:spChg>
        <pc:spChg chg="mod">
          <ac:chgData name="Jean QUENTIN" userId="6962deb3-b639-4acd-8091-a0516ea2376b" providerId="ADAL" clId="{146BD8F6-FDDD-49D3-A1A6-146C954086FF}" dt="2021-05-24T13:36:22.471" v="6179" actId="790"/>
          <ac:spMkLst>
            <pc:docMk/>
            <pc:sldMk cId="2049462253" sldId="10467"/>
            <ac:spMk id="31" creationId="{0C5924EB-4FAB-4EEB-8C48-044C8B950722}"/>
          </ac:spMkLst>
        </pc:spChg>
        <pc:spChg chg="mod">
          <ac:chgData name="Jean QUENTIN" userId="6962deb3-b639-4acd-8091-a0516ea2376b" providerId="ADAL" clId="{146BD8F6-FDDD-49D3-A1A6-146C954086FF}" dt="2021-05-24T13:36:22.471" v="6180" actId="790"/>
          <ac:spMkLst>
            <pc:docMk/>
            <pc:sldMk cId="2049462253" sldId="10467"/>
            <ac:spMk id="32" creationId="{F2EECF5B-E5DE-4D06-85AD-830FFDAFCB24}"/>
          </ac:spMkLst>
        </pc:spChg>
        <pc:spChg chg="mod">
          <ac:chgData name="Jean QUENTIN" userId="6962deb3-b639-4acd-8091-a0516ea2376b" providerId="ADAL" clId="{146BD8F6-FDDD-49D3-A1A6-146C954086FF}" dt="2021-05-24T13:36:22.487" v="6190" actId="790"/>
          <ac:spMkLst>
            <pc:docMk/>
            <pc:sldMk cId="2049462253" sldId="10467"/>
            <ac:spMk id="50" creationId="{3D11D9AD-56B2-4FD0-998A-C3C17321490E}"/>
          </ac:spMkLst>
        </pc:spChg>
        <pc:spChg chg="mod">
          <ac:chgData name="Jean QUENTIN" userId="6962deb3-b639-4acd-8091-a0516ea2376b" providerId="ADAL" clId="{146BD8F6-FDDD-49D3-A1A6-146C954086FF}" dt="2021-05-24T13:36:22.487" v="6191" actId="790"/>
          <ac:spMkLst>
            <pc:docMk/>
            <pc:sldMk cId="2049462253" sldId="10467"/>
            <ac:spMk id="51" creationId="{ABA09096-B3E8-4754-A77D-65D350688B5B}"/>
          </ac:spMkLst>
        </pc:spChg>
        <pc:spChg chg="mod">
          <ac:chgData name="Jean QUENTIN" userId="6962deb3-b639-4acd-8091-a0516ea2376b" providerId="ADAL" clId="{146BD8F6-FDDD-49D3-A1A6-146C954086FF}" dt="2021-05-24T13:36:22.503" v="6192" actId="790"/>
          <ac:spMkLst>
            <pc:docMk/>
            <pc:sldMk cId="2049462253" sldId="10467"/>
            <ac:spMk id="52" creationId="{269DE5CB-BABB-4CE5-BFC8-CA5EE268E23C}"/>
          </ac:spMkLst>
        </pc:spChg>
        <pc:spChg chg="mod">
          <ac:chgData name="Jean QUENTIN" userId="6962deb3-b639-4acd-8091-a0516ea2376b" providerId="ADAL" clId="{146BD8F6-FDDD-49D3-A1A6-146C954086FF}" dt="2021-05-24T13:36:22.503" v="6194" actId="790"/>
          <ac:spMkLst>
            <pc:docMk/>
            <pc:sldMk cId="2049462253" sldId="10467"/>
            <ac:spMk id="54" creationId="{A1ED7959-6972-4CA1-87DE-4A9E265D1EE1}"/>
          </ac:spMkLst>
        </pc:spChg>
        <pc:spChg chg="mod">
          <ac:chgData name="Jean QUENTIN" userId="6962deb3-b639-4acd-8091-a0516ea2376b" providerId="ADAL" clId="{146BD8F6-FDDD-49D3-A1A6-146C954086FF}" dt="2021-05-24T13:36:22.550" v="6214" actId="790"/>
          <ac:spMkLst>
            <pc:docMk/>
            <pc:sldMk cId="2049462253" sldId="10467"/>
            <ac:spMk id="59" creationId="{EA6890C8-3B25-4BC1-B255-6FDC8ACC9FFA}"/>
          </ac:spMkLst>
        </pc:spChg>
        <pc:spChg chg="mod">
          <ac:chgData name="Jean QUENTIN" userId="6962deb3-b639-4acd-8091-a0516ea2376b" providerId="ADAL" clId="{146BD8F6-FDDD-49D3-A1A6-146C954086FF}" dt="2021-05-24T13:36:22.550" v="6215" actId="790"/>
          <ac:spMkLst>
            <pc:docMk/>
            <pc:sldMk cId="2049462253" sldId="10467"/>
            <ac:spMk id="60" creationId="{2E0AF7B1-E1FA-4244-A8B3-5647CA25A2D8}"/>
          </ac:spMkLst>
        </pc:spChg>
        <pc:spChg chg="mod">
          <ac:chgData name="Jean QUENTIN" userId="6962deb3-b639-4acd-8091-a0516ea2376b" providerId="ADAL" clId="{146BD8F6-FDDD-49D3-A1A6-146C954086FF}" dt="2021-05-24T13:36:22.503" v="6195" actId="790"/>
          <ac:spMkLst>
            <pc:docMk/>
            <pc:sldMk cId="2049462253" sldId="10467"/>
            <ac:spMk id="61" creationId="{0CCFF1A2-CE09-4311-BD82-2FC01C7F8607}"/>
          </ac:spMkLst>
        </pc:spChg>
        <pc:spChg chg="mod">
          <ac:chgData name="Jean QUENTIN" userId="6962deb3-b639-4acd-8091-a0516ea2376b" providerId="ADAL" clId="{146BD8F6-FDDD-49D3-A1A6-146C954086FF}" dt="2021-05-24T13:36:22.550" v="6216" actId="790"/>
          <ac:spMkLst>
            <pc:docMk/>
            <pc:sldMk cId="2049462253" sldId="10467"/>
            <ac:spMk id="62" creationId="{FD9C8703-8870-4B66-BD32-4BBDFC990586}"/>
          </ac:spMkLst>
        </pc:spChg>
        <pc:spChg chg="mod">
          <ac:chgData name="Jean QUENTIN" userId="6962deb3-b639-4acd-8091-a0516ea2376b" providerId="ADAL" clId="{146BD8F6-FDDD-49D3-A1A6-146C954086FF}" dt="2021-05-24T13:36:22.550" v="6217" actId="790"/>
          <ac:spMkLst>
            <pc:docMk/>
            <pc:sldMk cId="2049462253" sldId="10467"/>
            <ac:spMk id="63" creationId="{49572747-F2B7-4B82-BACA-746AF07C39A7}"/>
          </ac:spMkLst>
        </pc:spChg>
        <pc:spChg chg="mod">
          <ac:chgData name="Jean QUENTIN" userId="6962deb3-b639-4acd-8091-a0516ea2376b" providerId="ADAL" clId="{146BD8F6-FDDD-49D3-A1A6-146C954086FF}" dt="2021-05-24T13:36:22.550" v="6218" actId="790"/>
          <ac:spMkLst>
            <pc:docMk/>
            <pc:sldMk cId="2049462253" sldId="10467"/>
            <ac:spMk id="64" creationId="{62AD9C8B-EE8D-4437-9A4F-DB3CF9653138}"/>
          </ac:spMkLst>
        </pc:spChg>
        <pc:spChg chg="mod">
          <ac:chgData name="Jean QUENTIN" userId="6962deb3-b639-4acd-8091-a0516ea2376b" providerId="ADAL" clId="{146BD8F6-FDDD-49D3-A1A6-146C954086FF}" dt="2021-05-24T13:36:22.565" v="6219" actId="790"/>
          <ac:spMkLst>
            <pc:docMk/>
            <pc:sldMk cId="2049462253" sldId="10467"/>
            <ac:spMk id="65" creationId="{50E9508E-DCDD-42F2-9F0F-398E85D97E35}"/>
          </ac:spMkLst>
        </pc:spChg>
        <pc:spChg chg="mod">
          <ac:chgData name="Jean QUENTIN" userId="6962deb3-b639-4acd-8091-a0516ea2376b" providerId="ADAL" clId="{146BD8F6-FDDD-49D3-A1A6-146C954086FF}" dt="2021-05-24T13:36:22.503" v="6196" actId="790"/>
          <ac:spMkLst>
            <pc:docMk/>
            <pc:sldMk cId="2049462253" sldId="10467"/>
            <ac:spMk id="68" creationId="{A5346155-53F6-4492-8069-514F081C33B9}"/>
          </ac:spMkLst>
        </pc:spChg>
        <pc:spChg chg="mod">
          <ac:chgData name="Jean QUENTIN" userId="6962deb3-b639-4acd-8091-a0516ea2376b" providerId="ADAL" clId="{146BD8F6-FDDD-49D3-A1A6-146C954086FF}" dt="2021-05-24T13:36:22.503" v="6197" actId="790"/>
          <ac:spMkLst>
            <pc:docMk/>
            <pc:sldMk cId="2049462253" sldId="10467"/>
            <ac:spMk id="73" creationId="{98DD9878-7EFD-4EE3-8563-0AB6CA847BCD}"/>
          </ac:spMkLst>
        </pc:spChg>
        <pc:spChg chg="mod">
          <ac:chgData name="Jean QUENTIN" userId="6962deb3-b639-4acd-8091-a0516ea2376b" providerId="ADAL" clId="{146BD8F6-FDDD-49D3-A1A6-146C954086FF}" dt="2021-05-24T13:36:22.518" v="6200" actId="790"/>
          <ac:spMkLst>
            <pc:docMk/>
            <pc:sldMk cId="2049462253" sldId="10467"/>
            <ac:spMk id="78" creationId="{5112757C-9BF4-4BA1-9498-541BF2906FB2}"/>
          </ac:spMkLst>
        </pc:spChg>
        <pc:spChg chg="mod">
          <ac:chgData name="Jean QUENTIN" userId="6962deb3-b639-4acd-8091-a0516ea2376b" providerId="ADAL" clId="{146BD8F6-FDDD-49D3-A1A6-146C954086FF}" dt="2021-05-24T13:36:22.518" v="6201" actId="790"/>
          <ac:spMkLst>
            <pc:docMk/>
            <pc:sldMk cId="2049462253" sldId="10467"/>
            <ac:spMk id="79" creationId="{03A27743-6F0C-44CB-A476-520C8741EAE9}"/>
          </ac:spMkLst>
        </pc:spChg>
        <pc:spChg chg="mod">
          <ac:chgData name="Jean QUENTIN" userId="6962deb3-b639-4acd-8091-a0516ea2376b" providerId="ADAL" clId="{146BD8F6-FDDD-49D3-A1A6-146C954086FF}" dt="2021-05-24T13:36:22.534" v="6202" actId="790"/>
          <ac:spMkLst>
            <pc:docMk/>
            <pc:sldMk cId="2049462253" sldId="10467"/>
            <ac:spMk id="80" creationId="{E399A358-1215-4FA3-8339-9689B70175BF}"/>
          </ac:spMkLst>
        </pc:spChg>
        <pc:spChg chg="mod">
          <ac:chgData name="Jean QUENTIN" userId="6962deb3-b639-4acd-8091-a0516ea2376b" providerId="ADAL" clId="{146BD8F6-FDDD-49D3-A1A6-146C954086FF}" dt="2021-05-24T13:36:22.534" v="6209" actId="790"/>
          <ac:spMkLst>
            <pc:docMk/>
            <pc:sldMk cId="2049462253" sldId="10467"/>
            <ac:spMk id="81" creationId="{60F8FC4C-7305-426C-8523-F98FB2B728B2}"/>
          </ac:spMkLst>
        </pc:spChg>
        <pc:spChg chg="mod">
          <ac:chgData name="Jean QUENTIN" userId="6962deb3-b639-4acd-8091-a0516ea2376b" providerId="ADAL" clId="{146BD8F6-FDDD-49D3-A1A6-146C954086FF}" dt="2021-05-24T13:36:22.534" v="6203" actId="790"/>
          <ac:spMkLst>
            <pc:docMk/>
            <pc:sldMk cId="2049462253" sldId="10467"/>
            <ac:spMk id="82" creationId="{378DC2D4-4EBE-4118-8C40-86863555C037}"/>
          </ac:spMkLst>
        </pc:spChg>
        <pc:spChg chg="mod">
          <ac:chgData name="Jean QUENTIN" userId="6962deb3-b639-4acd-8091-a0516ea2376b" providerId="ADAL" clId="{146BD8F6-FDDD-49D3-A1A6-146C954086FF}" dt="2021-05-24T13:36:22.534" v="6204" actId="790"/>
          <ac:spMkLst>
            <pc:docMk/>
            <pc:sldMk cId="2049462253" sldId="10467"/>
            <ac:spMk id="84" creationId="{3C53EFB8-8D77-4743-B5E2-D02A8132C2B0}"/>
          </ac:spMkLst>
        </pc:spChg>
        <pc:spChg chg="mod">
          <ac:chgData name="Jean QUENTIN" userId="6962deb3-b639-4acd-8091-a0516ea2376b" providerId="ADAL" clId="{146BD8F6-FDDD-49D3-A1A6-146C954086FF}" dt="2021-05-24T13:36:22.534" v="6210" actId="790"/>
          <ac:spMkLst>
            <pc:docMk/>
            <pc:sldMk cId="2049462253" sldId="10467"/>
            <ac:spMk id="86" creationId="{5426AF42-AB87-4AFB-94AB-DD1D8EF561A6}"/>
          </ac:spMkLst>
        </pc:spChg>
        <pc:spChg chg="mod">
          <ac:chgData name="Jean QUENTIN" userId="6962deb3-b639-4acd-8091-a0516ea2376b" providerId="ADAL" clId="{146BD8F6-FDDD-49D3-A1A6-146C954086FF}" dt="2021-05-24T13:36:22.471" v="6181" actId="790"/>
          <ac:spMkLst>
            <pc:docMk/>
            <pc:sldMk cId="2049462253" sldId="10467"/>
            <ac:spMk id="88" creationId="{34AD6019-DF31-49B1-9576-11ED4DEEE9F3}"/>
          </ac:spMkLst>
        </pc:spChg>
        <pc:spChg chg="mod">
          <ac:chgData name="Jean QUENTIN" userId="6962deb3-b639-4acd-8091-a0516ea2376b" providerId="ADAL" clId="{146BD8F6-FDDD-49D3-A1A6-146C954086FF}" dt="2021-05-24T13:36:22.471" v="6182" actId="790"/>
          <ac:spMkLst>
            <pc:docMk/>
            <pc:sldMk cId="2049462253" sldId="10467"/>
            <ac:spMk id="89" creationId="{0E3C8382-14B0-4DD7-8CF1-F74F30CA1AB5}"/>
          </ac:spMkLst>
        </pc:spChg>
        <pc:spChg chg="mod">
          <ac:chgData name="Jean QUENTIN" userId="6962deb3-b639-4acd-8091-a0516ea2376b" providerId="ADAL" clId="{146BD8F6-FDDD-49D3-A1A6-146C954086FF}" dt="2021-05-24T13:36:22.471" v="6183" actId="790"/>
          <ac:spMkLst>
            <pc:docMk/>
            <pc:sldMk cId="2049462253" sldId="10467"/>
            <ac:spMk id="90" creationId="{08ED6D2A-682C-461A-BA1C-AC84CBEC2E76}"/>
          </ac:spMkLst>
        </pc:spChg>
        <pc:spChg chg="mod">
          <ac:chgData name="Jean QUENTIN" userId="6962deb3-b639-4acd-8091-a0516ea2376b" providerId="ADAL" clId="{146BD8F6-FDDD-49D3-A1A6-146C954086FF}" dt="2021-05-24T13:36:22.471" v="6184" actId="790"/>
          <ac:spMkLst>
            <pc:docMk/>
            <pc:sldMk cId="2049462253" sldId="10467"/>
            <ac:spMk id="91" creationId="{602468B7-98F9-47C4-8231-08793B2DF3B3}"/>
          </ac:spMkLst>
        </pc:spChg>
        <pc:spChg chg="mod">
          <ac:chgData name="Jean QUENTIN" userId="6962deb3-b639-4acd-8091-a0516ea2376b" providerId="ADAL" clId="{146BD8F6-FDDD-49D3-A1A6-146C954086FF}" dt="2021-05-24T13:36:22.534" v="6205" actId="790"/>
          <ac:spMkLst>
            <pc:docMk/>
            <pc:sldMk cId="2049462253" sldId="10467"/>
            <ac:spMk id="92" creationId="{58B5811A-7C8F-45CF-9D3B-9676978FB9CF}"/>
          </ac:spMkLst>
        </pc:spChg>
        <pc:spChg chg="mod">
          <ac:chgData name="Jean QUENTIN" userId="6962deb3-b639-4acd-8091-a0516ea2376b" providerId="ADAL" clId="{146BD8F6-FDDD-49D3-A1A6-146C954086FF}" dt="2021-05-24T13:36:22.487" v="6185" actId="790"/>
          <ac:spMkLst>
            <pc:docMk/>
            <pc:sldMk cId="2049462253" sldId="10467"/>
            <ac:spMk id="94" creationId="{BF5B00B0-9183-440C-A99F-1C50EFA053F6}"/>
          </ac:spMkLst>
        </pc:spChg>
        <pc:spChg chg="mod">
          <ac:chgData name="Jean QUENTIN" userId="6962deb3-b639-4acd-8091-a0516ea2376b" providerId="ADAL" clId="{146BD8F6-FDDD-49D3-A1A6-146C954086FF}" dt="2021-05-24T13:36:22.487" v="6186" actId="790"/>
          <ac:spMkLst>
            <pc:docMk/>
            <pc:sldMk cId="2049462253" sldId="10467"/>
            <ac:spMk id="95" creationId="{A1CB9407-E980-4B78-9BC3-672647E87D1B}"/>
          </ac:spMkLst>
        </pc:spChg>
        <pc:spChg chg="mod">
          <ac:chgData name="Jean QUENTIN" userId="6962deb3-b639-4acd-8091-a0516ea2376b" providerId="ADAL" clId="{146BD8F6-FDDD-49D3-A1A6-146C954086FF}" dt="2021-05-24T13:36:22.487" v="6187" actId="790"/>
          <ac:spMkLst>
            <pc:docMk/>
            <pc:sldMk cId="2049462253" sldId="10467"/>
            <ac:spMk id="96" creationId="{9C0F66FB-561C-4DB9-BAD1-4012B3F815F5}"/>
          </ac:spMkLst>
        </pc:spChg>
        <pc:spChg chg="mod">
          <ac:chgData name="Jean QUENTIN" userId="6962deb3-b639-4acd-8091-a0516ea2376b" providerId="ADAL" clId="{146BD8F6-FDDD-49D3-A1A6-146C954086FF}" dt="2021-05-24T13:36:22.487" v="6188" actId="790"/>
          <ac:spMkLst>
            <pc:docMk/>
            <pc:sldMk cId="2049462253" sldId="10467"/>
            <ac:spMk id="97" creationId="{C1B3BAF1-8B3C-4DCB-B21F-84C74A57C140}"/>
          </ac:spMkLst>
        </pc:spChg>
        <pc:spChg chg="mod">
          <ac:chgData name="Jean QUENTIN" userId="6962deb3-b639-4acd-8091-a0516ea2376b" providerId="ADAL" clId="{146BD8F6-FDDD-49D3-A1A6-146C954086FF}" dt="2021-05-24T13:36:22.534" v="6206" actId="790"/>
          <ac:spMkLst>
            <pc:docMk/>
            <pc:sldMk cId="2049462253" sldId="10467"/>
            <ac:spMk id="98" creationId="{E7E824A9-0075-4DB7-94CB-07C41244E4EF}"/>
          </ac:spMkLst>
        </pc:spChg>
        <pc:spChg chg="mod">
          <ac:chgData name="Jean QUENTIN" userId="6962deb3-b639-4acd-8091-a0516ea2376b" providerId="ADAL" clId="{146BD8F6-FDDD-49D3-A1A6-146C954086FF}" dt="2021-05-24T13:36:22.534" v="6207" actId="790"/>
          <ac:spMkLst>
            <pc:docMk/>
            <pc:sldMk cId="2049462253" sldId="10467"/>
            <ac:spMk id="99" creationId="{9F13D4F4-DACE-4D56-AD46-7369D3A8494C}"/>
          </ac:spMkLst>
        </pc:spChg>
        <pc:spChg chg="mod">
          <ac:chgData name="Jean QUENTIN" userId="6962deb3-b639-4acd-8091-a0516ea2376b" providerId="ADAL" clId="{146BD8F6-FDDD-49D3-A1A6-146C954086FF}" dt="2021-05-24T13:36:22.534" v="6208" actId="790"/>
          <ac:spMkLst>
            <pc:docMk/>
            <pc:sldMk cId="2049462253" sldId="10467"/>
            <ac:spMk id="109" creationId="{E8BE3BCE-A832-4D22-9958-D819266EA290}"/>
          </ac:spMkLst>
        </pc:spChg>
        <pc:spChg chg="mod">
          <ac:chgData name="Jean QUENTIN" userId="6962deb3-b639-4acd-8091-a0516ea2376b" providerId="ADAL" clId="{146BD8F6-FDDD-49D3-A1A6-146C954086FF}" dt="2021-05-24T13:36:22.550" v="6211" actId="790"/>
          <ac:spMkLst>
            <pc:docMk/>
            <pc:sldMk cId="2049462253" sldId="10467"/>
            <ac:spMk id="114" creationId="{EF7E7272-A5E8-48AE-AF6F-C99EB6336D02}"/>
          </ac:spMkLst>
        </pc:spChg>
        <pc:spChg chg="mod">
          <ac:chgData name="Jean QUENTIN" userId="6962deb3-b639-4acd-8091-a0516ea2376b" providerId="ADAL" clId="{146BD8F6-FDDD-49D3-A1A6-146C954086FF}" dt="2021-05-24T13:36:22.550" v="6212" actId="790"/>
          <ac:spMkLst>
            <pc:docMk/>
            <pc:sldMk cId="2049462253" sldId="10467"/>
            <ac:spMk id="115" creationId="{E4406749-7A4A-41F0-A850-CE3465C20F17}"/>
          </ac:spMkLst>
        </pc:spChg>
        <pc:spChg chg="mod">
          <ac:chgData name="Jean QUENTIN" userId="6962deb3-b639-4acd-8091-a0516ea2376b" providerId="ADAL" clId="{146BD8F6-FDDD-49D3-A1A6-146C954086FF}" dt="2021-05-24T13:36:22.550" v="6213" actId="790"/>
          <ac:spMkLst>
            <pc:docMk/>
            <pc:sldMk cId="2049462253" sldId="10467"/>
            <ac:spMk id="116" creationId="{2806627C-A398-4592-B3EB-4C56D0420050}"/>
          </ac:spMkLst>
        </pc:spChg>
        <pc:spChg chg="mod">
          <ac:chgData name="Jean QUENTIN" userId="6962deb3-b639-4acd-8091-a0516ea2376b" providerId="ADAL" clId="{146BD8F6-FDDD-49D3-A1A6-146C954086FF}" dt="2021-05-24T13:36:22.487" v="6189" actId="790"/>
          <ac:spMkLst>
            <pc:docMk/>
            <pc:sldMk cId="2049462253" sldId="10467"/>
            <ac:spMk id="152" creationId="{FD7ED2BD-3A04-423A-8563-A638727F3B40}"/>
          </ac:spMkLst>
        </pc:spChg>
      </pc:sldChg>
      <pc:sldChg chg="modSp mod">
        <pc:chgData name="Jean QUENTIN" userId="6962deb3-b639-4acd-8091-a0516ea2376b" providerId="ADAL" clId="{146BD8F6-FDDD-49D3-A1A6-146C954086FF}" dt="2021-05-24T13:36:22.650" v="6251" actId="790"/>
        <pc:sldMkLst>
          <pc:docMk/>
          <pc:sldMk cId="2750370863" sldId="10468"/>
        </pc:sldMkLst>
        <pc:spChg chg="mod">
          <ac:chgData name="Jean QUENTIN" userId="6962deb3-b639-4acd-8091-a0516ea2376b" providerId="ADAL" clId="{146BD8F6-FDDD-49D3-A1A6-146C954086FF}" dt="2021-05-24T13:36:22.565" v="6220" actId="790"/>
          <ac:spMkLst>
            <pc:docMk/>
            <pc:sldMk cId="2750370863" sldId="10468"/>
            <ac:spMk id="2" creationId="{076A8F7F-F895-46CF-AE68-CFD9FFD3C71A}"/>
          </ac:spMkLst>
        </pc:spChg>
        <pc:spChg chg="mod">
          <ac:chgData name="Jean QUENTIN" userId="6962deb3-b639-4acd-8091-a0516ea2376b" providerId="ADAL" clId="{146BD8F6-FDDD-49D3-A1A6-146C954086FF}" dt="2021-05-24T13:36:22.565" v="6221" actId="790"/>
          <ac:spMkLst>
            <pc:docMk/>
            <pc:sldMk cId="2750370863" sldId="10468"/>
            <ac:spMk id="3" creationId="{84B816E9-5737-4E3C-BC42-45239C0FF87F}"/>
          </ac:spMkLst>
        </pc:spChg>
        <pc:spChg chg="mod">
          <ac:chgData name="Jean QUENTIN" userId="6962deb3-b639-4acd-8091-a0516ea2376b" providerId="ADAL" clId="{146BD8F6-FDDD-49D3-A1A6-146C954086FF}" dt="2021-05-24T13:36:22.572" v="6222" actId="790"/>
          <ac:spMkLst>
            <pc:docMk/>
            <pc:sldMk cId="2750370863" sldId="10468"/>
            <ac:spMk id="6" creationId="{EE03F86E-BBFC-4F4A-8702-386CBBDCEE19}"/>
          </ac:spMkLst>
        </pc:spChg>
        <pc:spChg chg="mod">
          <ac:chgData name="Jean QUENTIN" userId="6962deb3-b639-4acd-8091-a0516ea2376b" providerId="ADAL" clId="{146BD8F6-FDDD-49D3-A1A6-146C954086FF}" dt="2021-05-24T13:36:22.572" v="6223" actId="790"/>
          <ac:spMkLst>
            <pc:docMk/>
            <pc:sldMk cId="2750370863" sldId="10468"/>
            <ac:spMk id="7" creationId="{E78AAE0E-6DCE-4797-A7F4-B1B37CB93314}"/>
          </ac:spMkLst>
        </pc:spChg>
        <pc:spChg chg="mod">
          <ac:chgData name="Jean QUENTIN" userId="6962deb3-b639-4acd-8091-a0516ea2376b" providerId="ADAL" clId="{146BD8F6-FDDD-49D3-A1A6-146C954086FF}" dt="2021-05-24T13:36:22.572" v="6224" actId="790"/>
          <ac:spMkLst>
            <pc:docMk/>
            <pc:sldMk cId="2750370863" sldId="10468"/>
            <ac:spMk id="8" creationId="{3B88483B-584C-43C8-90CB-A4ED8D3B8EF1}"/>
          </ac:spMkLst>
        </pc:spChg>
        <pc:spChg chg="mod">
          <ac:chgData name="Jean QUENTIN" userId="6962deb3-b639-4acd-8091-a0516ea2376b" providerId="ADAL" clId="{146BD8F6-FDDD-49D3-A1A6-146C954086FF}" dt="2021-05-24T13:36:22.587" v="6225" actId="790"/>
          <ac:spMkLst>
            <pc:docMk/>
            <pc:sldMk cId="2750370863" sldId="10468"/>
            <ac:spMk id="30" creationId="{7AEFA4BF-95C1-4B9F-BAED-7F3D65E36953}"/>
          </ac:spMkLst>
        </pc:spChg>
        <pc:spChg chg="mod">
          <ac:chgData name="Jean QUENTIN" userId="6962deb3-b639-4acd-8091-a0516ea2376b" providerId="ADAL" clId="{146BD8F6-FDDD-49D3-A1A6-146C954086FF}" dt="2021-05-24T13:36:22.587" v="6226" actId="790"/>
          <ac:spMkLst>
            <pc:docMk/>
            <pc:sldMk cId="2750370863" sldId="10468"/>
            <ac:spMk id="31" creationId="{C5AAF232-FA7E-4D12-8C14-C126CD5AD3F6}"/>
          </ac:spMkLst>
        </pc:spChg>
        <pc:spChg chg="mod">
          <ac:chgData name="Jean QUENTIN" userId="6962deb3-b639-4acd-8091-a0516ea2376b" providerId="ADAL" clId="{146BD8F6-FDDD-49D3-A1A6-146C954086FF}" dt="2021-05-24T13:36:22.587" v="6227" actId="790"/>
          <ac:spMkLst>
            <pc:docMk/>
            <pc:sldMk cId="2750370863" sldId="10468"/>
            <ac:spMk id="37" creationId="{4E5D2729-4716-4A95-8C80-499870A59A5E}"/>
          </ac:spMkLst>
        </pc:spChg>
        <pc:spChg chg="mod">
          <ac:chgData name="Jean QUENTIN" userId="6962deb3-b639-4acd-8091-a0516ea2376b" providerId="ADAL" clId="{146BD8F6-FDDD-49D3-A1A6-146C954086FF}" dt="2021-05-24T13:36:22.587" v="6228" actId="790"/>
          <ac:spMkLst>
            <pc:docMk/>
            <pc:sldMk cId="2750370863" sldId="10468"/>
            <ac:spMk id="38" creationId="{6E74EB4C-948E-479D-9388-E353F2C35B4D}"/>
          </ac:spMkLst>
        </pc:spChg>
        <pc:spChg chg="mod">
          <ac:chgData name="Jean QUENTIN" userId="6962deb3-b639-4acd-8091-a0516ea2376b" providerId="ADAL" clId="{146BD8F6-FDDD-49D3-A1A6-146C954086FF}" dt="2021-05-24T13:36:22.587" v="6229" actId="790"/>
          <ac:spMkLst>
            <pc:docMk/>
            <pc:sldMk cId="2750370863" sldId="10468"/>
            <ac:spMk id="39" creationId="{766FCB01-62BC-49BD-8966-B0A88648D1AB}"/>
          </ac:spMkLst>
        </pc:spChg>
        <pc:spChg chg="mod">
          <ac:chgData name="Jean QUENTIN" userId="6962deb3-b639-4acd-8091-a0516ea2376b" providerId="ADAL" clId="{146BD8F6-FDDD-49D3-A1A6-146C954086FF}" dt="2021-05-24T13:36:22.587" v="6230" actId="790"/>
          <ac:spMkLst>
            <pc:docMk/>
            <pc:sldMk cId="2750370863" sldId="10468"/>
            <ac:spMk id="40" creationId="{A716C21A-E3AE-4CC7-B632-0770D9D1BA5C}"/>
          </ac:spMkLst>
        </pc:spChg>
        <pc:spChg chg="mod">
          <ac:chgData name="Jean QUENTIN" userId="6962deb3-b639-4acd-8091-a0516ea2376b" providerId="ADAL" clId="{146BD8F6-FDDD-49D3-A1A6-146C954086FF}" dt="2021-05-24T13:36:22.650" v="6251" actId="790"/>
          <ac:spMkLst>
            <pc:docMk/>
            <pc:sldMk cId="2750370863" sldId="10468"/>
            <ac:spMk id="59" creationId="{A7FDBE4A-C7D9-442B-8CC3-61E99914C89F}"/>
          </ac:spMkLst>
        </pc:spChg>
        <pc:spChg chg="mod">
          <ac:chgData name="Jean QUENTIN" userId="6962deb3-b639-4acd-8091-a0516ea2376b" providerId="ADAL" clId="{146BD8F6-FDDD-49D3-A1A6-146C954086FF}" dt="2021-05-24T13:36:22.650" v="6246" actId="790"/>
          <ac:spMkLst>
            <pc:docMk/>
            <pc:sldMk cId="2750370863" sldId="10468"/>
            <ac:spMk id="60" creationId="{2C59FC67-2AC6-4F81-A7A1-88B7F688B462}"/>
          </ac:spMkLst>
        </pc:spChg>
        <pc:spChg chg="mod">
          <ac:chgData name="Jean QUENTIN" userId="6962deb3-b639-4acd-8091-a0516ea2376b" providerId="ADAL" clId="{146BD8F6-FDDD-49D3-A1A6-146C954086FF}" dt="2021-05-24T13:36:22.650" v="6247" actId="790"/>
          <ac:spMkLst>
            <pc:docMk/>
            <pc:sldMk cId="2750370863" sldId="10468"/>
            <ac:spMk id="61" creationId="{34D8A482-BE77-4BF2-BB09-C51C6BA544FB}"/>
          </ac:spMkLst>
        </pc:spChg>
        <pc:spChg chg="mod">
          <ac:chgData name="Jean QUENTIN" userId="6962deb3-b639-4acd-8091-a0516ea2376b" providerId="ADAL" clId="{146BD8F6-FDDD-49D3-A1A6-146C954086FF}" dt="2021-05-24T13:36:22.634" v="6239" actId="790"/>
          <ac:spMkLst>
            <pc:docMk/>
            <pc:sldMk cId="2750370863" sldId="10468"/>
            <ac:spMk id="67" creationId="{0256CC2F-2C47-472B-BDEF-F624F9993066}"/>
          </ac:spMkLst>
        </pc:spChg>
        <pc:spChg chg="mod">
          <ac:chgData name="Jean QUENTIN" userId="6962deb3-b639-4acd-8091-a0516ea2376b" providerId="ADAL" clId="{146BD8F6-FDDD-49D3-A1A6-146C954086FF}" dt="2021-05-24T13:36:22.634" v="6240" actId="790"/>
          <ac:spMkLst>
            <pc:docMk/>
            <pc:sldMk cId="2750370863" sldId="10468"/>
            <ac:spMk id="68" creationId="{5627338E-A842-4061-8375-33FF1D0AA89A}"/>
          </ac:spMkLst>
        </pc:spChg>
        <pc:spChg chg="mod">
          <ac:chgData name="Jean QUENTIN" userId="6962deb3-b639-4acd-8091-a0516ea2376b" providerId="ADAL" clId="{146BD8F6-FDDD-49D3-A1A6-146C954086FF}" dt="2021-05-24T13:36:22.634" v="6241" actId="790"/>
          <ac:spMkLst>
            <pc:docMk/>
            <pc:sldMk cId="2750370863" sldId="10468"/>
            <ac:spMk id="69" creationId="{4583965D-2AA7-4F53-9C17-CC3ED3258CE7}"/>
          </ac:spMkLst>
        </pc:spChg>
        <pc:spChg chg="mod">
          <ac:chgData name="Jean QUENTIN" userId="6962deb3-b639-4acd-8091-a0516ea2376b" providerId="ADAL" clId="{146BD8F6-FDDD-49D3-A1A6-146C954086FF}" dt="2021-05-24T13:36:22.634" v="6242" actId="790"/>
          <ac:spMkLst>
            <pc:docMk/>
            <pc:sldMk cId="2750370863" sldId="10468"/>
            <ac:spMk id="70" creationId="{1073ABE5-E169-45A2-8075-2CCD09E960F7}"/>
          </ac:spMkLst>
        </pc:spChg>
        <pc:spChg chg="mod">
          <ac:chgData name="Jean QUENTIN" userId="6962deb3-b639-4acd-8091-a0516ea2376b" providerId="ADAL" clId="{146BD8F6-FDDD-49D3-A1A6-146C954086FF}" dt="2021-05-24T13:36:22.634" v="6243" actId="790"/>
          <ac:spMkLst>
            <pc:docMk/>
            <pc:sldMk cId="2750370863" sldId="10468"/>
            <ac:spMk id="71" creationId="{698110D9-CF6D-4F76-AC56-7567CDC16298}"/>
          </ac:spMkLst>
        </pc:spChg>
        <pc:spChg chg="mod">
          <ac:chgData name="Jean QUENTIN" userId="6962deb3-b639-4acd-8091-a0516ea2376b" providerId="ADAL" clId="{146BD8F6-FDDD-49D3-A1A6-146C954086FF}" dt="2021-05-24T13:36:22.650" v="6244" actId="790"/>
          <ac:spMkLst>
            <pc:docMk/>
            <pc:sldMk cId="2750370863" sldId="10468"/>
            <ac:spMk id="72" creationId="{E5621FBC-F8B6-4D47-8CF1-3CEBF5E34928}"/>
          </ac:spMkLst>
        </pc:spChg>
        <pc:spChg chg="mod">
          <ac:chgData name="Jean QUENTIN" userId="6962deb3-b639-4acd-8091-a0516ea2376b" providerId="ADAL" clId="{146BD8F6-FDDD-49D3-A1A6-146C954086FF}" dt="2021-05-24T13:36:22.650" v="6245" actId="790"/>
          <ac:spMkLst>
            <pc:docMk/>
            <pc:sldMk cId="2750370863" sldId="10468"/>
            <ac:spMk id="73" creationId="{4E54E019-532A-4A56-ADA2-0C80A354EA97}"/>
          </ac:spMkLst>
        </pc:spChg>
        <pc:spChg chg="mod">
          <ac:chgData name="Jean QUENTIN" userId="6962deb3-b639-4acd-8091-a0516ea2376b" providerId="ADAL" clId="{146BD8F6-FDDD-49D3-A1A6-146C954086FF}" dt="2021-05-24T13:36:22.650" v="6248" actId="790"/>
          <ac:spMkLst>
            <pc:docMk/>
            <pc:sldMk cId="2750370863" sldId="10468"/>
            <ac:spMk id="74" creationId="{AEB0EB96-76FE-44F1-9FD4-36424D66BBC7}"/>
          </ac:spMkLst>
        </pc:spChg>
        <pc:spChg chg="mod">
          <ac:chgData name="Jean QUENTIN" userId="6962deb3-b639-4acd-8091-a0516ea2376b" providerId="ADAL" clId="{146BD8F6-FDDD-49D3-A1A6-146C954086FF}" dt="2021-05-24T13:36:22.650" v="6249" actId="790"/>
          <ac:spMkLst>
            <pc:docMk/>
            <pc:sldMk cId="2750370863" sldId="10468"/>
            <ac:spMk id="75" creationId="{14D832F5-1788-4673-882E-7685E10ADC46}"/>
          </ac:spMkLst>
        </pc:spChg>
        <pc:spChg chg="mod">
          <ac:chgData name="Jean QUENTIN" userId="6962deb3-b639-4acd-8091-a0516ea2376b" providerId="ADAL" clId="{146BD8F6-FDDD-49D3-A1A6-146C954086FF}" dt="2021-05-24T13:36:22.650" v="6250" actId="790"/>
          <ac:spMkLst>
            <pc:docMk/>
            <pc:sldMk cId="2750370863" sldId="10468"/>
            <ac:spMk id="76" creationId="{67D1AEAA-66A3-493A-832C-7CAFC86BD4A3}"/>
          </ac:spMkLst>
        </pc:spChg>
        <pc:spChg chg="mod">
          <ac:chgData name="Jean QUENTIN" userId="6962deb3-b639-4acd-8091-a0516ea2376b" providerId="ADAL" clId="{146BD8F6-FDDD-49D3-A1A6-146C954086FF}" dt="2021-05-24T13:36:22.587" v="6231" actId="790"/>
          <ac:spMkLst>
            <pc:docMk/>
            <pc:sldMk cId="2750370863" sldId="10468"/>
            <ac:spMk id="93" creationId="{B8679077-D452-46D0-A661-FDF487360092}"/>
          </ac:spMkLst>
        </pc:spChg>
        <pc:spChg chg="mod">
          <ac:chgData name="Jean QUENTIN" userId="6962deb3-b639-4acd-8091-a0516ea2376b" providerId="ADAL" clId="{146BD8F6-FDDD-49D3-A1A6-146C954086FF}" dt="2021-05-24T13:36:22.603" v="6232" actId="790"/>
          <ac:spMkLst>
            <pc:docMk/>
            <pc:sldMk cId="2750370863" sldId="10468"/>
            <ac:spMk id="94" creationId="{BDD7F547-3501-4278-AC3F-8BB57279ACB9}"/>
          </ac:spMkLst>
        </pc:spChg>
        <pc:spChg chg="mod">
          <ac:chgData name="Jean QUENTIN" userId="6962deb3-b639-4acd-8091-a0516ea2376b" providerId="ADAL" clId="{146BD8F6-FDDD-49D3-A1A6-146C954086FF}" dt="2021-05-24T13:36:22.603" v="6233" actId="790"/>
          <ac:spMkLst>
            <pc:docMk/>
            <pc:sldMk cId="2750370863" sldId="10468"/>
            <ac:spMk id="95" creationId="{3EC38CA6-491D-4320-8DEC-584C755D04B6}"/>
          </ac:spMkLst>
        </pc:spChg>
        <pc:spChg chg="mod">
          <ac:chgData name="Jean QUENTIN" userId="6962deb3-b639-4acd-8091-a0516ea2376b" providerId="ADAL" clId="{146BD8F6-FDDD-49D3-A1A6-146C954086FF}" dt="2021-05-24T13:36:22.603" v="6234" actId="790"/>
          <ac:spMkLst>
            <pc:docMk/>
            <pc:sldMk cId="2750370863" sldId="10468"/>
            <ac:spMk id="96" creationId="{FBB7D235-E014-4FCE-BC74-C29BFD28D17F}"/>
          </ac:spMkLst>
        </pc:spChg>
        <pc:spChg chg="mod">
          <ac:chgData name="Jean QUENTIN" userId="6962deb3-b639-4acd-8091-a0516ea2376b" providerId="ADAL" clId="{146BD8F6-FDDD-49D3-A1A6-146C954086FF}" dt="2021-05-24T13:36:22.603" v="6235" actId="790"/>
          <ac:spMkLst>
            <pc:docMk/>
            <pc:sldMk cId="2750370863" sldId="10468"/>
            <ac:spMk id="97" creationId="{594140F8-2792-40AD-850A-2AAD0CC4A0F4}"/>
          </ac:spMkLst>
        </pc:spChg>
        <pc:spChg chg="mod">
          <ac:chgData name="Jean QUENTIN" userId="6962deb3-b639-4acd-8091-a0516ea2376b" providerId="ADAL" clId="{146BD8F6-FDDD-49D3-A1A6-146C954086FF}" dt="2021-05-24T13:36:22.619" v="6236" actId="790"/>
          <ac:spMkLst>
            <pc:docMk/>
            <pc:sldMk cId="2750370863" sldId="10468"/>
            <ac:spMk id="105" creationId="{91B75A33-C37F-457E-8F37-6A9450E95B44}"/>
          </ac:spMkLst>
        </pc:spChg>
        <pc:spChg chg="mod">
          <ac:chgData name="Jean QUENTIN" userId="6962deb3-b639-4acd-8091-a0516ea2376b" providerId="ADAL" clId="{146BD8F6-FDDD-49D3-A1A6-146C954086FF}" dt="2021-05-24T13:36:22.619" v="6237" actId="790"/>
          <ac:spMkLst>
            <pc:docMk/>
            <pc:sldMk cId="2750370863" sldId="10468"/>
            <ac:spMk id="118" creationId="{973A32D1-1F27-43CF-8C30-943DBA9F9EEB}"/>
          </ac:spMkLst>
        </pc:spChg>
        <pc:spChg chg="mod">
          <ac:chgData name="Jean QUENTIN" userId="6962deb3-b639-4acd-8091-a0516ea2376b" providerId="ADAL" clId="{146BD8F6-FDDD-49D3-A1A6-146C954086FF}" dt="2021-05-24T13:36:22.619" v="6238" actId="790"/>
          <ac:spMkLst>
            <pc:docMk/>
            <pc:sldMk cId="2750370863" sldId="10468"/>
            <ac:spMk id="122" creationId="{E84D56F7-A433-4DD3-AF89-AE738FF671B3}"/>
          </ac:spMkLst>
        </pc:spChg>
      </pc:sldChg>
      <pc:sldChg chg="modSp mod">
        <pc:chgData name="Jean QUENTIN" userId="6962deb3-b639-4acd-8091-a0516ea2376b" providerId="ADAL" clId="{146BD8F6-FDDD-49D3-A1A6-146C954086FF}" dt="2021-05-24T13:36:22.133" v="5992" actId="790"/>
        <pc:sldMkLst>
          <pc:docMk/>
          <pc:sldMk cId="3039853858" sldId="10469"/>
        </pc:sldMkLst>
        <pc:spChg chg="mod">
          <ac:chgData name="Jean QUENTIN" userId="6962deb3-b639-4acd-8091-a0516ea2376b" providerId="ADAL" clId="{146BD8F6-FDDD-49D3-A1A6-146C954086FF}" dt="2021-05-24T13:36:22.102" v="5966" actId="790"/>
          <ac:spMkLst>
            <pc:docMk/>
            <pc:sldMk cId="3039853858" sldId="10469"/>
            <ac:spMk id="2" creationId="{14A63442-DA54-42D4-87F0-BDCB096140AA}"/>
          </ac:spMkLst>
        </pc:spChg>
        <pc:spChg chg="mod">
          <ac:chgData name="Jean QUENTIN" userId="6962deb3-b639-4acd-8091-a0516ea2376b" providerId="ADAL" clId="{146BD8F6-FDDD-49D3-A1A6-146C954086FF}" dt="2021-05-24T13:36:22.102" v="5967" actId="790"/>
          <ac:spMkLst>
            <pc:docMk/>
            <pc:sldMk cId="3039853858" sldId="10469"/>
            <ac:spMk id="3" creationId="{BF7EC08C-D333-4AEB-BF4D-1846F2A4EA5F}"/>
          </ac:spMkLst>
        </pc:spChg>
        <pc:spChg chg="mod">
          <ac:chgData name="Jean QUENTIN" userId="6962deb3-b639-4acd-8091-a0516ea2376b" providerId="ADAL" clId="{146BD8F6-FDDD-49D3-A1A6-146C954086FF}" dt="2021-05-24T13:36:22.102" v="5968" actId="790"/>
          <ac:spMkLst>
            <pc:docMk/>
            <pc:sldMk cId="3039853858" sldId="10469"/>
            <ac:spMk id="4" creationId="{F56E6202-8C73-436F-ABC3-79B9E1D041C9}"/>
          </ac:spMkLst>
        </pc:spChg>
        <pc:spChg chg="mod">
          <ac:chgData name="Jean QUENTIN" userId="6962deb3-b639-4acd-8091-a0516ea2376b" providerId="ADAL" clId="{146BD8F6-FDDD-49D3-A1A6-146C954086FF}" dt="2021-05-24T13:36:22.102" v="5969" actId="790"/>
          <ac:spMkLst>
            <pc:docMk/>
            <pc:sldMk cId="3039853858" sldId="10469"/>
            <ac:spMk id="5" creationId="{062D9E47-1B5D-4E63-B232-3FFAF96752C6}"/>
          </ac:spMkLst>
        </pc:spChg>
        <pc:spChg chg="mod">
          <ac:chgData name="Jean QUENTIN" userId="6962deb3-b639-4acd-8091-a0516ea2376b" providerId="ADAL" clId="{146BD8F6-FDDD-49D3-A1A6-146C954086FF}" dt="2021-05-24T13:36:22.102" v="5970" actId="790"/>
          <ac:spMkLst>
            <pc:docMk/>
            <pc:sldMk cId="3039853858" sldId="10469"/>
            <ac:spMk id="6" creationId="{110A874B-EC60-403B-9F7A-7B875833955F}"/>
          </ac:spMkLst>
        </pc:spChg>
        <pc:spChg chg="mod">
          <ac:chgData name="Jean QUENTIN" userId="6962deb3-b639-4acd-8091-a0516ea2376b" providerId="ADAL" clId="{146BD8F6-FDDD-49D3-A1A6-146C954086FF}" dt="2021-05-24T13:36:22.102" v="5971" actId="790"/>
          <ac:spMkLst>
            <pc:docMk/>
            <pc:sldMk cId="3039853858" sldId="10469"/>
            <ac:spMk id="8" creationId="{A527E1BD-D275-48D5-8026-6D440A8D3ABC}"/>
          </ac:spMkLst>
        </pc:spChg>
        <pc:spChg chg="mod">
          <ac:chgData name="Jean QUENTIN" userId="6962deb3-b639-4acd-8091-a0516ea2376b" providerId="ADAL" clId="{146BD8F6-FDDD-49D3-A1A6-146C954086FF}" dt="2021-05-24T13:36:22.102" v="5972" actId="790"/>
          <ac:spMkLst>
            <pc:docMk/>
            <pc:sldMk cId="3039853858" sldId="10469"/>
            <ac:spMk id="9" creationId="{98916DF8-CB6B-4AC3-A0AB-53D2C4E7B19E}"/>
          </ac:spMkLst>
        </pc:spChg>
        <pc:spChg chg="mod">
          <ac:chgData name="Jean QUENTIN" userId="6962deb3-b639-4acd-8091-a0516ea2376b" providerId="ADAL" clId="{146BD8F6-FDDD-49D3-A1A6-146C954086FF}" dt="2021-05-24T13:36:22.117" v="5973" actId="790"/>
          <ac:spMkLst>
            <pc:docMk/>
            <pc:sldMk cId="3039853858" sldId="10469"/>
            <ac:spMk id="10" creationId="{19E21063-8686-4D83-882C-7E89BFF4AC81}"/>
          </ac:spMkLst>
        </pc:spChg>
        <pc:spChg chg="mod">
          <ac:chgData name="Jean QUENTIN" userId="6962deb3-b639-4acd-8091-a0516ea2376b" providerId="ADAL" clId="{146BD8F6-FDDD-49D3-A1A6-146C954086FF}" dt="2021-05-24T13:36:22.117" v="5974" actId="790"/>
          <ac:spMkLst>
            <pc:docMk/>
            <pc:sldMk cId="3039853858" sldId="10469"/>
            <ac:spMk id="11" creationId="{18805FDC-74C7-43D8-8ACA-33F6117CE592}"/>
          </ac:spMkLst>
        </pc:spChg>
        <pc:spChg chg="mod">
          <ac:chgData name="Jean QUENTIN" userId="6962deb3-b639-4acd-8091-a0516ea2376b" providerId="ADAL" clId="{146BD8F6-FDDD-49D3-A1A6-146C954086FF}" dt="2021-05-24T13:36:22.117" v="5975" actId="790"/>
          <ac:spMkLst>
            <pc:docMk/>
            <pc:sldMk cId="3039853858" sldId="10469"/>
            <ac:spMk id="17" creationId="{EF18347E-77C7-48E0-8B80-561988C5A974}"/>
          </ac:spMkLst>
        </pc:spChg>
        <pc:spChg chg="mod">
          <ac:chgData name="Jean QUENTIN" userId="6962deb3-b639-4acd-8091-a0516ea2376b" providerId="ADAL" clId="{146BD8F6-FDDD-49D3-A1A6-146C954086FF}" dt="2021-05-24T13:36:22.117" v="5976" actId="790"/>
          <ac:spMkLst>
            <pc:docMk/>
            <pc:sldMk cId="3039853858" sldId="10469"/>
            <ac:spMk id="18" creationId="{92AFF349-0A89-40E6-B5EA-471CA15D5593}"/>
          </ac:spMkLst>
        </pc:spChg>
        <pc:spChg chg="mod">
          <ac:chgData name="Jean QUENTIN" userId="6962deb3-b639-4acd-8091-a0516ea2376b" providerId="ADAL" clId="{146BD8F6-FDDD-49D3-A1A6-146C954086FF}" dt="2021-05-24T13:36:22.117" v="5977" actId="790"/>
          <ac:spMkLst>
            <pc:docMk/>
            <pc:sldMk cId="3039853858" sldId="10469"/>
            <ac:spMk id="19" creationId="{86B138A1-42E1-41D3-80A9-C19762ACEAD5}"/>
          </ac:spMkLst>
        </pc:spChg>
        <pc:spChg chg="mod">
          <ac:chgData name="Jean QUENTIN" userId="6962deb3-b639-4acd-8091-a0516ea2376b" providerId="ADAL" clId="{146BD8F6-FDDD-49D3-A1A6-146C954086FF}" dt="2021-05-24T13:36:22.117" v="5978" actId="790"/>
          <ac:spMkLst>
            <pc:docMk/>
            <pc:sldMk cId="3039853858" sldId="10469"/>
            <ac:spMk id="20" creationId="{B2A9FF67-9BCC-41A9-900E-B74C915E1F29}"/>
          </ac:spMkLst>
        </pc:spChg>
        <pc:spChg chg="mod">
          <ac:chgData name="Jean QUENTIN" userId="6962deb3-b639-4acd-8091-a0516ea2376b" providerId="ADAL" clId="{146BD8F6-FDDD-49D3-A1A6-146C954086FF}" dt="2021-05-24T13:36:22.117" v="5979" actId="790"/>
          <ac:spMkLst>
            <pc:docMk/>
            <pc:sldMk cId="3039853858" sldId="10469"/>
            <ac:spMk id="21" creationId="{39734C71-5A2B-4002-B42A-1A9D0CD5052A}"/>
          </ac:spMkLst>
        </pc:spChg>
        <pc:spChg chg="mod">
          <ac:chgData name="Jean QUENTIN" userId="6962deb3-b639-4acd-8091-a0516ea2376b" providerId="ADAL" clId="{146BD8F6-FDDD-49D3-A1A6-146C954086FF}" dt="2021-05-24T13:36:22.117" v="5980" actId="790"/>
          <ac:spMkLst>
            <pc:docMk/>
            <pc:sldMk cId="3039853858" sldId="10469"/>
            <ac:spMk id="22" creationId="{C886B5AE-60E8-422E-A457-ADDF0349946C}"/>
          </ac:spMkLst>
        </pc:spChg>
        <pc:spChg chg="mod">
          <ac:chgData name="Jean QUENTIN" userId="6962deb3-b639-4acd-8091-a0516ea2376b" providerId="ADAL" clId="{146BD8F6-FDDD-49D3-A1A6-146C954086FF}" dt="2021-05-24T13:36:22.117" v="5981" actId="790"/>
          <ac:spMkLst>
            <pc:docMk/>
            <pc:sldMk cId="3039853858" sldId="10469"/>
            <ac:spMk id="23" creationId="{4D4C3E4F-C319-443C-8514-E5243EAF5B35}"/>
          </ac:spMkLst>
        </pc:spChg>
        <pc:spChg chg="mod">
          <ac:chgData name="Jean QUENTIN" userId="6962deb3-b639-4acd-8091-a0516ea2376b" providerId="ADAL" clId="{146BD8F6-FDDD-49D3-A1A6-146C954086FF}" dt="2021-05-24T13:36:22.133" v="5982" actId="790"/>
          <ac:spMkLst>
            <pc:docMk/>
            <pc:sldMk cId="3039853858" sldId="10469"/>
            <ac:spMk id="24" creationId="{BB734D98-2942-4212-B7CA-588E38DF9301}"/>
          </ac:spMkLst>
        </pc:spChg>
        <pc:spChg chg="mod">
          <ac:chgData name="Jean QUENTIN" userId="6962deb3-b639-4acd-8091-a0516ea2376b" providerId="ADAL" clId="{146BD8F6-FDDD-49D3-A1A6-146C954086FF}" dt="2021-05-24T13:36:22.133" v="5983" actId="790"/>
          <ac:spMkLst>
            <pc:docMk/>
            <pc:sldMk cId="3039853858" sldId="10469"/>
            <ac:spMk id="35" creationId="{493BB09C-FA45-4A0B-AA09-A4CAEE243AD5}"/>
          </ac:spMkLst>
        </pc:spChg>
        <pc:spChg chg="mod">
          <ac:chgData name="Jean QUENTIN" userId="6962deb3-b639-4acd-8091-a0516ea2376b" providerId="ADAL" clId="{146BD8F6-FDDD-49D3-A1A6-146C954086FF}" dt="2021-05-24T13:36:22.133" v="5984" actId="790"/>
          <ac:spMkLst>
            <pc:docMk/>
            <pc:sldMk cId="3039853858" sldId="10469"/>
            <ac:spMk id="36" creationId="{82BB232E-7B26-4AB7-A3CB-DB98A135B993}"/>
          </ac:spMkLst>
        </pc:spChg>
        <pc:spChg chg="mod">
          <ac:chgData name="Jean QUENTIN" userId="6962deb3-b639-4acd-8091-a0516ea2376b" providerId="ADAL" clId="{146BD8F6-FDDD-49D3-A1A6-146C954086FF}" dt="2021-05-24T13:36:22.133" v="5985" actId="790"/>
          <ac:spMkLst>
            <pc:docMk/>
            <pc:sldMk cId="3039853858" sldId="10469"/>
            <ac:spMk id="37" creationId="{0A8E0738-A8AF-4249-931D-47A14D3A91FD}"/>
          </ac:spMkLst>
        </pc:spChg>
        <pc:spChg chg="mod">
          <ac:chgData name="Jean QUENTIN" userId="6962deb3-b639-4acd-8091-a0516ea2376b" providerId="ADAL" clId="{146BD8F6-FDDD-49D3-A1A6-146C954086FF}" dt="2021-05-24T13:36:22.133" v="5986" actId="790"/>
          <ac:spMkLst>
            <pc:docMk/>
            <pc:sldMk cId="3039853858" sldId="10469"/>
            <ac:spMk id="38" creationId="{4CDFF166-E028-475A-AD25-5778BC8A48AD}"/>
          </ac:spMkLst>
        </pc:spChg>
        <pc:spChg chg="mod">
          <ac:chgData name="Jean QUENTIN" userId="6962deb3-b639-4acd-8091-a0516ea2376b" providerId="ADAL" clId="{146BD8F6-FDDD-49D3-A1A6-146C954086FF}" dt="2021-05-24T13:36:22.133" v="5987" actId="790"/>
          <ac:spMkLst>
            <pc:docMk/>
            <pc:sldMk cId="3039853858" sldId="10469"/>
            <ac:spMk id="39" creationId="{11051FB9-3465-42B5-8D5F-7222DC80BBD1}"/>
          </ac:spMkLst>
        </pc:spChg>
        <pc:spChg chg="mod">
          <ac:chgData name="Jean QUENTIN" userId="6962deb3-b639-4acd-8091-a0516ea2376b" providerId="ADAL" clId="{146BD8F6-FDDD-49D3-A1A6-146C954086FF}" dt="2021-05-24T13:36:22.133" v="5988" actId="790"/>
          <ac:spMkLst>
            <pc:docMk/>
            <pc:sldMk cId="3039853858" sldId="10469"/>
            <ac:spMk id="40" creationId="{85C2A5DC-8C64-4584-B35B-F94DDFB84C96}"/>
          </ac:spMkLst>
        </pc:spChg>
        <pc:spChg chg="mod">
          <ac:chgData name="Jean QUENTIN" userId="6962deb3-b639-4acd-8091-a0516ea2376b" providerId="ADAL" clId="{146BD8F6-FDDD-49D3-A1A6-146C954086FF}" dt="2021-05-24T13:36:22.133" v="5989" actId="790"/>
          <ac:spMkLst>
            <pc:docMk/>
            <pc:sldMk cId="3039853858" sldId="10469"/>
            <ac:spMk id="41" creationId="{09DBE724-EE52-4B0F-A5AF-95D28BC90FAF}"/>
          </ac:spMkLst>
        </pc:spChg>
        <pc:spChg chg="mod">
          <ac:chgData name="Jean QUENTIN" userId="6962deb3-b639-4acd-8091-a0516ea2376b" providerId="ADAL" clId="{146BD8F6-FDDD-49D3-A1A6-146C954086FF}" dt="2021-05-24T13:36:22.133" v="5990" actId="790"/>
          <ac:spMkLst>
            <pc:docMk/>
            <pc:sldMk cId="3039853858" sldId="10469"/>
            <ac:spMk id="42" creationId="{73115DBD-DBEB-484B-B0DA-E3BAE64BC68C}"/>
          </ac:spMkLst>
        </pc:spChg>
        <pc:spChg chg="mod">
          <ac:chgData name="Jean QUENTIN" userId="6962deb3-b639-4acd-8091-a0516ea2376b" providerId="ADAL" clId="{146BD8F6-FDDD-49D3-A1A6-146C954086FF}" dt="2021-05-24T13:36:22.133" v="5991" actId="790"/>
          <ac:spMkLst>
            <pc:docMk/>
            <pc:sldMk cId="3039853858" sldId="10469"/>
            <ac:spMk id="43" creationId="{23DA9231-68E2-44FA-AFE3-79BB76D9E58E}"/>
          </ac:spMkLst>
        </pc:spChg>
        <pc:spChg chg="mod">
          <ac:chgData name="Jean QUENTIN" userId="6962deb3-b639-4acd-8091-a0516ea2376b" providerId="ADAL" clId="{146BD8F6-FDDD-49D3-A1A6-146C954086FF}" dt="2021-05-24T13:36:22.133" v="5992" actId="790"/>
          <ac:spMkLst>
            <pc:docMk/>
            <pc:sldMk cId="3039853858" sldId="10469"/>
            <ac:spMk id="44" creationId="{8FA4736D-A144-4C84-9A93-62623A4348D6}"/>
          </ac:spMkLst>
        </pc:spChg>
      </pc:sldChg>
      <pc:sldChg chg="modSp mod">
        <pc:chgData name="Jean QUENTIN" userId="6962deb3-b639-4acd-8091-a0516ea2376b" providerId="ADAL" clId="{146BD8F6-FDDD-49D3-A1A6-146C954086FF}" dt="2021-05-25T13:07:56.830" v="14404"/>
        <pc:sldMkLst>
          <pc:docMk/>
          <pc:sldMk cId="246696543" sldId="10470"/>
        </pc:sldMkLst>
        <pc:spChg chg="mod">
          <ac:chgData name="Jean QUENTIN" userId="6962deb3-b639-4acd-8091-a0516ea2376b" providerId="ADAL" clId="{146BD8F6-FDDD-49D3-A1A6-146C954086FF}" dt="2021-05-24T13:36:22.271" v="6073" actId="790"/>
          <ac:spMkLst>
            <pc:docMk/>
            <pc:sldMk cId="246696543" sldId="10470"/>
            <ac:spMk id="2" creationId="{9BD2639D-DCC0-44D5-BA6B-7FD2B3FE6960}"/>
          </ac:spMkLst>
        </pc:spChg>
        <pc:spChg chg="mod">
          <ac:chgData name="Jean QUENTIN" userId="6962deb3-b639-4acd-8091-a0516ea2376b" providerId="ADAL" clId="{146BD8F6-FDDD-49D3-A1A6-146C954086FF}" dt="2021-05-24T13:36:22.271" v="6076" actId="790"/>
          <ac:spMkLst>
            <pc:docMk/>
            <pc:sldMk cId="246696543" sldId="10470"/>
            <ac:spMk id="5" creationId="{18CA01D0-1E64-461E-AE7E-2904520E4F36}"/>
          </ac:spMkLst>
        </pc:spChg>
        <pc:spChg chg="mod">
          <ac:chgData name="Jean QUENTIN" userId="6962deb3-b639-4acd-8091-a0516ea2376b" providerId="ADAL" clId="{146BD8F6-FDDD-49D3-A1A6-146C954086FF}" dt="2021-05-24T13:36:22.271" v="6077" actId="790"/>
          <ac:spMkLst>
            <pc:docMk/>
            <pc:sldMk cId="246696543" sldId="10470"/>
            <ac:spMk id="6" creationId="{490A4901-2DC1-41DE-B458-6A36A10AA36B}"/>
          </ac:spMkLst>
        </pc:spChg>
        <pc:spChg chg="mod">
          <ac:chgData name="Jean QUENTIN" userId="6962deb3-b639-4acd-8091-a0516ea2376b" providerId="ADAL" clId="{146BD8F6-FDDD-49D3-A1A6-146C954086FF}" dt="2021-05-24T13:36:22.271" v="6078" actId="790"/>
          <ac:spMkLst>
            <pc:docMk/>
            <pc:sldMk cId="246696543" sldId="10470"/>
            <ac:spMk id="7" creationId="{4D3CBBAB-458D-4B6D-A9C6-F74EECA4DC49}"/>
          </ac:spMkLst>
        </pc:spChg>
        <pc:spChg chg="mod">
          <ac:chgData name="Jean QUENTIN" userId="6962deb3-b639-4acd-8091-a0516ea2376b" providerId="ADAL" clId="{146BD8F6-FDDD-49D3-A1A6-146C954086FF}" dt="2021-05-24T13:36:22.271" v="6074" actId="790"/>
          <ac:spMkLst>
            <pc:docMk/>
            <pc:sldMk cId="246696543" sldId="10470"/>
            <ac:spMk id="8" creationId="{AA3CDC90-54F7-480D-A0C8-E46C65C92BB6}"/>
          </ac:spMkLst>
        </pc:spChg>
        <pc:spChg chg="mod">
          <ac:chgData name="Jean QUENTIN" userId="6962deb3-b639-4acd-8091-a0516ea2376b" providerId="ADAL" clId="{146BD8F6-FDDD-49D3-A1A6-146C954086FF}" dt="2021-05-24T13:36:22.271" v="6075" actId="790"/>
          <ac:spMkLst>
            <pc:docMk/>
            <pc:sldMk cId="246696543" sldId="10470"/>
            <ac:spMk id="9" creationId="{08DC229D-9D4E-4AD4-945F-1D13A2A073C1}"/>
          </ac:spMkLst>
        </pc:spChg>
        <pc:spChg chg="mod">
          <ac:chgData name="Jean QUENTIN" userId="6962deb3-b639-4acd-8091-a0516ea2376b" providerId="ADAL" clId="{146BD8F6-FDDD-49D3-A1A6-146C954086FF}" dt="2021-05-24T13:36:22.271" v="6079" actId="790"/>
          <ac:spMkLst>
            <pc:docMk/>
            <pc:sldMk cId="246696543" sldId="10470"/>
            <ac:spMk id="11" creationId="{B7CB2AD4-D082-4BFE-8038-D3BEAD6042F0}"/>
          </ac:spMkLst>
        </pc:spChg>
        <pc:spChg chg="mod">
          <ac:chgData name="Jean QUENTIN" userId="6962deb3-b639-4acd-8091-a0516ea2376b" providerId="ADAL" clId="{146BD8F6-FDDD-49D3-A1A6-146C954086FF}" dt="2021-05-24T13:36:22.287" v="6080" actId="790"/>
          <ac:spMkLst>
            <pc:docMk/>
            <pc:sldMk cId="246696543" sldId="10470"/>
            <ac:spMk id="12" creationId="{5C2E3614-2510-4511-9CC0-0336DBBFFEB4}"/>
          </ac:spMkLst>
        </pc:spChg>
        <pc:spChg chg="mod">
          <ac:chgData name="Jean QUENTIN" userId="6962deb3-b639-4acd-8091-a0516ea2376b" providerId="ADAL" clId="{146BD8F6-FDDD-49D3-A1A6-146C954086FF}" dt="2021-05-24T13:36:22.287" v="6081" actId="790"/>
          <ac:spMkLst>
            <pc:docMk/>
            <pc:sldMk cId="246696543" sldId="10470"/>
            <ac:spMk id="16" creationId="{0766A2A2-514A-4FBE-9369-A19C6BC5D84F}"/>
          </ac:spMkLst>
        </pc:spChg>
        <pc:spChg chg="mod">
          <ac:chgData name="Jean QUENTIN" userId="6962deb3-b639-4acd-8091-a0516ea2376b" providerId="ADAL" clId="{146BD8F6-FDDD-49D3-A1A6-146C954086FF}" dt="2021-05-24T13:36:22.287" v="6082" actId="790"/>
          <ac:spMkLst>
            <pc:docMk/>
            <pc:sldMk cId="246696543" sldId="10470"/>
            <ac:spMk id="17" creationId="{475562BC-1105-495C-90DD-178D3CA52539}"/>
          </ac:spMkLst>
        </pc:spChg>
        <pc:spChg chg="mod">
          <ac:chgData name="Jean QUENTIN" userId="6962deb3-b639-4acd-8091-a0516ea2376b" providerId="ADAL" clId="{146BD8F6-FDDD-49D3-A1A6-146C954086FF}" dt="2021-05-24T13:36:22.287" v="6083" actId="790"/>
          <ac:spMkLst>
            <pc:docMk/>
            <pc:sldMk cId="246696543" sldId="10470"/>
            <ac:spMk id="18" creationId="{C61AE365-A792-414F-BA5F-AA3EF8D8BE67}"/>
          </ac:spMkLst>
        </pc:spChg>
        <pc:spChg chg="mod">
          <ac:chgData name="Jean QUENTIN" userId="6962deb3-b639-4acd-8091-a0516ea2376b" providerId="ADAL" clId="{146BD8F6-FDDD-49D3-A1A6-146C954086FF}" dt="2021-05-24T13:36:22.287" v="6084" actId="790"/>
          <ac:spMkLst>
            <pc:docMk/>
            <pc:sldMk cId="246696543" sldId="10470"/>
            <ac:spMk id="19" creationId="{3959EFD6-B29E-4590-AEFE-B45F8685DF90}"/>
          </ac:spMkLst>
        </pc:spChg>
        <pc:spChg chg="mod">
          <ac:chgData name="Jean QUENTIN" userId="6962deb3-b639-4acd-8091-a0516ea2376b" providerId="ADAL" clId="{146BD8F6-FDDD-49D3-A1A6-146C954086FF}" dt="2021-05-24T13:36:22.287" v="6085" actId="790"/>
          <ac:spMkLst>
            <pc:docMk/>
            <pc:sldMk cId="246696543" sldId="10470"/>
            <ac:spMk id="20" creationId="{C64BB9DC-4096-4711-8DC1-558B84B3E873}"/>
          </ac:spMkLst>
        </pc:spChg>
        <pc:spChg chg="mod">
          <ac:chgData name="Jean QUENTIN" userId="6962deb3-b639-4acd-8091-a0516ea2376b" providerId="ADAL" clId="{146BD8F6-FDDD-49D3-A1A6-146C954086FF}" dt="2021-05-24T13:36:22.287" v="6086" actId="790"/>
          <ac:spMkLst>
            <pc:docMk/>
            <pc:sldMk cId="246696543" sldId="10470"/>
            <ac:spMk id="22" creationId="{40710B0C-BA23-45BC-9CE9-48DF27263812}"/>
          </ac:spMkLst>
        </pc:spChg>
        <pc:spChg chg="mod">
          <ac:chgData name="Jean QUENTIN" userId="6962deb3-b639-4acd-8091-a0516ea2376b" providerId="ADAL" clId="{146BD8F6-FDDD-49D3-A1A6-146C954086FF}" dt="2021-05-24T13:36:22.287" v="6087" actId="790"/>
          <ac:spMkLst>
            <pc:docMk/>
            <pc:sldMk cId="246696543" sldId="10470"/>
            <ac:spMk id="23" creationId="{A6670AF5-9315-40F9-8FCF-07ABA873129A}"/>
          </ac:spMkLst>
        </pc:spChg>
        <pc:spChg chg="mod">
          <ac:chgData name="Jean QUENTIN" userId="6962deb3-b639-4acd-8091-a0516ea2376b" providerId="ADAL" clId="{146BD8F6-FDDD-49D3-A1A6-146C954086FF}" dt="2021-05-24T13:36:22.287" v="6088" actId="790"/>
          <ac:spMkLst>
            <pc:docMk/>
            <pc:sldMk cId="246696543" sldId="10470"/>
            <ac:spMk id="24" creationId="{389B3D2D-6F27-43F3-92EB-856A76CCCC52}"/>
          </ac:spMkLst>
        </pc:spChg>
        <pc:spChg chg="mod">
          <ac:chgData name="Jean QUENTIN" userId="6962deb3-b639-4acd-8091-a0516ea2376b" providerId="ADAL" clId="{146BD8F6-FDDD-49D3-A1A6-146C954086FF}" dt="2021-05-24T13:36:22.287" v="6089" actId="790"/>
          <ac:spMkLst>
            <pc:docMk/>
            <pc:sldMk cId="246696543" sldId="10470"/>
            <ac:spMk id="25" creationId="{8C735DA3-C22D-4921-B4D0-8EF7AF5170C5}"/>
          </ac:spMkLst>
        </pc:spChg>
        <pc:spChg chg="mod">
          <ac:chgData name="Jean QUENTIN" userId="6962deb3-b639-4acd-8091-a0516ea2376b" providerId="ADAL" clId="{146BD8F6-FDDD-49D3-A1A6-146C954086FF}" dt="2021-05-24T13:36:22.287" v="6090" actId="790"/>
          <ac:spMkLst>
            <pc:docMk/>
            <pc:sldMk cId="246696543" sldId="10470"/>
            <ac:spMk id="26" creationId="{DBD7FDCE-4F34-4446-9121-187CBF63A23C}"/>
          </ac:spMkLst>
        </pc:spChg>
        <pc:spChg chg="mod">
          <ac:chgData name="Jean QUENTIN" userId="6962deb3-b639-4acd-8091-a0516ea2376b" providerId="ADAL" clId="{146BD8F6-FDDD-49D3-A1A6-146C954086FF}" dt="2021-05-24T13:36:22.302" v="6091" actId="790"/>
          <ac:spMkLst>
            <pc:docMk/>
            <pc:sldMk cId="246696543" sldId="10470"/>
            <ac:spMk id="29" creationId="{73115FFA-06D2-43F6-9A18-2172D29EC764}"/>
          </ac:spMkLst>
        </pc:spChg>
        <pc:spChg chg="mod">
          <ac:chgData name="Jean QUENTIN" userId="6962deb3-b639-4acd-8091-a0516ea2376b" providerId="ADAL" clId="{146BD8F6-FDDD-49D3-A1A6-146C954086FF}" dt="2021-05-24T13:36:22.349" v="6111" actId="790"/>
          <ac:spMkLst>
            <pc:docMk/>
            <pc:sldMk cId="246696543" sldId="10470"/>
            <ac:spMk id="69" creationId="{6CC4A358-2A09-460F-8DE2-7FC6205936D8}"/>
          </ac:spMkLst>
        </pc:spChg>
        <pc:spChg chg="mod">
          <ac:chgData name="Jean QUENTIN" userId="6962deb3-b639-4acd-8091-a0516ea2376b" providerId="ADAL" clId="{146BD8F6-FDDD-49D3-A1A6-146C954086FF}" dt="2021-05-24T13:36:22.349" v="6112" actId="790"/>
          <ac:spMkLst>
            <pc:docMk/>
            <pc:sldMk cId="246696543" sldId="10470"/>
            <ac:spMk id="70" creationId="{69512478-4F7C-4EB8-B587-69AC4EA2524C}"/>
          </ac:spMkLst>
        </pc:spChg>
        <pc:spChg chg="mod">
          <ac:chgData name="Jean QUENTIN" userId="6962deb3-b639-4acd-8091-a0516ea2376b" providerId="ADAL" clId="{146BD8F6-FDDD-49D3-A1A6-146C954086FF}" dt="2021-05-24T13:36:22.302" v="6092" actId="790"/>
          <ac:spMkLst>
            <pc:docMk/>
            <pc:sldMk cId="246696543" sldId="10470"/>
            <ac:spMk id="71" creationId="{6D20AF9C-AD4E-4705-8646-82C3F902C567}"/>
          </ac:spMkLst>
        </pc:spChg>
        <pc:spChg chg="mod">
          <ac:chgData name="Jean QUENTIN" userId="6962deb3-b639-4acd-8091-a0516ea2376b" providerId="ADAL" clId="{146BD8F6-FDDD-49D3-A1A6-146C954086FF}" dt="2021-05-24T13:36:22.302" v="6093" actId="790"/>
          <ac:spMkLst>
            <pc:docMk/>
            <pc:sldMk cId="246696543" sldId="10470"/>
            <ac:spMk id="74" creationId="{BFA5C3C2-52D4-4D73-B267-0DDE883B9F06}"/>
          </ac:spMkLst>
        </pc:spChg>
        <pc:spChg chg="mod">
          <ac:chgData name="Jean QUENTIN" userId="6962deb3-b639-4acd-8091-a0516ea2376b" providerId="ADAL" clId="{146BD8F6-FDDD-49D3-A1A6-146C954086FF}" dt="2021-05-24T13:36:22.302" v="6094" actId="790"/>
          <ac:spMkLst>
            <pc:docMk/>
            <pc:sldMk cId="246696543" sldId="10470"/>
            <ac:spMk id="75" creationId="{FD51F5E5-2F67-4B93-A14E-0F721FD83409}"/>
          </ac:spMkLst>
        </pc:spChg>
        <pc:spChg chg="mod">
          <ac:chgData name="Jean QUENTIN" userId="6962deb3-b639-4acd-8091-a0516ea2376b" providerId="ADAL" clId="{146BD8F6-FDDD-49D3-A1A6-146C954086FF}" dt="2021-05-24T13:36:22.302" v="6095" actId="790"/>
          <ac:spMkLst>
            <pc:docMk/>
            <pc:sldMk cId="246696543" sldId="10470"/>
            <ac:spMk id="76" creationId="{DC7B39B4-6883-43E3-9131-411630C9A092}"/>
          </ac:spMkLst>
        </pc:spChg>
        <pc:spChg chg="mod">
          <ac:chgData name="Jean QUENTIN" userId="6962deb3-b639-4acd-8091-a0516ea2376b" providerId="ADAL" clId="{146BD8F6-FDDD-49D3-A1A6-146C954086FF}" dt="2021-05-24T13:36:22.302" v="6096" actId="790"/>
          <ac:spMkLst>
            <pc:docMk/>
            <pc:sldMk cId="246696543" sldId="10470"/>
            <ac:spMk id="77" creationId="{4A69330F-8915-4BF0-BEF4-0906E0F9C36E}"/>
          </ac:spMkLst>
        </pc:spChg>
        <pc:spChg chg="mod">
          <ac:chgData name="Jean QUENTIN" userId="6962deb3-b639-4acd-8091-a0516ea2376b" providerId="ADAL" clId="{146BD8F6-FDDD-49D3-A1A6-146C954086FF}" dt="2021-05-24T13:36:22.302" v="6097" actId="790"/>
          <ac:spMkLst>
            <pc:docMk/>
            <pc:sldMk cId="246696543" sldId="10470"/>
            <ac:spMk id="79" creationId="{926410C2-A1F6-421F-BC6B-E17012BC18FC}"/>
          </ac:spMkLst>
        </pc:spChg>
        <pc:spChg chg="mod">
          <ac:chgData name="Jean QUENTIN" userId="6962deb3-b639-4acd-8091-a0516ea2376b" providerId="ADAL" clId="{146BD8F6-FDDD-49D3-A1A6-146C954086FF}" dt="2021-05-24T13:36:22.302" v="6098" actId="790"/>
          <ac:spMkLst>
            <pc:docMk/>
            <pc:sldMk cId="246696543" sldId="10470"/>
            <ac:spMk id="81" creationId="{41C7D8BC-B160-452B-A653-FE8C817C0DE5}"/>
          </ac:spMkLst>
        </pc:spChg>
        <pc:spChg chg="mod">
          <ac:chgData name="Jean QUENTIN" userId="6962deb3-b639-4acd-8091-a0516ea2376b" providerId="ADAL" clId="{146BD8F6-FDDD-49D3-A1A6-146C954086FF}" dt="2021-05-24T13:36:22.318" v="6099" actId="790"/>
          <ac:spMkLst>
            <pc:docMk/>
            <pc:sldMk cId="246696543" sldId="10470"/>
            <ac:spMk id="83" creationId="{092273F5-8613-4F3F-B694-87D17D60CA3A}"/>
          </ac:spMkLst>
        </pc:spChg>
        <pc:spChg chg="mod">
          <ac:chgData name="Jean QUENTIN" userId="6962deb3-b639-4acd-8091-a0516ea2376b" providerId="ADAL" clId="{146BD8F6-FDDD-49D3-A1A6-146C954086FF}" dt="2021-05-24T13:36:22.318" v="6100" actId="790"/>
          <ac:spMkLst>
            <pc:docMk/>
            <pc:sldMk cId="246696543" sldId="10470"/>
            <ac:spMk id="84" creationId="{E0D6334A-71C5-4811-B3B9-4A3926681EE1}"/>
          </ac:spMkLst>
        </pc:spChg>
        <pc:spChg chg="mod">
          <ac:chgData name="Jean QUENTIN" userId="6962deb3-b639-4acd-8091-a0516ea2376b" providerId="ADAL" clId="{146BD8F6-FDDD-49D3-A1A6-146C954086FF}" dt="2021-05-24T13:36:22.318" v="6101" actId="790"/>
          <ac:spMkLst>
            <pc:docMk/>
            <pc:sldMk cId="246696543" sldId="10470"/>
            <ac:spMk id="85" creationId="{8691ED70-943C-4072-BAEC-A95B12AAFE00}"/>
          </ac:spMkLst>
        </pc:spChg>
        <pc:spChg chg="mod">
          <ac:chgData name="Jean QUENTIN" userId="6962deb3-b639-4acd-8091-a0516ea2376b" providerId="ADAL" clId="{146BD8F6-FDDD-49D3-A1A6-146C954086FF}" dt="2021-05-24T13:36:22.318" v="6102" actId="790"/>
          <ac:spMkLst>
            <pc:docMk/>
            <pc:sldMk cId="246696543" sldId="10470"/>
            <ac:spMk id="86" creationId="{A5AD27C0-28D3-4738-ABE1-0351F024FA02}"/>
          </ac:spMkLst>
        </pc:spChg>
        <pc:spChg chg="mod">
          <ac:chgData name="Jean QUENTIN" userId="6962deb3-b639-4acd-8091-a0516ea2376b" providerId="ADAL" clId="{146BD8F6-FDDD-49D3-A1A6-146C954086FF}" dt="2021-05-24T13:36:22.318" v="6103" actId="790"/>
          <ac:spMkLst>
            <pc:docMk/>
            <pc:sldMk cId="246696543" sldId="10470"/>
            <ac:spMk id="87" creationId="{0570961D-6DAC-4F45-A047-B8D47387CD35}"/>
          </ac:spMkLst>
        </pc:spChg>
        <pc:spChg chg="mod">
          <ac:chgData name="Jean QUENTIN" userId="6962deb3-b639-4acd-8091-a0516ea2376b" providerId="ADAL" clId="{146BD8F6-FDDD-49D3-A1A6-146C954086FF}" dt="2021-05-24T13:36:22.318" v="6104" actId="790"/>
          <ac:spMkLst>
            <pc:docMk/>
            <pc:sldMk cId="246696543" sldId="10470"/>
            <ac:spMk id="88" creationId="{2453AC8F-0970-4DB3-8C9C-7F8046A9003D}"/>
          </ac:spMkLst>
        </pc:spChg>
        <pc:spChg chg="mod">
          <ac:chgData name="Jean QUENTIN" userId="6962deb3-b639-4acd-8091-a0516ea2376b" providerId="ADAL" clId="{146BD8F6-FDDD-49D3-A1A6-146C954086FF}" dt="2021-05-24T13:36:22.318" v="6105" actId="790"/>
          <ac:spMkLst>
            <pc:docMk/>
            <pc:sldMk cId="246696543" sldId="10470"/>
            <ac:spMk id="98" creationId="{6337AF24-4179-4310-9455-DAE4CFDCDABB}"/>
          </ac:spMkLst>
        </pc:spChg>
        <pc:spChg chg="mod">
          <ac:chgData name="Jean QUENTIN" userId="6962deb3-b639-4acd-8091-a0516ea2376b" providerId="ADAL" clId="{146BD8F6-FDDD-49D3-A1A6-146C954086FF}" dt="2021-05-24T13:36:22.349" v="6113" actId="790"/>
          <ac:spMkLst>
            <pc:docMk/>
            <pc:sldMk cId="246696543" sldId="10470"/>
            <ac:spMk id="103" creationId="{AB5B624F-B8DE-4B24-A57D-3CABAC015EF4}"/>
          </ac:spMkLst>
        </pc:spChg>
        <pc:spChg chg="mod">
          <ac:chgData name="Jean QUENTIN" userId="6962deb3-b639-4acd-8091-a0516ea2376b" providerId="ADAL" clId="{146BD8F6-FDDD-49D3-A1A6-146C954086FF}" dt="2021-05-25T13:07:56.830" v="14404"/>
          <ac:spMkLst>
            <pc:docMk/>
            <pc:sldMk cId="246696543" sldId="10470"/>
            <ac:spMk id="104" creationId="{306E4210-9494-45F0-BCA5-5DE31A995A05}"/>
          </ac:spMkLst>
        </pc:spChg>
        <pc:spChg chg="mod">
          <ac:chgData name="Jean QUENTIN" userId="6962deb3-b639-4acd-8091-a0516ea2376b" providerId="ADAL" clId="{146BD8F6-FDDD-49D3-A1A6-146C954086FF}" dt="2021-05-24T13:36:22.333" v="6107" actId="790"/>
          <ac:spMkLst>
            <pc:docMk/>
            <pc:sldMk cId="246696543" sldId="10470"/>
            <ac:spMk id="105" creationId="{BC8E7AD7-ACE7-4907-9606-689CA2783FBF}"/>
          </ac:spMkLst>
        </pc:spChg>
        <pc:spChg chg="mod">
          <ac:chgData name="Jean QUENTIN" userId="6962deb3-b639-4acd-8091-a0516ea2376b" providerId="ADAL" clId="{146BD8F6-FDDD-49D3-A1A6-146C954086FF}" dt="2021-05-24T13:36:22.333" v="6108" actId="790"/>
          <ac:spMkLst>
            <pc:docMk/>
            <pc:sldMk cId="246696543" sldId="10470"/>
            <ac:spMk id="106" creationId="{D2ED2DB6-16B9-47C7-861D-66CE6ABD6994}"/>
          </ac:spMkLst>
        </pc:spChg>
        <pc:spChg chg="mod">
          <ac:chgData name="Jean QUENTIN" userId="6962deb3-b639-4acd-8091-a0516ea2376b" providerId="ADAL" clId="{146BD8F6-FDDD-49D3-A1A6-146C954086FF}" dt="2021-05-24T13:36:22.333" v="6109" actId="790"/>
          <ac:spMkLst>
            <pc:docMk/>
            <pc:sldMk cId="246696543" sldId="10470"/>
            <ac:spMk id="107" creationId="{C3FE6728-B471-4469-822F-E6CCF454F4E3}"/>
          </ac:spMkLst>
        </pc:spChg>
        <pc:spChg chg="mod">
          <ac:chgData name="Jean QUENTIN" userId="6962deb3-b639-4acd-8091-a0516ea2376b" providerId="ADAL" clId="{146BD8F6-FDDD-49D3-A1A6-146C954086FF}" dt="2021-05-24T13:36:22.333" v="6110" actId="790"/>
          <ac:spMkLst>
            <pc:docMk/>
            <pc:sldMk cId="246696543" sldId="10470"/>
            <ac:spMk id="108" creationId="{74F08308-F3AF-47D3-926C-68B9BC30C142}"/>
          </ac:spMkLst>
        </pc:spChg>
        <pc:spChg chg="mod">
          <ac:chgData name="Jean QUENTIN" userId="6962deb3-b639-4acd-8091-a0516ea2376b" providerId="ADAL" clId="{146BD8F6-FDDD-49D3-A1A6-146C954086FF}" dt="2021-05-24T13:36:22.349" v="6114" actId="790"/>
          <ac:spMkLst>
            <pc:docMk/>
            <pc:sldMk cId="246696543" sldId="10470"/>
            <ac:spMk id="109" creationId="{900E0DB4-63DE-411E-95D1-CDDE6BD22BEC}"/>
          </ac:spMkLst>
        </pc:spChg>
        <pc:spChg chg="mod">
          <ac:chgData name="Jean QUENTIN" userId="6962deb3-b639-4acd-8091-a0516ea2376b" providerId="ADAL" clId="{146BD8F6-FDDD-49D3-A1A6-146C954086FF}" dt="2021-05-24T13:36:22.349" v="6115" actId="790"/>
          <ac:spMkLst>
            <pc:docMk/>
            <pc:sldMk cId="246696543" sldId="10470"/>
            <ac:spMk id="110" creationId="{FDC6DE17-F845-4ACC-AF9C-2831EC5B38A6}"/>
          </ac:spMkLst>
        </pc:spChg>
        <pc:spChg chg="mod">
          <ac:chgData name="Jean QUENTIN" userId="6962deb3-b639-4acd-8091-a0516ea2376b" providerId="ADAL" clId="{146BD8F6-FDDD-49D3-A1A6-146C954086FF}" dt="2021-05-24T13:36:22.349" v="6116" actId="790"/>
          <ac:spMkLst>
            <pc:docMk/>
            <pc:sldMk cId="246696543" sldId="10470"/>
            <ac:spMk id="114" creationId="{D24ADC21-3DB4-48FF-9089-1AC595AD08C2}"/>
          </ac:spMkLst>
        </pc:spChg>
        <pc:spChg chg="mod">
          <ac:chgData name="Jean QUENTIN" userId="6962deb3-b639-4acd-8091-a0516ea2376b" providerId="ADAL" clId="{146BD8F6-FDDD-49D3-A1A6-146C954086FF}" dt="2021-05-24T13:36:22.349" v="6117" actId="790"/>
          <ac:spMkLst>
            <pc:docMk/>
            <pc:sldMk cId="246696543" sldId="10470"/>
            <ac:spMk id="115" creationId="{89D31E51-F145-4E23-B085-988A1B42FF11}"/>
          </ac:spMkLst>
        </pc:spChg>
        <pc:spChg chg="mod">
          <ac:chgData name="Jean QUENTIN" userId="6962deb3-b639-4acd-8091-a0516ea2376b" providerId="ADAL" clId="{146BD8F6-FDDD-49D3-A1A6-146C954086FF}" dt="2021-05-24T13:36:22.349" v="6118" actId="790"/>
          <ac:spMkLst>
            <pc:docMk/>
            <pc:sldMk cId="246696543" sldId="10470"/>
            <ac:spMk id="116" creationId="{D12CBC38-01FD-43CD-9717-BA62835105E9}"/>
          </ac:spMkLst>
        </pc:spChg>
      </pc:sldChg>
      <pc:sldChg chg="addSp delSp modSp add mod">
        <pc:chgData name="Jean QUENTIN" userId="6962deb3-b639-4acd-8091-a0516ea2376b" providerId="ADAL" clId="{146BD8F6-FDDD-49D3-A1A6-146C954086FF}" dt="2021-05-25T08:20:16.349" v="12603" actId="1076"/>
        <pc:sldMkLst>
          <pc:docMk/>
          <pc:sldMk cId="3771311343" sldId="10471"/>
        </pc:sldMkLst>
        <pc:spChg chg="del mod">
          <ac:chgData name="Jean QUENTIN" userId="6962deb3-b639-4acd-8091-a0516ea2376b" providerId="ADAL" clId="{146BD8F6-FDDD-49D3-A1A6-146C954086FF}" dt="2021-05-24T15:43:22.421" v="11089" actId="478"/>
          <ac:spMkLst>
            <pc:docMk/>
            <pc:sldMk cId="3771311343" sldId="10471"/>
            <ac:spMk id="2" creationId="{14A63442-DA54-42D4-87F0-BDCB096140AA}"/>
          </ac:spMkLst>
        </pc:spChg>
        <pc:spChg chg="mod">
          <ac:chgData name="Jean QUENTIN" userId="6962deb3-b639-4acd-8091-a0516ea2376b" providerId="ADAL" clId="{146BD8F6-FDDD-49D3-A1A6-146C954086FF}" dt="2021-05-24T15:42:35.620" v="11076" actId="552"/>
          <ac:spMkLst>
            <pc:docMk/>
            <pc:sldMk cId="3771311343" sldId="10471"/>
            <ac:spMk id="3" creationId="{BF7EC08C-D333-4AEB-BF4D-1846F2A4EA5F}"/>
          </ac:spMkLst>
        </pc:spChg>
        <pc:spChg chg="add del mod">
          <ac:chgData name="Jean QUENTIN" userId="6962deb3-b639-4acd-8091-a0516ea2376b" providerId="ADAL" clId="{146BD8F6-FDDD-49D3-A1A6-146C954086FF}" dt="2021-05-24T15:02:05.041" v="11066" actId="164"/>
          <ac:spMkLst>
            <pc:docMk/>
            <pc:sldMk cId="3771311343" sldId="10471"/>
            <ac:spMk id="4" creationId="{F56E6202-8C73-436F-ABC3-79B9E1D041C9}"/>
          </ac:spMkLst>
        </pc:spChg>
        <pc:spChg chg="del mod">
          <ac:chgData name="Jean QUENTIN" userId="6962deb3-b639-4acd-8091-a0516ea2376b" providerId="ADAL" clId="{146BD8F6-FDDD-49D3-A1A6-146C954086FF}" dt="2021-05-24T12:50:28.510" v="1967" actId="478"/>
          <ac:spMkLst>
            <pc:docMk/>
            <pc:sldMk cId="3771311343" sldId="10471"/>
            <ac:spMk id="5" creationId="{062D9E47-1B5D-4E63-B232-3FFAF96752C6}"/>
          </ac:spMkLst>
        </pc:spChg>
        <pc:spChg chg="add mod">
          <ac:chgData name="Jean QUENTIN" userId="6962deb3-b639-4acd-8091-a0516ea2376b" providerId="ADAL" clId="{146BD8F6-FDDD-49D3-A1A6-146C954086FF}" dt="2021-05-25T08:20:16.349" v="12603" actId="1076"/>
          <ac:spMkLst>
            <pc:docMk/>
            <pc:sldMk cId="3771311343" sldId="10471"/>
            <ac:spMk id="5" creationId="{C8A4A222-42CB-4AE9-9CCE-1E65EEBAD3E3}"/>
          </ac:spMkLst>
        </pc:spChg>
        <pc:spChg chg="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6" creationId="{110A874B-EC60-403B-9F7A-7B875833955F}"/>
          </ac:spMkLst>
        </pc:spChg>
        <pc:spChg chg="add mod">
          <ac:chgData name="Jean QUENTIN" userId="6962deb3-b639-4acd-8091-a0516ea2376b" providerId="ADAL" clId="{146BD8F6-FDDD-49D3-A1A6-146C954086FF}" dt="2021-05-24T13:36:22.249" v="6062" actId="790"/>
          <ac:spMkLst>
            <pc:docMk/>
            <pc:sldMk cId="3771311343" sldId="10471"/>
            <ac:spMk id="7" creationId="{89660A66-5421-4DE8-A82F-E1A343298E85}"/>
          </ac:spMkLst>
        </pc:spChg>
        <pc:spChg chg="add del mod">
          <ac:chgData name="Jean QUENTIN" userId="6962deb3-b639-4acd-8091-a0516ea2376b" providerId="ADAL" clId="{146BD8F6-FDDD-49D3-A1A6-146C954086FF}" dt="2021-05-24T15:43:23.653" v="11090" actId="478"/>
          <ac:spMkLst>
            <pc:docMk/>
            <pc:sldMk cId="3771311343" sldId="10471"/>
            <ac:spMk id="8" creationId="{8D931553-B0B7-4B44-9ABC-382F480B0E97}"/>
          </ac:spMkLst>
        </pc:spChg>
        <pc:spChg chg="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8" creationId="{A527E1BD-D275-48D5-8026-6D440A8D3ABC}"/>
          </ac:spMkLst>
        </pc:spChg>
        <pc:spChg chg="del mod">
          <ac:chgData name="Jean QUENTIN" userId="6962deb3-b639-4acd-8091-a0516ea2376b" providerId="ADAL" clId="{146BD8F6-FDDD-49D3-A1A6-146C954086FF}" dt="2021-05-24T12:43:13.207" v="1729" actId="478"/>
          <ac:spMkLst>
            <pc:docMk/>
            <pc:sldMk cId="3771311343" sldId="10471"/>
            <ac:spMk id="9" creationId="{98916DF8-CB6B-4AC3-A0AB-53D2C4E7B19E}"/>
          </ac:spMkLst>
        </pc:spChg>
        <pc:spChg chg="del">
          <ac:chgData name="Jean QUENTIN" userId="6962deb3-b639-4acd-8091-a0516ea2376b" providerId="ADAL" clId="{146BD8F6-FDDD-49D3-A1A6-146C954086FF}" dt="2021-05-24T12:43:22.349" v="1731" actId="478"/>
          <ac:spMkLst>
            <pc:docMk/>
            <pc:sldMk cId="3771311343" sldId="10471"/>
            <ac:spMk id="10" creationId="{19E21063-8686-4D83-882C-7E89BFF4AC81}"/>
          </ac:spMkLst>
        </pc:spChg>
        <pc:spChg chg="del mod">
          <ac:chgData name="Jean QUENTIN" userId="6962deb3-b639-4acd-8091-a0516ea2376b" providerId="ADAL" clId="{146BD8F6-FDDD-49D3-A1A6-146C954086FF}" dt="2021-05-24T13:24:09.991" v="3163" actId="478"/>
          <ac:spMkLst>
            <pc:docMk/>
            <pc:sldMk cId="3771311343" sldId="10471"/>
            <ac:spMk id="11" creationId="{18805FDC-74C7-43D8-8ACA-33F6117CE592}"/>
          </ac:spMkLst>
        </pc:spChg>
        <pc:spChg chg="del mod">
          <ac:chgData name="Jean QUENTIN" userId="6962deb3-b639-4acd-8091-a0516ea2376b" providerId="ADAL" clId="{146BD8F6-FDDD-49D3-A1A6-146C954086FF}" dt="2021-05-24T13:05:27.981" v="2613" actId="478"/>
          <ac:spMkLst>
            <pc:docMk/>
            <pc:sldMk cId="3771311343" sldId="10471"/>
            <ac:spMk id="17" creationId="{EF18347E-77C7-48E0-8B80-561988C5A974}"/>
          </ac:spMkLst>
        </pc:spChg>
        <pc:spChg chg="del">
          <ac:chgData name="Jean QUENTIN" userId="6962deb3-b639-4acd-8091-a0516ea2376b" providerId="ADAL" clId="{146BD8F6-FDDD-49D3-A1A6-146C954086FF}" dt="2021-05-24T13:05:25.289" v="2611" actId="478"/>
          <ac:spMkLst>
            <pc:docMk/>
            <pc:sldMk cId="3771311343" sldId="10471"/>
            <ac:spMk id="18" creationId="{92AFF349-0A89-40E6-B5EA-471CA15D5593}"/>
          </ac:spMkLst>
        </pc:spChg>
        <pc:spChg chg="del">
          <ac:chgData name="Jean QUENTIN" userId="6962deb3-b639-4acd-8091-a0516ea2376b" providerId="ADAL" clId="{146BD8F6-FDDD-49D3-A1A6-146C954086FF}" dt="2021-05-24T13:05:26.154" v="2612" actId="478"/>
          <ac:spMkLst>
            <pc:docMk/>
            <pc:sldMk cId="3771311343" sldId="10471"/>
            <ac:spMk id="19" creationId="{86B138A1-42E1-41D3-80A9-C19762ACEAD5}"/>
          </ac:spMkLst>
        </pc:spChg>
        <pc:spChg chg="del mod">
          <ac:chgData name="Jean QUENTIN" userId="6962deb3-b639-4acd-8091-a0516ea2376b" providerId="ADAL" clId="{146BD8F6-FDDD-49D3-A1A6-146C954086FF}" dt="2021-05-24T13:23:54.209" v="3145" actId="478"/>
          <ac:spMkLst>
            <pc:docMk/>
            <pc:sldMk cId="3771311343" sldId="10471"/>
            <ac:spMk id="20" creationId="{B2A9FF67-9BCC-41A9-900E-B74C915E1F29}"/>
          </ac:spMkLst>
        </pc:spChg>
        <pc:spChg chg="del mod">
          <ac:chgData name="Jean QUENTIN" userId="6962deb3-b639-4acd-8091-a0516ea2376b" providerId="ADAL" clId="{146BD8F6-FDDD-49D3-A1A6-146C954086FF}" dt="2021-05-24T15:20:35.307" v="11070" actId="478"/>
          <ac:spMkLst>
            <pc:docMk/>
            <pc:sldMk cId="3771311343" sldId="10471"/>
            <ac:spMk id="21" creationId="{39734C71-5A2B-4002-B42A-1A9D0CD5052A}"/>
          </ac:spMkLst>
        </pc:spChg>
        <pc:spChg chg="del mod">
          <ac:chgData name="Jean QUENTIN" userId="6962deb3-b639-4acd-8091-a0516ea2376b" providerId="ADAL" clId="{146BD8F6-FDDD-49D3-A1A6-146C954086FF}" dt="2021-05-24T13:50:22.267" v="8162" actId="478"/>
          <ac:spMkLst>
            <pc:docMk/>
            <pc:sldMk cId="3771311343" sldId="10471"/>
            <ac:spMk id="22" creationId="{C886B5AE-60E8-422E-A457-ADDF0349946C}"/>
          </ac:spMkLst>
        </pc:spChg>
        <pc:spChg chg="del">
          <ac:chgData name="Jean QUENTIN" userId="6962deb3-b639-4acd-8091-a0516ea2376b" providerId="ADAL" clId="{146BD8F6-FDDD-49D3-A1A6-146C954086FF}" dt="2021-05-24T13:05:35.099" v="2615" actId="478"/>
          <ac:spMkLst>
            <pc:docMk/>
            <pc:sldMk cId="3771311343" sldId="10471"/>
            <ac:spMk id="23" creationId="{4D4C3E4F-C319-443C-8514-E5243EAF5B35}"/>
          </ac:spMkLst>
        </pc:spChg>
        <pc:spChg chg="del">
          <ac:chgData name="Jean QUENTIN" userId="6962deb3-b639-4acd-8091-a0516ea2376b" providerId="ADAL" clId="{146BD8F6-FDDD-49D3-A1A6-146C954086FF}" dt="2021-05-24T13:05:35.099" v="2615" actId="478"/>
          <ac:spMkLst>
            <pc:docMk/>
            <pc:sldMk cId="3771311343" sldId="10471"/>
            <ac:spMk id="24" creationId="{BB734D98-2942-4212-B7CA-588E38DF9301}"/>
          </ac:spMkLst>
        </pc:spChg>
        <pc:spChg chg="add del mod">
          <ac:chgData name="Jean QUENTIN" userId="6962deb3-b639-4acd-8091-a0516ea2376b" providerId="ADAL" clId="{146BD8F6-FDDD-49D3-A1A6-146C954086FF}" dt="2021-05-24T13:50:24.656" v="8164" actId="478"/>
          <ac:spMkLst>
            <pc:docMk/>
            <pc:sldMk cId="3771311343" sldId="10471"/>
            <ac:spMk id="30" creationId="{843BF480-0D0C-4000-84A1-48EDB48A41DE}"/>
          </ac:spMkLst>
        </pc:spChg>
        <pc:spChg chg="add mod">
          <ac:chgData name="Jean QUENTIN" userId="6962deb3-b639-4acd-8091-a0516ea2376b" providerId="ADAL" clId="{146BD8F6-FDDD-49D3-A1A6-146C954086FF}" dt="2021-05-24T16:04:45.904" v="12207" actId="20577"/>
          <ac:spMkLst>
            <pc:docMk/>
            <pc:sldMk cId="3771311343" sldId="10471"/>
            <ac:spMk id="31" creationId="{6833583F-9417-4D83-8D65-EB5BC3514609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32" creationId="{00B39CA2-588B-4B0A-8C77-5AADAD03A1AC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33" creationId="{46B08F0B-B463-4A15-AF05-CC5DC48B329E}"/>
          </ac:spMkLst>
        </pc:spChg>
        <pc:spChg chg="add del mod">
          <ac:chgData name="Jean QUENTIN" userId="6962deb3-b639-4acd-8091-a0516ea2376b" providerId="ADAL" clId="{146BD8F6-FDDD-49D3-A1A6-146C954086FF}" dt="2021-05-24T12:35:14.205" v="1542" actId="478"/>
          <ac:spMkLst>
            <pc:docMk/>
            <pc:sldMk cId="3771311343" sldId="10471"/>
            <ac:spMk id="34" creationId="{21248535-BDB0-45C0-92F5-44269BF28CB8}"/>
          </ac:spMkLst>
        </pc:spChg>
        <pc:spChg chg="mod">
          <ac:chgData name="Jean QUENTIN" userId="6962deb3-b639-4acd-8091-a0516ea2376b" providerId="ADAL" clId="{146BD8F6-FDDD-49D3-A1A6-146C954086FF}" dt="2021-05-24T15:02:18.015" v="11068" actId="1076"/>
          <ac:spMkLst>
            <pc:docMk/>
            <pc:sldMk cId="3771311343" sldId="10471"/>
            <ac:spMk id="35" creationId="{493BB09C-FA45-4A0B-AA09-A4CAEE243AD5}"/>
          </ac:spMkLst>
        </pc:spChg>
        <pc:spChg chg="mod">
          <ac:chgData name="Jean QUENTIN" userId="6962deb3-b639-4acd-8091-a0516ea2376b" providerId="ADAL" clId="{146BD8F6-FDDD-49D3-A1A6-146C954086FF}" dt="2021-05-24T13:36:22.164" v="5999" actId="790"/>
          <ac:spMkLst>
            <pc:docMk/>
            <pc:sldMk cId="3771311343" sldId="10471"/>
            <ac:spMk id="36" creationId="{82BB232E-7B26-4AB7-A3CB-DB98A135B993}"/>
          </ac:spMkLst>
        </pc:spChg>
        <pc:spChg chg="mod">
          <ac:chgData name="Jean QUENTIN" userId="6962deb3-b639-4acd-8091-a0516ea2376b" providerId="ADAL" clId="{146BD8F6-FDDD-49D3-A1A6-146C954086FF}" dt="2021-05-24T13:36:22.164" v="6000" actId="790"/>
          <ac:spMkLst>
            <pc:docMk/>
            <pc:sldMk cId="3771311343" sldId="10471"/>
            <ac:spMk id="37" creationId="{0A8E0738-A8AF-4249-931D-47A14D3A91FD}"/>
          </ac:spMkLst>
        </pc:spChg>
        <pc:spChg chg="mod">
          <ac:chgData name="Jean QUENTIN" userId="6962deb3-b639-4acd-8091-a0516ea2376b" providerId="ADAL" clId="{146BD8F6-FDDD-49D3-A1A6-146C954086FF}" dt="2021-05-24T13:36:22.164" v="6001" actId="790"/>
          <ac:spMkLst>
            <pc:docMk/>
            <pc:sldMk cId="3771311343" sldId="10471"/>
            <ac:spMk id="38" creationId="{4CDFF166-E028-475A-AD25-5778BC8A48AD}"/>
          </ac:spMkLst>
        </pc:spChg>
        <pc:spChg chg="mod">
          <ac:chgData name="Jean QUENTIN" userId="6962deb3-b639-4acd-8091-a0516ea2376b" providerId="ADAL" clId="{146BD8F6-FDDD-49D3-A1A6-146C954086FF}" dt="2021-05-24T13:36:22.164" v="6002" actId="790"/>
          <ac:spMkLst>
            <pc:docMk/>
            <pc:sldMk cId="3771311343" sldId="10471"/>
            <ac:spMk id="39" creationId="{11051FB9-3465-42B5-8D5F-7222DC80BBD1}"/>
          </ac:spMkLst>
        </pc:spChg>
        <pc:spChg chg="mod">
          <ac:chgData name="Jean QUENTIN" userId="6962deb3-b639-4acd-8091-a0516ea2376b" providerId="ADAL" clId="{146BD8F6-FDDD-49D3-A1A6-146C954086FF}" dt="2021-05-24T13:36:22.171" v="6003" actId="790"/>
          <ac:spMkLst>
            <pc:docMk/>
            <pc:sldMk cId="3771311343" sldId="10471"/>
            <ac:spMk id="40" creationId="{85C2A5DC-8C64-4584-B35B-F94DDFB84C96}"/>
          </ac:spMkLst>
        </pc:spChg>
        <pc:spChg chg="mod">
          <ac:chgData name="Jean QUENTIN" userId="6962deb3-b639-4acd-8091-a0516ea2376b" providerId="ADAL" clId="{146BD8F6-FDDD-49D3-A1A6-146C954086FF}" dt="2021-05-24T13:36:22.171" v="6004" actId="790"/>
          <ac:spMkLst>
            <pc:docMk/>
            <pc:sldMk cId="3771311343" sldId="10471"/>
            <ac:spMk id="41" creationId="{09DBE724-EE52-4B0F-A5AF-95D28BC90FAF}"/>
          </ac:spMkLst>
        </pc:spChg>
        <pc:spChg chg="mod">
          <ac:chgData name="Jean QUENTIN" userId="6962deb3-b639-4acd-8091-a0516ea2376b" providerId="ADAL" clId="{146BD8F6-FDDD-49D3-A1A6-146C954086FF}" dt="2021-05-24T13:36:22.171" v="6005" actId="790"/>
          <ac:spMkLst>
            <pc:docMk/>
            <pc:sldMk cId="3771311343" sldId="10471"/>
            <ac:spMk id="42" creationId="{73115DBD-DBEB-484B-B0DA-E3BAE64BC68C}"/>
          </ac:spMkLst>
        </pc:spChg>
        <pc:spChg chg="mod">
          <ac:chgData name="Jean QUENTIN" userId="6962deb3-b639-4acd-8091-a0516ea2376b" providerId="ADAL" clId="{146BD8F6-FDDD-49D3-A1A6-146C954086FF}" dt="2021-05-24T13:36:22.171" v="6006" actId="790"/>
          <ac:spMkLst>
            <pc:docMk/>
            <pc:sldMk cId="3771311343" sldId="10471"/>
            <ac:spMk id="43" creationId="{23DA9231-68E2-44FA-AFE3-79BB76D9E58E}"/>
          </ac:spMkLst>
        </pc:spChg>
        <pc:spChg chg="mod">
          <ac:chgData name="Jean QUENTIN" userId="6962deb3-b639-4acd-8091-a0516ea2376b" providerId="ADAL" clId="{146BD8F6-FDDD-49D3-A1A6-146C954086FF}" dt="2021-05-24T13:36:22.171" v="6007" actId="790"/>
          <ac:spMkLst>
            <pc:docMk/>
            <pc:sldMk cId="3771311343" sldId="10471"/>
            <ac:spMk id="44" creationId="{8FA4736D-A144-4C84-9A93-62623A4348D6}"/>
          </ac:spMkLst>
        </pc:spChg>
        <pc:spChg chg="add del mod">
          <ac:chgData name="Jean QUENTIN" userId="6962deb3-b639-4acd-8091-a0516ea2376b" providerId="ADAL" clId="{146BD8F6-FDDD-49D3-A1A6-146C954086FF}" dt="2021-05-24T12:35:12.785" v="1541" actId="478"/>
          <ac:spMkLst>
            <pc:docMk/>
            <pc:sldMk cId="3771311343" sldId="10471"/>
            <ac:spMk id="45" creationId="{596BDC4C-A206-4C28-8D7A-DECC4C353702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46" creationId="{0B3B87BF-BCE3-4B83-868D-AEAD47D03E7D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47" creationId="{E0184431-8B2A-48DD-A78F-EB57EDCDA1B2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48" creationId="{4238E925-1AEC-413E-A8E2-9713E7156FEA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49" creationId="{E983681E-9E3D-4DEF-A6C0-0919B3D1421A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50" creationId="{93FBD975-EA94-43F8-BAC7-4D3BB1BB782D}"/>
          </ac:spMkLst>
        </pc:spChg>
        <pc:spChg chg="add del mod">
          <ac:chgData name="Jean QUENTIN" userId="6962deb3-b639-4acd-8091-a0516ea2376b" providerId="ADAL" clId="{146BD8F6-FDDD-49D3-A1A6-146C954086FF}" dt="2021-05-24T12:58:58.793" v="2383" actId="478"/>
          <ac:spMkLst>
            <pc:docMk/>
            <pc:sldMk cId="3771311343" sldId="10471"/>
            <ac:spMk id="51" creationId="{7C95CC48-1B90-4AA8-8BCB-874AF1234765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2" creationId="{541AAB87-BA23-4607-852B-CA863228668C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3" creationId="{B966E38B-6B2D-4DBB-8E17-70794D90DF3F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4" creationId="{DF24067F-749C-4CAD-8FA0-9E7F73EF7D0B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5" creationId="{FBDCE91F-5719-4176-89A5-35B13F782341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6" creationId="{ECE37208-080B-4C7B-A7BD-61069013EBD0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7" creationId="{698D9021-69B4-4E29-BC87-2CE0BB46F326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8" creationId="{1BF7104F-6C0C-4EB3-A72B-1AED2BD1FA9C}"/>
          </ac:spMkLst>
        </pc:spChg>
        <pc:spChg chg="add del mod">
          <ac:chgData name="Jean QUENTIN" userId="6962deb3-b639-4acd-8091-a0516ea2376b" providerId="ADAL" clId="{146BD8F6-FDDD-49D3-A1A6-146C954086FF}" dt="2021-05-24T13:02:24.559" v="2465" actId="478"/>
          <ac:spMkLst>
            <pc:docMk/>
            <pc:sldMk cId="3771311343" sldId="10471"/>
            <ac:spMk id="59" creationId="{09401449-DDB4-421C-8C92-8179130C899A}"/>
          </ac:spMkLst>
        </pc:spChg>
        <pc:spChg chg="add mod">
          <ac:chgData name="Jean QUENTIN" userId="6962deb3-b639-4acd-8091-a0516ea2376b" providerId="ADAL" clId="{146BD8F6-FDDD-49D3-A1A6-146C954086FF}" dt="2021-05-24T12:50:22.666" v="1965" actId="571"/>
          <ac:spMkLst>
            <pc:docMk/>
            <pc:sldMk cId="3771311343" sldId="10471"/>
            <ac:spMk id="60" creationId="{341F285D-35CC-4DB4-9C5B-32F5ED51449A}"/>
          </ac:spMkLst>
        </pc:spChg>
        <pc:spChg chg="add mod">
          <ac:chgData name="Jean QUENTIN" userId="6962deb3-b639-4acd-8091-a0516ea2376b" providerId="ADAL" clId="{146BD8F6-FDDD-49D3-A1A6-146C954086FF}" dt="2021-05-24T15:02:05.041" v="11066" actId="164"/>
          <ac:spMkLst>
            <pc:docMk/>
            <pc:sldMk cId="3771311343" sldId="10471"/>
            <ac:spMk id="61" creationId="{429B4092-7068-4B9D-A454-B1CB8E51857A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62" creationId="{C3BC7508-A876-408E-9AA5-D060235200CF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63" creationId="{154F5C8D-107C-461F-8E2E-5C0572ACEA23}"/>
          </ac:spMkLst>
        </pc:spChg>
        <pc:spChg chg="add del mod">
          <ac:chgData name="Jean QUENTIN" userId="6962deb3-b639-4acd-8091-a0516ea2376b" providerId="ADAL" clId="{146BD8F6-FDDD-49D3-A1A6-146C954086FF}" dt="2021-05-24T12:56:38.669" v="2147" actId="478"/>
          <ac:spMkLst>
            <pc:docMk/>
            <pc:sldMk cId="3771311343" sldId="10471"/>
            <ac:spMk id="64" creationId="{6E4F6764-5131-4A26-88BF-833E1A7A2D78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65" creationId="{DAEC1D80-2DE8-42A1-B27A-ED68DD00D80A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66" creationId="{549CB0F9-0921-4F83-8BE1-33B1376C70AD}"/>
          </ac:spMkLst>
        </pc:spChg>
        <pc:spChg chg="add del mod">
          <ac:chgData name="Jean QUENTIN" userId="6962deb3-b639-4acd-8091-a0516ea2376b" providerId="ADAL" clId="{146BD8F6-FDDD-49D3-A1A6-146C954086FF}" dt="2021-05-24T12:56:22.619" v="2144" actId="478"/>
          <ac:spMkLst>
            <pc:docMk/>
            <pc:sldMk cId="3771311343" sldId="10471"/>
            <ac:spMk id="67" creationId="{A0035708-F3AF-425A-982A-6A2375B6D33C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68" creationId="{BC6C384D-6D48-4F72-9CCC-A3090247DEF3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69" creationId="{3D97D249-03E2-45B9-9843-9C134F3CD172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70" creationId="{ED1757FD-82F7-4472-914B-403DC08243D6}"/>
          </ac:spMkLst>
        </pc:spChg>
        <pc:spChg chg="add mod">
          <ac:chgData name="Jean QUENTIN" userId="6962deb3-b639-4acd-8091-a0516ea2376b" providerId="ADAL" clId="{146BD8F6-FDDD-49D3-A1A6-146C954086FF}" dt="2021-05-24T15:02:00.279" v="11065" actId="164"/>
          <ac:spMkLst>
            <pc:docMk/>
            <pc:sldMk cId="3771311343" sldId="10471"/>
            <ac:spMk id="71" creationId="{97222C63-D3F5-4F71-B21E-5ADF2F49728A}"/>
          </ac:spMkLst>
        </pc:spChg>
        <pc:spChg chg="add del mod">
          <ac:chgData name="Jean QUENTIN" userId="6962deb3-b639-4acd-8091-a0516ea2376b" providerId="ADAL" clId="{146BD8F6-FDDD-49D3-A1A6-146C954086FF}" dt="2021-05-24T13:01:17.589" v="2431" actId="478"/>
          <ac:spMkLst>
            <pc:docMk/>
            <pc:sldMk cId="3771311343" sldId="10471"/>
            <ac:spMk id="72" creationId="{317C91AD-AC8C-4312-8314-C4DA3DD2FCA8}"/>
          </ac:spMkLst>
        </pc:spChg>
        <pc:spChg chg="add del mod">
          <ac:chgData name="Jean QUENTIN" userId="6962deb3-b639-4acd-8091-a0516ea2376b" providerId="ADAL" clId="{146BD8F6-FDDD-49D3-A1A6-146C954086FF}" dt="2021-05-24T12:59:42.162" v="2397" actId="478"/>
          <ac:spMkLst>
            <pc:docMk/>
            <pc:sldMk cId="3771311343" sldId="10471"/>
            <ac:spMk id="73" creationId="{EEAE5B47-89F4-4724-BAAA-BDCAEFA9FFB1}"/>
          </ac:spMkLst>
        </pc:spChg>
        <pc:spChg chg="add mod">
          <ac:chgData name="Jean QUENTIN" userId="6962deb3-b639-4acd-8091-a0516ea2376b" providerId="ADAL" clId="{146BD8F6-FDDD-49D3-A1A6-146C954086FF}" dt="2021-05-24T16:10:59.238" v="12335" actId="1036"/>
          <ac:spMkLst>
            <pc:docMk/>
            <pc:sldMk cId="3771311343" sldId="10471"/>
            <ac:spMk id="74" creationId="{07A4452F-EC98-4B4B-AF01-D6E89D1240D3}"/>
          </ac:spMkLst>
        </pc:spChg>
        <pc:spChg chg="add mod">
          <ac:chgData name="Jean QUENTIN" userId="6962deb3-b639-4acd-8091-a0516ea2376b" providerId="ADAL" clId="{146BD8F6-FDDD-49D3-A1A6-146C954086FF}" dt="2021-05-24T14:03:55.452" v="9698" actId="1076"/>
          <ac:spMkLst>
            <pc:docMk/>
            <pc:sldMk cId="3771311343" sldId="10471"/>
            <ac:spMk id="75" creationId="{57FC6978-2605-4AF6-BAA6-DB007EC0B10A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76" creationId="{0A3CF6D6-7088-4920-AF3E-0D0741F0F23E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77" creationId="{A2E2BC62-06DA-4706-82FF-CF5898E7E262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78" creationId="{AF2ED979-28A3-47FD-9D5C-05966D547FA8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79" creationId="{B4BC078D-F833-4F30-B841-7DBAC8235E74}"/>
          </ac:spMkLst>
        </pc:spChg>
        <pc:spChg chg="add del mod">
          <ac:chgData name="Jean QUENTIN" userId="6962deb3-b639-4acd-8091-a0516ea2376b" providerId="ADAL" clId="{146BD8F6-FDDD-49D3-A1A6-146C954086FF}" dt="2021-05-24T13:04:55.654" v="2602" actId="478"/>
          <ac:spMkLst>
            <pc:docMk/>
            <pc:sldMk cId="3771311343" sldId="10471"/>
            <ac:spMk id="80" creationId="{907768C6-5510-4AA5-ACA3-3C81EF2D0EC7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1" creationId="{E3368209-E51C-4FDC-8226-111F58B81E68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2" creationId="{BF504EF6-7EE7-42E4-AB92-DC3A22A2B846}"/>
          </ac:spMkLst>
        </pc:spChg>
        <pc:spChg chg="add mod">
          <ac:chgData name="Jean QUENTIN" userId="6962deb3-b639-4acd-8091-a0516ea2376b" providerId="ADAL" clId="{146BD8F6-FDDD-49D3-A1A6-146C954086FF}" dt="2021-05-24T14:03:55.452" v="9698" actId="1076"/>
          <ac:spMkLst>
            <pc:docMk/>
            <pc:sldMk cId="3771311343" sldId="10471"/>
            <ac:spMk id="82" creationId="{F4E4B764-4651-4F52-BF5F-76CA304A2CB1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3" creationId="{759569E0-DD8F-4F40-9BA8-514DE9045F19}"/>
          </ac:spMkLst>
        </pc:spChg>
        <pc:spChg chg="add mod">
          <ac:chgData name="Jean QUENTIN" userId="6962deb3-b639-4acd-8091-a0516ea2376b" providerId="ADAL" clId="{146BD8F6-FDDD-49D3-A1A6-146C954086FF}" dt="2021-05-24T14:18:56.317" v="9793" actId="14100"/>
          <ac:spMkLst>
            <pc:docMk/>
            <pc:sldMk cId="3771311343" sldId="10471"/>
            <ac:spMk id="83" creationId="{D51A1D5E-455C-4169-8151-BC965C55A728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4" creationId="{DE286E03-0361-4981-9A54-F396067AEC18}"/>
          </ac:spMkLst>
        </pc:spChg>
        <pc:spChg chg="add del mod">
          <ac:chgData name="Jean QUENTIN" userId="6962deb3-b639-4acd-8091-a0516ea2376b" providerId="ADAL" clId="{146BD8F6-FDDD-49D3-A1A6-146C954086FF}" dt="2021-05-24T13:25:04.727" v="3176" actId="478"/>
          <ac:spMkLst>
            <pc:docMk/>
            <pc:sldMk cId="3771311343" sldId="10471"/>
            <ac:spMk id="84" creationId="{E566BDA8-E5ED-407D-BEE6-58DF48C08EA2}"/>
          </ac:spMkLst>
        </pc:spChg>
        <pc:spChg chg="add mod">
          <ac:chgData name="Jean QUENTIN" userId="6962deb3-b639-4acd-8091-a0516ea2376b" providerId="ADAL" clId="{146BD8F6-FDDD-49D3-A1A6-146C954086FF}" dt="2021-05-24T14:28:13.751" v="10393"/>
          <ac:spMkLst>
            <pc:docMk/>
            <pc:sldMk cId="3771311343" sldId="10471"/>
            <ac:spMk id="85" creationId="{D05E3B6F-2AF2-44E5-9A62-A145B4EF039C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5" creationId="{D68A1A6E-20F4-4361-961B-0D24B2F1EC04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6" creationId="{54C12A25-7FF7-4BC3-AA81-C73CE5A80787}"/>
          </ac:spMkLst>
        </pc:spChg>
        <pc:spChg chg="add mod">
          <ac:chgData name="Jean QUENTIN" userId="6962deb3-b639-4acd-8091-a0516ea2376b" providerId="ADAL" clId="{146BD8F6-FDDD-49D3-A1A6-146C954086FF}" dt="2021-05-24T14:25:35.644" v="10195" actId="20577"/>
          <ac:spMkLst>
            <pc:docMk/>
            <pc:sldMk cId="3771311343" sldId="10471"/>
            <ac:spMk id="86" creationId="{70006939-4845-44E0-8FFF-B0057E2B3972}"/>
          </ac:spMkLst>
        </pc:spChg>
        <pc:spChg chg="add mod">
          <ac:chgData name="Jean QUENTIN" userId="6962deb3-b639-4acd-8091-a0516ea2376b" providerId="ADAL" clId="{146BD8F6-FDDD-49D3-A1A6-146C954086FF}" dt="2021-05-24T14:23:28.071" v="9950" actId="20577"/>
          <ac:spMkLst>
            <pc:docMk/>
            <pc:sldMk cId="3771311343" sldId="10471"/>
            <ac:spMk id="87" creationId="{470D8735-5753-40CE-B606-8B4E451A1A36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7" creationId="{DE2CA960-E221-4953-A746-6046184AC1C2}"/>
          </ac:spMkLst>
        </pc:spChg>
        <pc:spChg chg="add mod">
          <ac:chgData name="Jean QUENTIN" userId="6962deb3-b639-4acd-8091-a0516ea2376b" providerId="ADAL" clId="{146BD8F6-FDDD-49D3-A1A6-146C954086FF}" dt="2021-05-24T13:38:58.795" v="6985" actId="20577"/>
          <ac:spMkLst>
            <pc:docMk/>
            <pc:sldMk cId="3771311343" sldId="10471"/>
            <ac:spMk id="88" creationId="{413CE789-E0ED-4212-82D0-2EAD3CD13AD7}"/>
          </ac:spMkLst>
        </pc:spChg>
        <pc:spChg chg="add mod">
          <ac:chgData name="Jean QUENTIN" userId="6962deb3-b639-4acd-8091-a0516ea2376b" providerId="ADAL" clId="{146BD8F6-FDDD-49D3-A1A6-146C954086FF}" dt="2021-05-24T13:05:15.580" v="2608" actId="571"/>
          <ac:spMkLst>
            <pc:docMk/>
            <pc:sldMk cId="3771311343" sldId="10471"/>
            <ac:spMk id="88" creationId="{C6BF081D-F840-44FB-9E4F-40B3D3AB0F27}"/>
          </ac:spMkLst>
        </pc:spChg>
        <pc:spChg chg="add mod">
          <ac:chgData name="Jean QUENTIN" userId="6962deb3-b639-4acd-8091-a0516ea2376b" providerId="ADAL" clId="{146BD8F6-FDDD-49D3-A1A6-146C954086FF}" dt="2021-05-24T14:14:58.459" v="9749" actId="408"/>
          <ac:spMkLst>
            <pc:docMk/>
            <pc:sldMk cId="3771311343" sldId="10471"/>
            <ac:spMk id="89" creationId="{28AF8B66-2A65-4362-87E5-B0E235F35B9D}"/>
          </ac:spMkLst>
        </pc:spChg>
        <pc:spChg chg="add mod">
          <ac:chgData name="Jean QUENTIN" userId="6962deb3-b639-4acd-8091-a0516ea2376b" providerId="ADAL" clId="{146BD8F6-FDDD-49D3-A1A6-146C954086FF}" dt="2021-05-24T13:33:39.377" v="3335" actId="571"/>
          <ac:spMkLst>
            <pc:docMk/>
            <pc:sldMk cId="3771311343" sldId="10471"/>
            <ac:spMk id="89" creationId="{963E0510-F4B0-466C-B3BC-410DABE49779}"/>
          </ac:spMkLst>
        </pc:spChg>
        <pc:spChg chg="add del mod">
          <ac:chgData name="Jean QUENTIN" userId="6962deb3-b639-4acd-8091-a0516ea2376b" providerId="ADAL" clId="{146BD8F6-FDDD-49D3-A1A6-146C954086FF}" dt="2021-05-24T13:08:28.906" v="2649" actId="21"/>
          <ac:spMkLst>
            <pc:docMk/>
            <pc:sldMk cId="3771311343" sldId="10471"/>
            <ac:spMk id="89" creationId="{D34DE798-7E1B-40AE-A771-2013A1DDEA14}"/>
          </ac:spMkLst>
        </pc:spChg>
        <pc:spChg chg="add mod">
          <ac:chgData name="Jean QUENTIN" userId="6962deb3-b639-4acd-8091-a0516ea2376b" providerId="ADAL" clId="{146BD8F6-FDDD-49D3-A1A6-146C954086FF}" dt="2021-05-24T14:15:36.105" v="9753" actId="1076"/>
          <ac:spMkLst>
            <pc:docMk/>
            <pc:sldMk cId="3771311343" sldId="10471"/>
            <ac:spMk id="90" creationId="{41881290-9A30-4E7A-9BC1-876CB1F8A385}"/>
          </ac:spMkLst>
        </pc:spChg>
        <pc:spChg chg="add mod">
          <ac:chgData name="Jean QUENTIN" userId="6962deb3-b639-4acd-8091-a0516ea2376b" providerId="ADAL" clId="{146BD8F6-FDDD-49D3-A1A6-146C954086FF}" dt="2021-05-24T14:15:36.105" v="9753" actId="1076"/>
          <ac:spMkLst>
            <pc:docMk/>
            <pc:sldMk cId="3771311343" sldId="10471"/>
            <ac:spMk id="91" creationId="{B12DC479-034F-454F-AAA8-8EF5CFD02807}"/>
          </ac:spMkLst>
        </pc:spChg>
        <pc:spChg chg="add mod">
          <ac:chgData name="Jean QUENTIN" userId="6962deb3-b639-4acd-8091-a0516ea2376b" providerId="ADAL" clId="{146BD8F6-FDDD-49D3-A1A6-146C954086FF}" dt="2021-05-24T14:15:36.105" v="9753" actId="1076"/>
          <ac:spMkLst>
            <pc:docMk/>
            <pc:sldMk cId="3771311343" sldId="10471"/>
            <ac:spMk id="92" creationId="{76A58873-F028-44AD-B036-6014AFE98DAC}"/>
          </ac:spMkLst>
        </pc:spChg>
        <pc:spChg chg="add mod">
          <ac:chgData name="Jean QUENTIN" userId="6962deb3-b639-4acd-8091-a0516ea2376b" providerId="ADAL" clId="{146BD8F6-FDDD-49D3-A1A6-146C954086FF}" dt="2021-05-24T14:12:41.182" v="9729" actId="14100"/>
          <ac:spMkLst>
            <pc:docMk/>
            <pc:sldMk cId="3771311343" sldId="10471"/>
            <ac:spMk id="93" creationId="{3B9743A1-5ED2-4F4C-BB6D-275074013264}"/>
          </ac:spMkLst>
        </pc:spChg>
        <pc:spChg chg="add del mod">
          <ac:chgData name="Jean QUENTIN" userId="6962deb3-b639-4acd-8091-a0516ea2376b" providerId="ADAL" clId="{146BD8F6-FDDD-49D3-A1A6-146C954086FF}" dt="2021-05-24T14:15:41.274" v="9754" actId="478"/>
          <ac:spMkLst>
            <pc:docMk/>
            <pc:sldMk cId="3771311343" sldId="10471"/>
            <ac:spMk id="94" creationId="{3FEAFFD0-8D0B-4827-87BF-96D0F0B12315}"/>
          </ac:spMkLst>
        </pc:spChg>
        <pc:spChg chg="add mod">
          <ac:chgData name="Jean QUENTIN" userId="6962deb3-b639-4acd-8091-a0516ea2376b" providerId="ADAL" clId="{146BD8F6-FDDD-49D3-A1A6-146C954086FF}" dt="2021-05-24T16:06:29.332" v="12330" actId="20577"/>
          <ac:spMkLst>
            <pc:docMk/>
            <pc:sldMk cId="3771311343" sldId="10471"/>
            <ac:spMk id="94" creationId="{97DE17B6-9FE7-4223-89B2-30E2BE4EF922}"/>
          </ac:spMkLst>
        </pc:spChg>
        <pc:spChg chg="add mod">
          <ac:chgData name="Jean QUENTIN" userId="6962deb3-b639-4acd-8091-a0516ea2376b" providerId="ADAL" clId="{146BD8F6-FDDD-49D3-A1A6-146C954086FF}" dt="2021-05-24T16:13:52.472" v="12602" actId="20577"/>
          <ac:spMkLst>
            <pc:docMk/>
            <pc:sldMk cId="3771311343" sldId="10471"/>
            <ac:spMk id="95" creationId="{0D1D9248-8345-479A-BED0-F9B1DDFA7876}"/>
          </ac:spMkLst>
        </pc:spChg>
        <pc:spChg chg="add del mod">
          <ac:chgData name="Jean QUENTIN" userId="6962deb3-b639-4acd-8091-a0516ea2376b" providerId="ADAL" clId="{146BD8F6-FDDD-49D3-A1A6-146C954086FF}" dt="2021-05-24T14:15:41.274" v="9754" actId="478"/>
          <ac:spMkLst>
            <pc:docMk/>
            <pc:sldMk cId="3771311343" sldId="10471"/>
            <ac:spMk id="95" creationId="{F75688FB-37E4-49C6-956F-E21CA2DCF83C}"/>
          </ac:spMkLst>
        </pc:spChg>
        <pc:spChg chg="add mod">
          <ac:chgData name="Jean QUENTIN" userId="6962deb3-b639-4acd-8091-a0516ea2376b" providerId="ADAL" clId="{146BD8F6-FDDD-49D3-A1A6-146C954086FF}" dt="2021-05-24T15:46:14.022" v="11436" actId="20577"/>
          <ac:spMkLst>
            <pc:docMk/>
            <pc:sldMk cId="3771311343" sldId="10471"/>
            <ac:spMk id="96" creationId="{D2C43358-406F-4E70-BACB-F67E0A6CC3F2}"/>
          </ac:spMkLst>
        </pc:spChg>
        <pc:spChg chg="add del mod">
          <ac:chgData name="Jean QUENTIN" userId="6962deb3-b639-4acd-8091-a0516ea2376b" providerId="ADAL" clId="{146BD8F6-FDDD-49D3-A1A6-146C954086FF}" dt="2021-05-24T14:15:41.274" v="9754" actId="478"/>
          <ac:spMkLst>
            <pc:docMk/>
            <pc:sldMk cId="3771311343" sldId="10471"/>
            <ac:spMk id="97" creationId="{F976B637-D53A-4965-B924-87B84AE4399F}"/>
          </ac:spMkLst>
        </pc:spChg>
        <pc:spChg chg="add del mod">
          <ac:chgData name="Jean QUENTIN" userId="6962deb3-b639-4acd-8091-a0516ea2376b" providerId="ADAL" clId="{146BD8F6-FDDD-49D3-A1A6-146C954086FF}" dt="2021-05-24T14:16:10.720" v="9760" actId="478"/>
          <ac:spMkLst>
            <pc:docMk/>
            <pc:sldMk cId="3771311343" sldId="10471"/>
            <ac:spMk id="98" creationId="{E907EE73-6933-430B-B3A8-933C5DC880A2}"/>
          </ac:spMkLst>
        </pc:spChg>
        <pc:spChg chg="add del mod">
          <ac:chgData name="Jean QUENTIN" userId="6962deb3-b639-4acd-8091-a0516ea2376b" providerId="ADAL" clId="{146BD8F6-FDDD-49D3-A1A6-146C954086FF}" dt="2021-05-24T14:16:10.720" v="9760" actId="478"/>
          <ac:spMkLst>
            <pc:docMk/>
            <pc:sldMk cId="3771311343" sldId="10471"/>
            <ac:spMk id="99" creationId="{292062D4-44CC-494F-924D-9EB7F1ABEE48}"/>
          </ac:spMkLst>
        </pc:spChg>
        <pc:spChg chg="add del mod">
          <ac:chgData name="Jean QUENTIN" userId="6962deb3-b639-4acd-8091-a0516ea2376b" providerId="ADAL" clId="{146BD8F6-FDDD-49D3-A1A6-146C954086FF}" dt="2021-05-24T14:16:10.720" v="9760" actId="478"/>
          <ac:spMkLst>
            <pc:docMk/>
            <pc:sldMk cId="3771311343" sldId="10471"/>
            <ac:spMk id="100" creationId="{27D33C0D-F509-44D0-BC4D-E2D0EB36EE23}"/>
          </ac:spMkLst>
        </pc:spChg>
        <pc:spChg chg="add mod">
          <ac:chgData name="Jean QUENTIN" userId="6962deb3-b639-4acd-8091-a0516ea2376b" providerId="ADAL" clId="{146BD8F6-FDDD-49D3-A1A6-146C954086FF}" dt="2021-05-24T14:05:32.678" v="9725" actId="14100"/>
          <ac:spMkLst>
            <pc:docMk/>
            <pc:sldMk cId="3771311343" sldId="10471"/>
            <ac:spMk id="101" creationId="{DFEE41A0-0ABE-4979-86BF-6CBC2EF8B814}"/>
          </ac:spMkLst>
        </pc:spChg>
        <pc:spChg chg="add mod">
          <ac:chgData name="Jean QUENTIN" userId="6962deb3-b639-4acd-8091-a0516ea2376b" providerId="ADAL" clId="{146BD8F6-FDDD-49D3-A1A6-146C954086FF}" dt="2021-05-24T14:13:37.960" v="9735" actId="1076"/>
          <ac:spMkLst>
            <pc:docMk/>
            <pc:sldMk cId="3771311343" sldId="10471"/>
            <ac:spMk id="102" creationId="{25D9139B-5EFF-4CE0-B69B-AAFD2CC83680}"/>
          </ac:spMkLst>
        </pc:spChg>
        <pc:spChg chg="add mod">
          <ac:chgData name="Jean QUENTIN" userId="6962deb3-b639-4acd-8091-a0516ea2376b" providerId="ADAL" clId="{146BD8F6-FDDD-49D3-A1A6-146C954086FF}" dt="2021-05-24T14:13:37.960" v="9735" actId="1076"/>
          <ac:spMkLst>
            <pc:docMk/>
            <pc:sldMk cId="3771311343" sldId="10471"/>
            <ac:spMk id="103" creationId="{051E8E28-1C73-41A4-954F-28FCC69F8B3D}"/>
          </ac:spMkLst>
        </pc:spChg>
        <pc:spChg chg="add mod">
          <ac:chgData name="Jean QUENTIN" userId="6962deb3-b639-4acd-8091-a0516ea2376b" providerId="ADAL" clId="{146BD8F6-FDDD-49D3-A1A6-146C954086FF}" dt="2021-05-24T14:13:37.960" v="9735" actId="1076"/>
          <ac:spMkLst>
            <pc:docMk/>
            <pc:sldMk cId="3771311343" sldId="10471"/>
            <ac:spMk id="104" creationId="{BB921A20-15A9-4775-AA42-653C9967308F}"/>
          </ac:spMkLst>
        </pc:spChg>
        <pc:spChg chg="add mod">
          <ac:chgData name="Jean QUENTIN" userId="6962deb3-b639-4acd-8091-a0516ea2376b" providerId="ADAL" clId="{146BD8F6-FDDD-49D3-A1A6-146C954086FF}" dt="2021-05-24T14:14:06.130" v="9740" actId="14100"/>
          <ac:spMkLst>
            <pc:docMk/>
            <pc:sldMk cId="3771311343" sldId="10471"/>
            <ac:spMk id="105" creationId="{0B19B62A-017B-4A18-ACD3-C52265D63A61}"/>
          </ac:spMkLst>
        </pc:spChg>
        <pc:spChg chg="add del mod">
          <ac:chgData name="Jean QUENTIN" userId="6962deb3-b639-4acd-8091-a0516ea2376b" providerId="ADAL" clId="{146BD8F6-FDDD-49D3-A1A6-146C954086FF}" dt="2021-05-24T14:16:39.931" v="9770" actId="478"/>
          <ac:spMkLst>
            <pc:docMk/>
            <pc:sldMk cId="3771311343" sldId="10471"/>
            <ac:spMk id="106" creationId="{ABB7542E-3A61-47FA-AF47-0AE435640317}"/>
          </ac:spMkLst>
        </pc:spChg>
        <pc:spChg chg="add del mod">
          <ac:chgData name="Jean QUENTIN" userId="6962deb3-b639-4acd-8091-a0516ea2376b" providerId="ADAL" clId="{146BD8F6-FDDD-49D3-A1A6-146C954086FF}" dt="2021-05-24T14:16:41.074" v="9771" actId="478"/>
          <ac:spMkLst>
            <pc:docMk/>
            <pc:sldMk cId="3771311343" sldId="10471"/>
            <ac:spMk id="107" creationId="{19F483DC-B174-49B6-8542-E25AE2A094E8}"/>
          </ac:spMkLst>
        </pc:spChg>
        <pc:spChg chg="add mod">
          <ac:chgData name="Jean QUENTIN" userId="6962deb3-b639-4acd-8091-a0516ea2376b" providerId="ADAL" clId="{146BD8F6-FDDD-49D3-A1A6-146C954086FF}" dt="2021-05-24T15:46:18.070" v="11438" actId="20577"/>
          <ac:spMkLst>
            <pc:docMk/>
            <pc:sldMk cId="3771311343" sldId="10471"/>
            <ac:spMk id="108" creationId="{5E56E817-AA0F-401E-9C9B-444BDB6B1C9C}"/>
          </ac:spMkLst>
        </pc:spChg>
        <pc:spChg chg="add del mod">
          <ac:chgData name="Jean QUENTIN" userId="6962deb3-b639-4acd-8091-a0516ea2376b" providerId="ADAL" clId="{146BD8F6-FDDD-49D3-A1A6-146C954086FF}" dt="2021-05-24T14:16:38.780" v="9769" actId="478"/>
          <ac:spMkLst>
            <pc:docMk/>
            <pc:sldMk cId="3771311343" sldId="10471"/>
            <ac:spMk id="109" creationId="{F97B37CB-DC8B-41A2-9F13-DA7379463524}"/>
          </ac:spMkLst>
        </pc:spChg>
        <pc:spChg chg="add mod">
          <ac:chgData name="Jean QUENTIN" userId="6962deb3-b639-4acd-8091-a0516ea2376b" providerId="ADAL" clId="{146BD8F6-FDDD-49D3-A1A6-146C954086FF}" dt="2021-05-24T14:12:57.336" v="9730" actId="1076"/>
          <ac:spMkLst>
            <pc:docMk/>
            <pc:sldMk cId="3771311343" sldId="10471"/>
            <ac:spMk id="110" creationId="{A67ACEC3-8B8F-41CF-AA05-D23034EAEB75}"/>
          </ac:spMkLst>
        </pc:spChg>
        <pc:spChg chg="add mod">
          <ac:chgData name="Jean QUENTIN" userId="6962deb3-b639-4acd-8091-a0516ea2376b" providerId="ADAL" clId="{146BD8F6-FDDD-49D3-A1A6-146C954086FF}" dt="2021-05-24T14:12:57.336" v="9730" actId="1076"/>
          <ac:spMkLst>
            <pc:docMk/>
            <pc:sldMk cId="3771311343" sldId="10471"/>
            <ac:spMk id="111" creationId="{5C027790-24EA-487D-9B0D-C10E82E897F7}"/>
          </ac:spMkLst>
        </pc:spChg>
        <pc:spChg chg="add mod">
          <ac:chgData name="Jean QUENTIN" userId="6962deb3-b639-4acd-8091-a0516ea2376b" providerId="ADAL" clId="{146BD8F6-FDDD-49D3-A1A6-146C954086FF}" dt="2021-05-24T14:20:24.191" v="9807"/>
          <ac:spMkLst>
            <pc:docMk/>
            <pc:sldMk cId="3771311343" sldId="10471"/>
            <ac:spMk id="112" creationId="{9A8D8EC5-6AF6-4041-8DFB-9583B8307259}"/>
          </ac:spMkLst>
        </pc:spChg>
        <pc:spChg chg="add mod">
          <ac:chgData name="Jean QUENTIN" userId="6962deb3-b639-4acd-8091-a0516ea2376b" providerId="ADAL" clId="{146BD8F6-FDDD-49D3-A1A6-146C954086FF}" dt="2021-05-24T14:17:00.985" v="9775" actId="14100"/>
          <ac:spMkLst>
            <pc:docMk/>
            <pc:sldMk cId="3771311343" sldId="10471"/>
            <ac:spMk id="113" creationId="{44652165-FC6B-4F97-AC0D-133BB7D1BAD2}"/>
          </ac:spMkLst>
        </pc:spChg>
        <pc:spChg chg="add mod">
          <ac:chgData name="Jean QUENTIN" userId="6962deb3-b639-4acd-8091-a0516ea2376b" providerId="ADAL" clId="{146BD8F6-FDDD-49D3-A1A6-146C954086FF}" dt="2021-05-24T14:18:49.865" v="9791" actId="14100"/>
          <ac:spMkLst>
            <pc:docMk/>
            <pc:sldMk cId="3771311343" sldId="10471"/>
            <ac:spMk id="114" creationId="{E20A28FF-CC3B-46E1-8EAA-A16BF3535DFD}"/>
          </ac:spMkLst>
        </pc:spChg>
        <pc:spChg chg="add mod">
          <ac:chgData name="Jean QUENTIN" userId="6962deb3-b639-4acd-8091-a0516ea2376b" providerId="ADAL" clId="{146BD8F6-FDDD-49D3-A1A6-146C954086FF}" dt="2021-05-24T14:13:45.799" v="9736" actId="1076"/>
          <ac:spMkLst>
            <pc:docMk/>
            <pc:sldMk cId="3771311343" sldId="10471"/>
            <ac:spMk id="115" creationId="{B79490B9-35E9-4A2B-9078-72C34907B6FE}"/>
          </ac:spMkLst>
        </pc:spChg>
        <pc:spChg chg="add mod">
          <ac:chgData name="Jean QUENTIN" userId="6962deb3-b639-4acd-8091-a0516ea2376b" providerId="ADAL" clId="{146BD8F6-FDDD-49D3-A1A6-146C954086FF}" dt="2021-05-24T14:13:45.799" v="9736" actId="1076"/>
          <ac:spMkLst>
            <pc:docMk/>
            <pc:sldMk cId="3771311343" sldId="10471"/>
            <ac:spMk id="116" creationId="{456E1467-5C50-4A06-9522-0AD12C48A016}"/>
          </ac:spMkLst>
        </pc:spChg>
        <pc:spChg chg="add mod">
          <ac:chgData name="Jean QUENTIN" userId="6962deb3-b639-4acd-8091-a0516ea2376b" providerId="ADAL" clId="{146BD8F6-FDDD-49D3-A1A6-146C954086FF}" dt="2021-05-24T14:13:45.799" v="9736" actId="1076"/>
          <ac:spMkLst>
            <pc:docMk/>
            <pc:sldMk cId="3771311343" sldId="10471"/>
            <ac:spMk id="117" creationId="{F380ABA6-5B66-49D3-81BB-ACD662A765E6}"/>
          </ac:spMkLst>
        </pc:spChg>
        <pc:spChg chg="add mod">
          <ac:chgData name="Jean QUENTIN" userId="6962deb3-b639-4acd-8091-a0516ea2376b" providerId="ADAL" clId="{146BD8F6-FDDD-49D3-A1A6-146C954086FF}" dt="2021-05-24T14:14:03.640" v="9739" actId="14100"/>
          <ac:spMkLst>
            <pc:docMk/>
            <pc:sldMk cId="3771311343" sldId="10471"/>
            <ac:spMk id="118" creationId="{B9380990-3943-4657-BAAF-0D744F9FD78D}"/>
          </ac:spMkLst>
        </pc:spChg>
        <pc:spChg chg="add mod">
          <ac:chgData name="Jean QUENTIN" userId="6962deb3-b639-4acd-8091-a0516ea2376b" providerId="ADAL" clId="{146BD8F6-FDDD-49D3-A1A6-146C954086FF}" dt="2021-05-24T14:14:47.803" v="9746" actId="1076"/>
          <ac:spMkLst>
            <pc:docMk/>
            <pc:sldMk cId="3771311343" sldId="10471"/>
            <ac:spMk id="119" creationId="{9B267A34-A156-4106-9533-D8215EE2663E}"/>
          </ac:spMkLst>
        </pc:spChg>
        <pc:spChg chg="add mod">
          <ac:chgData name="Jean QUENTIN" userId="6962deb3-b639-4acd-8091-a0516ea2376b" providerId="ADAL" clId="{146BD8F6-FDDD-49D3-A1A6-146C954086FF}" dt="2021-05-24T14:14:47.803" v="9746" actId="1076"/>
          <ac:spMkLst>
            <pc:docMk/>
            <pc:sldMk cId="3771311343" sldId="10471"/>
            <ac:spMk id="120" creationId="{CB01490A-3973-40DC-AEB1-2D6EA6E1A0A4}"/>
          </ac:spMkLst>
        </pc:spChg>
        <pc:spChg chg="add mod">
          <ac:chgData name="Jean QUENTIN" userId="6962deb3-b639-4acd-8091-a0516ea2376b" providerId="ADAL" clId="{146BD8F6-FDDD-49D3-A1A6-146C954086FF}" dt="2021-05-24T14:17:12.645" v="9777" actId="14100"/>
          <ac:spMkLst>
            <pc:docMk/>
            <pc:sldMk cId="3771311343" sldId="10471"/>
            <ac:spMk id="121" creationId="{C2D7FB70-A462-48A0-89B9-CB4E2533177E}"/>
          </ac:spMkLst>
        </pc:spChg>
        <pc:spChg chg="add mod">
          <ac:chgData name="Jean QUENTIN" userId="6962deb3-b639-4acd-8091-a0516ea2376b" providerId="ADAL" clId="{146BD8F6-FDDD-49D3-A1A6-146C954086FF}" dt="2021-05-24T14:14:52.366" v="9747" actId="1076"/>
          <ac:spMkLst>
            <pc:docMk/>
            <pc:sldMk cId="3771311343" sldId="10471"/>
            <ac:spMk id="122" creationId="{C36B3BB3-0A10-4D0E-A0BA-E1DE98A30CB6}"/>
          </ac:spMkLst>
        </pc:spChg>
        <pc:spChg chg="add del mod">
          <ac:chgData name="Jean QUENTIN" userId="6962deb3-b639-4acd-8091-a0516ea2376b" providerId="ADAL" clId="{146BD8F6-FDDD-49D3-A1A6-146C954086FF}" dt="2021-05-24T14:17:22.049" v="9781" actId="478"/>
          <ac:spMkLst>
            <pc:docMk/>
            <pc:sldMk cId="3771311343" sldId="10471"/>
            <ac:spMk id="123" creationId="{E2E20FDA-38D0-4D24-B391-480460B44AD4}"/>
          </ac:spMkLst>
        </pc:spChg>
        <pc:spChg chg="add del mod">
          <ac:chgData name="Jean QUENTIN" userId="6962deb3-b639-4acd-8091-a0516ea2376b" providerId="ADAL" clId="{146BD8F6-FDDD-49D3-A1A6-146C954086FF}" dt="2021-05-24T14:17:19.892" v="9780" actId="478"/>
          <ac:spMkLst>
            <pc:docMk/>
            <pc:sldMk cId="3771311343" sldId="10471"/>
            <ac:spMk id="124" creationId="{D0BDD59E-9004-4855-8F76-CF54F97FC2F1}"/>
          </ac:spMkLst>
        </pc:spChg>
        <pc:spChg chg="add del mod">
          <ac:chgData name="Jean QUENTIN" userId="6962deb3-b639-4acd-8091-a0516ea2376b" providerId="ADAL" clId="{146BD8F6-FDDD-49D3-A1A6-146C954086FF}" dt="2021-05-24T14:17:22.667" v="9782" actId="478"/>
          <ac:spMkLst>
            <pc:docMk/>
            <pc:sldMk cId="3771311343" sldId="10471"/>
            <ac:spMk id="125" creationId="{025E6B0A-45A9-41EF-8C9D-96F50CF41B89}"/>
          </ac:spMkLst>
        </pc:spChg>
        <pc:spChg chg="add mod">
          <ac:chgData name="Jean QUENTIN" userId="6962deb3-b639-4acd-8091-a0516ea2376b" providerId="ADAL" clId="{146BD8F6-FDDD-49D3-A1A6-146C954086FF}" dt="2021-05-24T14:17:46.401" v="9789" actId="14100"/>
          <ac:spMkLst>
            <pc:docMk/>
            <pc:sldMk cId="3771311343" sldId="10471"/>
            <ac:spMk id="126" creationId="{6A4E3728-6F76-4F5C-AD55-F21D91F17917}"/>
          </ac:spMkLst>
        </pc:spChg>
        <pc:spChg chg="add mod">
          <ac:chgData name="Jean QUENTIN" userId="6962deb3-b639-4acd-8091-a0516ea2376b" providerId="ADAL" clId="{146BD8F6-FDDD-49D3-A1A6-146C954086FF}" dt="2021-05-24T13:36:22.233" v="6058" actId="790"/>
          <ac:spMkLst>
            <pc:docMk/>
            <pc:sldMk cId="3771311343" sldId="10471"/>
            <ac:spMk id="127" creationId="{EFED5C9C-72CB-4E63-A6AD-2C07271EAE9B}"/>
          </ac:spMkLst>
        </pc:spChg>
        <pc:spChg chg="add mod">
          <ac:chgData name="Jean QUENTIN" userId="6962deb3-b639-4acd-8091-a0516ea2376b" providerId="ADAL" clId="{146BD8F6-FDDD-49D3-A1A6-146C954086FF}" dt="2021-05-24T15:00:41.455" v="11063" actId="20577"/>
          <ac:spMkLst>
            <pc:docMk/>
            <pc:sldMk cId="3771311343" sldId="10471"/>
            <ac:spMk id="128" creationId="{000C42A2-058A-4BC7-8070-8DB64E2E0DF1}"/>
          </ac:spMkLst>
        </pc:spChg>
        <pc:spChg chg="add mod">
          <ac:chgData name="Jean QUENTIN" userId="6962deb3-b639-4acd-8091-a0516ea2376b" providerId="ADAL" clId="{146BD8F6-FDDD-49D3-A1A6-146C954086FF}" dt="2021-05-24T13:36:22.249" v="6060" actId="790"/>
          <ac:spMkLst>
            <pc:docMk/>
            <pc:sldMk cId="3771311343" sldId="10471"/>
            <ac:spMk id="129" creationId="{704628AA-B675-421B-B2CD-4D9F22E8AF2A}"/>
          </ac:spMkLst>
        </pc:spChg>
        <pc:spChg chg="add mod">
          <ac:chgData name="Jean QUENTIN" userId="6962deb3-b639-4acd-8091-a0516ea2376b" providerId="ADAL" clId="{146BD8F6-FDDD-49D3-A1A6-146C954086FF}" dt="2021-05-24T13:36:22.249" v="6061" actId="790"/>
          <ac:spMkLst>
            <pc:docMk/>
            <pc:sldMk cId="3771311343" sldId="10471"/>
            <ac:spMk id="130" creationId="{8EC55234-29CE-40E6-8E6D-5C76C8A3D812}"/>
          </ac:spMkLst>
        </pc:spChg>
        <pc:spChg chg="add mod">
          <ac:chgData name="Jean QUENTIN" userId="6962deb3-b639-4acd-8091-a0516ea2376b" providerId="ADAL" clId="{146BD8F6-FDDD-49D3-A1A6-146C954086FF}" dt="2021-05-24T13:36:22.249" v="6065" actId="790"/>
          <ac:spMkLst>
            <pc:docMk/>
            <pc:sldMk cId="3771311343" sldId="10471"/>
            <ac:spMk id="131" creationId="{E92B0E66-09CA-4148-9FF3-26C30D1439DA}"/>
          </ac:spMkLst>
        </pc:spChg>
        <pc:spChg chg="add mod">
          <ac:chgData name="Jean QUENTIN" userId="6962deb3-b639-4acd-8091-a0516ea2376b" providerId="ADAL" clId="{146BD8F6-FDDD-49D3-A1A6-146C954086FF}" dt="2021-05-24T13:36:22.249" v="6063" actId="790"/>
          <ac:spMkLst>
            <pc:docMk/>
            <pc:sldMk cId="3771311343" sldId="10471"/>
            <ac:spMk id="132" creationId="{0083CCC6-F42B-4EAF-B9BA-BBC3E950AE97}"/>
          </ac:spMkLst>
        </pc:spChg>
        <pc:spChg chg="add mod">
          <ac:chgData name="Jean QUENTIN" userId="6962deb3-b639-4acd-8091-a0516ea2376b" providerId="ADAL" clId="{146BD8F6-FDDD-49D3-A1A6-146C954086FF}" dt="2021-05-24T13:36:22.249" v="6064" actId="790"/>
          <ac:spMkLst>
            <pc:docMk/>
            <pc:sldMk cId="3771311343" sldId="10471"/>
            <ac:spMk id="133" creationId="{916B3D0F-3F4E-49CE-9220-552D32AE6CCA}"/>
          </ac:spMkLst>
        </pc:spChg>
        <pc:spChg chg="add mod">
          <ac:chgData name="Jean QUENTIN" userId="6962deb3-b639-4acd-8091-a0516ea2376b" providerId="ADAL" clId="{146BD8F6-FDDD-49D3-A1A6-146C954086FF}" dt="2021-05-24T13:36:22.249" v="6066" actId="790"/>
          <ac:spMkLst>
            <pc:docMk/>
            <pc:sldMk cId="3771311343" sldId="10471"/>
            <ac:spMk id="134" creationId="{0E8FFEA0-725C-4183-B61D-99E0F0909086}"/>
          </ac:spMkLst>
        </pc:spChg>
        <pc:spChg chg="add mod">
          <ac:chgData name="Jean QUENTIN" userId="6962deb3-b639-4acd-8091-a0516ea2376b" providerId="ADAL" clId="{146BD8F6-FDDD-49D3-A1A6-146C954086FF}" dt="2021-05-24T14:14:54.340" v="9748" actId="571"/>
          <ac:spMkLst>
            <pc:docMk/>
            <pc:sldMk cId="3771311343" sldId="10471"/>
            <ac:spMk id="135" creationId="{36579EE9-8F47-497C-8CC1-4A19EB98C2FB}"/>
          </ac:spMkLst>
        </pc:spChg>
        <pc:spChg chg="add del mod">
          <ac:chgData name="Jean QUENTIN" userId="6962deb3-b639-4acd-8091-a0516ea2376b" providerId="ADAL" clId="{146BD8F6-FDDD-49D3-A1A6-146C954086FF}" dt="2021-05-24T13:33:39.160" v="3334"/>
          <ac:spMkLst>
            <pc:docMk/>
            <pc:sldMk cId="3771311343" sldId="10471"/>
            <ac:spMk id="135" creationId="{7DA76CBD-5C65-4AAC-9169-AE5EA764BB6F}"/>
          </ac:spMkLst>
        </pc:spChg>
        <pc:spChg chg="add del mod">
          <ac:chgData name="Jean QUENTIN" userId="6962deb3-b639-4acd-8091-a0516ea2376b" providerId="ADAL" clId="{146BD8F6-FDDD-49D3-A1A6-146C954086FF}" dt="2021-05-24T14:15:44.663" v="9756" actId="478"/>
          <ac:spMkLst>
            <pc:docMk/>
            <pc:sldMk cId="3771311343" sldId="10471"/>
            <ac:spMk id="136" creationId="{D1484702-B9CF-468F-AA4B-8EF306346956}"/>
          </ac:spMkLst>
        </pc:spChg>
        <pc:spChg chg="add del mod">
          <ac:chgData name="Jean QUENTIN" userId="6962deb3-b639-4acd-8091-a0516ea2376b" providerId="ADAL" clId="{146BD8F6-FDDD-49D3-A1A6-146C954086FF}" dt="2021-05-24T14:15:44.663" v="9756" actId="478"/>
          <ac:spMkLst>
            <pc:docMk/>
            <pc:sldMk cId="3771311343" sldId="10471"/>
            <ac:spMk id="137" creationId="{EA60E917-135B-4A15-8FFD-FF75D7803D65}"/>
          </ac:spMkLst>
        </pc:spChg>
        <pc:spChg chg="add del mod">
          <ac:chgData name="Jean QUENTIN" userId="6962deb3-b639-4acd-8091-a0516ea2376b" providerId="ADAL" clId="{146BD8F6-FDDD-49D3-A1A6-146C954086FF}" dt="2021-05-24T14:15:44.663" v="9756" actId="478"/>
          <ac:spMkLst>
            <pc:docMk/>
            <pc:sldMk cId="3771311343" sldId="10471"/>
            <ac:spMk id="138" creationId="{B1CA8D86-7D37-45FC-9AA6-97F6D3939536}"/>
          </ac:spMkLst>
        </pc:spChg>
        <pc:spChg chg="add del mod">
          <ac:chgData name="Jean QUENTIN" userId="6962deb3-b639-4acd-8091-a0516ea2376b" providerId="ADAL" clId="{146BD8F6-FDDD-49D3-A1A6-146C954086FF}" dt="2021-05-24T14:19:48.342" v="9795" actId="478"/>
          <ac:spMkLst>
            <pc:docMk/>
            <pc:sldMk cId="3771311343" sldId="10471"/>
            <ac:spMk id="139" creationId="{29917FF7-0A87-452F-8364-0113428BEB90}"/>
          </ac:spMkLst>
        </pc:spChg>
        <pc:spChg chg="add mod">
          <ac:chgData name="Jean QUENTIN" userId="6962deb3-b639-4acd-8091-a0516ea2376b" providerId="ADAL" clId="{146BD8F6-FDDD-49D3-A1A6-146C954086FF}" dt="2021-05-24T14:20:08.149" v="9801"/>
          <ac:spMkLst>
            <pc:docMk/>
            <pc:sldMk cId="3771311343" sldId="10471"/>
            <ac:spMk id="140" creationId="{6248663C-319E-444C-8525-B5087AF9CE29}"/>
          </ac:spMkLst>
        </pc:spChg>
        <pc:spChg chg="add mod">
          <ac:chgData name="Jean QUENTIN" userId="6962deb3-b639-4acd-8091-a0516ea2376b" providerId="ADAL" clId="{146BD8F6-FDDD-49D3-A1A6-146C954086FF}" dt="2021-05-24T14:20:09.183" v="9803"/>
          <ac:spMkLst>
            <pc:docMk/>
            <pc:sldMk cId="3771311343" sldId="10471"/>
            <ac:spMk id="141" creationId="{85F111E8-5870-49AB-B728-7209C09AEC6E}"/>
          </ac:spMkLst>
        </pc:spChg>
        <pc:spChg chg="add del mod">
          <ac:chgData name="Jean QUENTIN" userId="6962deb3-b639-4acd-8091-a0516ea2376b" providerId="ADAL" clId="{146BD8F6-FDDD-49D3-A1A6-146C954086FF}" dt="2021-05-24T14:20:13.852" v="9804" actId="478"/>
          <ac:spMkLst>
            <pc:docMk/>
            <pc:sldMk cId="3771311343" sldId="10471"/>
            <ac:spMk id="142" creationId="{2AE246B7-F882-4F69-8B55-A2B4CA25F3F1}"/>
          </ac:spMkLst>
        </pc:spChg>
        <pc:spChg chg="add mod">
          <ac:chgData name="Jean QUENTIN" userId="6962deb3-b639-4acd-8091-a0516ea2376b" providerId="ADAL" clId="{146BD8F6-FDDD-49D3-A1A6-146C954086FF}" dt="2021-05-24T14:17:28.294" v="9784" actId="14100"/>
          <ac:spMkLst>
            <pc:docMk/>
            <pc:sldMk cId="3771311343" sldId="10471"/>
            <ac:spMk id="143" creationId="{54B0EB5C-F61A-43AD-A123-55E4C90CB3B3}"/>
          </ac:spMkLst>
        </pc:spChg>
        <pc:spChg chg="add mod">
          <ac:chgData name="Jean QUENTIN" userId="6962deb3-b639-4acd-8091-a0516ea2376b" providerId="ADAL" clId="{146BD8F6-FDDD-49D3-A1A6-146C954086FF}" dt="2021-05-24T14:17:28.294" v="9784" actId="14100"/>
          <ac:spMkLst>
            <pc:docMk/>
            <pc:sldMk cId="3771311343" sldId="10471"/>
            <ac:spMk id="144" creationId="{EF655E77-DB9D-448E-A6D5-39E94417F17D}"/>
          </ac:spMkLst>
        </pc:spChg>
        <pc:spChg chg="add del mod">
          <ac:chgData name="Jean QUENTIN" userId="6962deb3-b639-4acd-8091-a0516ea2376b" providerId="ADAL" clId="{146BD8F6-FDDD-49D3-A1A6-146C954086FF}" dt="2021-05-24T14:19:46.977" v="9794" actId="478"/>
          <ac:spMkLst>
            <pc:docMk/>
            <pc:sldMk cId="3771311343" sldId="10471"/>
            <ac:spMk id="145" creationId="{BD0C9CC6-10C9-408F-9B21-4F2F4FBD5823}"/>
          </ac:spMkLst>
        </pc:spChg>
        <pc:spChg chg="add mod">
          <ac:chgData name="Jean QUENTIN" userId="6962deb3-b639-4acd-8091-a0516ea2376b" providerId="ADAL" clId="{146BD8F6-FDDD-49D3-A1A6-146C954086FF}" dt="2021-05-24T14:16:48.128" v="9772" actId="571"/>
          <ac:spMkLst>
            <pc:docMk/>
            <pc:sldMk cId="3771311343" sldId="10471"/>
            <ac:spMk id="146" creationId="{693373D8-8E49-488D-BDCA-F1956724483D}"/>
          </ac:spMkLst>
        </pc:spChg>
        <pc:spChg chg="add mod">
          <ac:chgData name="Jean QUENTIN" userId="6962deb3-b639-4acd-8091-a0516ea2376b" providerId="ADAL" clId="{146BD8F6-FDDD-49D3-A1A6-146C954086FF}" dt="2021-05-24T14:16:48.128" v="9772" actId="571"/>
          <ac:spMkLst>
            <pc:docMk/>
            <pc:sldMk cId="3771311343" sldId="10471"/>
            <ac:spMk id="147" creationId="{672B69A2-3519-46C9-96A5-3BBF955EECEF}"/>
          </ac:spMkLst>
        </pc:spChg>
        <pc:spChg chg="add del mod">
          <ac:chgData name="Jean QUENTIN" userId="6962deb3-b639-4acd-8091-a0516ea2376b" providerId="ADAL" clId="{146BD8F6-FDDD-49D3-A1A6-146C954086FF}" dt="2021-05-24T14:20:55.504" v="9816" actId="478"/>
          <ac:spMkLst>
            <pc:docMk/>
            <pc:sldMk cId="3771311343" sldId="10471"/>
            <ac:spMk id="148" creationId="{9036F842-4574-4F31-BD60-E766D90C2A20}"/>
          </ac:spMkLst>
        </pc:spChg>
        <pc:spChg chg="add mod">
          <ac:chgData name="Jean QUENTIN" userId="6962deb3-b639-4acd-8091-a0516ea2376b" providerId="ADAL" clId="{146BD8F6-FDDD-49D3-A1A6-146C954086FF}" dt="2021-05-24T14:17:38.078" v="9787"/>
          <ac:spMkLst>
            <pc:docMk/>
            <pc:sldMk cId="3771311343" sldId="10471"/>
            <ac:spMk id="149" creationId="{315A35B9-D3F4-4C97-B176-4798F54179D7}"/>
          </ac:spMkLst>
        </pc:spChg>
        <pc:spChg chg="add mod">
          <ac:chgData name="Jean QUENTIN" userId="6962deb3-b639-4acd-8091-a0516ea2376b" providerId="ADAL" clId="{146BD8F6-FDDD-49D3-A1A6-146C954086FF}" dt="2021-05-24T14:17:38.078" v="9787"/>
          <ac:spMkLst>
            <pc:docMk/>
            <pc:sldMk cId="3771311343" sldId="10471"/>
            <ac:spMk id="150" creationId="{5209417A-CD5F-4652-90C2-C3F7635829D9}"/>
          </ac:spMkLst>
        </pc:spChg>
        <pc:spChg chg="add mod">
          <ac:chgData name="Jean QUENTIN" userId="6962deb3-b639-4acd-8091-a0516ea2376b" providerId="ADAL" clId="{146BD8F6-FDDD-49D3-A1A6-146C954086FF}" dt="2021-05-24T14:19:51.567" v="9796" actId="571"/>
          <ac:spMkLst>
            <pc:docMk/>
            <pc:sldMk cId="3771311343" sldId="10471"/>
            <ac:spMk id="151" creationId="{D2B036C2-8693-454B-B4F2-18AB2236FD3C}"/>
          </ac:spMkLst>
        </pc:spChg>
        <pc:spChg chg="add mod">
          <ac:chgData name="Jean QUENTIN" userId="6962deb3-b639-4acd-8091-a0516ea2376b" providerId="ADAL" clId="{146BD8F6-FDDD-49D3-A1A6-146C954086FF}" dt="2021-05-24T14:20:07.131" v="9799"/>
          <ac:spMkLst>
            <pc:docMk/>
            <pc:sldMk cId="3771311343" sldId="10471"/>
            <ac:spMk id="152" creationId="{CE1DAE80-D63E-4412-9269-9A18EAF38626}"/>
          </ac:spMkLst>
        </pc:spChg>
        <pc:spChg chg="add mod">
          <ac:chgData name="Jean QUENTIN" userId="6962deb3-b639-4acd-8091-a0516ea2376b" providerId="ADAL" clId="{146BD8F6-FDDD-49D3-A1A6-146C954086FF}" dt="2021-05-24T14:34:33.402" v="10591"/>
          <ac:spMkLst>
            <pc:docMk/>
            <pc:sldMk cId="3771311343" sldId="10471"/>
            <ac:spMk id="153" creationId="{D1862418-9E31-4865-A029-3E571F1DE652}"/>
          </ac:spMkLst>
        </pc:spChg>
        <pc:spChg chg="add mod">
          <ac:chgData name="Jean QUENTIN" userId="6962deb3-b639-4acd-8091-a0516ea2376b" providerId="ADAL" clId="{146BD8F6-FDDD-49D3-A1A6-146C954086FF}" dt="2021-05-24T14:20:58.262" v="9817" actId="571"/>
          <ac:spMkLst>
            <pc:docMk/>
            <pc:sldMk cId="3771311343" sldId="10471"/>
            <ac:spMk id="154" creationId="{B19F0202-21BD-46E5-90DA-AC056F04674D}"/>
          </ac:spMkLst>
        </pc:spChg>
        <pc:grpChg chg="add mod">
          <ac:chgData name="Jean QUENTIN" userId="6962deb3-b639-4acd-8091-a0516ea2376b" providerId="ADAL" clId="{146BD8F6-FDDD-49D3-A1A6-146C954086FF}" dt="2021-05-24T15:02:00.279" v="11065" actId="164"/>
          <ac:grpSpMkLst>
            <pc:docMk/>
            <pc:sldMk cId="3771311343" sldId="10471"/>
            <ac:grpSpMk id="6" creationId="{78991E3B-C0C8-4F7C-ABE9-26A0CB953DE9}"/>
          </ac:grpSpMkLst>
        </pc:grpChg>
        <pc:grpChg chg="add mod">
          <ac:chgData name="Jean QUENTIN" userId="6962deb3-b639-4acd-8091-a0516ea2376b" providerId="ADAL" clId="{146BD8F6-FDDD-49D3-A1A6-146C954086FF}" dt="2021-05-24T15:02:11.804" v="11067" actId="465"/>
          <ac:grpSpMkLst>
            <pc:docMk/>
            <pc:sldMk cId="3771311343" sldId="10471"/>
            <ac:grpSpMk id="8" creationId="{031046A0-1E57-46D6-B2DD-76D0C758E3A1}"/>
          </ac:grpSpMkLst>
        </pc:grpChg>
        <pc:grpChg chg="add mod">
          <ac:chgData name="Jean QUENTIN" userId="6962deb3-b639-4acd-8091-a0516ea2376b" providerId="ADAL" clId="{146BD8F6-FDDD-49D3-A1A6-146C954086FF}" dt="2021-05-24T13:15:23.036" v="2803" actId="1076"/>
          <ac:grpSpMkLst>
            <pc:docMk/>
            <pc:sldMk cId="3771311343" sldId="10471"/>
            <ac:grpSpMk id="12" creationId="{25975A98-47FB-4FBD-A058-E77AA6EEA3A9}"/>
          </ac:grpSpMkLst>
        </pc:grpChg>
        <pc:grpChg chg="add mod">
          <ac:chgData name="Jean QUENTIN" userId="6962deb3-b639-4acd-8091-a0516ea2376b" providerId="ADAL" clId="{146BD8F6-FDDD-49D3-A1A6-146C954086FF}" dt="2021-05-24T13:15:23.036" v="2803" actId="1076"/>
          <ac:grpSpMkLst>
            <pc:docMk/>
            <pc:sldMk cId="3771311343" sldId="10471"/>
            <ac:grpSpMk id="14" creationId="{2E588956-FC7B-4E68-A4E6-000368E12185}"/>
          </ac:grpSpMkLst>
        </pc:grpChg>
        <pc:grpChg chg="add mod">
          <ac:chgData name="Jean QUENTIN" userId="6962deb3-b639-4acd-8091-a0516ea2376b" providerId="ADAL" clId="{146BD8F6-FDDD-49D3-A1A6-146C954086FF}" dt="2021-05-24T13:15:23.036" v="2803" actId="1076"/>
          <ac:grpSpMkLst>
            <pc:docMk/>
            <pc:sldMk cId="3771311343" sldId="10471"/>
            <ac:grpSpMk id="15" creationId="{0E0E59CC-6A8A-46E9-A0F9-27106F7B7C6F}"/>
          </ac:grpSpMkLst>
        </pc:grpChg>
        <pc:cxnChg chg="add mod">
          <ac:chgData name="Jean QUENTIN" userId="6962deb3-b639-4acd-8091-a0516ea2376b" providerId="ADAL" clId="{146BD8F6-FDDD-49D3-A1A6-146C954086FF}" dt="2021-05-24T16:11:08.756" v="12349" actId="1035"/>
          <ac:cxnSpMkLst>
            <pc:docMk/>
            <pc:sldMk cId="3771311343" sldId="10471"/>
            <ac:cxnSpMk id="84" creationId="{3FA267FB-6451-4E2D-8CF7-57673253C3C9}"/>
          </ac:cxnSpMkLst>
        </pc:cxnChg>
      </pc:sldChg>
      <pc:sldChg chg="addSp modSp mod">
        <pc:chgData name="Jean QUENTIN" userId="6962deb3-b639-4acd-8091-a0516ea2376b" providerId="ADAL" clId="{146BD8F6-FDDD-49D3-A1A6-146C954086FF}" dt="2021-05-25T09:18:05.676" v="12661" actId="1076"/>
        <pc:sldMkLst>
          <pc:docMk/>
          <pc:sldMk cId="923224959" sldId="10472"/>
        </pc:sldMkLst>
        <pc:spChg chg="mod">
          <ac:chgData name="Jean QUENTIN" userId="6962deb3-b639-4acd-8091-a0516ea2376b" providerId="ADAL" clId="{146BD8F6-FDDD-49D3-A1A6-146C954086FF}" dt="2021-05-24T13:36:17.521" v="3669" actId="790"/>
          <ac:spMkLst>
            <pc:docMk/>
            <pc:sldMk cId="923224959" sldId="10472"/>
            <ac:spMk id="2" creationId="{5D79E977-AA1E-485B-8A01-E93F32111B97}"/>
          </ac:spMkLst>
        </pc:spChg>
        <pc:spChg chg="mod">
          <ac:chgData name="Jean QUENTIN" userId="6962deb3-b639-4acd-8091-a0516ea2376b" providerId="ADAL" clId="{146BD8F6-FDDD-49D3-A1A6-146C954086FF}" dt="2021-05-24T13:36:17.538" v="3675" actId="790"/>
          <ac:spMkLst>
            <pc:docMk/>
            <pc:sldMk cId="923224959" sldId="10472"/>
            <ac:spMk id="4" creationId="{CF43FFDF-1514-417B-8DD3-055802931621}"/>
          </ac:spMkLst>
        </pc:spChg>
        <pc:spChg chg="mod">
          <ac:chgData name="Jean QUENTIN" userId="6962deb3-b639-4acd-8091-a0516ea2376b" providerId="ADAL" clId="{146BD8F6-FDDD-49D3-A1A6-146C954086FF}" dt="2021-05-24T13:36:17.538" v="3676" actId="790"/>
          <ac:spMkLst>
            <pc:docMk/>
            <pc:sldMk cId="923224959" sldId="10472"/>
            <ac:spMk id="6" creationId="{3CBA4C50-DBB5-4C5E-A8E6-B2C4564C2D94}"/>
          </ac:spMkLst>
        </pc:spChg>
        <pc:spChg chg="mod">
          <ac:chgData name="Jean QUENTIN" userId="6962deb3-b639-4acd-8091-a0516ea2376b" providerId="ADAL" clId="{146BD8F6-FDDD-49D3-A1A6-146C954086FF}" dt="2021-05-24T13:36:17.554" v="3677" actId="790"/>
          <ac:spMkLst>
            <pc:docMk/>
            <pc:sldMk cId="923224959" sldId="10472"/>
            <ac:spMk id="7" creationId="{43822D74-25F7-4476-8B1E-2346DA56E4D6}"/>
          </ac:spMkLst>
        </pc:spChg>
        <pc:spChg chg="mod">
          <ac:chgData name="Jean QUENTIN" userId="6962deb3-b639-4acd-8091-a0516ea2376b" providerId="ADAL" clId="{146BD8F6-FDDD-49D3-A1A6-146C954086FF}" dt="2021-05-24T13:36:17.574" v="3681" actId="790"/>
          <ac:spMkLst>
            <pc:docMk/>
            <pc:sldMk cId="923224959" sldId="10472"/>
            <ac:spMk id="8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54" v="3678" actId="790"/>
          <ac:spMkLst>
            <pc:docMk/>
            <pc:sldMk cId="923224959" sldId="10472"/>
            <ac:spMk id="9" creationId="{02B09B86-63EB-478A-A1B9-73EB0B102213}"/>
          </ac:spMkLst>
        </pc:spChg>
        <pc:spChg chg="mod">
          <ac:chgData name="Jean QUENTIN" userId="6962deb3-b639-4acd-8091-a0516ea2376b" providerId="ADAL" clId="{146BD8F6-FDDD-49D3-A1A6-146C954086FF}" dt="2021-05-24T13:36:17.521" v="3670" actId="790"/>
          <ac:spMkLst>
            <pc:docMk/>
            <pc:sldMk cId="923224959" sldId="10472"/>
            <ac:spMk id="10" creationId="{35E020ED-F5CE-43BF-B644-9BAA4063B2A4}"/>
          </ac:spMkLst>
        </pc:spChg>
        <pc:spChg chg="mod">
          <ac:chgData name="Jean QUENTIN" userId="6962deb3-b639-4acd-8091-a0516ea2376b" providerId="ADAL" clId="{146BD8F6-FDDD-49D3-A1A6-146C954086FF}" dt="2021-05-24T13:36:17.521" v="3671" actId="790"/>
          <ac:spMkLst>
            <pc:docMk/>
            <pc:sldMk cId="923224959" sldId="10472"/>
            <ac:spMk id="12" creationId="{17ACB834-4B29-46A1-8305-C573136B1B39}"/>
          </ac:spMkLst>
        </pc:spChg>
        <pc:spChg chg="mod">
          <ac:chgData name="Jean QUENTIN" userId="6962deb3-b639-4acd-8091-a0516ea2376b" providerId="ADAL" clId="{146BD8F6-FDDD-49D3-A1A6-146C954086FF}" dt="2021-05-24T13:36:17.574" v="3682" actId="790"/>
          <ac:spMkLst>
            <pc:docMk/>
            <pc:sldMk cId="923224959" sldId="10472"/>
            <ac:spMk id="13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21" v="3672" actId="790"/>
          <ac:spMkLst>
            <pc:docMk/>
            <pc:sldMk cId="923224959" sldId="10472"/>
            <ac:spMk id="14" creationId="{1033C433-7522-4EDA-9187-702F506345A0}"/>
          </ac:spMkLst>
        </pc:spChg>
        <pc:spChg chg="mod">
          <ac:chgData name="Jean QUENTIN" userId="6962deb3-b639-4acd-8091-a0516ea2376b" providerId="ADAL" clId="{146BD8F6-FDDD-49D3-A1A6-146C954086FF}" dt="2021-05-24T13:36:17.521" v="3673" actId="790"/>
          <ac:spMkLst>
            <pc:docMk/>
            <pc:sldMk cId="923224959" sldId="10472"/>
            <ac:spMk id="15" creationId="{CEFA4725-CB21-4B2C-A186-C70732A4705C}"/>
          </ac:spMkLst>
        </pc:spChg>
        <pc:spChg chg="mod">
          <ac:chgData name="Jean QUENTIN" userId="6962deb3-b639-4acd-8091-a0516ea2376b" providerId="ADAL" clId="{146BD8F6-FDDD-49D3-A1A6-146C954086FF}" dt="2021-05-24T13:36:17.521" v="3674" actId="790"/>
          <ac:spMkLst>
            <pc:docMk/>
            <pc:sldMk cId="923224959" sldId="10472"/>
            <ac:spMk id="16" creationId="{6546156D-9B65-4AC1-8D80-88505BD08537}"/>
          </ac:spMkLst>
        </pc:spChg>
        <pc:spChg chg="mod">
          <ac:chgData name="Jean QUENTIN" userId="6962deb3-b639-4acd-8091-a0516ea2376b" providerId="ADAL" clId="{146BD8F6-FDDD-49D3-A1A6-146C954086FF}" dt="2021-05-24T13:36:17.505" v="3667" actId="790"/>
          <ac:spMkLst>
            <pc:docMk/>
            <pc:sldMk cId="923224959" sldId="10472"/>
            <ac:spMk id="17" creationId="{93C43DF0-5B80-4873-976E-9DCC9459DEE9}"/>
          </ac:spMkLst>
        </pc:spChg>
        <pc:spChg chg="mod">
          <ac:chgData name="Jean QUENTIN" userId="6962deb3-b639-4acd-8091-a0516ea2376b" providerId="ADAL" clId="{146BD8F6-FDDD-49D3-A1A6-146C954086FF}" dt="2021-05-24T13:36:17.521" v="3668" actId="790"/>
          <ac:spMkLst>
            <pc:docMk/>
            <pc:sldMk cId="923224959" sldId="10472"/>
            <ac:spMk id="19" creationId="{34792A96-E177-45FE-8A1C-54080EF644FD}"/>
          </ac:spMkLst>
        </pc:spChg>
        <pc:spChg chg="mod">
          <ac:chgData name="Jean QUENTIN" userId="6962deb3-b639-4acd-8091-a0516ea2376b" providerId="ADAL" clId="{146BD8F6-FDDD-49D3-A1A6-146C954086FF}" dt="2021-05-24T13:36:17.559" v="3679" actId="790"/>
          <ac:spMkLst>
            <pc:docMk/>
            <pc:sldMk cId="923224959" sldId="10472"/>
            <ac:spMk id="25" creationId="{5146D732-EFA5-477C-B0A6-85AD09BD0B4D}"/>
          </ac:spMkLst>
        </pc:spChg>
        <pc:spChg chg="mod">
          <ac:chgData name="Jean QUENTIN" userId="6962deb3-b639-4acd-8091-a0516ea2376b" providerId="ADAL" clId="{146BD8F6-FDDD-49D3-A1A6-146C954086FF}" dt="2021-05-24T13:36:17.505" v="3666" actId="790"/>
          <ac:spMkLst>
            <pc:docMk/>
            <pc:sldMk cId="923224959" sldId="10472"/>
            <ac:spMk id="26" creationId="{141BDBD6-FC39-484B-80B4-A5A00C8A001E}"/>
          </ac:spMkLst>
        </pc:spChg>
        <pc:spChg chg="mod">
          <ac:chgData name="Jean QUENTIN" userId="6962deb3-b639-4acd-8091-a0516ea2376b" providerId="ADAL" clId="{146BD8F6-FDDD-49D3-A1A6-146C954086FF}" dt="2021-05-24T13:36:17.574" v="3683" actId="790"/>
          <ac:spMkLst>
            <pc:docMk/>
            <pc:sldMk cId="923224959" sldId="10472"/>
            <ac:spMk id="27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74" v="3684" actId="790"/>
          <ac:spMkLst>
            <pc:docMk/>
            <pc:sldMk cId="923224959" sldId="10472"/>
            <ac:spMk id="28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59" v="3680" actId="790"/>
          <ac:spMkLst>
            <pc:docMk/>
            <pc:sldMk cId="923224959" sldId="10472"/>
            <ac:spMk id="34" creationId="{504918DD-5AAF-4442-83FD-97BE3D7438E6}"/>
          </ac:spMkLst>
        </pc:spChg>
        <pc:spChg chg="mod">
          <ac:chgData name="Jean QUENTIN" userId="6962deb3-b639-4acd-8091-a0516ea2376b" providerId="ADAL" clId="{146BD8F6-FDDD-49D3-A1A6-146C954086FF}" dt="2021-05-24T13:36:17.574" v="3685" actId="790"/>
          <ac:spMkLst>
            <pc:docMk/>
            <pc:sldMk cId="923224959" sldId="10472"/>
            <ac:spMk id="36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74" v="3686" actId="790"/>
          <ac:spMkLst>
            <pc:docMk/>
            <pc:sldMk cId="923224959" sldId="10472"/>
            <ac:spMk id="37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74" v="3687" actId="790"/>
          <ac:spMkLst>
            <pc:docMk/>
            <pc:sldMk cId="923224959" sldId="10472"/>
            <ac:spMk id="38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74" v="3688" actId="790"/>
          <ac:spMkLst>
            <pc:docMk/>
            <pc:sldMk cId="923224959" sldId="10472"/>
            <ac:spMk id="39" creationId="{724BFDF7-9689-4C00-8E86-336E333DE596}"/>
          </ac:spMkLst>
        </pc:spChg>
        <pc:spChg chg="mod">
          <ac:chgData name="Jean QUENTIN" userId="6962deb3-b639-4acd-8091-a0516ea2376b" providerId="ADAL" clId="{146BD8F6-FDDD-49D3-A1A6-146C954086FF}" dt="2021-05-24T13:36:17.574" v="3689" actId="790"/>
          <ac:spMkLst>
            <pc:docMk/>
            <pc:sldMk cId="923224959" sldId="10472"/>
            <ac:spMk id="40" creationId="{724BFDF7-9689-4C00-8E86-336E333DE596}"/>
          </ac:spMkLst>
        </pc:spChg>
        <pc:spChg chg="add mod">
          <ac:chgData name="Jean QUENTIN" userId="6962deb3-b639-4acd-8091-a0516ea2376b" providerId="ADAL" clId="{146BD8F6-FDDD-49D3-A1A6-146C954086FF}" dt="2021-05-25T09:18:05.676" v="12661" actId="1076"/>
          <ac:spMkLst>
            <pc:docMk/>
            <pc:sldMk cId="923224959" sldId="10472"/>
            <ac:spMk id="44" creationId="{0E1F57BE-6DCD-4097-91F1-E07EBEDB6060}"/>
          </ac:spMkLst>
        </pc:spChg>
        <pc:spChg chg="mod">
          <ac:chgData name="Jean QUENTIN" userId="6962deb3-b639-4acd-8091-a0516ea2376b" providerId="ADAL" clId="{146BD8F6-FDDD-49D3-A1A6-146C954086FF}" dt="2021-05-24T13:36:17.574" v="3690" actId="790"/>
          <ac:spMkLst>
            <pc:docMk/>
            <pc:sldMk cId="923224959" sldId="10472"/>
            <ac:spMk id="47" creationId="{9A1AD0E4-A534-4497-962F-4FBC4ED2C72B}"/>
          </ac:spMkLst>
        </pc:spChg>
      </pc:sldChg>
      <pc:sldChg chg="modSp mod">
        <pc:chgData name="Jean QUENTIN" userId="6962deb3-b639-4acd-8091-a0516ea2376b" providerId="ADAL" clId="{146BD8F6-FDDD-49D3-A1A6-146C954086FF}" dt="2021-05-24T13:36:18.893" v="4337" actId="790"/>
        <pc:sldMkLst>
          <pc:docMk/>
          <pc:sldMk cId="3800479679" sldId="10473"/>
        </pc:sldMkLst>
        <pc:spChg chg="mod">
          <ac:chgData name="Jean QUENTIN" userId="6962deb3-b639-4acd-8091-a0516ea2376b" providerId="ADAL" clId="{146BD8F6-FDDD-49D3-A1A6-146C954086FF}" dt="2021-05-24T13:36:18.778" v="4290" actId="790"/>
          <ac:spMkLst>
            <pc:docMk/>
            <pc:sldMk cId="3800479679" sldId="10473"/>
            <ac:spMk id="2" creationId="{BA3E4240-1B8B-4AAA-9DCA-9FE236464846}"/>
          </ac:spMkLst>
        </pc:spChg>
        <pc:spChg chg="mod">
          <ac:chgData name="Jean QUENTIN" userId="6962deb3-b639-4acd-8091-a0516ea2376b" providerId="ADAL" clId="{146BD8F6-FDDD-49D3-A1A6-146C954086FF}" dt="2021-05-24T13:36:18.778" v="4291" actId="790"/>
          <ac:spMkLst>
            <pc:docMk/>
            <pc:sldMk cId="3800479679" sldId="10473"/>
            <ac:spMk id="3" creationId="{1773FC09-D385-45A1-AC2E-146DDDE8BD0A}"/>
          </ac:spMkLst>
        </pc:spChg>
        <pc:spChg chg="mod">
          <ac:chgData name="Jean QUENTIN" userId="6962deb3-b639-4acd-8091-a0516ea2376b" providerId="ADAL" clId="{146BD8F6-FDDD-49D3-A1A6-146C954086FF}" dt="2021-05-24T13:36:18.778" v="4292" actId="790"/>
          <ac:spMkLst>
            <pc:docMk/>
            <pc:sldMk cId="3800479679" sldId="10473"/>
            <ac:spMk id="9" creationId="{8EBE87B3-F04E-491F-82E3-AD5C42A920E2}"/>
          </ac:spMkLst>
        </pc:spChg>
        <pc:spChg chg="mod">
          <ac:chgData name="Jean QUENTIN" userId="6962deb3-b639-4acd-8091-a0516ea2376b" providerId="ADAL" clId="{146BD8F6-FDDD-49D3-A1A6-146C954086FF}" dt="2021-05-24T13:36:18.840" v="4312" actId="790"/>
          <ac:spMkLst>
            <pc:docMk/>
            <pc:sldMk cId="3800479679" sldId="10473"/>
            <ac:spMk id="10" creationId="{8B80541E-0CB8-4F46-AA31-1D2CE8ECE50F}"/>
          </ac:spMkLst>
        </pc:spChg>
        <pc:spChg chg="mod">
          <ac:chgData name="Jean QUENTIN" userId="6962deb3-b639-4acd-8091-a0516ea2376b" providerId="ADAL" clId="{146BD8F6-FDDD-49D3-A1A6-146C954086FF}" dt="2021-05-24T13:36:18.793" v="4293" actId="790"/>
          <ac:spMkLst>
            <pc:docMk/>
            <pc:sldMk cId="3800479679" sldId="10473"/>
            <ac:spMk id="12" creationId="{5632CA9B-96AD-46F9-9A8A-B6E6800443DD}"/>
          </ac:spMkLst>
        </pc:spChg>
        <pc:spChg chg="mod">
          <ac:chgData name="Jean QUENTIN" userId="6962deb3-b639-4acd-8091-a0516ea2376b" providerId="ADAL" clId="{146BD8F6-FDDD-49D3-A1A6-146C954086FF}" dt="2021-05-24T13:36:18.793" v="4294" actId="790"/>
          <ac:spMkLst>
            <pc:docMk/>
            <pc:sldMk cId="3800479679" sldId="10473"/>
            <ac:spMk id="13" creationId="{8A47A578-76B7-48A6-B910-8A54E9BC3C53}"/>
          </ac:spMkLst>
        </pc:spChg>
        <pc:spChg chg="mod">
          <ac:chgData name="Jean QUENTIN" userId="6962deb3-b639-4acd-8091-a0516ea2376b" providerId="ADAL" clId="{146BD8F6-FDDD-49D3-A1A6-146C954086FF}" dt="2021-05-24T13:36:18.793" v="4295" actId="790"/>
          <ac:spMkLst>
            <pc:docMk/>
            <pc:sldMk cId="3800479679" sldId="10473"/>
            <ac:spMk id="16" creationId="{4FCCDEAF-F1D6-472C-8877-BCF7D817DF4C}"/>
          </ac:spMkLst>
        </pc:spChg>
        <pc:spChg chg="mod">
          <ac:chgData name="Jean QUENTIN" userId="6962deb3-b639-4acd-8091-a0516ea2376b" providerId="ADAL" clId="{146BD8F6-FDDD-49D3-A1A6-146C954086FF}" dt="2021-05-24T13:36:18.840" v="4317" actId="790"/>
          <ac:spMkLst>
            <pc:docMk/>
            <pc:sldMk cId="3800479679" sldId="10473"/>
            <ac:spMk id="21" creationId="{58337BA2-B7F0-4432-B9BF-C085B3E8B7D0}"/>
          </ac:spMkLst>
        </pc:spChg>
        <pc:spChg chg="mod">
          <ac:chgData name="Jean QUENTIN" userId="6962deb3-b639-4acd-8091-a0516ea2376b" providerId="ADAL" clId="{146BD8F6-FDDD-49D3-A1A6-146C954086FF}" dt="2021-05-24T13:36:18.840" v="4318" actId="790"/>
          <ac:spMkLst>
            <pc:docMk/>
            <pc:sldMk cId="3800479679" sldId="10473"/>
            <ac:spMk id="23" creationId="{CAB7DE97-987C-4E1B-AC28-72D620F2E2AC}"/>
          </ac:spMkLst>
        </pc:spChg>
        <pc:spChg chg="mod">
          <ac:chgData name="Jean QUENTIN" userId="6962deb3-b639-4acd-8091-a0516ea2376b" providerId="ADAL" clId="{146BD8F6-FDDD-49D3-A1A6-146C954086FF}" dt="2021-05-24T13:36:18.793" v="4296" actId="790"/>
          <ac:spMkLst>
            <pc:docMk/>
            <pc:sldMk cId="3800479679" sldId="10473"/>
            <ac:spMk id="24" creationId="{B613E2EA-B96E-46E4-BF88-51F7E87FD434}"/>
          </ac:spMkLst>
        </pc:spChg>
        <pc:spChg chg="mod">
          <ac:chgData name="Jean QUENTIN" userId="6962deb3-b639-4acd-8091-a0516ea2376b" providerId="ADAL" clId="{146BD8F6-FDDD-49D3-A1A6-146C954086FF}" dt="2021-05-24T13:36:18.793" v="4297" actId="790"/>
          <ac:spMkLst>
            <pc:docMk/>
            <pc:sldMk cId="3800479679" sldId="10473"/>
            <ac:spMk id="25" creationId="{0634D66A-E6F6-4578-8A06-11D9F3F9E648}"/>
          </ac:spMkLst>
        </pc:spChg>
        <pc:spChg chg="mod">
          <ac:chgData name="Jean QUENTIN" userId="6962deb3-b639-4acd-8091-a0516ea2376b" providerId="ADAL" clId="{146BD8F6-FDDD-49D3-A1A6-146C954086FF}" dt="2021-05-24T13:36:18.809" v="4298" actId="790"/>
          <ac:spMkLst>
            <pc:docMk/>
            <pc:sldMk cId="3800479679" sldId="10473"/>
            <ac:spMk id="31" creationId="{0C5924EB-4FAB-4EEB-8C48-044C8B950722}"/>
          </ac:spMkLst>
        </pc:spChg>
        <pc:spChg chg="mod">
          <ac:chgData name="Jean QUENTIN" userId="6962deb3-b639-4acd-8091-a0516ea2376b" providerId="ADAL" clId="{146BD8F6-FDDD-49D3-A1A6-146C954086FF}" dt="2021-05-24T13:36:18.809" v="4299" actId="790"/>
          <ac:spMkLst>
            <pc:docMk/>
            <pc:sldMk cId="3800479679" sldId="10473"/>
            <ac:spMk id="32" creationId="{F2EECF5B-E5DE-4D06-85AD-830FFDAFCB24}"/>
          </ac:spMkLst>
        </pc:spChg>
        <pc:spChg chg="mod">
          <ac:chgData name="Jean QUENTIN" userId="6962deb3-b639-4acd-8091-a0516ea2376b" providerId="ADAL" clId="{146BD8F6-FDDD-49D3-A1A6-146C954086FF}" dt="2021-05-24T13:36:18.824" v="4309" actId="790"/>
          <ac:spMkLst>
            <pc:docMk/>
            <pc:sldMk cId="3800479679" sldId="10473"/>
            <ac:spMk id="50" creationId="{3D11D9AD-56B2-4FD0-998A-C3C17321490E}"/>
          </ac:spMkLst>
        </pc:spChg>
        <pc:spChg chg="mod">
          <ac:chgData name="Jean QUENTIN" userId="6962deb3-b639-4acd-8091-a0516ea2376b" providerId="ADAL" clId="{146BD8F6-FDDD-49D3-A1A6-146C954086FF}" dt="2021-05-24T13:36:18.824" v="4310" actId="790"/>
          <ac:spMkLst>
            <pc:docMk/>
            <pc:sldMk cId="3800479679" sldId="10473"/>
            <ac:spMk id="51" creationId="{ABA09096-B3E8-4754-A77D-65D350688B5B}"/>
          </ac:spMkLst>
        </pc:spChg>
        <pc:spChg chg="mod">
          <ac:chgData name="Jean QUENTIN" userId="6962deb3-b639-4acd-8091-a0516ea2376b" providerId="ADAL" clId="{146BD8F6-FDDD-49D3-A1A6-146C954086FF}" dt="2021-05-24T13:36:18.824" v="4311" actId="790"/>
          <ac:spMkLst>
            <pc:docMk/>
            <pc:sldMk cId="3800479679" sldId="10473"/>
            <ac:spMk id="52" creationId="{269DE5CB-BABB-4CE5-BFC8-CA5EE268E23C}"/>
          </ac:spMkLst>
        </pc:spChg>
        <pc:spChg chg="mod">
          <ac:chgData name="Jean QUENTIN" userId="6962deb3-b639-4acd-8091-a0516ea2376b" providerId="ADAL" clId="{146BD8F6-FDDD-49D3-A1A6-146C954086FF}" dt="2021-05-24T13:36:18.840" v="4313" actId="790"/>
          <ac:spMkLst>
            <pc:docMk/>
            <pc:sldMk cId="3800479679" sldId="10473"/>
            <ac:spMk id="54" creationId="{A1ED7959-6972-4CA1-87DE-4A9E265D1EE1}"/>
          </ac:spMkLst>
        </pc:spChg>
        <pc:spChg chg="mod">
          <ac:chgData name="Jean QUENTIN" userId="6962deb3-b639-4acd-8091-a0516ea2376b" providerId="ADAL" clId="{146BD8F6-FDDD-49D3-A1A6-146C954086FF}" dt="2021-05-24T13:36:18.878" v="4333" actId="790"/>
          <ac:spMkLst>
            <pc:docMk/>
            <pc:sldMk cId="3800479679" sldId="10473"/>
            <ac:spMk id="59" creationId="{EA6890C8-3B25-4BC1-B255-6FDC8ACC9FFA}"/>
          </ac:spMkLst>
        </pc:spChg>
        <pc:spChg chg="mod">
          <ac:chgData name="Jean QUENTIN" userId="6962deb3-b639-4acd-8091-a0516ea2376b" providerId="ADAL" clId="{146BD8F6-FDDD-49D3-A1A6-146C954086FF}" dt="2021-05-24T13:36:18.878" v="4334" actId="790"/>
          <ac:spMkLst>
            <pc:docMk/>
            <pc:sldMk cId="3800479679" sldId="10473"/>
            <ac:spMk id="60" creationId="{2E0AF7B1-E1FA-4244-A8B3-5647CA25A2D8}"/>
          </ac:spMkLst>
        </pc:spChg>
        <pc:spChg chg="mod">
          <ac:chgData name="Jean QUENTIN" userId="6962deb3-b639-4acd-8091-a0516ea2376b" providerId="ADAL" clId="{146BD8F6-FDDD-49D3-A1A6-146C954086FF}" dt="2021-05-24T13:36:18.840" v="4314" actId="790"/>
          <ac:spMkLst>
            <pc:docMk/>
            <pc:sldMk cId="3800479679" sldId="10473"/>
            <ac:spMk id="61" creationId="{0CCFF1A2-CE09-4311-BD82-2FC01C7F8607}"/>
          </ac:spMkLst>
        </pc:spChg>
        <pc:spChg chg="mod">
          <ac:chgData name="Jean QUENTIN" userId="6962deb3-b639-4acd-8091-a0516ea2376b" providerId="ADAL" clId="{146BD8F6-FDDD-49D3-A1A6-146C954086FF}" dt="2021-05-24T13:36:18.893" v="4335" actId="790"/>
          <ac:spMkLst>
            <pc:docMk/>
            <pc:sldMk cId="3800479679" sldId="10473"/>
            <ac:spMk id="62" creationId="{FD9C8703-8870-4B66-BD32-4BBDFC990586}"/>
          </ac:spMkLst>
        </pc:spChg>
        <pc:spChg chg="mod">
          <ac:chgData name="Jean QUENTIN" userId="6962deb3-b639-4acd-8091-a0516ea2376b" providerId="ADAL" clId="{146BD8F6-FDDD-49D3-A1A6-146C954086FF}" dt="2021-05-24T13:36:18.893" v="4336" actId="790"/>
          <ac:spMkLst>
            <pc:docMk/>
            <pc:sldMk cId="3800479679" sldId="10473"/>
            <ac:spMk id="63" creationId="{49572747-F2B7-4B82-BACA-746AF07C39A7}"/>
          </ac:spMkLst>
        </pc:spChg>
        <pc:spChg chg="mod">
          <ac:chgData name="Jean QUENTIN" userId="6962deb3-b639-4acd-8091-a0516ea2376b" providerId="ADAL" clId="{146BD8F6-FDDD-49D3-A1A6-146C954086FF}" dt="2021-05-24T13:36:18.893" v="4337" actId="790"/>
          <ac:spMkLst>
            <pc:docMk/>
            <pc:sldMk cId="3800479679" sldId="10473"/>
            <ac:spMk id="64" creationId="{62AD9C8B-EE8D-4437-9A4F-DB3CF9653138}"/>
          </ac:spMkLst>
        </pc:spChg>
        <pc:spChg chg="mod">
          <ac:chgData name="Jean QUENTIN" userId="6962deb3-b639-4acd-8091-a0516ea2376b" providerId="ADAL" clId="{146BD8F6-FDDD-49D3-A1A6-146C954086FF}" dt="2021-05-24T13:36:18.840" v="4315" actId="790"/>
          <ac:spMkLst>
            <pc:docMk/>
            <pc:sldMk cId="3800479679" sldId="10473"/>
            <ac:spMk id="68" creationId="{A5346155-53F6-4492-8069-514F081C33B9}"/>
          </ac:spMkLst>
        </pc:spChg>
        <pc:spChg chg="mod">
          <ac:chgData name="Jean QUENTIN" userId="6962deb3-b639-4acd-8091-a0516ea2376b" providerId="ADAL" clId="{146BD8F6-FDDD-49D3-A1A6-146C954086FF}" dt="2021-05-24T13:36:18.840" v="4316" actId="790"/>
          <ac:spMkLst>
            <pc:docMk/>
            <pc:sldMk cId="3800479679" sldId="10473"/>
            <ac:spMk id="73" creationId="{98DD9878-7EFD-4EE3-8563-0AB6CA847BCD}"/>
          </ac:spMkLst>
        </pc:spChg>
        <pc:spChg chg="mod">
          <ac:chgData name="Jean QUENTIN" userId="6962deb3-b639-4acd-8091-a0516ea2376b" providerId="ADAL" clId="{146BD8F6-FDDD-49D3-A1A6-146C954086FF}" dt="2021-05-24T13:36:18.856" v="4319" actId="790"/>
          <ac:spMkLst>
            <pc:docMk/>
            <pc:sldMk cId="3800479679" sldId="10473"/>
            <ac:spMk id="78" creationId="{5112757C-9BF4-4BA1-9498-541BF2906FB2}"/>
          </ac:spMkLst>
        </pc:spChg>
        <pc:spChg chg="mod">
          <ac:chgData name="Jean QUENTIN" userId="6962deb3-b639-4acd-8091-a0516ea2376b" providerId="ADAL" clId="{146BD8F6-FDDD-49D3-A1A6-146C954086FF}" dt="2021-05-24T13:36:18.856" v="4320" actId="790"/>
          <ac:spMkLst>
            <pc:docMk/>
            <pc:sldMk cId="3800479679" sldId="10473"/>
            <ac:spMk id="79" creationId="{03A27743-6F0C-44CB-A476-520C8741EAE9}"/>
          </ac:spMkLst>
        </pc:spChg>
        <pc:spChg chg="mod">
          <ac:chgData name="Jean QUENTIN" userId="6962deb3-b639-4acd-8091-a0516ea2376b" providerId="ADAL" clId="{146BD8F6-FDDD-49D3-A1A6-146C954086FF}" dt="2021-05-24T13:36:18.862" v="4321" actId="790"/>
          <ac:spMkLst>
            <pc:docMk/>
            <pc:sldMk cId="3800479679" sldId="10473"/>
            <ac:spMk id="80" creationId="{E399A358-1215-4FA3-8339-9689B70175BF}"/>
          </ac:spMkLst>
        </pc:spChg>
        <pc:spChg chg="mod">
          <ac:chgData name="Jean QUENTIN" userId="6962deb3-b639-4acd-8091-a0516ea2376b" providerId="ADAL" clId="{146BD8F6-FDDD-49D3-A1A6-146C954086FF}" dt="2021-05-24T13:36:18.878" v="4328" actId="790"/>
          <ac:spMkLst>
            <pc:docMk/>
            <pc:sldMk cId="3800479679" sldId="10473"/>
            <ac:spMk id="81" creationId="{60F8FC4C-7305-426C-8523-F98FB2B728B2}"/>
          </ac:spMkLst>
        </pc:spChg>
        <pc:spChg chg="mod">
          <ac:chgData name="Jean QUENTIN" userId="6962deb3-b639-4acd-8091-a0516ea2376b" providerId="ADAL" clId="{146BD8F6-FDDD-49D3-A1A6-146C954086FF}" dt="2021-05-24T13:36:18.862" v="4322" actId="790"/>
          <ac:spMkLst>
            <pc:docMk/>
            <pc:sldMk cId="3800479679" sldId="10473"/>
            <ac:spMk id="82" creationId="{378DC2D4-4EBE-4118-8C40-86863555C037}"/>
          </ac:spMkLst>
        </pc:spChg>
        <pc:spChg chg="mod">
          <ac:chgData name="Jean QUENTIN" userId="6962deb3-b639-4acd-8091-a0516ea2376b" providerId="ADAL" clId="{146BD8F6-FDDD-49D3-A1A6-146C954086FF}" dt="2021-05-24T13:36:18.862" v="4323" actId="790"/>
          <ac:spMkLst>
            <pc:docMk/>
            <pc:sldMk cId="3800479679" sldId="10473"/>
            <ac:spMk id="84" creationId="{3C53EFB8-8D77-4743-B5E2-D02A8132C2B0}"/>
          </ac:spMkLst>
        </pc:spChg>
        <pc:spChg chg="mod">
          <ac:chgData name="Jean QUENTIN" userId="6962deb3-b639-4acd-8091-a0516ea2376b" providerId="ADAL" clId="{146BD8F6-FDDD-49D3-A1A6-146C954086FF}" dt="2021-05-24T13:36:18.878" v="4329" actId="790"/>
          <ac:spMkLst>
            <pc:docMk/>
            <pc:sldMk cId="3800479679" sldId="10473"/>
            <ac:spMk id="86" creationId="{5426AF42-AB87-4AFB-94AB-DD1D8EF561A6}"/>
          </ac:spMkLst>
        </pc:spChg>
        <pc:spChg chg="mod">
          <ac:chgData name="Jean QUENTIN" userId="6962deb3-b639-4acd-8091-a0516ea2376b" providerId="ADAL" clId="{146BD8F6-FDDD-49D3-A1A6-146C954086FF}" dt="2021-05-24T13:36:18.809" v="4300" actId="790"/>
          <ac:spMkLst>
            <pc:docMk/>
            <pc:sldMk cId="3800479679" sldId="10473"/>
            <ac:spMk id="88" creationId="{34AD6019-DF31-49B1-9576-11ED4DEEE9F3}"/>
          </ac:spMkLst>
        </pc:spChg>
        <pc:spChg chg="mod">
          <ac:chgData name="Jean QUENTIN" userId="6962deb3-b639-4acd-8091-a0516ea2376b" providerId="ADAL" clId="{146BD8F6-FDDD-49D3-A1A6-146C954086FF}" dt="2021-05-24T13:36:18.809" v="4301" actId="790"/>
          <ac:spMkLst>
            <pc:docMk/>
            <pc:sldMk cId="3800479679" sldId="10473"/>
            <ac:spMk id="89" creationId="{0E3C8382-14B0-4DD7-8CF1-F74F30CA1AB5}"/>
          </ac:spMkLst>
        </pc:spChg>
        <pc:spChg chg="mod">
          <ac:chgData name="Jean QUENTIN" userId="6962deb3-b639-4acd-8091-a0516ea2376b" providerId="ADAL" clId="{146BD8F6-FDDD-49D3-A1A6-146C954086FF}" dt="2021-05-24T13:36:18.809" v="4302" actId="790"/>
          <ac:spMkLst>
            <pc:docMk/>
            <pc:sldMk cId="3800479679" sldId="10473"/>
            <ac:spMk id="90" creationId="{08ED6D2A-682C-461A-BA1C-AC84CBEC2E76}"/>
          </ac:spMkLst>
        </pc:spChg>
        <pc:spChg chg="mod">
          <ac:chgData name="Jean QUENTIN" userId="6962deb3-b639-4acd-8091-a0516ea2376b" providerId="ADAL" clId="{146BD8F6-FDDD-49D3-A1A6-146C954086FF}" dt="2021-05-24T13:36:18.809" v="4303" actId="790"/>
          <ac:spMkLst>
            <pc:docMk/>
            <pc:sldMk cId="3800479679" sldId="10473"/>
            <ac:spMk id="91" creationId="{602468B7-98F9-47C4-8231-08793B2DF3B3}"/>
          </ac:spMkLst>
        </pc:spChg>
        <pc:spChg chg="mod">
          <ac:chgData name="Jean QUENTIN" userId="6962deb3-b639-4acd-8091-a0516ea2376b" providerId="ADAL" clId="{146BD8F6-FDDD-49D3-A1A6-146C954086FF}" dt="2021-05-24T13:36:18.862" v="4324" actId="790"/>
          <ac:spMkLst>
            <pc:docMk/>
            <pc:sldMk cId="3800479679" sldId="10473"/>
            <ac:spMk id="92" creationId="{58B5811A-7C8F-45CF-9D3B-9676978FB9CF}"/>
          </ac:spMkLst>
        </pc:spChg>
        <pc:spChg chg="mod">
          <ac:chgData name="Jean QUENTIN" userId="6962deb3-b639-4acd-8091-a0516ea2376b" providerId="ADAL" clId="{146BD8F6-FDDD-49D3-A1A6-146C954086FF}" dt="2021-05-24T13:36:18.809" v="4304" actId="790"/>
          <ac:spMkLst>
            <pc:docMk/>
            <pc:sldMk cId="3800479679" sldId="10473"/>
            <ac:spMk id="94" creationId="{BF5B00B0-9183-440C-A99F-1C50EFA053F6}"/>
          </ac:spMkLst>
        </pc:spChg>
        <pc:spChg chg="mod">
          <ac:chgData name="Jean QUENTIN" userId="6962deb3-b639-4acd-8091-a0516ea2376b" providerId="ADAL" clId="{146BD8F6-FDDD-49D3-A1A6-146C954086FF}" dt="2021-05-24T13:36:18.809" v="4305" actId="790"/>
          <ac:spMkLst>
            <pc:docMk/>
            <pc:sldMk cId="3800479679" sldId="10473"/>
            <ac:spMk id="95" creationId="{A1CB9407-E980-4B78-9BC3-672647E87D1B}"/>
          </ac:spMkLst>
        </pc:spChg>
        <pc:spChg chg="mod">
          <ac:chgData name="Jean QUENTIN" userId="6962deb3-b639-4acd-8091-a0516ea2376b" providerId="ADAL" clId="{146BD8F6-FDDD-49D3-A1A6-146C954086FF}" dt="2021-05-24T13:36:18.824" v="4306" actId="790"/>
          <ac:spMkLst>
            <pc:docMk/>
            <pc:sldMk cId="3800479679" sldId="10473"/>
            <ac:spMk id="96" creationId="{9C0F66FB-561C-4DB9-BAD1-4012B3F815F5}"/>
          </ac:spMkLst>
        </pc:spChg>
        <pc:spChg chg="mod">
          <ac:chgData name="Jean QUENTIN" userId="6962deb3-b639-4acd-8091-a0516ea2376b" providerId="ADAL" clId="{146BD8F6-FDDD-49D3-A1A6-146C954086FF}" dt="2021-05-24T13:36:18.824" v="4307" actId="790"/>
          <ac:spMkLst>
            <pc:docMk/>
            <pc:sldMk cId="3800479679" sldId="10473"/>
            <ac:spMk id="97" creationId="{C1B3BAF1-8B3C-4DCB-B21F-84C74A57C140}"/>
          </ac:spMkLst>
        </pc:spChg>
        <pc:spChg chg="mod">
          <ac:chgData name="Jean QUENTIN" userId="6962deb3-b639-4acd-8091-a0516ea2376b" providerId="ADAL" clId="{146BD8F6-FDDD-49D3-A1A6-146C954086FF}" dt="2021-05-24T13:36:18.862" v="4325" actId="790"/>
          <ac:spMkLst>
            <pc:docMk/>
            <pc:sldMk cId="3800479679" sldId="10473"/>
            <ac:spMk id="98" creationId="{E7E824A9-0075-4DB7-94CB-07C41244E4EF}"/>
          </ac:spMkLst>
        </pc:spChg>
        <pc:spChg chg="mod">
          <ac:chgData name="Jean QUENTIN" userId="6962deb3-b639-4acd-8091-a0516ea2376b" providerId="ADAL" clId="{146BD8F6-FDDD-49D3-A1A6-146C954086FF}" dt="2021-05-24T13:36:18.862" v="4326" actId="790"/>
          <ac:spMkLst>
            <pc:docMk/>
            <pc:sldMk cId="3800479679" sldId="10473"/>
            <ac:spMk id="99" creationId="{9F13D4F4-DACE-4D56-AD46-7369D3A8494C}"/>
          </ac:spMkLst>
        </pc:spChg>
        <pc:spChg chg="mod">
          <ac:chgData name="Jean QUENTIN" userId="6962deb3-b639-4acd-8091-a0516ea2376b" providerId="ADAL" clId="{146BD8F6-FDDD-49D3-A1A6-146C954086FF}" dt="2021-05-24T13:36:18.878" v="4327" actId="790"/>
          <ac:spMkLst>
            <pc:docMk/>
            <pc:sldMk cId="3800479679" sldId="10473"/>
            <ac:spMk id="109" creationId="{E8BE3BCE-A832-4D22-9958-D819266EA290}"/>
          </ac:spMkLst>
        </pc:spChg>
        <pc:spChg chg="mod">
          <ac:chgData name="Jean QUENTIN" userId="6962deb3-b639-4acd-8091-a0516ea2376b" providerId="ADAL" clId="{146BD8F6-FDDD-49D3-A1A6-146C954086FF}" dt="2021-05-24T13:36:18.878" v="4330" actId="790"/>
          <ac:spMkLst>
            <pc:docMk/>
            <pc:sldMk cId="3800479679" sldId="10473"/>
            <ac:spMk id="114" creationId="{EF7E7272-A5E8-48AE-AF6F-C99EB6336D02}"/>
          </ac:spMkLst>
        </pc:spChg>
        <pc:spChg chg="mod">
          <ac:chgData name="Jean QUENTIN" userId="6962deb3-b639-4acd-8091-a0516ea2376b" providerId="ADAL" clId="{146BD8F6-FDDD-49D3-A1A6-146C954086FF}" dt="2021-05-24T13:36:18.878" v="4331" actId="790"/>
          <ac:spMkLst>
            <pc:docMk/>
            <pc:sldMk cId="3800479679" sldId="10473"/>
            <ac:spMk id="115" creationId="{E4406749-7A4A-41F0-A850-CE3465C20F17}"/>
          </ac:spMkLst>
        </pc:spChg>
        <pc:spChg chg="mod">
          <ac:chgData name="Jean QUENTIN" userId="6962deb3-b639-4acd-8091-a0516ea2376b" providerId="ADAL" clId="{146BD8F6-FDDD-49D3-A1A6-146C954086FF}" dt="2021-05-24T13:36:18.878" v="4332" actId="790"/>
          <ac:spMkLst>
            <pc:docMk/>
            <pc:sldMk cId="3800479679" sldId="10473"/>
            <ac:spMk id="116" creationId="{2806627C-A398-4592-B3EB-4C56D0420050}"/>
          </ac:spMkLst>
        </pc:spChg>
        <pc:spChg chg="mod">
          <ac:chgData name="Jean QUENTIN" userId="6962deb3-b639-4acd-8091-a0516ea2376b" providerId="ADAL" clId="{146BD8F6-FDDD-49D3-A1A6-146C954086FF}" dt="2021-05-24T13:36:18.824" v="4308" actId="790"/>
          <ac:spMkLst>
            <pc:docMk/>
            <pc:sldMk cId="3800479679" sldId="10473"/>
            <ac:spMk id="152" creationId="{FD7ED2BD-3A04-423A-8563-A638727F3B40}"/>
          </ac:spMkLst>
        </pc:spChg>
      </pc:sldChg>
      <pc:sldChg chg="modSp mod">
        <pc:chgData name="Jean QUENTIN" userId="6962deb3-b639-4acd-8091-a0516ea2376b" providerId="ADAL" clId="{146BD8F6-FDDD-49D3-A1A6-146C954086FF}" dt="2021-05-24T13:36:19.194" v="4470" actId="790"/>
        <pc:sldMkLst>
          <pc:docMk/>
          <pc:sldMk cId="2505788154" sldId="10474"/>
        </pc:sldMkLst>
        <pc:spChg chg="mod">
          <ac:chgData name="Jean QUENTIN" userId="6962deb3-b639-4acd-8091-a0516ea2376b" providerId="ADAL" clId="{146BD8F6-FDDD-49D3-A1A6-146C954086FF}" dt="2021-05-24T13:36:19.094" v="4424" actId="790"/>
          <ac:spMkLst>
            <pc:docMk/>
            <pc:sldMk cId="2505788154" sldId="10474"/>
            <ac:spMk id="2" creationId="{BA3E4240-1B8B-4AAA-9DCA-9FE236464846}"/>
          </ac:spMkLst>
        </pc:spChg>
        <pc:spChg chg="mod">
          <ac:chgData name="Jean QUENTIN" userId="6962deb3-b639-4acd-8091-a0516ea2376b" providerId="ADAL" clId="{146BD8F6-FDDD-49D3-A1A6-146C954086FF}" dt="2021-05-24T13:36:19.094" v="4425" actId="790"/>
          <ac:spMkLst>
            <pc:docMk/>
            <pc:sldMk cId="2505788154" sldId="10474"/>
            <ac:spMk id="3" creationId="{1773FC09-D385-45A1-AC2E-146DDDE8BD0A}"/>
          </ac:spMkLst>
        </pc:spChg>
        <pc:spChg chg="mod">
          <ac:chgData name="Jean QUENTIN" userId="6962deb3-b639-4acd-8091-a0516ea2376b" providerId="ADAL" clId="{146BD8F6-FDDD-49D3-A1A6-146C954086FF}" dt="2021-05-24T13:36:19.094" v="4426" actId="790"/>
          <ac:spMkLst>
            <pc:docMk/>
            <pc:sldMk cId="2505788154" sldId="10474"/>
            <ac:spMk id="9" creationId="{8EBE87B3-F04E-491F-82E3-AD5C42A920E2}"/>
          </ac:spMkLst>
        </pc:spChg>
        <pc:spChg chg="mod">
          <ac:chgData name="Jean QUENTIN" userId="6962deb3-b639-4acd-8091-a0516ea2376b" providerId="ADAL" clId="{146BD8F6-FDDD-49D3-A1A6-146C954086FF}" dt="2021-05-24T13:36:19.125" v="4441" actId="790"/>
          <ac:spMkLst>
            <pc:docMk/>
            <pc:sldMk cId="2505788154" sldId="10474"/>
            <ac:spMk id="10" creationId="{8B80541E-0CB8-4F46-AA31-1D2CE8ECE50F}"/>
          </ac:spMkLst>
        </pc:spChg>
        <pc:spChg chg="mod">
          <ac:chgData name="Jean QUENTIN" userId="6962deb3-b639-4acd-8091-a0516ea2376b" providerId="ADAL" clId="{146BD8F6-FDDD-49D3-A1A6-146C954086FF}" dt="2021-05-24T13:36:19.094" v="4427" actId="790"/>
          <ac:spMkLst>
            <pc:docMk/>
            <pc:sldMk cId="2505788154" sldId="10474"/>
            <ac:spMk id="12" creationId="{5632CA9B-96AD-46F9-9A8A-B6E6800443DD}"/>
          </ac:spMkLst>
        </pc:spChg>
        <pc:spChg chg="mod">
          <ac:chgData name="Jean QUENTIN" userId="6962deb3-b639-4acd-8091-a0516ea2376b" providerId="ADAL" clId="{146BD8F6-FDDD-49D3-A1A6-146C954086FF}" dt="2021-05-24T13:36:19.110" v="4428" actId="790"/>
          <ac:spMkLst>
            <pc:docMk/>
            <pc:sldMk cId="2505788154" sldId="10474"/>
            <ac:spMk id="24" creationId="{B613E2EA-B96E-46E4-BF88-51F7E87FD434}"/>
          </ac:spMkLst>
        </pc:spChg>
        <pc:spChg chg="mod">
          <ac:chgData name="Jean QUENTIN" userId="6962deb3-b639-4acd-8091-a0516ea2376b" providerId="ADAL" clId="{146BD8F6-FDDD-49D3-A1A6-146C954086FF}" dt="2021-05-24T13:36:19.110" v="4429" actId="790"/>
          <ac:spMkLst>
            <pc:docMk/>
            <pc:sldMk cId="2505788154" sldId="10474"/>
            <ac:spMk id="25" creationId="{0634D66A-E6F6-4578-8A06-11D9F3F9E648}"/>
          </ac:spMkLst>
        </pc:spChg>
        <pc:spChg chg="mod">
          <ac:chgData name="Jean QUENTIN" userId="6962deb3-b639-4acd-8091-a0516ea2376b" providerId="ADAL" clId="{146BD8F6-FDDD-49D3-A1A6-146C954086FF}" dt="2021-05-24T13:36:19.110" v="4430" actId="790"/>
          <ac:spMkLst>
            <pc:docMk/>
            <pc:sldMk cId="2505788154" sldId="10474"/>
            <ac:spMk id="31" creationId="{0C5924EB-4FAB-4EEB-8C48-044C8B950722}"/>
          </ac:spMkLst>
        </pc:spChg>
        <pc:spChg chg="mod">
          <ac:chgData name="Jean QUENTIN" userId="6962deb3-b639-4acd-8091-a0516ea2376b" providerId="ADAL" clId="{146BD8F6-FDDD-49D3-A1A6-146C954086FF}" dt="2021-05-24T13:36:19.110" v="4431" actId="790"/>
          <ac:spMkLst>
            <pc:docMk/>
            <pc:sldMk cId="2505788154" sldId="10474"/>
            <ac:spMk id="32" creationId="{F2EECF5B-E5DE-4D06-85AD-830FFDAFCB24}"/>
          </ac:spMkLst>
        </pc:spChg>
        <pc:spChg chg="mod">
          <ac:chgData name="Jean QUENTIN" userId="6962deb3-b639-4acd-8091-a0516ea2376b" providerId="ADAL" clId="{146BD8F6-FDDD-49D3-A1A6-146C954086FF}" dt="2021-05-24T13:36:19.125" v="4442" actId="790"/>
          <ac:spMkLst>
            <pc:docMk/>
            <pc:sldMk cId="2505788154" sldId="10474"/>
            <ac:spMk id="54" creationId="{A1ED7959-6972-4CA1-87DE-4A9E265D1EE1}"/>
          </ac:spMkLst>
        </pc:spChg>
        <pc:spChg chg="mod">
          <ac:chgData name="Jean QUENTIN" userId="6962deb3-b639-4acd-8091-a0516ea2376b" providerId="ADAL" clId="{146BD8F6-FDDD-49D3-A1A6-146C954086FF}" dt="2021-05-24T13:36:19.141" v="4446" actId="790"/>
          <ac:spMkLst>
            <pc:docMk/>
            <pc:sldMk cId="2505788154" sldId="10474"/>
            <ac:spMk id="59" creationId="{EA6890C8-3B25-4BC1-B255-6FDC8ACC9FFA}"/>
          </ac:spMkLst>
        </pc:spChg>
        <pc:spChg chg="mod">
          <ac:chgData name="Jean QUENTIN" userId="6962deb3-b639-4acd-8091-a0516ea2376b" providerId="ADAL" clId="{146BD8F6-FDDD-49D3-A1A6-146C954086FF}" dt="2021-05-24T13:36:19.141" v="4447" actId="790"/>
          <ac:spMkLst>
            <pc:docMk/>
            <pc:sldMk cId="2505788154" sldId="10474"/>
            <ac:spMk id="60" creationId="{2E0AF7B1-E1FA-4244-A8B3-5647CA25A2D8}"/>
          </ac:spMkLst>
        </pc:spChg>
        <pc:spChg chg="mod">
          <ac:chgData name="Jean QUENTIN" userId="6962deb3-b639-4acd-8091-a0516ea2376b" providerId="ADAL" clId="{146BD8F6-FDDD-49D3-A1A6-146C954086FF}" dt="2021-05-24T13:36:19.141" v="4443" actId="790"/>
          <ac:spMkLst>
            <pc:docMk/>
            <pc:sldMk cId="2505788154" sldId="10474"/>
            <ac:spMk id="61" creationId="{0CCFF1A2-CE09-4311-BD82-2FC01C7F8607}"/>
          </ac:spMkLst>
        </pc:spChg>
        <pc:spChg chg="mod">
          <ac:chgData name="Jean QUENTIN" userId="6962deb3-b639-4acd-8091-a0516ea2376b" providerId="ADAL" clId="{146BD8F6-FDDD-49D3-A1A6-146C954086FF}" dt="2021-05-24T13:36:19.141" v="4448" actId="790"/>
          <ac:spMkLst>
            <pc:docMk/>
            <pc:sldMk cId="2505788154" sldId="10474"/>
            <ac:spMk id="62" creationId="{FD9C8703-8870-4B66-BD32-4BBDFC990586}"/>
          </ac:spMkLst>
        </pc:spChg>
        <pc:spChg chg="mod">
          <ac:chgData name="Jean QUENTIN" userId="6962deb3-b639-4acd-8091-a0516ea2376b" providerId="ADAL" clId="{146BD8F6-FDDD-49D3-A1A6-146C954086FF}" dt="2021-05-24T13:36:19.141" v="4449" actId="790"/>
          <ac:spMkLst>
            <pc:docMk/>
            <pc:sldMk cId="2505788154" sldId="10474"/>
            <ac:spMk id="63" creationId="{49572747-F2B7-4B82-BACA-746AF07C39A7}"/>
          </ac:spMkLst>
        </pc:spChg>
        <pc:spChg chg="mod">
          <ac:chgData name="Jean QUENTIN" userId="6962deb3-b639-4acd-8091-a0516ea2376b" providerId="ADAL" clId="{146BD8F6-FDDD-49D3-A1A6-146C954086FF}" dt="2021-05-24T13:36:19.141" v="4450" actId="790"/>
          <ac:spMkLst>
            <pc:docMk/>
            <pc:sldMk cId="2505788154" sldId="10474"/>
            <ac:spMk id="64" creationId="{62AD9C8B-EE8D-4437-9A4F-DB3CF9653138}"/>
          </ac:spMkLst>
        </pc:spChg>
        <pc:spChg chg="mod">
          <ac:chgData name="Jean QUENTIN" userId="6962deb3-b639-4acd-8091-a0516ea2376b" providerId="ADAL" clId="{146BD8F6-FDDD-49D3-A1A6-146C954086FF}" dt="2021-05-24T13:36:19.141" v="4451" actId="790"/>
          <ac:spMkLst>
            <pc:docMk/>
            <pc:sldMk cId="2505788154" sldId="10474"/>
            <ac:spMk id="65" creationId="{621ABA10-DB52-4BB0-BAFC-8BE5CFD23B9F}"/>
          </ac:spMkLst>
        </pc:spChg>
        <pc:spChg chg="mod">
          <ac:chgData name="Jean QUENTIN" userId="6962deb3-b639-4acd-8091-a0516ea2376b" providerId="ADAL" clId="{146BD8F6-FDDD-49D3-A1A6-146C954086FF}" dt="2021-05-24T13:36:19.141" v="4452" actId="790"/>
          <ac:spMkLst>
            <pc:docMk/>
            <pc:sldMk cId="2505788154" sldId="10474"/>
            <ac:spMk id="66" creationId="{A3EC114C-5251-4558-8979-7A09B9BD87E8}"/>
          </ac:spMkLst>
        </pc:spChg>
        <pc:spChg chg="mod">
          <ac:chgData name="Jean QUENTIN" userId="6962deb3-b639-4acd-8091-a0516ea2376b" providerId="ADAL" clId="{146BD8F6-FDDD-49D3-A1A6-146C954086FF}" dt="2021-05-24T13:36:19.141" v="4453" actId="790"/>
          <ac:spMkLst>
            <pc:docMk/>
            <pc:sldMk cId="2505788154" sldId="10474"/>
            <ac:spMk id="67" creationId="{44209A18-064E-4D98-A20A-566CF9E8375A}"/>
          </ac:spMkLst>
        </pc:spChg>
        <pc:spChg chg="mod">
          <ac:chgData name="Jean QUENTIN" userId="6962deb3-b639-4acd-8091-a0516ea2376b" providerId="ADAL" clId="{146BD8F6-FDDD-49D3-A1A6-146C954086FF}" dt="2021-05-24T13:36:19.141" v="4444" actId="790"/>
          <ac:spMkLst>
            <pc:docMk/>
            <pc:sldMk cId="2505788154" sldId="10474"/>
            <ac:spMk id="68" creationId="{A5346155-53F6-4492-8069-514F081C33B9}"/>
          </ac:spMkLst>
        </pc:spChg>
        <pc:spChg chg="mod">
          <ac:chgData name="Jean QUENTIN" userId="6962deb3-b639-4acd-8091-a0516ea2376b" providerId="ADAL" clId="{146BD8F6-FDDD-49D3-A1A6-146C954086FF}" dt="2021-05-24T13:36:19.141" v="4454" actId="790"/>
          <ac:spMkLst>
            <pc:docMk/>
            <pc:sldMk cId="2505788154" sldId="10474"/>
            <ac:spMk id="72" creationId="{C5BAE9F3-F0CE-4E5D-A59F-809FDD7B37E5}"/>
          </ac:spMkLst>
        </pc:spChg>
        <pc:spChg chg="mod">
          <ac:chgData name="Jean QUENTIN" userId="6962deb3-b639-4acd-8091-a0516ea2376b" providerId="ADAL" clId="{146BD8F6-FDDD-49D3-A1A6-146C954086FF}" dt="2021-05-24T13:36:19.141" v="4445" actId="790"/>
          <ac:spMkLst>
            <pc:docMk/>
            <pc:sldMk cId="2505788154" sldId="10474"/>
            <ac:spMk id="73" creationId="{98DD9878-7EFD-4EE3-8563-0AB6CA847BCD}"/>
          </ac:spMkLst>
        </pc:spChg>
        <pc:spChg chg="mod">
          <ac:chgData name="Jean QUENTIN" userId="6962deb3-b639-4acd-8091-a0516ea2376b" providerId="ADAL" clId="{146BD8F6-FDDD-49D3-A1A6-146C954086FF}" dt="2021-05-24T13:36:19.156" v="4455" actId="790"/>
          <ac:spMkLst>
            <pc:docMk/>
            <pc:sldMk cId="2505788154" sldId="10474"/>
            <ac:spMk id="74" creationId="{E5DAF6B5-73B5-4F99-AC68-3AF9C1E72B1A}"/>
          </ac:spMkLst>
        </pc:spChg>
        <pc:spChg chg="mod">
          <ac:chgData name="Jean QUENTIN" userId="6962deb3-b639-4acd-8091-a0516ea2376b" providerId="ADAL" clId="{146BD8F6-FDDD-49D3-A1A6-146C954086FF}" dt="2021-05-24T13:36:19.156" v="4456" actId="790"/>
          <ac:spMkLst>
            <pc:docMk/>
            <pc:sldMk cId="2505788154" sldId="10474"/>
            <ac:spMk id="75" creationId="{FC4FB322-02D4-4E5C-B006-A484E3CA441A}"/>
          </ac:spMkLst>
        </pc:spChg>
        <pc:spChg chg="mod">
          <ac:chgData name="Jean QUENTIN" userId="6962deb3-b639-4acd-8091-a0516ea2376b" providerId="ADAL" clId="{146BD8F6-FDDD-49D3-A1A6-146C954086FF}" dt="2021-05-24T13:36:19.163" v="4457" actId="790"/>
          <ac:spMkLst>
            <pc:docMk/>
            <pc:sldMk cId="2505788154" sldId="10474"/>
            <ac:spMk id="76" creationId="{38973F65-37ED-4CDC-9A45-5183BBDA5DB7}"/>
          </ac:spMkLst>
        </pc:spChg>
        <pc:spChg chg="mod">
          <ac:chgData name="Jean QUENTIN" userId="6962deb3-b639-4acd-8091-a0516ea2376b" providerId="ADAL" clId="{146BD8F6-FDDD-49D3-A1A6-146C954086FF}" dt="2021-05-24T13:36:19.163" v="4458" actId="790"/>
          <ac:spMkLst>
            <pc:docMk/>
            <pc:sldMk cId="2505788154" sldId="10474"/>
            <ac:spMk id="77" creationId="{C58DFF13-F614-467C-A649-5174336B1430}"/>
          </ac:spMkLst>
        </pc:spChg>
        <pc:spChg chg="mod">
          <ac:chgData name="Jean QUENTIN" userId="6962deb3-b639-4acd-8091-a0516ea2376b" providerId="ADAL" clId="{146BD8F6-FDDD-49D3-A1A6-146C954086FF}" dt="2021-05-24T13:36:19.163" v="4459" actId="790"/>
          <ac:spMkLst>
            <pc:docMk/>
            <pc:sldMk cId="2505788154" sldId="10474"/>
            <ac:spMk id="83" creationId="{F3D9AFF7-1D4F-497C-9EBC-5196256BD28B}"/>
          </ac:spMkLst>
        </pc:spChg>
        <pc:spChg chg="mod">
          <ac:chgData name="Jean QUENTIN" userId="6962deb3-b639-4acd-8091-a0516ea2376b" providerId="ADAL" clId="{146BD8F6-FDDD-49D3-A1A6-146C954086FF}" dt="2021-05-24T13:36:19.163" v="4460" actId="790"/>
          <ac:spMkLst>
            <pc:docMk/>
            <pc:sldMk cId="2505788154" sldId="10474"/>
            <ac:spMk id="87" creationId="{7BB8F9F8-E10F-4E64-9187-C6D2D1422ACE}"/>
          </ac:spMkLst>
        </pc:spChg>
        <pc:spChg chg="mod">
          <ac:chgData name="Jean QUENTIN" userId="6962deb3-b639-4acd-8091-a0516ea2376b" providerId="ADAL" clId="{146BD8F6-FDDD-49D3-A1A6-146C954086FF}" dt="2021-05-24T13:36:19.110" v="4432" actId="790"/>
          <ac:spMkLst>
            <pc:docMk/>
            <pc:sldMk cId="2505788154" sldId="10474"/>
            <ac:spMk id="88" creationId="{34AD6019-DF31-49B1-9576-11ED4DEEE9F3}"/>
          </ac:spMkLst>
        </pc:spChg>
        <pc:spChg chg="mod">
          <ac:chgData name="Jean QUENTIN" userId="6962deb3-b639-4acd-8091-a0516ea2376b" providerId="ADAL" clId="{146BD8F6-FDDD-49D3-A1A6-146C954086FF}" dt="2021-05-24T13:36:19.110" v="4433" actId="790"/>
          <ac:spMkLst>
            <pc:docMk/>
            <pc:sldMk cId="2505788154" sldId="10474"/>
            <ac:spMk id="89" creationId="{0E3C8382-14B0-4DD7-8CF1-F74F30CA1AB5}"/>
          </ac:spMkLst>
        </pc:spChg>
        <pc:spChg chg="mod">
          <ac:chgData name="Jean QUENTIN" userId="6962deb3-b639-4acd-8091-a0516ea2376b" providerId="ADAL" clId="{146BD8F6-FDDD-49D3-A1A6-146C954086FF}" dt="2021-05-24T13:36:19.110" v="4434" actId="790"/>
          <ac:spMkLst>
            <pc:docMk/>
            <pc:sldMk cId="2505788154" sldId="10474"/>
            <ac:spMk id="90" creationId="{08ED6D2A-682C-461A-BA1C-AC84CBEC2E76}"/>
          </ac:spMkLst>
        </pc:spChg>
        <pc:spChg chg="mod">
          <ac:chgData name="Jean QUENTIN" userId="6962deb3-b639-4acd-8091-a0516ea2376b" providerId="ADAL" clId="{146BD8F6-FDDD-49D3-A1A6-146C954086FF}" dt="2021-05-24T13:36:19.125" v="4435" actId="790"/>
          <ac:spMkLst>
            <pc:docMk/>
            <pc:sldMk cId="2505788154" sldId="10474"/>
            <ac:spMk id="91" creationId="{602468B7-98F9-47C4-8231-08793B2DF3B3}"/>
          </ac:spMkLst>
        </pc:spChg>
        <pc:spChg chg="mod">
          <ac:chgData name="Jean QUENTIN" userId="6962deb3-b639-4acd-8091-a0516ea2376b" providerId="ADAL" clId="{146BD8F6-FDDD-49D3-A1A6-146C954086FF}" dt="2021-05-24T13:36:19.125" v="4436" actId="790"/>
          <ac:spMkLst>
            <pc:docMk/>
            <pc:sldMk cId="2505788154" sldId="10474"/>
            <ac:spMk id="94" creationId="{BF5B00B0-9183-440C-A99F-1C50EFA053F6}"/>
          </ac:spMkLst>
        </pc:spChg>
        <pc:spChg chg="mod">
          <ac:chgData name="Jean QUENTIN" userId="6962deb3-b639-4acd-8091-a0516ea2376b" providerId="ADAL" clId="{146BD8F6-FDDD-49D3-A1A6-146C954086FF}" dt="2021-05-24T13:36:19.125" v="4437" actId="790"/>
          <ac:spMkLst>
            <pc:docMk/>
            <pc:sldMk cId="2505788154" sldId="10474"/>
            <ac:spMk id="95" creationId="{A1CB9407-E980-4B78-9BC3-672647E87D1B}"/>
          </ac:spMkLst>
        </pc:spChg>
        <pc:spChg chg="mod">
          <ac:chgData name="Jean QUENTIN" userId="6962deb3-b639-4acd-8091-a0516ea2376b" providerId="ADAL" clId="{146BD8F6-FDDD-49D3-A1A6-146C954086FF}" dt="2021-05-24T13:36:19.125" v="4438" actId="790"/>
          <ac:spMkLst>
            <pc:docMk/>
            <pc:sldMk cId="2505788154" sldId="10474"/>
            <ac:spMk id="96" creationId="{9C0F66FB-561C-4DB9-BAD1-4012B3F815F5}"/>
          </ac:spMkLst>
        </pc:spChg>
        <pc:spChg chg="mod">
          <ac:chgData name="Jean QUENTIN" userId="6962deb3-b639-4acd-8091-a0516ea2376b" providerId="ADAL" clId="{146BD8F6-FDDD-49D3-A1A6-146C954086FF}" dt="2021-05-24T13:36:19.125" v="4439" actId="790"/>
          <ac:spMkLst>
            <pc:docMk/>
            <pc:sldMk cId="2505788154" sldId="10474"/>
            <ac:spMk id="97" creationId="{C1B3BAF1-8B3C-4DCB-B21F-84C74A57C140}"/>
          </ac:spMkLst>
        </pc:spChg>
        <pc:spChg chg="mod">
          <ac:chgData name="Jean QUENTIN" userId="6962deb3-b639-4acd-8091-a0516ea2376b" providerId="ADAL" clId="{146BD8F6-FDDD-49D3-A1A6-146C954086FF}" dt="2021-05-24T13:36:19.163" v="4461" actId="790"/>
          <ac:spMkLst>
            <pc:docMk/>
            <pc:sldMk cId="2505788154" sldId="10474"/>
            <ac:spMk id="104" creationId="{849ECA68-F6D3-4283-B6B3-B59566FC1F6D}"/>
          </ac:spMkLst>
        </pc:spChg>
        <pc:spChg chg="mod">
          <ac:chgData name="Jean QUENTIN" userId="6962deb3-b639-4acd-8091-a0516ea2376b" providerId="ADAL" clId="{146BD8F6-FDDD-49D3-A1A6-146C954086FF}" dt="2021-05-24T13:36:19.163" v="4462" actId="790"/>
          <ac:spMkLst>
            <pc:docMk/>
            <pc:sldMk cId="2505788154" sldId="10474"/>
            <ac:spMk id="105" creationId="{EEE2C96C-B2B1-48D8-9332-E30827E4B0D0}"/>
          </ac:spMkLst>
        </pc:spChg>
        <pc:spChg chg="mod">
          <ac:chgData name="Jean QUENTIN" userId="6962deb3-b639-4acd-8091-a0516ea2376b" providerId="ADAL" clId="{146BD8F6-FDDD-49D3-A1A6-146C954086FF}" dt="2021-05-24T13:36:19.179" v="4463" actId="790"/>
          <ac:spMkLst>
            <pc:docMk/>
            <pc:sldMk cId="2505788154" sldId="10474"/>
            <ac:spMk id="106" creationId="{0CE85CB8-7C7A-49B2-A57F-88CBBDC8A596}"/>
          </ac:spMkLst>
        </pc:spChg>
        <pc:spChg chg="mod">
          <ac:chgData name="Jean QUENTIN" userId="6962deb3-b639-4acd-8091-a0516ea2376b" providerId="ADAL" clId="{146BD8F6-FDDD-49D3-A1A6-146C954086FF}" dt="2021-05-24T13:36:19.179" v="4464" actId="790"/>
          <ac:spMkLst>
            <pc:docMk/>
            <pc:sldMk cId="2505788154" sldId="10474"/>
            <ac:spMk id="107" creationId="{E85C8784-F071-4729-9033-22C4CE869084}"/>
          </ac:spMkLst>
        </pc:spChg>
        <pc:spChg chg="mod">
          <ac:chgData name="Jean QUENTIN" userId="6962deb3-b639-4acd-8091-a0516ea2376b" providerId="ADAL" clId="{146BD8F6-FDDD-49D3-A1A6-146C954086FF}" dt="2021-05-24T13:36:19.179" v="4465" actId="790"/>
          <ac:spMkLst>
            <pc:docMk/>
            <pc:sldMk cId="2505788154" sldId="10474"/>
            <ac:spMk id="108" creationId="{718E7AB5-E818-4750-AA50-CF34925A2446}"/>
          </ac:spMkLst>
        </pc:spChg>
        <pc:spChg chg="mod">
          <ac:chgData name="Jean QUENTIN" userId="6962deb3-b639-4acd-8091-a0516ea2376b" providerId="ADAL" clId="{146BD8F6-FDDD-49D3-A1A6-146C954086FF}" dt="2021-05-24T13:36:19.179" v="4466" actId="790"/>
          <ac:spMkLst>
            <pc:docMk/>
            <pc:sldMk cId="2505788154" sldId="10474"/>
            <ac:spMk id="110" creationId="{F5CF73F8-DE8B-4531-8E6F-66A5B1437B68}"/>
          </ac:spMkLst>
        </pc:spChg>
        <pc:spChg chg="mod">
          <ac:chgData name="Jean QUENTIN" userId="6962deb3-b639-4acd-8091-a0516ea2376b" providerId="ADAL" clId="{146BD8F6-FDDD-49D3-A1A6-146C954086FF}" dt="2021-05-24T13:36:19.179" v="4467" actId="790"/>
          <ac:spMkLst>
            <pc:docMk/>
            <pc:sldMk cId="2505788154" sldId="10474"/>
            <ac:spMk id="112" creationId="{F1E7BD5C-F003-4784-B812-A952EED452E0}"/>
          </ac:spMkLst>
        </pc:spChg>
        <pc:spChg chg="mod">
          <ac:chgData name="Jean QUENTIN" userId="6962deb3-b639-4acd-8091-a0516ea2376b" providerId="ADAL" clId="{146BD8F6-FDDD-49D3-A1A6-146C954086FF}" dt="2021-05-24T13:36:19.179" v="4468" actId="790"/>
          <ac:spMkLst>
            <pc:docMk/>
            <pc:sldMk cId="2505788154" sldId="10474"/>
            <ac:spMk id="113" creationId="{34780B37-667B-46AD-A90A-2E9A04B51827}"/>
          </ac:spMkLst>
        </pc:spChg>
        <pc:spChg chg="mod">
          <ac:chgData name="Jean QUENTIN" userId="6962deb3-b639-4acd-8091-a0516ea2376b" providerId="ADAL" clId="{146BD8F6-FDDD-49D3-A1A6-146C954086FF}" dt="2021-05-24T13:36:19.094" v="4420" actId="790"/>
          <ac:spMkLst>
            <pc:docMk/>
            <pc:sldMk cId="2505788154" sldId="10474"/>
            <ac:spMk id="129" creationId="{D71975E8-6EB4-4EA3-B34C-4F9196C4ABBE}"/>
          </ac:spMkLst>
        </pc:spChg>
        <pc:spChg chg="mod">
          <ac:chgData name="Jean QUENTIN" userId="6962deb3-b639-4acd-8091-a0516ea2376b" providerId="ADAL" clId="{146BD8F6-FDDD-49D3-A1A6-146C954086FF}" dt="2021-05-24T13:36:19.094" v="4421" actId="790"/>
          <ac:spMkLst>
            <pc:docMk/>
            <pc:sldMk cId="2505788154" sldId="10474"/>
            <ac:spMk id="133" creationId="{A342E216-A2F2-4FE4-89F9-E0010C3D7924}"/>
          </ac:spMkLst>
        </pc:spChg>
        <pc:spChg chg="mod">
          <ac:chgData name="Jean QUENTIN" userId="6962deb3-b639-4acd-8091-a0516ea2376b" providerId="ADAL" clId="{146BD8F6-FDDD-49D3-A1A6-146C954086FF}" dt="2021-05-24T13:36:19.094" v="4422" actId="790"/>
          <ac:spMkLst>
            <pc:docMk/>
            <pc:sldMk cId="2505788154" sldId="10474"/>
            <ac:spMk id="134" creationId="{70FE3725-42CC-4172-9F8D-F2B05517B173}"/>
          </ac:spMkLst>
        </pc:spChg>
        <pc:spChg chg="mod">
          <ac:chgData name="Jean QUENTIN" userId="6962deb3-b639-4acd-8091-a0516ea2376b" providerId="ADAL" clId="{146BD8F6-FDDD-49D3-A1A6-146C954086FF}" dt="2021-05-24T13:36:19.094" v="4423" actId="790"/>
          <ac:spMkLst>
            <pc:docMk/>
            <pc:sldMk cId="2505788154" sldId="10474"/>
            <ac:spMk id="135" creationId="{E9E47757-74E5-4C3A-8349-4DF9BC11DA26}"/>
          </ac:spMkLst>
        </pc:spChg>
        <pc:spChg chg="mod">
          <ac:chgData name="Jean QUENTIN" userId="6962deb3-b639-4acd-8091-a0516ea2376b" providerId="ADAL" clId="{146BD8F6-FDDD-49D3-A1A6-146C954086FF}" dt="2021-05-24T13:36:19.194" v="4469" actId="790"/>
          <ac:spMkLst>
            <pc:docMk/>
            <pc:sldMk cId="2505788154" sldId="10474"/>
            <ac:spMk id="136" creationId="{F5655A12-1321-41AD-A021-A3F6072E401C}"/>
          </ac:spMkLst>
        </pc:spChg>
        <pc:spChg chg="mod">
          <ac:chgData name="Jean QUENTIN" userId="6962deb3-b639-4acd-8091-a0516ea2376b" providerId="ADAL" clId="{146BD8F6-FDDD-49D3-A1A6-146C954086FF}" dt="2021-05-24T13:36:19.194" v="4470" actId="790"/>
          <ac:spMkLst>
            <pc:docMk/>
            <pc:sldMk cId="2505788154" sldId="10474"/>
            <ac:spMk id="137" creationId="{06AB971E-2F11-4688-B19E-8FA8645680CD}"/>
          </ac:spMkLst>
        </pc:spChg>
        <pc:spChg chg="mod">
          <ac:chgData name="Jean QUENTIN" userId="6962deb3-b639-4acd-8091-a0516ea2376b" providerId="ADAL" clId="{146BD8F6-FDDD-49D3-A1A6-146C954086FF}" dt="2021-05-24T13:36:19.125" v="4440" actId="790"/>
          <ac:spMkLst>
            <pc:docMk/>
            <pc:sldMk cId="2505788154" sldId="10474"/>
            <ac:spMk id="152" creationId="{FD7ED2BD-3A04-423A-8563-A638727F3B40}"/>
          </ac:spMkLst>
        </pc:spChg>
      </pc:sldChg>
      <pc:sldChg chg="modSp mod">
        <pc:chgData name="Jean QUENTIN" userId="6962deb3-b639-4acd-8091-a0516ea2376b" providerId="ADAL" clId="{146BD8F6-FDDD-49D3-A1A6-146C954086FF}" dt="2021-05-25T13:16:00.031" v="14414" actId="20577"/>
        <pc:sldMkLst>
          <pc:docMk/>
          <pc:sldMk cId="3118612002" sldId="10489"/>
        </pc:sldMkLst>
        <pc:spChg chg="mod">
          <ac:chgData name="Jean QUENTIN" userId="6962deb3-b639-4acd-8091-a0516ea2376b" providerId="ADAL" clId="{146BD8F6-FDDD-49D3-A1A6-146C954086FF}" dt="2021-05-25T13:16:00.031" v="14414" actId="20577"/>
          <ac:spMkLst>
            <pc:docMk/>
            <pc:sldMk cId="3118612002" sldId="10489"/>
            <ac:spMk id="52" creationId="{269DE5CB-BABB-4CE5-BFC8-CA5EE268E23C}"/>
          </ac:spMkLst>
        </pc:spChg>
      </pc:sldChg>
      <pc:sldChg chg="modSp mod">
        <pc:chgData name="Jean QUENTIN" userId="6962deb3-b639-4acd-8091-a0516ea2376b" providerId="ADAL" clId="{146BD8F6-FDDD-49D3-A1A6-146C954086FF}" dt="2021-05-25T13:17:56.420" v="14427" actId="20577"/>
        <pc:sldMkLst>
          <pc:docMk/>
          <pc:sldMk cId="2842141633" sldId="10490"/>
        </pc:sldMkLst>
        <pc:spChg chg="mod">
          <ac:chgData name="Jean QUENTIN" userId="6962deb3-b639-4acd-8091-a0516ea2376b" providerId="ADAL" clId="{146BD8F6-FDDD-49D3-A1A6-146C954086FF}" dt="2021-05-25T13:17:08.996" v="14415" actId="20577"/>
          <ac:spMkLst>
            <pc:docMk/>
            <pc:sldMk cId="2842141633" sldId="10490"/>
            <ac:spMk id="72" creationId="{C5BAE9F3-F0CE-4E5D-A59F-809FDD7B37E5}"/>
          </ac:spMkLst>
        </pc:spChg>
        <pc:spChg chg="mod">
          <ac:chgData name="Jean QUENTIN" userId="6962deb3-b639-4acd-8091-a0516ea2376b" providerId="ADAL" clId="{146BD8F6-FDDD-49D3-A1A6-146C954086FF}" dt="2021-05-25T13:17:56.420" v="14427" actId="20577"/>
          <ac:spMkLst>
            <pc:docMk/>
            <pc:sldMk cId="2842141633" sldId="10490"/>
            <ac:spMk id="156" creationId="{EA825694-5D20-44CA-90AC-3E6CCBEC36C1}"/>
          </ac:spMkLst>
        </pc:spChg>
      </pc:sldChg>
    </pc:docChg>
  </pc:docChgLst>
  <pc:docChgLst>
    <pc:chgData name="Aude Van de WIELE" userId="7317e673-04dd-415c-a4d7-718682339b40" providerId="ADAL" clId="{E8E1057D-8AE1-49A0-B051-5FCEF1A4E143}"/>
    <pc:docChg chg="delSld modSection">
      <pc:chgData name="Aude Van de WIELE" userId="7317e673-04dd-415c-a4d7-718682339b40" providerId="ADAL" clId="{E8E1057D-8AE1-49A0-B051-5FCEF1A4E143}" dt="2021-05-25T15:29:36.770" v="0" actId="47"/>
      <pc:docMkLst>
        <pc:docMk/>
      </pc:docMkLst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17280987" sldId="165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833404173" sldId="253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145535110" sldId="325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373602861" sldId="329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054245272" sldId="332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048354914" sldId="345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243773378" sldId="3452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115212104" sldId="3453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227887028" sldId="346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502070692" sldId="578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990182598" sldId="669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740701424" sldId="695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808160924" sldId="696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066302433" sldId="1015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884321799" sldId="1029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536028850" sldId="1032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812200160" sldId="10324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738382440" sldId="10326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730204151" sldId="1032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888621618" sldId="1035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088427134" sldId="1035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990787528" sldId="1036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862391582" sldId="10362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056474185" sldId="10363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511254166" sldId="10364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481177109" sldId="1036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30702512" sldId="1036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955721572" sldId="1037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928014684" sldId="1038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77760136" sldId="10387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528439242" sldId="1038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291217259" sldId="1038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963154161" sldId="1039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957352529" sldId="10393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944806386" sldId="1040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84650485" sldId="1040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205771456" sldId="10404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339838536" sldId="1040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868900962" sldId="10407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407516052" sldId="1040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4003625964" sldId="1041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428758149" sldId="1041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4132730322" sldId="10412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463901835" sldId="10414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718926585" sldId="10416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880839470" sldId="1042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436081094" sldId="1043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765598525" sldId="1043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781687056" sldId="10437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03190409" sldId="1043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845337448" sldId="1044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19867206" sldId="10442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186676131" sldId="10444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037564285" sldId="10446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968368318" sldId="1044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405907677" sldId="1044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257605897" sldId="1045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946667118" sldId="1045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108913814" sldId="10452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177853375" sldId="10454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875425083" sldId="10457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117336307" sldId="1045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622219198" sldId="10459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994864461" sldId="10463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519874409" sldId="1046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246696543" sldId="10470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771311343" sldId="1047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34705468" sldId="10477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736967352" sldId="1047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314566602" sldId="1048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763597230" sldId="10482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787967275" sldId="10483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759424876" sldId="10484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85178067" sldId="10485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04171044" sldId="10488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879522387" sldId="10491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3046076768" sldId="10492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09381754" sldId="10493"/>
        </pc:sldMkLst>
      </pc:sldChg>
      <pc:sldChg chg="del">
        <pc:chgData name="Aude Van de WIELE" userId="7317e673-04dd-415c-a4d7-718682339b40" providerId="ADAL" clId="{E8E1057D-8AE1-49A0-B051-5FCEF1A4E143}" dt="2021-05-25T15:29:36.770" v="0" actId="47"/>
        <pc:sldMkLst>
          <pc:docMk/>
          <pc:sldMk cId="1843836467" sldId="10494"/>
        </pc:sldMkLst>
      </pc:sldChg>
      <pc:sldMasterChg chg="delSldLayout">
        <pc:chgData name="Aude Van de WIELE" userId="7317e673-04dd-415c-a4d7-718682339b40" providerId="ADAL" clId="{E8E1057D-8AE1-49A0-B051-5FCEF1A4E143}" dt="2021-05-25T15:29:36.770" v="0" actId="47"/>
        <pc:sldMasterMkLst>
          <pc:docMk/>
          <pc:sldMasterMk cId="0" sldId="2147483648"/>
        </pc:sldMasterMkLst>
        <pc:sldLayoutChg chg="del">
          <pc:chgData name="Aude Van de WIELE" userId="7317e673-04dd-415c-a4d7-718682339b40" providerId="ADAL" clId="{E8E1057D-8AE1-49A0-B051-5FCEF1A4E143}" dt="2021-05-25T15:29:36.770" v="0" actId="47"/>
          <pc:sldLayoutMkLst>
            <pc:docMk/>
            <pc:sldMasterMk cId="0" sldId="2147483648"/>
            <pc:sldLayoutMk cId="2356898804" sldId="2147483676"/>
          </pc:sldLayoutMkLst>
        </pc:sldLayoutChg>
      </pc:sldMasterChg>
    </pc:docChg>
  </pc:docChgLst>
  <pc:docChgLst>
    <pc:chgData name="Joseph KEMOUN" userId="0b06f245-0909-42d3-bad5-b3a07c8ffd21" providerId="ADAL" clId="{11BCE0D8-1F33-4057-A775-07C3F688388F}"/>
    <pc:docChg chg="undo redo custSel addSld delSld modSld sldOrd modSection">
      <pc:chgData name="Joseph KEMOUN" userId="0b06f245-0909-42d3-bad5-b3a07c8ffd21" providerId="ADAL" clId="{11BCE0D8-1F33-4057-A775-07C3F688388F}" dt="2021-05-25T15:25:43.821" v="17384" actId="12788"/>
      <pc:docMkLst>
        <pc:docMk/>
      </pc:docMkLst>
      <pc:sldChg chg="addSp delSp modSp mod">
        <pc:chgData name="Joseph KEMOUN" userId="0b06f245-0909-42d3-bad5-b3a07c8ffd21" providerId="ADAL" clId="{11BCE0D8-1F33-4057-A775-07C3F688388F}" dt="2021-05-25T15:00:43.161" v="16572"/>
        <pc:sldMkLst>
          <pc:docMk/>
          <pc:sldMk cId="3054245272" sldId="3325"/>
        </pc:sldMkLst>
        <pc:spChg chg="mod">
          <ac:chgData name="Joseph KEMOUN" userId="0b06f245-0909-42d3-bad5-b3a07c8ffd21" providerId="ADAL" clId="{11BCE0D8-1F33-4057-A775-07C3F688388F}" dt="2021-05-25T15:00:43.081" v="16515" actId="948"/>
          <ac:spMkLst>
            <pc:docMk/>
            <pc:sldMk cId="3054245272" sldId="3325"/>
            <ac:spMk id="3" creationId="{E18A7763-3DD3-4E54-8C3B-074DC3E19FE3}"/>
          </ac:spMkLst>
        </pc:spChg>
        <pc:spChg chg="add del mod modVis">
          <ac:chgData name="Joseph KEMOUN" userId="0b06f245-0909-42d3-bad5-b3a07c8ffd21" providerId="ADAL" clId="{11BCE0D8-1F33-4057-A775-07C3F688388F}" dt="2021-05-25T15:00:43.150" v="16570"/>
          <ac:spMkLst>
            <pc:docMk/>
            <pc:sldMk cId="3054245272" sldId="3325"/>
            <ac:spMk id="4" creationId="{E54FD834-045E-4C71-AE9C-7BB386F8FECC}"/>
          </ac:spMkLst>
        </pc:spChg>
        <pc:graphicFrameChg chg="mod">
          <ac:chgData name="Joseph KEMOUN" userId="0b06f245-0909-42d3-bad5-b3a07c8ffd21" providerId="ADAL" clId="{11BCE0D8-1F33-4057-A775-07C3F688388F}" dt="2021-05-25T15:00:43.161" v="16572"/>
          <ac:graphicFrameMkLst>
            <pc:docMk/>
            <pc:sldMk cId="3054245272" sldId="3325"/>
            <ac:graphicFrameMk id="74" creationId="{13F87AA8-9D06-4BBE-A4EF-68B245D429DA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4:58:48.512" v="16395"/>
        <pc:sldMkLst>
          <pc:docMk/>
          <pc:sldMk cId="3048354914" sldId="3451"/>
        </pc:sldMkLst>
        <pc:spChg chg="add del mod modVis">
          <ac:chgData name="Joseph KEMOUN" userId="0b06f245-0909-42d3-bad5-b3a07c8ffd21" providerId="ADAL" clId="{11BCE0D8-1F33-4057-A775-07C3F688388F}" dt="2021-05-25T14:58:48.512" v="16393"/>
          <ac:spMkLst>
            <pc:docMk/>
            <pc:sldMk cId="3048354914" sldId="3451"/>
            <ac:spMk id="4" creationId="{EBB3BB9B-06F9-4434-B401-F1E2F577A6DC}"/>
          </ac:spMkLst>
        </pc:spChg>
        <pc:spChg chg="mod">
          <ac:chgData name="Joseph KEMOUN" userId="0b06f245-0909-42d3-bad5-b3a07c8ffd21" providerId="ADAL" clId="{11BCE0D8-1F33-4057-A775-07C3F688388F}" dt="2021-05-25T14:58:48.433" v="16338" actId="948"/>
          <ac:spMkLst>
            <pc:docMk/>
            <pc:sldMk cId="3048354914" sldId="3451"/>
            <ac:spMk id="7" creationId="{F59BFDDC-63FF-4CDF-9FA9-5814668C648B}"/>
          </ac:spMkLst>
        </pc:spChg>
        <pc:graphicFrameChg chg="mod">
          <ac:chgData name="Joseph KEMOUN" userId="0b06f245-0909-42d3-bad5-b3a07c8ffd21" providerId="ADAL" clId="{11BCE0D8-1F33-4057-A775-07C3F688388F}" dt="2021-05-25T14:58:48.512" v="16395"/>
          <ac:graphicFrameMkLst>
            <pc:docMk/>
            <pc:sldMk cId="3048354914" sldId="3451"/>
            <ac:graphicFrameMk id="74" creationId="{13F87AA8-9D06-4BBE-A4EF-68B245D429DA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4:58:56.406" v="16454"/>
        <pc:sldMkLst>
          <pc:docMk/>
          <pc:sldMk cId="3243773378" sldId="3452"/>
        </pc:sldMkLst>
        <pc:spChg chg="add del mod modVis">
          <ac:chgData name="Joseph KEMOUN" userId="0b06f245-0909-42d3-bad5-b3a07c8ffd21" providerId="ADAL" clId="{11BCE0D8-1F33-4057-A775-07C3F688388F}" dt="2021-05-25T14:58:56.406" v="16452"/>
          <ac:spMkLst>
            <pc:docMk/>
            <pc:sldMk cId="3243773378" sldId="3452"/>
            <ac:spMk id="2" creationId="{3E5CCA4A-3321-421D-9DA8-1D44CD233ED2}"/>
          </ac:spMkLst>
        </pc:spChg>
        <pc:spChg chg="mod">
          <ac:chgData name="Joseph KEMOUN" userId="0b06f245-0909-42d3-bad5-b3a07c8ffd21" providerId="ADAL" clId="{11BCE0D8-1F33-4057-A775-07C3F688388F}" dt="2021-05-25T14:58:56.316" v="16397" actId="948"/>
          <ac:spMkLst>
            <pc:docMk/>
            <pc:sldMk cId="3243773378" sldId="3452"/>
            <ac:spMk id="7" creationId="{43D53965-2190-4359-ADAA-D09D5859663D}"/>
          </ac:spMkLst>
        </pc:spChg>
        <pc:graphicFrameChg chg="mod">
          <ac:chgData name="Joseph KEMOUN" userId="0b06f245-0909-42d3-bad5-b3a07c8ffd21" providerId="ADAL" clId="{11BCE0D8-1F33-4057-A775-07C3F688388F}" dt="2021-05-25T14:58:56.406" v="16454"/>
          <ac:graphicFrameMkLst>
            <pc:docMk/>
            <pc:sldMk cId="3243773378" sldId="3452"/>
            <ac:graphicFrameMk id="74" creationId="{13F87AA8-9D06-4BBE-A4EF-68B245D429DA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4:58:40.981" v="16336"/>
        <pc:sldMkLst>
          <pc:docMk/>
          <pc:sldMk cId="2227887028" sldId="3469"/>
        </pc:sldMkLst>
        <pc:spChg chg="add del mod modVis">
          <ac:chgData name="Joseph KEMOUN" userId="0b06f245-0909-42d3-bad5-b3a07c8ffd21" providerId="ADAL" clId="{11BCE0D8-1F33-4057-A775-07C3F688388F}" dt="2021-05-25T14:58:40.981" v="16334"/>
          <ac:spMkLst>
            <pc:docMk/>
            <pc:sldMk cId="2227887028" sldId="3469"/>
            <ac:spMk id="2" creationId="{F3AE9B3D-34B6-469E-A2C0-B9951C0857E8}"/>
          </ac:spMkLst>
        </pc:spChg>
        <pc:spChg chg="mod">
          <ac:chgData name="Joseph KEMOUN" userId="0b06f245-0909-42d3-bad5-b3a07c8ffd21" providerId="ADAL" clId="{11BCE0D8-1F33-4057-A775-07C3F688388F}" dt="2021-05-25T14:58:40.902" v="16279" actId="948"/>
          <ac:spMkLst>
            <pc:docMk/>
            <pc:sldMk cId="2227887028" sldId="3469"/>
            <ac:spMk id="7" creationId="{F59BFDDC-63FF-4CDF-9FA9-5814668C648B}"/>
          </ac:spMkLst>
        </pc:spChg>
        <pc:graphicFrameChg chg="mod">
          <ac:chgData name="Joseph KEMOUN" userId="0b06f245-0909-42d3-bad5-b3a07c8ffd21" providerId="ADAL" clId="{11BCE0D8-1F33-4057-A775-07C3F688388F}" dt="2021-05-25T14:58:40.981" v="16336"/>
          <ac:graphicFrameMkLst>
            <pc:docMk/>
            <pc:sldMk cId="2227887028" sldId="3469"/>
            <ac:graphicFrameMk id="74" creationId="{13F87AA8-9D06-4BBE-A4EF-68B245D429DA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0:29:28.819" v="14552"/>
        <pc:sldMkLst>
          <pc:docMk/>
          <pc:sldMk cId="990182598" sldId="6698"/>
        </pc:sldMkLst>
        <pc:spChg chg="add del mod">
          <ac:chgData name="Joseph KEMOUN" userId="0b06f245-0909-42d3-bad5-b3a07c8ffd21" providerId="ADAL" clId="{11BCE0D8-1F33-4057-A775-07C3F688388F}" dt="2021-05-25T10:23:57.658" v="14316" actId="478"/>
          <ac:spMkLst>
            <pc:docMk/>
            <pc:sldMk cId="990182598" sldId="6698"/>
            <ac:spMk id="3" creationId="{0A15EF97-FB9E-4AD7-8361-6EF78B78DDA9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8" creationId="{D66A6AF9-248B-41D6-940F-289AF3A39824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9" creationId="{E538F6C0-C1A1-4303-86AF-B22F07447549}"/>
          </ac:spMkLst>
        </pc:spChg>
        <pc:spChg chg="mod topLvl">
          <ac:chgData name="Joseph KEMOUN" userId="0b06f245-0909-42d3-bad5-b3a07c8ffd21" providerId="ADAL" clId="{11BCE0D8-1F33-4057-A775-07C3F688388F}" dt="2021-05-25T10:29:23.714" v="14546"/>
          <ac:spMkLst>
            <pc:docMk/>
            <pc:sldMk cId="990182598" sldId="6698"/>
            <ac:spMk id="10" creationId="{81259CFA-79AD-4D12-96A5-F00740341C71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28" creationId="{7777DC2C-56F7-4A75-B50C-72EFED78B76E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29" creationId="{15863018-612D-48F3-8E22-BBA8251E97A9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30" creationId="{F8930804-5FDC-4893-8E81-C3B6EC3A8C43}"/>
          </ac:spMkLst>
        </pc:spChg>
        <pc:spChg chg="add mod topLvl">
          <ac:chgData name="Joseph KEMOUN" userId="0b06f245-0909-42d3-bad5-b3a07c8ffd21" providerId="ADAL" clId="{11BCE0D8-1F33-4057-A775-07C3F688388F}" dt="2021-05-25T10:28:50.907" v="14510"/>
          <ac:spMkLst>
            <pc:docMk/>
            <pc:sldMk cId="990182598" sldId="6698"/>
            <ac:spMk id="32" creationId="{FC59D167-E0C7-4585-BB36-34CAD478EDC3}"/>
          </ac:spMkLst>
        </pc:spChg>
        <pc:spChg chg="add mod topLvl">
          <ac:chgData name="Joseph KEMOUN" userId="0b06f245-0909-42d3-bad5-b3a07c8ffd21" providerId="ADAL" clId="{11BCE0D8-1F33-4057-A775-07C3F688388F}" dt="2021-05-25T10:29:09.746" v="14532"/>
          <ac:spMkLst>
            <pc:docMk/>
            <pc:sldMk cId="990182598" sldId="6698"/>
            <ac:spMk id="33" creationId="{5F7A1659-5F5C-4AE3-BA70-1FF90045628A}"/>
          </ac:spMkLst>
        </pc:spChg>
        <pc:spChg chg="add mod topLvl">
          <ac:chgData name="Joseph KEMOUN" userId="0b06f245-0909-42d3-bad5-b3a07c8ffd21" providerId="ADAL" clId="{11BCE0D8-1F33-4057-A775-07C3F688388F}" dt="2021-05-25T10:29:19.338" v="14540"/>
          <ac:spMkLst>
            <pc:docMk/>
            <pc:sldMk cId="990182598" sldId="6698"/>
            <ac:spMk id="34" creationId="{584D0FC5-E262-4974-A406-E202CFA26BF5}"/>
          </ac:spMkLst>
        </pc:spChg>
        <pc:spChg chg="add mod topLvl">
          <ac:chgData name="Joseph KEMOUN" userId="0b06f245-0909-42d3-bad5-b3a07c8ffd21" providerId="ADAL" clId="{11BCE0D8-1F33-4057-A775-07C3F688388F}" dt="2021-05-25T10:28:45.002" v="14502"/>
          <ac:spMkLst>
            <pc:docMk/>
            <pc:sldMk cId="990182598" sldId="6698"/>
            <ac:spMk id="35" creationId="{66E9D8F4-1C54-4FE6-BAA6-6620DB81E2C4}"/>
          </ac:spMkLst>
        </pc:spChg>
        <pc:spChg chg="mod topLvl">
          <ac:chgData name="Joseph KEMOUN" userId="0b06f245-0909-42d3-bad5-b3a07c8ffd21" providerId="ADAL" clId="{11BCE0D8-1F33-4057-A775-07C3F688388F}" dt="2021-05-25T10:28:40.442" v="14498"/>
          <ac:spMkLst>
            <pc:docMk/>
            <pc:sldMk cId="990182598" sldId="6698"/>
            <ac:spMk id="36" creationId="{8CB92FE7-E5D8-41A4-B988-EF32549C8205}"/>
          </ac:spMkLst>
        </pc:spChg>
        <pc:spChg chg="mod topLvl">
          <ac:chgData name="Joseph KEMOUN" userId="0b06f245-0909-42d3-bad5-b3a07c8ffd21" providerId="ADAL" clId="{11BCE0D8-1F33-4057-A775-07C3F688388F}" dt="2021-05-25T10:29:00.238" v="14520"/>
          <ac:spMkLst>
            <pc:docMk/>
            <pc:sldMk cId="990182598" sldId="6698"/>
            <ac:spMk id="37" creationId="{C6AEEC41-30BE-4E36-A252-6237D6B480CD}"/>
          </ac:spMkLst>
        </pc:spChg>
        <pc:spChg chg="mod topLvl">
          <ac:chgData name="Joseph KEMOUN" userId="0b06f245-0909-42d3-bad5-b3a07c8ffd21" providerId="ADAL" clId="{11BCE0D8-1F33-4057-A775-07C3F688388F}" dt="2021-05-25T10:29:25.831" v="14550"/>
          <ac:spMkLst>
            <pc:docMk/>
            <pc:sldMk cId="990182598" sldId="6698"/>
            <ac:spMk id="38" creationId="{DEC90A7F-F3A2-47A7-97E7-3E3DC1DD4FCF}"/>
          </ac:spMkLst>
        </pc:spChg>
        <pc:spChg chg="add mod topLvl">
          <ac:chgData name="Joseph KEMOUN" userId="0b06f245-0909-42d3-bad5-b3a07c8ffd21" providerId="ADAL" clId="{11BCE0D8-1F33-4057-A775-07C3F688388F}" dt="2021-05-25T10:29:03.357" v="14524"/>
          <ac:spMkLst>
            <pc:docMk/>
            <pc:sldMk cId="990182598" sldId="6698"/>
            <ac:spMk id="39" creationId="{4DB0952B-3150-4DDC-8F21-086193D990C0}"/>
          </ac:spMkLst>
        </pc:spChg>
        <pc:spChg chg="add mod topLvl">
          <ac:chgData name="Joseph KEMOUN" userId="0b06f245-0909-42d3-bad5-b3a07c8ffd21" providerId="ADAL" clId="{11BCE0D8-1F33-4057-A775-07C3F688388F}" dt="2021-05-25T10:29:22.141" v="14542"/>
          <ac:spMkLst>
            <pc:docMk/>
            <pc:sldMk cId="990182598" sldId="6698"/>
            <ac:spMk id="40" creationId="{CB2B9714-F24A-49CE-AEEF-6FD02AB965C5}"/>
          </ac:spMkLst>
        </pc:spChg>
        <pc:spChg chg="add 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41" creationId="{E7C017FF-DCB9-4DAC-9525-680162473704}"/>
          </ac:spMkLst>
        </pc:spChg>
        <pc:spChg chg="mod topLvl">
          <ac:chgData name="Joseph KEMOUN" userId="0b06f245-0909-42d3-bad5-b3a07c8ffd21" providerId="ADAL" clId="{11BCE0D8-1F33-4057-A775-07C3F688388F}" dt="2021-05-25T10:28:38.879" v="14496"/>
          <ac:spMkLst>
            <pc:docMk/>
            <pc:sldMk cId="990182598" sldId="6698"/>
            <ac:spMk id="42" creationId="{21A10AF6-89F4-4DA8-AC44-170C6C9E5856}"/>
          </ac:spMkLst>
        </pc:spChg>
        <pc:spChg chg="mod topLvl">
          <ac:chgData name="Joseph KEMOUN" userId="0b06f245-0909-42d3-bad5-b3a07c8ffd21" providerId="ADAL" clId="{11BCE0D8-1F33-4057-A775-07C3F688388F}" dt="2021-05-25T10:28:55.091" v="14514"/>
          <ac:spMkLst>
            <pc:docMk/>
            <pc:sldMk cId="990182598" sldId="6698"/>
            <ac:spMk id="43" creationId="{17EDA2E0-110B-442F-911F-B8D10AB63B2E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44" creationId="{10A4AF48-EF50-4F85-AE20-C3B66CF088C4}"/>
          </ac:spMkLst>
        </pc:spChg>
        <pc:spChg chg="mod topLvl">
          <ac:chgData name="Joseph KEMOUN" userId="0b06f245-0909-42d3-bad5-b3a07c8ffd21" providerId="ADAL" clId="{11BCE0D8-1F33-4057-A775-07C3F688388F}" dt="2021-05-25T10:28:48.056" v="14504"/>
          <ac:spMkLst>
            <pc:docMk/>
            <pc:sldMk cId="990182598" sldId="6698"/>
            <ac:spMk id="45" creationId="{C1D8EA0F-A684-445D-852B-345CD83FAF4A}"/>
          </ac:spMkLst>
        </pc:spChg>
        <pc:spChg chg="mod topLvl">
          <ac:chgData name="Joseph KEMOUN" userId="0b06f245-0909-42d3-bad5-b3a07c8ffd21" providerId="ADAL" clId="{11BCE0D8-1F33-4057-A775-07C3F688388F}" dt="2021-05-25T10:29:06.519" v="14526"/>
          <ac:spMkLst>
            <pc:docMk/>
            <pc:sldMk cId="990182598" sldId="6698"/>
            <ac:spMk id="46" creationId="{CABC735E-A0E5-44B7-81CA-4F351EF9F050}"/>
          </ac:spMkLst>
        </pc:spChg>
        <pc:spChg chg="mod topLvl">
          <ac:chgData name="Joseph KEMOUN" userId="0b06f245-0909-42d3-bad5-b3a07c8ffd21" providerId="ADAL" clId="{11BCE0D8-1F33-4057-A775-07C3F688388F}" dt="2021-05-25T10:29:28.819" v="14552"/>
          <ac:spMkLst>
            <pc:docMk/>
            <pc:sldMk cId="990182598" sldId="6698"/>
            <ac:spMk id="47" creationId="{803EE2E9-E271-4CD9-A494-FACE270F179E}"/>
          </ac:spMkLst>
        </pc:spChg>
        <pc:spChg chg="mod topLvl">
          <ac:chgData name="Joseph KEMOUN" userId="0b06f245-0909-42d3-bad5-b3a07c8ffd21" providerId="ADAL" clId="{11BCE0D8-1F33-4057-A775-07C3F688388F}" dt="2021-05-25T10:28:49.075" v="14506"/>
          <ac:spMkLst>
            <pc:docMk/>
            <pc:sldMk cId="990182598" sldId="6698"/>
            <ac:spMk id="48" creationId="{C7C3F071-26CB-4F08-9CED-97C7698D30BF}"/>
          </ac:spMkLst>
        </pc:spChg>
        <pc:spChg chg="mod topLvl">
          <ac:chgData name="Joseph KEMOUN" userId="0b06f245-0909-42d3-bad5-b3a07c8ffd21" providerId="ADAL" clId="{11BCE0D8-1F33-4057-A775-07C3F688388F}" dt="2021-05-25T10:29:07.610" v="14528"/>
          <ac:spMkLst>
            <pc:docMk/>
            <pc:sldMk cId="990182598" sldId="6698"/>
            <ac:spMk id="49" creationId="{073A6D66-B62C-4727-9AE2-691BDFAD7BA8}"/>
          </ac:spMkLst>
        </pc:spChg>
        <pc:spChg chg="mod topLvl">
          <ac:chgData name="Joseph KEMOUN" userId="0b06f245-0909-42d3-bad5-b3a07c8ffd21" providerId="ADAL" clId="{11BCE0D8-1F33-4057-A775-07C3F688388F}" dt="2021-05-25T10:29:17.054" v="14536"/>
          <ac:spMkLst>
            <pc:docMk/>
            <pc:sldMk cId="990182598" sldId="6698"/>
            <ac:spMk id="50" creationId="{22FD2612-8A28-4DFD-8887-ACAC783C1714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51" creationId="{20782AA8-B0B8-4114-BAE2-48FF78B565A4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52" creationId="{D11A7283-E4B1-418D-83B3-3F4FD0C037B4}"/>
          </ac:spMkLst>
        </pc:spChg>
        <pc:spChg chg="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53" creationId="{EDA30FC2-7439-417B-92CB-BD69D883C8BB}"/>
          </ac:spMkLst>
        </pc:spChg>
        <pc:spChg chg="mod">
          <ac:chgData name="Joseph KEMOUN" userId="0b06f245-0909-42d3-bad5-b3a07c8ffd21" providerId="ADAL" clId="{11BCE0D8-1F33-4057-A775-07C3F688388F}" dt="2021-05-25T10:25:32.393" v="14362" actId="1076"/>
          <ac:spMkLst>
            <pc:docMk/>
            <pc:sldMk cId="990182598" sldId="6698"/>
            <ac:spMk id="54" creationId="{79230EA9-8216-4C68-BB57-34D6DBAA8DAE}"/>
          </ac:spMkLst>
        </pc:spChg>
        <pc:spChg chg="add 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55" creationId="{CCAAEDDA-021D-4A00-97A5-F63ED7BB258D}"/>
          </ac:spMkLst>
        </pc:spChg>
        <pc:spChg chg="mod topLvl">
          <ac:chgData name="Joseph KEMOUN" userId="0b06f245-0909-42d3-bad5-b3a07c8ffd21" providerId="ADAL" clId="{11BCE0D8-1F33-4057-A775-07C3F688388F}" dt="2021-05-25T10:28:43.026" v="14500"/>
          <ac:spMkLst>
            <pc:docMk/>
            <pc:sldMk cId="990182598" sldId="6698"/>
            <ac:spMk id="56" creationId="{27893590-1F59-43C2-9C0C-0120C309BA8A}"/>
          </ac:spMkLst>
        </pc:spChg>
        <pc:spChg chg="mod topLvl">
          <ac:chgData name="Joseph KEMOUN" userId="0b06f245-0909-42d3-bad5-b3a07c8ffd21" providerId="ADAL" clId="{11BCE0D8-1F33-4057-A775-07C3F688388F}" dt="2021-05-25T10:29:02.037" v="14522"/>
          <ac:spMkLst>
            <pc:docMk/>
            <pc:sldMk cId="990182598" sldId="6698"/>
            <ac:spMk id="57" creationId="{CE631BE4-AB26-45EF-8883-741069A2DDB6}"/>
          </ac:spMkLst>
        </pc:spChg>
        <pc:spChg chg="mod topLvl">
          <ac:chgData name="Joseph KEMOUN" userId="0b06f245-0909-42d3-bad5-b3a07c8ffd21" providerId="ADAL" clId="{11BCE0D8-1F33-4057-A775-07C3F688388F}" dt="2021-05-25T10:29:22.922" v="14544"/>
          <ac:spMkLst>
            <pc:docMk/>
            <pc:sldMk cId="990182598" sldId="6698"/>
            <ac:spMk id="58" creationId="{DDA40389-1778-47B0-A0F2-FC90D736D7D2}"/>
          </ac:spMkLst>
        </pc:spChg>
        <pc:spChg chg="add 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59" creationId="{965BC9B1-B429-4170-B5F6-B2CD96B6CA11}"/>
          </ac:spMkLst>
        </pc:spChg>
        <pc:spChg chg="add 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60" creationId="{05DCE137-0FF7-4553-A3BF-883D20C6BCB9}"/>
          </ac:spMkLst>
        </pc:spChg>
        <pc:spChg chg="add mod topLvl">
          <ac:chgData name="Joseph KEMOUN" userId="0b06f245-0909-42d3-bad5-b3a07c8ffd21" providerId="ADAL" clId="{11BCE0D8-1F33-4057-A775-07C3F688388F}" dt="2021-05-25T10:28:58.044" v="14518"/>
          <ac:spMkLst>
            <pc:docMk/>
            <pc:sldMk cId="990182598" sldId="6698"/>
            <ac:spMk id="61" creationId="{CCE2DDAF-0021-4B78-A396-6AC6179A8B52}"/>
          </ac:spMkLst>
        </pc:spChg>
        <pc:spChg chg="add mod topLvl">
          <ac:chgData name="Joseph KEMOUN" userId="0b06f245-0909-42d3-bad5-b3a07c8ffd21" providerId="ADAL" clId="{11BCE0D8-1F33-4057-A775-07C3F688388F}" dt="2021-05-25T10:28:31.817" v="14494" actId="165"/>
          <ac:spMkLst>
            <pc:docMk/>
            <pc:sldMk cId="990182598" sldId="6698"/>
            <ac:spMk id="62" creationId="{8E2507AD-32B2-417D-AAF6-12E72512B916}"/>
          </ac:spMkLst>
        </pc:spChg>
        <pc:spChg chg="add mod topLvl">
          <ac:chgData name="Joseph KEMOUN" userId="0b06f245-0909-42d3-bad5-b3a07c8ffd21" providerId="ADAL" clId="{11BCE0D8-1F33-4057-A775-07C3F688388F}" dt="2021-05-25T10:28:49.998" v="14508"/>
          <ac:spMkLst>
            <pc:docMk/>
            <pc:sldMk cId="990182598" sldId="6698"/>
            <ac:spMk id="63" creationId="{928CE8A9-C734-44A9-A904-6376D1DA6FF2}"/>
          </ac:spMkLst>
        </pc:spChg>
        <pc:spChg chg="add mod topLvl">
          <ac:chgData name="Joseph KEMOUN" userId="0b06f245-0909-42d3-bad5-b3a07c8ffd21" providerId="ADAL" clId="{11BCE0D8-1F33-4057-A775-07C3F688388F}" dt="2021-05-25T10:29:08.650" v="14530"/>
          <ac:spMkLst>
            <pc:docMk/>
            <pc:sldMk cId="990182598" sldId="6698"/>
            <ac:spMk id="64" creationId="{1F408666-62CF-4F7F-B76F-AF4EDC436FDE}"/>
          </ac:spMkLst>
        </pc:spChg>
        <pc:spChg chg="add mod topLvl">
          <ac:chgData name="Joseph KEMOUN" userId="0b06f245-0909-42d3-bad5-b3a07c8ffd21" providerId="ADAL" clId="{11BCE0D8-1F33-4057-A775-07C3F688388F}" dt="2021-05-25T10:29:18.498" v="14538"/>
          <ac:spMkLst>
            <pc:docMk/>
            <pc:sldMk cId="990182598" sldId="6698"/>
            <ac:spMk id="65" creationId="{5B754191-73C8-4BF5-A8EF-611A56EF3C03}"/>
          </ac:spMkLst>
        </pc:s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7" creationId="{20BCCB23-99A5-4A08-A4BB-98771BC77C78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1" creationId="{4FBE775C-6E49-43D4-83DF-15346377A622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2" creationId="{367A5E11-031E-4C0B-AF14-99EB4D106338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3" creationId="{FFF7F355-0DB8-4F18-81A4-E7262922C3F7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4" creationId="{07EE9EDA-CD77-4C30-AD7B-16D3E5BE2AB9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5" creationId="{7570A63F-03EC-484F-93C3-67D98A257FDB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6" creationId="{D5941B46-9E16-4602-AC95-49EF16648084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7" creationId="{F26418DA-6EE2-487C-8673-44582A01C195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8" creationId="{D929DD4B-64C1-4A94-8564-0295D4543C7E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19" creationId="{7265385D-F972-4B32-8C82-15A7E1828A0D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20" creationId="{5F5E097B-1AEF-4E90-8761-62A8DDFA72D6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21" creationId="{E3C8C89B-563B-427E-9E62-BB2EE9CA52D0}"/>
          </ac:grpSpMkLst>
        </pc:grpChg>
        <pc:grpChg chg="add del mod">
          <ac:chgData name="Joseph KEMOUN" userId="0b06f245-0909-42d3-bad5-b3a07c8ffd21" providerId="ADAL" clId="{11BCE0D8-1F33-4057-A775-07C3F688388F}" dt="2021-05-25T10:28:31.817" v="14494" actId="165"/>
          <ac:grpSpMkLst>
            <pc:docMk/>
            <pc:sldMk cId="990182598" sldId="6698"/>
            <ac:grpSpMk id="22" creationId="{6F72678F-9BBF-4A20-B6F2-A9D051923457}"/>
          </ac:grpSpMkLst>
        </pc:grpChg>
      </pc:sldChg>
      <pc:sldChg chg="addSp delSp modSp mod">
        <pc:chgData name="Joseph KEMOUN" userId="0b06f245-0909-42d3-bad5-b3a07c8ffd21" providerId="ADAL" clId="{11BCE0D8-1F33-4057-A775-07C3F688388F}" dt="2021-05-25T15:00:28.358" v="16513"/>
        <pc:sldMkLst>
          <pc:docMk/>
          <pc:sldMk cId="2808160924" sldId="6961"/>
        </pc:sldMkLst>
        <pc:spChg chg="add del mod modVis">
          <ac:chgData name="Joseph KEMOUN" userId="0b06f245-0909-42d3-bad5-b3a07c8ffd21" providerId="ADAL" clId="{11BCE0D8-1F33-4057-A775-07C3F688388F}" dt="2021-05-25T15:00:28.358" v="16511"/>
          <ac:spMkLst>
            <pc:docMk/>
            <pc:sldMk cId="2808160924" sldId="6961"/>
            <ac:spMk id="2" creationId="{0AFDDABF-CC44-4D4A-80D4-3835DF337A30}"/>
          </ac:spMkLst>
        </pc:spChg>
        <pc:spChg chg="mod">
          <ac:chgData name="Joseph KEMOUN" userId="0b06f245-0909-42d3-bad5-b3a07c8ffd21" providerId="ADAL" clId="{11BCE0D8-1F33-4057-A775-07C3F688388F}" dt="2021-05-25T15:00:28.285" v="16456" actId="948"/>
          <ac:spMkLst>
            <pc:docMk/>
            <pc:sldMk cId="2808160924" sldId="6961"/>
            <ac:spMk id="7" creationId="{F59BFDDC-63FF-4CDF-9FA9-5814668C648B}"/>
          </ac:spMkLst>
        </pc:spChg>
        <pc:graphicFrameChg chg="mod">
          <ac:chgData name="Joseph KEMOUN" userId="0b06f245-0909-42d3-bad5-b3a07c8ffd21" providerId="ADAL" clId="{11BCE0D8-1F33-4057-A775-07C3F688388F}" dt="2021-05-25T15:00:28.358" v="16513"/>
          <ac:graphicFrameMkLst>
            <pc:docMk/>
            <pc:sldMk cId="2808160924" sldId="6961"/>
            <ac:graphicFrameMk id="74" creationId="{13F87AA8-9D06-4BBE-A4EF-68B245D429DA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5:01:53.617" v="17073"/>
        <pc:sldMkLst>
          <pc:docMk/>
          <pc:sldMk cId="3812200160" sldId="10324"/>
        </pc:sldMkLst>
        <pc:spChg chg="mod">
          <ac:chgData name="Joseph KEMOUN" userId="0b06f245-0909-42d3-bad5-b3a07c8ffd21" providerId="ADAL" clId="{11BCE0D8-1F33-4057-A775-07C3F688388F}" dt="2021-05-25T15:01:53.552" v="17031" actId="948"/>
          <ac:spMkLst>
            <pc:docMk/>
            <pc:sldMk cId="3812200160" sldId="10324"/>
            <ac:spMk id="2" creationId="{806A24BD-A309-4114-BCBE-1F8520216A75}"/>
          </ac:spMkLst>
        </pc:spChg>
        <pc:spChg chg="add del mod modVis">
          <ac:chgData name="Joseph KEMOUN" userId="0b06f245-0909-42d3-bad5-b3a07c8ffd21" providerId="ADAL" clId="{11BCE0D8-1F33-4057-A775-07C3F688388F}" dt="2021-05-25T15:01:53.617" v="17071"/>
          <ac:spMkLst>
            <pc:docMk/>
            <pc:sldMk cId="3812200160" sldId="10324"/>
            <ac:spMk id="3" creationId="{E4F8E47F-BC22-4071-ADBF-4A8A4AD5D3A3}"/>
          </ac:spMkLst>
        </pc:spChg>
        <pc:graphicFrameChg chg="mod">
          <ac:chgData name="Joseph KEMOUN" userId="0b06f245-0909-42d3-bad5-b3a07c8ffd21" providerId="ADAL" clId="{11BCE0D8-1F33-4057-A775-07C3F688388F}" dt="2021-05-25T15:01:53.617" v="17073"/>
          <ac:graphicFrameMkLst>
            <pc:docMk/>
            <pc:sldMk cId="3812200160" sldId="10324"/>
            <ac:graphicFrameMk id="11" creationId="{C48D9184-70C7-408F-A3A8-B9C53D4015EC}"/>
          </ac:graphicFrameMkLst>
        </pc:graphicFrameChg>
      </pc:sldChg>
      <pc:sldChg chg="addSp delSp modSp mod ord">
        <pc:chgData name="Joseph KEMOUN" userId="0b06f245-0909-42d3-bad5-b3a07c8ffd21" providerId="ADAL" clId="{11BCE0D8-1F33-4057-A775-07C3F688388F}" dt="2021-05-25T10:04:12.219" v="14256" actId="20577"/>
        <pc:sldMkLst>
          <pc:docMk/>
          <pc:sldMk cId="738382440" sldId="10326"/>
        </pc:sldMkLst>
        <pc:spChg chg="add del mod">
          <ac:chgData name="Joseph KEMOUN" userId="0b06f245-0909-42d3-bad5-b3a07c8ffd21" providerId="ADAL" clId="{11BCE0D8-1F33-4057-A775-07C3F688388F}" dt="2021-05-25T09:59:11.685" v="13821" actId="478"/>
          <ac:spMkLst>
            <pc:docMk/>
            <pc:sldMk cId="738382440" sldId="10326"/>
            <ac:spMk id="8" creationId="{106DAA8E-66F6-4719-9160-123121B9CCDB}"/>
          </ac:spMkLst>
        </pc:spChg>
        <pc:spChg chg="add mod">
          <ac:chgData name="Joseph KEMOUN" userId="0b06f245-0909-42d3-bad5-b3a07c8ffd21" providerId="ADAL" clId="{11BCE0D8-1F33-4057-A775-07C3F688388F}" dt="2021-05-25T10:04:12.219" v="14256" actId="20577"/>
          <ac:spMkLst>
            <pc:docMk/>
            <pc:sldMk cId="738382440" sldId="10326"/>
            <ac:spMk id="17" creationId="{FF78C7CE-7773-41E1-AD8A-43E5CF6D29A1}"/>
          </ac:spMkLst>
        </pc:spChg>
      </pc:sldChg>
      <pc:sldChg chg="addSp delSp modSp mod">
        <pc:chgData name="Joseph KEMOUN" userId="0b06f245-0909-42d3-bad5-b3a07c8ffd21" providerId="ADAL" clId="{11BCE0D8-1F33-4057-A775-07C3F688388F}" dt="2021-05-25T09:03:29.271" v="13529" actId="20577"/>
        <pc:sldMkLst>
          <pc:docMk/>
          <pc:sldMk cId="1424870296" sldId="10335"/>
        </pc:sldMkLst>
        <pc:spChg chg="mod">
          <ac:chgData name="Joseph KEMOUN" userId="0b06f245-0909-42d3-bad5-b3a07c8ffd21" providerId="ADAL" clId="{11BCE0D8-1F33-4057-A775-07C3F688388F}" dt="2021-05-25T09:02:44.156" v="13484" actId="948"/>
          <ac:spMkLst>
            <pc:docMk/>
            <pc:sldMk cId="1424870296" sldId="10335"/>
            <ac:spMk id="2" creationId="{13177ED9-F236-4FEB-A676-BB6F2C98ABD8}"/>
          </ac:spMkLst>
        </pc:spChg>
        <pc:spChg chg="mod">
          <ac:chgData name="Joseph KEMOUN" userId="0b06f245-0909-42d3-bad5-b3a07c8ffd21" providerId="ADAL" clId="{11BCE0D8-1F33-4057-A775-07C3F688388F}" dt="2021-05-25T09:02:09.622" v="13294" actId="947"/>
          <ac:spMkLst>
            <pc:docMk/>
            <pc:sldMk cId="1424870296" sldId="10335"/>
            <ac:spMk id="3" creationId="{A69D2220-5822-4C7B-AC0B-BB560C608D4E}"/>
          </ac:spMkLst>
        </pc:spChg>
        <pc:spChg chg="add del mod modVis">
          <ac:chgData name="Joseph KEMOUN" userId="0b06f245-0909-42d3-bad5-b3a07c8ffd21" providerId="ADAL" clId="{11BCE0D8-1F33-4057-A775-07C3F688388F}" dt="2021-05-25T09:02:10.345" v="13381"/>
          <ac:spMkLst>
            <pc:docMk/>
            <pc:sldMk cId="1424870296" sldId="10335"/>
            <ac:spMk id="5" creationId="{61F4C715-9DFC-4B04-A9F5-5194EECAF03E}"/>
          </ac:spMkLst>
        </pc:spChg>
        <pc:spChg chg="add del mod modVis">
          <ac:chgData name="Joseph KEMOUN" userId="0b06f245-0909-42d3-bad5-b3a07c8ffd21" providerId="ADAL" clId="{11BCE0D8-1F33-4057-A775-07C3F688388F}" dt="2021-05-25T09:02:13.784" v="13425"/>
          <ac:spMkLst>
            <pc:docMk/>
            <pc:sldMk cId="1424870296" sldId="10335"/>
            <ac:spMk id="6" creationId="{4EFB0AF5-9663-4E18-89DA-3B0352F392B6}"/>
          </ac:spMkLst>
        </pc:spChg>
        <pc:spChg chg="add del mod modVis">
          <ac:chgData name="Joseph KEMOUN" userId="0b06f245-0909-42d3-bad5-b3a07c8ffd21" providerId="ADAL" clId="{11BCE0D8-1F33-4057-A775-07C3F688388F}" dt="2021-05-25T09:02:42.085" v="13474"/>
          <ac:spMkLst>
            <pc:docMk/>
            <pc:sldMk cId="1424870296" sldId="10335"/>
            <ac:spMk id="7" creationId="{86C4929C-A5F8-4DB4-B513-BB53459D6AFC}"/>
          </ac:spMkLst>
        </pc:spChg>
        <pc:spChg chg="add del mod modVis">
          <ac:chgData name="Joseph KEMOUN" userId="0b06f245-0909-42d3-bad5-b3a07c8ffd21" providerId="ADAL" clId="{11BCE0D8-1F33-4057-A775-07C3F688388F}" dt="2021-05-25T09:02:44.228" v="13524"/>
          <ac:spMkLst>
            <pc:docMk/>
            <pc:sldMk cId="1424870296" sldId="10335"/>
            <ac:spMk id="8" creationId="{7CFA360D-F1C3-486E-A271-C5D37473209C}"/>
          </ac:spMkLst>
        </pc:spChg>
        <pc:spChg chg="del">
          <ac:chgData name="Joseph KEMOUN" userId="0b06f245-0909-42d3-bad5-b3a07c8ffd21" providerId="ADAL" clId="{11BCE0D8-1F33-4057-A775-07C3F688388F}" dt="2021-05-25T09:02:00.593" v="13262" actId="478"/>
          <ac:spMkLst>
            <pc:docMk/>
            <pc:sldMk cId="1424870296" sldId="10335"/>
            <ac:spMk id="17" creationId="{BFF3869E-C746-432E-B5CA-FCF542B2C3B9}"/>
          </ac:spMkLst>
        </pc:spChg>
        <pc:spChg chg="mod">
          <ac:chgData name="Joseph KEMOUN" userId="0b06f245-0909-42d3-bad5-b3a07c8ffd21" providerId="ADAL" clId="{11BCE0D8-1F33-4057-A775-07C3F688388F}" dt="2021-05-25T09:03:29.271" v="13529" actId="20577"/>
          <ac:spMkLst>
            <pc:docMk/>
            <pc:sldMk cId="1424870296" sldId="10335"/>
            <ac:spMk id="19" creationId="{92BEB8F1-C1CF-4E36-805E-A6856F8CDD12}"/>
          </ac:spMkLst>
        </pc:spChg>
        <pc:spChg chg="mod">
          <ac:chgData name="Joseph KEMOUN" userId="0b06f245-0909-42d3-bad5-b3a07c8ffd21" providerId="ADAL" clId="{11BCE0D8-1F33-4057-A775-07C3F688388F}" dt="2021-05-25T09:02:09.560" v="13268" actId="20577"/>
          <ac:spMkLst>
            <pc:docMk/>
            <pc:sldMk cId="1424870296" sldId="10335"/>
            <ac:spMk id="57" creationId="{AACC9758-A2ED-4421-A4F8-A76E33C47C70}"/>
          </ac:spMkLst>
        </pc:spChg>
        <pc:spChg chg="mod">
          <ac:chgData name="Joseph KEMOUN" userId="0b06f245-0909-42d3-bad5-b3a07c8ffd21" providerId="ADAL" clId="{11BCE0D8-1F33-4057-A775-07C3F688388F}" dt="2021-05-25T09:02:09.576" v="13278" actId="947"/>
          <ac:spMkLst>
            <pc:docMk/>
            <pc:sldMk cId="1424870296" sldId="10335"/>
            <ac:spMk id="67" creationId="{F56A9879-6797-4938-987E-8B0EA9BBCD37}"/>
          </ac:spMkLst>
        </pc:spChg>
        <pc:spChg chg="mod">
          <ac:chgData name="Joseph KEMOUN" userId="0b06f245-0909-42d3-bad5-b3a07c8ffd21" providerId="ADAL" clId="{11BCE0D8-1F33-4057-A775-07C3F688388F}" dt="2021-05-25T09:02:09.676" v="13328" actId="947"/>
          <ac:spMkLst>
            <pc:docMk/>
            <pc:sldMk cId="1424870296" sldId="10335"/>
            <ac:spMk id="69" creationId="{6BCEED63-BE62-4F1E-8657-3C5CE3B64B40}"/>
          </ac:spMkLst>
        </pc:spChg>
        <pc:spChg chg="mod">
          <ac:chgData name="Joseph KEMOUN" userId="0b06f245-0909-42d3-bad5-b3a07c8ffd21" providerId="ADAL" clId="{11BCE0D8-1F33-4057-A775-07C3F688388F}" dt="2021-05-25T09:02:09.676" v="13322" actId="947"/>
          <ac:spMkLst>
            <pc:docMk/>
            <pc:sldMk cId="1424870296" sldId="10335"/>
            <ac:spMk id="71" creationId="{CBB8A796-2090-4136-81B3-DD25F2B14E0D}"/>
          </ac:spMkLst>
        </pc:spChg>
        <pc:spChg chg="mod">
          <ac:chgData name="Joseph KEMOUN" userId="0b06f245-0909-42d3-bad5-b3a07c8ffd21" providerId="ADAL" clId="{11BCE0D8-1F33-4057-A775-07C3F688388F}" dt="2021-05-25T09:02:09.576" v="13282" actId="947"/>
          <ac:spMkLst>
            <pc:docMk/>
            <pc:sldMk cId="1424870296" sldId="10335"/>
            <ac:spMk id="77" creationId="{2AD3025A-834E-47AF-BF62-355274B6372C}"/>
          </ac:spMkLst>
        </pc:spChg>
        <pc:spChg chg="mod">
          <ac:chgData name="Joseph KEMOUN" userId="0b06f245-0909-42d3-bad5-b3a07c8ffd21" providerId="ADAL" clId="{11BCE0D8-1F33-4057-A775-07C3F688388F}" dt="2021-05-25T09:02:09.576" v="13280" actId="947"/>
          <ac:spMkLst>
            <pc:docMk/>
            <pc:sldMk cId="1424870296" sldId="10335"/>
            <ac:spMk id="78" creationId="{AE4EF315-F328-4682-8B75-485D8875BA5E}"/>
          </ac:spMkLst>
        </pc:spChg>
        <pc:spChg chg="mod">
          <ac:chgData name="Joseph KEMOUN" userId="0b06f245-0909-42d3-bad5-b3a07c8ffd21" providerId="ADAL" clId="{11BCE0D8-1F33-4057-A775-07C3F688388F}" dt="2021-05-25T09:02:09.576" v="13284" actId="947"/>
          <ac:spMkLst>
            <pc:docMk/>
            <pc:sldMk cId="1424870296" sldId="10335"/>
            <ac:spMk id="83" creationId="{79B13BAC-5AF8-4002-A1EB-410345754704}"/>
          </ac:spMkLst>
        </pc:spChg>
        <pc:spChg chg="mod">
          <ac:chgData name="Joseph KEMOUN" userId="0b06f245-0909-42d3-bad5-b3a07c8ffd21" providerId="ADAL" clId="{11BCE0D8-1F33-4057-A775-07C3F688388F}" dt="2021-05-25T09:02:09.607" v="13290" actId="947"/>
          <ac:spMkLst>
            <pc:docMk/>
            <pc:sldMk cId="1424870296" sldId="10335"/>
            <ac:spMk id="86" creationId="{C61072E4-514A-4B47-8169-8FCBDA18612C}"/>
          </ac:spMkLst>
        </pc:spChg>
        <pc:spChg chg="mod">
          <ac:chgData name="Joseph KEMOUN" userId="0b06f245-0909-42d3-bad5-b3a07c8ffd21" providerId="ADAL" clId="{11BCE0D8-1F33-4057-A775-07C3F688388F}" dt="2021-05-25T09:02:09.576" v="13276" actId="947"/>
          <ac:spMkLst>
            <pc:docMk/>
            <pc:sldMk cId="1424870296" sldId="10335"/>
            <ac:spMk id="87" creationId="{CC75CEBD-D0F7-494C-B0E8-E10F7802B25A}"/>
          </ac:spMkLst>
        </pc:spChg>
        <pc:spChg chg="mod">
          <ac:chgData name="Joseph KEMOUN" userId="0b06f245-0909-42d3-bad5-b3a07c8ffd21" providerId="ADAL" clId="{11BCE0D8-1F33-4057-A775-07C3F688388F}" dt="2021-05-25T09:02:09.607" v="13286" actId="947"/>
          <ac:spMkLst>
            <pc:docMk/>
            <pc:sldMk cId="1424870296" sldId="10335"/>
            <ac:spMk id="88" creationId="{002A8146-6C05-413C-9359-F34D34BD36CC}"/>
          </ac:spMkLst>
        </pc:spChg>
        <pc:spChg chg="mod">
          <ac:chgData name="Joseph KEMOUN" userId="0b06f245-0909-42d3-bad5-b3a07c8ffd21" providerId="ADAL" clId="{11BCE0D8-1F33-4057-A775-07C3F688388F}" dt="2021-05-25T09:02:09.607" v="13288" actId="947"/>
          <ac:spMkLst>
            <pc:docMk/>
            <pc:sldMk cId="1424870296" sldId="10335"/>
            <ac:spMk id="89" creationId="{CC8692CD-2725-4A24-8138-E9D717F44FBF}"/>
          </ac:spMkLst>
        </pc:spChg>
        <pc:spChg chg="mod">
          <ac:chgData name="Joseph KEMOUN" userId="0b06f245-0909-42d3-bad5-b3a07c8ffd21" providerId="ADAL" clId="{11BCE0D8-1F33-4057-A775-07C3F688388F}" dt="2021-05-25T09:02:09.622" v="13292" actId="947"/>
          <ac:spMkLst>
            <pc:docMk/>
            <pc:sldMk cId="1424870296" sldId="10335"/>
            <ac:spMk id="100" creationId="{9FCC959C-37AB-4DE6-96D6-8D512E39D78C}"/>
          </ac:spMkLst>
        </pc:spChg>
        <pc:spChg chg="mod">
          <ac:chgData name="Joseph KEMOUN" userId="0b06f245-0909-42d3-bad5-b3a07c8ffd21" providerId="ADAL" clId="{11BCE0D8-1F33-4057-A775-07C3F688388F}" dt="2021-05-25T09:02:57.915" v="13527" actId="12788"/>
          <ac:spMkLst>
            <pc:docMk/>
            <pc:sldMk cId="1424870296" sldId="10335"/>
            <ac:spMk id="102" creationId="{6D0B3FD5-2182-421F-9A88-C1673460DB2B}"/>
          </ac:spMkLst>
        </pc:spChg>
        <pc:spChg chg="mod">
          <ac:chgData name="Joseph KEMOUN" userId="0b06f245-0909-42d3-bad5-b3a07c8ffd21" providerId="ADAL" clId="{11BCE0D8-1F33-4057-A775-07C3F688388F}" dt="2021-05-25T09:02:09.638" v="13300" actId="947"/>
          <ac:spMkLst>
            <pc:docMk/>
            <pc:sldMk cId="1424870296" sldId="10335"/>
            <ac:spMk id="104" creationId="{C4AE2C1F-9FB2-4440-8BB3-2C0E7D9EDCE0}"/>
          </ac:spMkLst>
        </pc:spChg>
        <pc:spChg chg="mod">
          <ac:chgData name="Joseph KEMOUN" userId="0b06f245-0909-42d3-bad5-b3a07c8ffd21" providerId="ADAL" clId="{11BCE0D8-1F33-4057-A775-07C3F688388F}" dt="2021-05-25T09:02:09.622" v="13296" actId="947"/>
          <ac:spMkLst>
            <pc:docMk/>
            <pc:sldMk cId="1424870296" sldId="10335"/>
            <ac:spMk id="105" creationId="{04EF4D1A-C037-42D0-B892-5838973F1158}"/>
          </ac:spMkLst>
        </pc:spChg>
        <pc:spChg chg="mod">
          <ac:chgData name="Joseph KEMOUN" userId="0b06f245-0909-42d3-bad5-b3a07c8ffd21" providerId="ADAL" clId="{11BCE0D8-1F33-4057-A775-07C3F688388F}" dt="2021-05-25T09:02:09.638" v="13302" actId="947"/>
          <ac:spMkLst>
            <pc:docMk/>
            <pc:sldMk cId="1424870296" sldId="10335"/>
            <ac:spMk id="106" creationId="{1A98F378-0609-47B5-A22F-B3DF98061CA5}"/>
          </ac:spMkLst>
        </pc:spChg>
        <pc:spChg chg="mod">
          <ac:chgData name="Joseph KEMOUN" userId="0b06f245-0909-42d3-bad5-b3a07c8ffd21" providerId="ADAL" clId="{11BCE0D8-1F33-4057-A775-07C3F688388F}" dt="2021-05-25T09:02:09.638" v="13304" actId="947"/>
          <ac:spMkLst>
            <pc:docMk/>
            <pc:sldMk cId="1424870296" sldId="10335"/>
            <ac:spMk id="107" creationId="{CD736F70-A922-478A-A935-A6627A6FA958}"/>
          </ac:spMkLst>
        </pc:spChg>
        <pc:spChg chg="mod">
          <ac:chgData name="Joseph KEMOUN" userId="0b06f245-0909-42d3-bad5-b3a07c8ffd21" providerId="ADAL" clId="{11BCE0D8-1F33-4057-A775-07C3F688388F}" dt="2021-05-25T09:02:09.645" v="13306" actId="947"/>
          <ac:spMkLst>
            <pc:docMk/>
            <pc:sldMk cId="1424870296" sldId="10335"/>
            <ac:spMk id="108" creationId="{E83BE468-E05E-4A0B-886A-54474D37CF16}"/>
          </ac:spMkLst>
        </pc:spChg>
        <pc:spChg chg="mod">
          <ac:chgData name="Joseph KEMOUN" userId="0b06f245-0909-42d3-bad5-b3a07c8ffd21" providerId="ADAL" clId="{11BCE0D8-1F33-4057-A775-07C3F688388F}" dt="2021-05-25T09:02:09.660" v="13312" actId="947"/>
          <ac:spMkLst>
            <pc:docMk/>
            <pc:sldMk cId="1424870296" sldId="10335"/>
            <ac:spMk id="115" creationId="{A0C7CAD2-4A72-4C8D-8B97-E7D950CB9A60}"/>
          </ac:spMkLst>
        </pc:spChg>
        <pc:spChg chg="del">
          <ac:chgData name="Joseph KEMOUN" userId="0b06f245-0909-42d3-bad5-b3a07c8ffd21" providerId="ADAL" clId="{11BCE0D8-1F33-4057-A775-07C3F688388F}" dt="2021-05-25T09:02:00.593" v="13262" actId="478"/>
          <ac:spMkLst>
            <pc:docMk/>
            <pc:sldMk cId="1424870296" sldId="10335"/>
            <ac:spMk id="127" creationId="{0897E6F9-F2AF-4184-8F04-7C90039CB31C}"/>
          </ac:spMkLst>
        </pc:spChg>
        <pc:spChg chg="mod">
          <ac:chgData name="Joseph KEMOUN" userId="0b06f245-0909-42d3-bad5-b3a07c8ffd21" providerId="ADAL" clId="{11BCE0D8-1F33-4057-A775-07C3F688388F}" dt="2021-05-25T09:02:09.560" v="13274" actId="20577"/>
          <ac:spMkLst>
            <pc:docMk/>
            <pc:sldMk cId="1424870296" sldId="10335"/>
            <ac:spMk id="128" creationId="{19432E1B-C182-40F5-974C-28FEF1DB9BD0}"/>
          </ac:spMkLst>
        </pc:spChg>
        <pc:spChg chg="mod">
          <ac:chgData name="Joseph KEMOUN" userId="0b06f245-0909-42d3-bad5-b3a07c8ffd21" providerId="ADAL" clId="{11BCE0D8-1F33-4057-A775-07C3F688388F}" dt="2021-05-25T09:02:09.691" v="13332" actId="20577"/>
          <ac:spMkLst>
            <pc:docMk/>
            <pc:sldMk cId="1424870296" sldId="10335"/>
            <ac:spMk id="129" creationId="{1373F8DE-C6E5-4EDD-B348-F87714D996D3}"/>
          </ac:spMkLst>
        </pc:spChg>
        <pc:spChg chg="mod">
          <ac:chgData name="Joseph KEMOUN" userId="0b06f245-0909-42d3-bad5-b3a07c8ffd21" providerId="ADAL" clId="{11BCE0D8-1F33-4057-A775-07C3F688388F}" dt="2021-05-25T09:02:09.691" v="13336" actId="20577"/>
          <ac:spMkLst>
            <pc:docMk/>
            <pc:sldMk cId="1424870296" sldId="10335"/>
            <ac:spMk id="130" creationId="{A8AB0ECA-2DD9-49A2-86B4-965C21B5EB1B}"/>
          </ac:spMkLst>
        </pc:spChg>
        <pc:spChg chg="mod">
          <ac:chgData name="Joseph KEMOUN" userId="0b06f245-0909-42d3-bad5-b3a07c8ffd21" providerId="ADAL" clId="{11BCE0D8-1F33-4057-A775-07C3F688388F}" dt="2021-05-25T09:02:09.691" v="13340" actId="20577"/>
          <ac:spMkLst>
            <pc:docMk/>
            <pc:sldMk cId="1424870296" sldId="10335"/>
            <ac:spMk id="131" creationId="{B72C70AB-BF26-43EA-B3B2-FF5837AA2CEA}"/>
          </ac:spMkLst>
        </pc:spChg>
        <pc:spChg chg="mod">
          <ac:chgData name="Joseph KEMOUN" userId="0b06f245-0909-42d3-bad5-b3a07c8ffd21" providerId="ADAL" clId="{11BCE0D8-1F33-4057-A775-07C3F688388F}" dt="2021-05-25T09:02:09.660" v="13310" actId="20577"/>
          <ac:spMkLst>
            <pc:docMk/>
            <pc:sldMk cId="1424870296" sldId="10335"/>
            <ac:spMk id="132" creationId="{337A3DA2-2B3A-4D27-B69C-62537CE0118A}"/>
          </ac:spMkLst>
        </pc:spChg>
        <pc:spChg chg="mod">
          <ac:chgData name="Joseph KEMOUN" userId="0b06f245-0909-42d3-bad5-b3a07c8ffd21" providerId="ADAL" clId="{11BCE0D8-1F33-4057-A775-07C3F688388F}" dt="2021-05-25T09:02:09.676" v="13320" actId="20577"/>
          <ac:spMkLst>
            <pc:docMk/>
            <pc:sldMk cId="1424870296" sldId="10335"/>
            <ac:spMk id="133" creationId="{52FBD452-7EE2-4D11-95A8-9D2C6606FBAF}"/>
          </ac:spMkLst>
        </pc:spChg>
        <pc:spChg chg="mod">
          <ac:chgData name="Joseph KEMOUN" userId="0b06f245-0909-42d3-bad5-b3a07c8ffd21" providerId="ADAL" clId="{11BCE0D8-1F33-4057-A775-07C3F688388F}" dt="2021-05-25T09:02:09.660" v="13316" actId="20577"/>
          <ac:spMkLst>
            <pc:docMk/>
            <pc:sldMk cId="1424870296" sldId="10335"/>
            <ac:spMk id="134" creationId="{497AF38E-52FB-494B-AE7D-321864EDECA4}"/>
          </ac:spMkLst>
        </pc:spChg>
        <pc:spChg chg="mod">
          <ac:chgData name="Joseph KEMOUN" userId="0b06f245-0909-42d3-bad5-b3a07c8ffd21" providerId="ADAL" clId="{11BCE0D8-1F33-4057-A775-07C3F688388F}" dt="2021-05-25T09:02:09.676" v="13326" actId="20577"/>
          <ac:spMkLst>
            <pc:docMk/>
            <pc:sldMk cId="1424870296" sldId="10335"/>
            <ac:spMk id="135" creationId="{A8ECA603-7B12-4CFA-A4C6-7400AD9BD0ED}"/>
          </ac:spMkLst>
        </pc:spChg>
        <pc:graphicFrameChg chg="mod">
          <ac:chgData name="Joseph KEMOUN" userId="0b06f245-0909-42d3-bad5-b3a07c8ffd21" providerId="ADAL" clId="{11BCE0D8-1F33-4057-A775-07C3F688388F}" dt="2021-05-25T09:02:44.228" v="13526"/>
          <ac:graphicFrameMkLst>
            <pc:docMk/>
            <pc:sldMk cId="1424870296" sldId="10335"/>
            <ac:graphicFrameMk id="4" creationId="{94A1FA70-75C7-4697-BDFD-BE281399CCBB}"/>
          </ac:graphicFrameMkLst>
        </pc:graphicFrameChg>
        <pc:picChg chg="del">
          <ac:chgData name="Joseph KEMOUN" userId="0b06f245-0909-42d3-bad5-b3a07c8ffd21" providerId="ADAL" clId="{11BCE0D8-1F33-4057-A775-07C3F688388F}" dt="2021-05-25T09:02:00.593" v="13262" actId="478"/>
          <ac:picMkLst>
            <pc:docMk/>
            <pc:sldMk cId="1424870296" sldId="10335"/>
            <ac:picMk id="2054" creationId="{CEE3D69F-EA41-41A5-B8D2-19F4D8FD574C}"/>
          </ac:picMkLst>
        </pc:picChg>
        <pc:cxnChg chg="mod">
          <ac:chgData name="Joseph KEMOUN" userId="0b06f245-0909-42d3-bad5-b3a07c8ffd21" providerId="ADAL" clId="{11BCE0D8-1F33-4057-A775-07C3F688388F}" dt="2021-05-25T09:02:57.915" v="13527" actId="12788"/>
          <ac:cxnSpMkLst>
            <pc:docMk/>
            <pc:sldMk cId="1424870296" sldId="10335"/>
            <ac:cxnSpMk id="101" creationId="{A2B810CB-7B93-4D34-B9C6-B7F2E39EB3AE}"/>
          </ac:cxnSpMkLst>
        </pc:cxnChg>
      </pc:sldChg>
      <pc:sldChg chg="addSp delSp modSp mod">
        <pc:chgData name="Joseph KEMOUN" userId="0b06f245-0909-42d3-bad5-b3a07c8ffd21" providerId="ADAL" clId="{11BCE0D8-1F33-4057-A775-07C3F688388F}" dt="2021-05-24T15:04:37.388" v="8407"/>
        <pc:sldMkLst>
          <pc:docMk/>
          <pc:sldMk cId="1088427134" sldId="10355"/>
        </pc:sldMkLst>
        <pc:spChg chg="mod">
          <ac:chgData name="Joseph KEMOUN" userId="0b06f245-0909-42d3-bad5-b3a07c8ffd21" providerId="ADAL" clId="{11BCE0D8-1F33-4057-A775-07C3F688388F}" dt="2021-05-24T14:11:58.555" v="7930" actId="948"/>
          <ac:spMkLst>
            <pc:docMk/>
            <pc:sldMk cId="1088427134" sldId="10355"/>
            <ac:spMk id="2" creationId="{531041C5-E8A2-412F-8DD7-D013B496B687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3" creationId="{D941C407-20D6-482D-8915-AB38B57418D3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4" creationId="{32F85835-036E-4F3E-8BFF-2ABE5E844311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5" creationId="{B82F449A-DABE-4C5F-AC72-1CD88F08F3F8}"/>
          </ac:spMkLst>
        </pc:spChg>
        <pc:spChg chg="mod">
          <ac:chgData name="Joseph KEMOUN" userId="0b06f245-0909-42d3-bad5-b3a07c8ffd21" providerId="ADAL" clId="{11BCE0D8-1F33-4057-A775-07C3F688388F}" dt="2021-05-24T14:12:19.128" v="7973" actId="1076"/>
          <ac:spMkLst>
            <pc:docMk/>
            <pc:sldMk cId="1088427134" sldId="10355"/>
            <ac:spMk id="25" creationId="{EC1EF9D0-C614-4BB0-BC35-3EDAADC576F4}"/>
          </ac:spMkLst>
        </pc:spChg>
        <pc:spChg chg="mod">
          <ac:chgData name="Joseph KEMOUN" userId="0b06f245-0909-42d3-bad5-b3a07c8ffd21" providerId="ADAL" clId="{11BCE0D8-1F33-4057-A775-07C3F688388F}" dt="2021-05-24T14:14:13.515" v="8038" actId="1076"/>
          <ac:spMkLst>
            <pc:docMk/>
            <pc:sldMk cId="1088427134" sldId="10355"/>
            <ac:spMk id="26" creationId="{72FA2C53-05D0-4DE0-9F71-130CA5ED4ADD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69" creationId="{F3DA172A-54AD-441E-9D06-5E433C2498C6}"/>
          </ac:spMkLst>
        </pc:spChg>
        <pc:spChg chg="add del mod modVis">
          <ac:chgData name="Joseph KEMOUN" userId="0b06f245-0909-42d3-bad5-b3a07c8ffd21" providerId="ADAL" clId="{11BCE0D8-1F33-4057-A775-07C3F688388F}" dt="2021-05-24T14:11:58.651" v="7970"/>
          <ac:spMkLst>
            <pc:docMk/>
            <pc:sldMk cId="1088427134" sldId="10355"/>
            <ac:spMk id="149" creationId="{2F53B592-2037-4D6B-B1BA-ECAE1F2EDE90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196" creationId="{3B51F4C9-2E75-4ADE-83F1-C230B6BE9743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197" creationId="{0048987D-7949-4932-BAEA-1C8041716D0D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198" creationId="{7457E779-1845-4BF6-96E5-1B1CC36FD59B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199" creationId="{FF3C0F2D-0B27-4AD3-A15D-FE5AC8F5EE14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00" creationId="{B8500AC5-18CE-4086-B7CE-787AEF950F70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01" creationId="{EBAFE960-A4E4-4182-A597-EBA6C4ABB8FC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02" creationId="{37B5910F-23F6-497A-AEEA-6994FCBCC023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07" creationId="{421498C7-1C58-4CF3-BD51-278BC6C89386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07" creationId="{C77775EA-390E-4A32-B782-BAB1BE3EC7C9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08" creationId="{1F61038A-EF51-4BBA-97A9-10D40E9435F9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08" creationId="{2CB2F9BF-C01A-4704-9110-A94AED93C7CC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09" creationId="{7990CA34-4A7F-4F7B-ACC5-EA00CE325723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09" creationId="{BC902227-95B2-498A-BE19-2097B8481568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14" creationId="{517893A5-6250-4874-8D13-58821C9A5288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14" creationId="{DC59756C-B7DA-4DDA-924C-AA8BBB352C21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15" creationId="{1E911E45-788D-4A82-A9CC-7DE8DEFD1940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15" creationId="{E4FD5630-EAFD-43A5-B16E-52E97F326473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16" creationId="{B55021B7-A72D-46BD-93C8-F7D071B2FA3D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16" creationId="{CE0EB754-3A0F-4C32-BC3D-485E58D5D76C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17" creationId="{9E62E839-2DD0-4F81-9D37-40746772CDB9}"/>
          </ac:spMkLst>
        </pc:spChg>
        <pc:spChg chg="del">
          <ac:chgData name="Joseph KEMOUN" userId="0b06f245-0909-42d3-bad5-b3a07c8ffd21" providerId="ADAL" clId="{11BCE0D8-1F33-4057-A775-07C3F688388F}" dt="2021-05-24T14:13:32.227" v="7990" actId="478"/>
          <ac:spMkLst>
            <pc:docMk/>
            <pc:sldMk cId="1088427134" sldId="10355"/>
            <ac:spMk id="217" creationId="{F6F26211-DAB0-4AFF-B4E4-E9860DE7E785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18" creationId="{0C18248F-CE9C-49C4-902E-BB259EC3F72E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19" creationId="{699912BB-DA44-4A9A-B10E-4A39772DE6E9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20" creationId="{3A6BFE8B-73D5-4CB5-AADD-F6690E4E599D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21" creationId="{156A4B58-CEE1-45BD-8FD1-4FD98B592434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22" creationId="{B664E997-E830-4082-930F-A45A251FD462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23" creationId="{AACFFFD0-291B-45A6-A066-6352E58C9EEB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24" creationId="{9CC974BC-E401-410D-895E-89F6C7E5FD6F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25" creationId="{2E3BF3CB-B236-4275-A4F8-DE6805D6032E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30" creationId="{2032E04A-1934-4155-9F64-2304234ED891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31" creationId="{DDB4BD98-E87E-4DFE-BAAE-AA399B921622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32" creationId="{3FF56DF8-552F-47E5-A80B-C962A4527AEB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33" creationId="{FB952112-C522-4953-879C-8E7DA6DAC82A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35" creationId="{E571F0A5-F47B-44F9-9982-90EF77E81F16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36" creationId="{00F7E046-3416-4368-812E-5C119AD03ABB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37" creationId="{6E5AF13E-321B-46A9-8A9E-118042B87B4E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38" creationId="{AFF1494D-4D2B-458F-9EF2-6B336A081C82}"/>
          </ac:spMkLst>
        </pc:spChg>
        <pc:spChg chg="add mod">
          <ac:chgData name="Joseph KEMOUN" userId="0b06f245-0909-42d3-bad5-b3a07c8ffd21" providerId="ADAL" clId="{11BCE0D8-1F33-4057-A775-07C3F688388F}" dt="2021-05-24T15:04:37.388" v="8407"/>
          <ac:spMkLst>
            <pc:docMk/>
            <pc:sldMk cId="1088427134" sldId="10355"/>
            <ac:spMk id="239" creationId="{D4188DE1-989E-4558-A0ED-D3E5F1AF38BF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83" creationId="{D5958965-F487-477F-AC5D-E301F9C98F5C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84" creationId="{79B8AED8-86E0-47EF-A5DF-21380B992BB9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86" creationId="{BEFD37FC-1101-4DBE-8A18-40476D5D20B0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87" creationId="{2BBBBAAC-2283-4552-A7AE-9E69EDE10E06}"/>
          </ac:spMkLst>
        </pc:spChg>
        <pc:spChg chg="del mod">
          <ac:chgData name="Joseph KEMOUN" userId="0b06f245-0909-42d3-bad5-b3a07c8ffd21" providerId="ADAL" clId="{11BCE0D8-1F33-4057-A775-07C3F688388F}" dt="2021-05-24T15:04:36.965" v="8406" actId="478"/>
          <ac:spMkLst>
            <pc:docMk/>
            <pc:sldMk cId="1088427134" sldId="10355"/>
            <ac:spMk id="289" creationId="{08FFC2AC-F2C1-4E9F-8966-4F86C52D4348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93" creationId="{617A7A8A-DF61-4D21-A457-8B0899095289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94" creationId="{C2F5995A-D732-4968-B25E-B7B65E43D48B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95" creationId="{ED22F590-D8D1-428D-826E-EE3A067F96A3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96" creationId="{00361E1D-A8D2-4D0A-AA96-0271BCF5E084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97" creationId="{77DC1682-4763-4F4E-8898-D304D40CEE88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98" creationId="{7F85B45B-4746-467D-A51B-2B59987A647B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299" creationId="{8EA1E97D-8D4C-45B3-B0ED-0309A53B6DBC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300" creationId="{B638FE26-EA5A-4C48-B32A-22345AB071AE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301" creationId="{89E4857A-7344-4991-94C0-6D8D83A8C52F}"/>
          </ac:spMkLst>
        </pc:spChg>
        <pc:spChg chg="mod">
          <ac:chgData name="Joseph KEMOUN" userId="0b06f245-0909-42d3-bad5-b3a07c8ffd21" providerId="ADAL" clId="{11BCE0D8-1F33-4057-A775-07C3F688388F}" dt="2021-05-24T14:14:33.928" v="8051" actId="1038"/>
          <ac:spMkLst>
            <pc:docMk/>
            <pc:sldMk cId="1088427134" sldId="10355"/>
            <ac:spMk id="302" creationId="{34B0C0D9-C504-43C9-BA61-0E82CE469A32}"/>
          </ac:spMkLst>
        </pc:spChg>
        <pc:graphicFrameChg chg="mod">
          <ac:chgData name="Joseph KEMOUN" userId="0b06f245-0909-42d3-bad5-b3a07c8ffd21" providerId="ADAL" clId="{11BCE0D8-1F33-4057-A775-07C3F688388F}" dt="2021-05-24T14:11:58.651" v="7972"/>
          <ac:graphicFrameMkLst>
            <pc:docMk/>
            <pc:sldMk cId="1088427134" sldId="10355"/>
            <ac:graphicFrameMk id="7" creationId="{85240F7D-9497-471F-89C9-677377D2D53A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5:01:44.810" v="16985"/>
        <pc:sldMkLst>
          <pc:docMk/>
          <pc:sldMk cId="2862391582" sldId="10362"/>
        </pc:sldMkLst>
        <pc:spChg chg="mod">
          <ac:chgData name="Joseph KEMOUN" userId="0b06f245-0909-42d3-bad5-b3a07c8ffd21" providerId="ADAL" clId="{11BCE0D8-1F33-4057-A775-07C3F688388F}" dt="2021-05-25T15:01:44.725" v="16943" actId="948"/>
          <ac:spMkLst>
            <pc:docMk/>
            <pc:sldMk cId="2862391582" sldId="10362"/>
            <ac:spMk id="2" creationId="{806A24BD-A309-4114-BCBE-1F8520216A75}"/>
          </ac:spMkLst>
        </pc:spChg>
        <pc:spChg chg="add del mod modVis">
          <ac:chgData name="Joseph KEMOUN" userId="0b06f245-0909-42d3-bad5-b3a07c8ffd21" providerId="ADAL" clId="{11BCE0D8-1F33-4057-A775-07C3F688388F}" dt="2021-05-25T15:01:44.810" v="16983"/>
          <ac:spMkLst>
            <pc:docMk/>
            <pc:sldMk cId="2862391582" sldId="10362"/>
            <ac:spMk id="3" creationId="{4FB89B1F-9F69-4A87-94D0-5705DD7605FC}"/>
          </ac:spMkLst>
        </pc:spChg>
        <pc:spChg chg="mod">
          <ac:chgData name="Joseph KEMOUN" userId="0b06f245-0909-42d3-bad5-b3a07c8ffd21" providerId="ADAL" clId="{11BCE0D8-1F33-4057-A775-07C3F688388F}" dt="2021-05-25T10:16:33.219" v="14313" actId="20577"/>
          <ac:spMkLst>
            <pc:docMk/>
            <pc:sldMk cId="2862391582" sldId="10362"/>
            <ac:spMk id="181" creationId="{223AA644-A18B-43C3-911A-7F8939308A57}"/>
          </ac:spMkLst>
        </pc:spChg>
        <pc:graphicFrameChg chg="mod">
          <ac:chgData name="Joseph KEMOUN" userId="0b06f245-0909-42d3-bad5-b3a07c8ffd21" providerId="ADAL" clId="{11BCE0D8-1F33-4057-A775-07C3F688388F}" dt="2021-05-25T15:01:44.810" v="16985"/>
          <ac:graphicFrameMkLst>
            <pc:docMk/>
            <pc:sldMk cId="2862391582" sldId="10362"/>
            <ac:graphicFrameMk id="11" creationId="{C48D9184-70C7-408F-A3A8-B9C53D4015EC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5:01:35.500" v="16897"/>
        <pc:sldMkLst>
          <pc:docMk/>
          <pc:sldMk cId="3056474185" sldId="10363"/>
        </pc:sldMkLst>
        <pc:spChg chg="mod">
          <ac:chgData name="Joseph KEMOUN" userId="0b06f245-0909-42d3-bad5-b3a07c8ffd21" providerId="ADAL" clId="{11BCE0D8-1F33-4057-A775-07C3F688388F}" dt="2021-05-25T15:01:35.419" v="16855" actId="948"/>
          <ac:spMkLst>
            <pc:docMk/>
            <pc:sldMk cId="3056474185" sldId="10363"/>
            <ac:spMk id="2" creationId="{806A24BD-A309-4114-BCBE-1F8520216A75}"/>
          </ac:spMkLst>
        </pc:spChg>
        <pc:spChg chg="add del mod modVis">
          <ac:chgData name="Joseph KEMOUN" userId="0b06f245-0909-42d3-bad5-b3a07c8ffd21" providerId="ADAL" clId="{11BCE0D8-1F33-4057-A775-07C3F688388F}" dt="2021-05-25T15:01:35.484" v="16895"/>
          <ac:spMkLst>
            <pc:docMk/>
            <pc:sldMk cId="3056474185" sldId="10363"/>
            <ac:spMk id="3" creationId="{FC34B482-8249-4657-9839-A579E474D4B7}"/>
          </ac:spMkLst>
        </pc:spChg>
        <pc:spChg chg="mod">
          <ac:chgData name="Joseph KEMOUN" userId="0b06f245-0909-42d3-bad5-b3a07c8ffd21" providerId="ADAL" clId="{11BCE0D8-1F33-4057-A775-07C3F688388F}" dt="2021-05-25T10:16:14.334" v="14305" actId="20577"/>
          <ac:spMkLst>
            <pc:docMk/>
            <pc:sldMk cId="3056474185" sldId="10363"/>
            <ac:spMk id="116" creationId="{761CB428-B68A-41BA-9FC0-07DEC7039CCA}"/>
          </ac:spMkLst>
        </pc:spChg>
        <pc:graphicFrameChg chg="mod">
          <ac:chgData name="Joseph KEMOUN" userId="0b06f245-0909-42d3-bad5-b3a07c8ffd21" providerId="ADAL" clId="{11BCE0D8-1F33-4057-A775-07C3F688388F}" dt="2021-05-25T15:01:35.500" v="16897"/>
          <ac:graphicFrameMkLst>
            <pc:docMk/>
            <pc:sldMk cId="3056474185" sldId="10363"/>
            <ac:graphicFrameMk id="11" creationId="{C48D9184-70C7-408F-A3A8-B9C53D4015EC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5:01:40.476" v="16941"/>
        <pc:sldMkLst>
          <pc:docMk/>
          <pc:sldMk cId="511254166" sldId="10364"/>
        </pc:sldMkLst>
        <pc:spChg chg="mod">
          <ac:chgData name="Joseph KEMOUN" userId="0b06f245-0909-42d3-bad5-b3a07c8ffd21" providerId="ADAL" clId="{11BCE0D8-1F33-4057-A775-07C3F688388F}" dt="2021-05-25T15:01:40.407" v="16899" actId="948"/>
          <ac:spMkLst>
            <pc:docMk/>
            <pc:sldMk cId="511254166" sldId="10364"/>
            <ac:spMk id="2" creationId="{806A24BD-A309-4114-BCBE-1F8520216A75}"/>
          </ac:spMkLst>
        </pc:spChg>
        <pc:spChg chg="add del mod modVis">
          <ac:chgData name="Joseph KEMOUN" userId="0b06f245-0909-42d3-bad5-b3a07c8ffd21" providerId="ADAL" clId="{11BCE0D8-1F33-4057-A775-07C3F688388F}" dt="2021-05-25T15:01:40.460" v="16939"/>
          <ac:spMkLst>
            <pc:docMk/>
            <pc:sldMk cId="511254166" sldId="10364"/>
            <ac:spMk id="3" creationId="{BD39A17A-279F-45EC-AB71-870B62900156}"/>
          </ac:spMkLst>
        </pc:spChg>
        <pc:graphicFrameChg chg="mod">
          <ac:chgData name="Joseph KEMOUN" userId="0b06f245-0909-42d3-bad5-b3a07c8ffd21" providerId="ADAL" clId="{11BCE0D8-1F33-4057-A775-07C3F688388F}" dt="2021-05-25T15:01:40.476" v="16941"/>
          <ac:graphicFrameMkLst>
            <pc:docMk/>
            <pc:sldMk cId="511254166" sldId="10364"/>
            <ac:graphicFrameMk id="11" creationId="{C48D9184-70C7-408F-A3A8-B9C53D4015EC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5:01:49.751" v="17029"/>
        <pc:sldMkLst>
          <pc:docMk/>
          <pc:sldMk cId="3481177109" sldId="10365"/>
        </pc:sldMkLst>
        <pc:spChg chg="mod">
          <ac:chgData name="Joseph KEMOUN" userId="0b06f245-0909-42d3-bad5-b3a07c8ffd21" providerId="ADAL" clId="{11BCE0D8-1F33-4057-A775-07C3F688388F}" dt="2021-05-25T15:01:49.682" v="16987" actId="948"/>
          <ac:spMkLst>
            <pc:docMk/>
            <pc:sldMk cId="3481177109" sldId="10365"/>
            <ac:spMk id="2" creationId="{806A24BD-A309-4114-BCBE-1F8520216A75}"/>
          </ac:spMkLst>
        </pc:spChg>
        <pc:spChg chg="add del mod modVis">
          <ac:chgData name="Joseph KEMOUN" userId="0b06f245-0909-42d3-bad5-b3a07c8ffd21" providerId="ADAL" clId="{11BCE0D8-1F33-4057-A775-07C3F688388F}" dt="2021-05-25T15:01:49.751" v="17027"/>
          <ac:spMkLst>
            <pc:docMk/>
            <pc:sldMk cId="3481177109" sldId="10365"/>
            <ac:spMk id="3" creationId="{4A7AD256-160A-4848-AE12-5C46E9E93C29}"/>
          </ac:spMkLst>
        </pc:spChg>
        <pc:graphicFrameChg chg="mod">
          <ac:chgData name="Joseph KEMOUN" userId="0b06f245-0909-42d3-bad5-b3a07c8ffd21" providerId="ADAL" clId="{11BCE0D8-1F33-4057-A775-07C3F688388F}" dt="2021-05-25T15:01:49.751" v="17029"/>
          <ac:graphicFrameMkLst>
            <pc:docMk/>
            <pc:sldMk cId="3481177109" sldId="10365"/>
            <ac:graphicFrameMk id="11" creationId="{C48D9184-70C7-408F-A3A8-B9C53D4015EC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5:00:53.081" v="16631"/>
        <pc:sldMkLst>
          <pc:docMk/>
          <pc:sldMk cId="330702512" sldId="10369"/>
        </pc:sldMkLst>
        <pc:spChg chg="add del mod modVis">
          <ac:chgData name="Joseph KEMOUN" userId="0b06f245-0909-42d3-bad5-b3a07c8ffd21" providerId="ADAL" clId="{11BCE0D8-1F33-4057-A775-07C3F688388F}" dt="2021-05-25T15:00:53.081" v="16629"/>
          <ac:spMkLst>
            <pc:docMk/>
            <pc:sldMk cId="330702512" sldId="10369"/>
            <ac:spMk id="2" creationId="{7D6DB909-7ECB-4E69-A226-47D8B34250D4}"/>
          </ac:spMkLst>
        </pc:spChg>
        <pc:spChg chg="mod">
          <ac:chgData name="Joseph KEMOUN" userId="0b06f245-0909-42d3-bad5-b3a07c8ffd21" providerId="ADAL" clId="{11BCE0D8-1F33-4057-A775-07C3F688388F}" dt="2021-05-25T15:00:52.990" v="16574" actId="948"/>
          <ac:spMkLst>
            <pc:docMk/>
            <pc:sldMk cId="330702512" sldId="10369"/>
            <ac:spMk id="11" creationId="{2FAA6969-30E2-4F5B-AA44-122B557F5258}"/>
          </ac:spMkLst>
        </pc:spChg>
        <pc:graphicFrameChg chg="mod">
          <ac:chgData name="Joseph KEMOUN" userId="0b06f245-0909-42d3-bad5-b3a07c8ffd21" providerId="ADAL" clId="{11BCE0D8-1F33-4057-A775-07C3F688388F}" dt="2021-05-25T15:00:53.081" v="16631"/>
          <ac:graphicFrameMkLst>
            <pc:docMk/>
            <pc:sldMk cId="330702512" sldId="10369"/>
            <ac:graphicFrameMk id="26" creationId="{1E00D69F-B10F-4151-B895-79AA1E0FD75C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5:01:15.780" v="16853"/>
        <pc:sldMkLst>
          <pc:docMk/>
          <pc:sldMk cId="2955721572" sldId="10370"/>
        </pc:sldMkLst>
        <pc:spChg chg="add del mod modVis">
          <ac:chgData name="Joseph KEMOUN" userId="0b06f245-0909-42d3-bad5-b3a07c8ffd21" providerId="ADAL" clId="{11BCE0D8-1F33-4057-A775-07C3F688388F}" dt="2021-05-25T15:01:04.856" v="16703"/>
          <ac:spMkLst>
            <pc:docMk/>
            <pc:sldMk cId="2955721572" sldId="10370"/>
            <ac:spMk id="2" creationId="{7A616860-C9B1-4E1B-92A3-C9700541D434}"/>
          </ac:spMkLst>
        </pc:spChg>
        <pc:spChg chg="add del mod modVis">
          <ac:chgData name="Joseph KEMOUN" userId="0b06f245-0909-42d3-bad5-b3a07c8ffd21" providerId="ADAL" clId="{11BCE0D8-1F33-4057-A775-07C3F688388F}" dt="2021-05-25T15:01:08.370" v="16777"/>
          <ac:spMkLst>
            <pc:docMk/>
            <pc:sldMk cId="2955721572" sldId="10370"/>
            <ac:spMk id="4" creationId="{0F2AE427-FCB9-4E2A-BBB4-A1322C8BE91F}"/>
          </ac:spMkLst>
        </pc:spChg>
        <pc:spChg chg="add del mod modVis">
          <ac:chgData name="Joseph KEMOUN" userId="0b06f245-0909-42d3-bad5-b3a07c8ffd21" providerId="ADAL" clId="{11BCE0D8-1F33-4057-A775-07C3F688388F}" dt="2021-05-25T15:01:15.780" v="16851"/>
          <ac:spMkLst>
            <pc:docMk/>
            <pc:sldMk cId="2955721572" sldId="10370"/>
            <ac:spMk id="5" creationId="{E6DEE2FA-3C22-4015-9279-F49D30A849F1}"/>
          </ac:spMkLst>
        </pc:spChg>
        <pc:spChg chg="mod">
          <ac:chgData name="Joseph KEMOUN" userId="0b06f245-0909-42d3-bad5-b3a07c8ffd21" providerId="ADAL" clId="{11BCE0D8-1F33-4057-A775-07C3F688388F}" dt="2021-05-25T15:01:15.664" v="16781" actId="948"/>
          <ac:spMkLst>
            <pc:docMk/>
            <pc:sldMk cId="2955721572" sldId="10370"/>
            <ac:spMk id="7" creationId="{F59BFDDC-63FF-4CDF-9FA9-5814668C648B}"/>
          </ac:spMkLst>
        </pc:spChg>
        <pc:graphicFrameChg chg="mod">
          <ac:chgData name="Joseph KEMOUN" userId="0b06f245-0909-42d3-bad5-b3a07c8ffd21" providerId="ADAL" clId="{11BCE0D8-1F33-4057-A775-07C3F688388F}" dt="2021-05-25T15:01:15.780" v="16853"/>
          <ac:graphicFrameMkLst>
            <pc:docMk/>
            <pc:sldMk cId="2955721572" sldId="10370"/>
            <ac:graphicFrameMk id="74" creationId="{13F87AA8-9D06-4BBE-A4EF-68B245D429DA}"/>
          </ac:graphicFrameMkLst>
        </pc:graphicFrameChg>
      </pc:sldChg>
      <pc:sldChg chg="modSp mod">
        <pc:chgData name="Joseph KEMOUN" userId="0b06f245-0909-42d3-bad5-b3a07c8ffd21" providerId="ADAL" clId="{11BCE0D8-1F33-4057-A775-07C3F688388F}" dt="2021-05-25T09:14:56.442" v="13692" actId="20577"/>
        <pc:sldMkLst>
          <pc:docMk/>
          <pc:sldMk cId="928014684" sldId="10381"/>
        </pc:sldMkLst>
        <pc:spChg chg="mod">
          <ac:chgData name="Joseph KEMOUN" userId="0b06f245-0909-42d3-bad5-b3a07c8ffd21" providerId="ADAL" clId="{11BCE0D8-1F33-4057-A775-07C3F688388F}" dt="2021-05-25T09:14:56.442" v="13692" actId="20577"/>
          <ac:spMkLst>
            <pc:docMk/>
            <pc:sldMk cId="928014684" sldId="10381"/>
            <ac:spMk id="23" creationId="{A42B95F8-384C-428D-A9F7-F02119EB93B6}"/>
          </ac:spMkLst>
        </pc:spChg>
      </pc:sldChg>
      <pc:sldChg chg="delSp modSp del">
        <pc:chgData name="Joseph KEMOUN" userId="0b06f245-0909-42d3-bad5-b3a07c8ffd21" providerId="ADAL" clId="{11BCE0D8-1F33-4057-A775-07C3F688388F}" dt="2021-05-24T09:59:54.126" v="3507" actId="47"/>
        <pc:sldMkLst>
          <pc:docMk/>
          <pc:sldMk cId="3051280663" sldId="10386"/>
        </pc:sldMkLst>
        <pc:spChg chg="del">
          <ac:chgData name="Joseph KEMOUN" userId="0b06f245-0909-42d3-bad5-b3a07c8ffd21" providerId="ADAL" clId="{11BCE0D8-1F33-4057-A775-07C3F688388F}" dt="2021-05-24T09:59:44.476" v="3504" actId="21"/>
          <ac:spMkLst>
            <pc:docMk/>
            <pc:sldMk cId="3051280663" sldId="10386"/>
            <ac:spMk id="24" creationId="{C26E815C-03F1-431D-B10D-01987558357B}"/>
          </ac:spMkLst>
        </pc:spChg>
        <pc:spChg chg="del mod">
          <ac:chgData name="Joseph KEMOUN" userId="0b06f245-0909-42d3-bad5-b3a07c8ffd21" providerId="ADAL" clId="{11BCE0D8-1F33-4057-A775-07C3F688388F}" dt="2021-05-24T09:59:44.476" v="3504" actId="21"/>
          <ac:spMkLst>
            <pc:docMk/>
            <pc:sldMk cId="3051280663" sldId="10386"/>
            <ac:spMk id="25" creationId="{ECC526A6-645D-4917-B5D2-AF72728058AB}"/>
          </ac:spMkLst>
        </pc:spChg>
        <pc:spChg chg="del mod">
          <ac:chgData name="Joseph KEMOUN" userId="0b06f245-0909-42d3-bad5-b3a07c8ffd21" providerId="ADAL" clId="{11BCE0D8-1F33-4057-A775-07C3F688388F}" dt="2021-05-24T09:59:44.476" v="3504" actId="21"/>
          <ac:spMkLst>
            <pc:docMk/>
            <pc:sldMk cId="3051280663" sldId="10386"/>
            <ac:spMk id="55" creationId="{D1E531E1-F725-4416-8AA2-0A532B3EC838}"/>
          </ac:spMkLst>
        </pc:spChg>
        <pc:spChg chg="del mod">
          <ac:chgData name="Joseph KEMOUN" userId="0b06f245-0909-42d3-bad5-b3a07c8ffd21" providerId="ADAL" clId="{11BCE0D8-1F33-4057-A775-07C3F688388F}" dt="2021-05-24T09:59:44.476" v="3504" actId="21"/>
          <ac:spMkLst>
            <pc:docMk/>
            <pc:sldMk cId="3051280663" sldId="10386"/>
            <ac:spMk id="56" creationId="{5625CF92-9532-4E82-85FD-33B7B93505F5}"/>
          </ac:spMkLst>
        </pc:spChg>
        <pc:spChg chg="del mod">
          <ac:chgData name="Joseph KEMOUN" userId="0b06f245-0909-42d3-bad5-b3a07c8ffd21" providerId="ADAL" clId="{11BCE0D8-1F33-4057-A775-07C3F688388F}" dt="2021-05-24T09:59:44.476" v="3504" actId="21"/>
          <ac:spMkLst>
            <pc:docMk/>
            <pc:sldMk cId="3051280663" sldId="10386"/>
            <ac:spMk id="57" creationId="{EC8441BB-7DED-4BC5-9878-F9ADE7293377}"/>
          </ac:spMkLst>
        </pc:spChg>
        <pc:picChg chg="del mod">
          <ac:chgData name="Joseph KEMOUN" userId="0b06f245-0909-42d3-bad5-b3a07c8ffd21" providerId="ADAL" clId="{11BCE0D8-1F33-4057-A775-07C3F688388F}" dt="2021-05-24T09:59:44.476" v="3504" actId="21"/>
          <ac:picMkLst>
            <pc:docMk/>
            <pc:sldMk cId="3051280663" sldId="10386"/>
            <ac:picMk id="6" creationId="{102B703E-1563-471F-B1C6-BF448A76D1BF}"/>
          </ac:picMkLst>
        </pc:picChg>
        <pc:picChg chg="del mod">
          <ac:chgData name="Joseph KEMOUN" userId="0b06f245-0909-42d3-bad5-b3a07c8ffd21" providerId="ADAL" clId="{11BCE0D8-1F33-4057-A775-07C3F688388F}" dt="2021-05-24T09:59:44.476" v="3504" actId="21"/>
          <ac:picMkLst>
            <pc:docMk/>
            <pc:sldMk cId="3051280663" sldId="10386"/>
            <ac:picMk id="19" creationId="{2B2567FD-2DA5-4D64-B71D-64B86235D87E}"/>
          </ac:picMkLst>
        </pc:picChg>
        <pc:picChg chg="del mod">
          <ac:chgData name="Joseph KEMOUN" userId="0b06f245-0909-42d3-bad5-b3a07c8ffd21" providerId="ADAL" clId="{11BCE0D8-1F33-4057-A775-07C3F688388F}" dt="2021-05-24T09:59:44.476" v="3504" actId="21"/>
          <ac:picMkLst>
            <pc:docMk/>
            <pc:sldMk cId="3051280663" sldId="10386"/>
            <ac:picMk id="33" creationId="{C5BA4196-4F88-4437-B90C-4700EE8892EE}"/>
          </ac:picMkLst>
        </pc:picChg>
        <pc:picChg chg="del">
          <ac:chgData name="Joseph KEMOUN" userId="0b06f245-0909-42d3-bad5-b3a07c8ffd21" providerId="ADAL" clId="{11BCE0D8-1F33-4057-A775-07C3F688388F}" dt="2021-05-24T09:59:44.476" v="3504" actId="21"/>
          <ac:picMkLst>
            <pc:docMk/>
            <pc:sldMk cId="3051280663" sldId="10386"/>
            <ac:picMk id="1028" creationId="{14D10B29-C62C-4059-B944-2652BB17B8A9}"/>
          </ac:picMkLst>
        </pc:picChg>
        <pc:picChg chg="del mod">
          <ac:chgData name="Joseph KEMOUN" userId="0b06f245-0909-42d3-bad5-b3a07c8ffd21" providerId="ADAL" clId="{11BCE0D8-1F33-4057-A775-07C3F688388F}" dt="2021-05-24T09:59:44.476" v="3504" actId="21"/>
          <ac:picMkLst>
            <pc:docMk/>
            <pc:sldMk cId="3051280663" sldId="10386"/>
            <ac:picMk id="70659" creationId="{BD5DFC4D-63F6-4C20-B073-D78DD8B65E09}"/>
          </ac:picMkLst>
        </pc:picChg>
        <pc:cxnChg chg="del">
          <ac:chgData name="Joseph KEMOUN" userId="0b06f245-0909-42d3-bad5-b3a07c8ffd21" providerId="ADAL" clId="{11BCE0D8-1F33-4057-A775-07C3F688388F}" dt="2021-05-24T09:59:44.476" v="3504" actId="21"/>
          <ac:cxnSpMkLst>
            <pc:docMk/>
            <pc:sldMk cId="3051280663" sldId="10386"/>
            <ac:cxnSpMk id="20" creationId="{4DD6E162-91A1-4311-B37E-6691ACE023EF}"/>
          </ac:cxnSpMkLst>
        </pc:cxnChg>
      </pc:sldChg>
      <pc:sldChg chg="delSp mod">
        <pc:chgData name="Joseph KEMOUN" userId="0b06f245-0909-42d3-bad5-b3a07c8ffd21" providerId="ADAL" clId="{11BCE0D8-1F33-4057-A775-07C3F688388F}" dt="2021-05-25T10:17:47.351" v="14314" actId="478"/>
        <pc:sldMkLst>
          <pc:docMk/>
          <pc:sldMk cId="2528439242" sldId="10388"/>
        </pc:sldMkLst>
        <pc:spChg chg="del">
          <ac:chgData name="Joseph KEMOUN" userId="0b06f245-0909-42d3-bad5-b3a07c8ffd21" providerId="ADAL" clId="{11BCE0D8-1F33-4057-A775-07C3F688388F}" dt="2021-05-25T10:17:47.351" v="14314" actId="478"/>
          <ac:spMkLst>
            <pc:docMk/>
            <pc:sldMk cId="2528439242" sldId="10388"/>
            <ac:spMk id="5" creationId="{75A23189-992A-44C6-A85B-8751CD441843}"/>
          </ac:spMkLst>
        </pc:spChg>
      </pc:sldChg>
      <pc:sldChg chg="addSp delSp modSp mod">
        <pc:chgData name="Joseph KEMOUN" userId="0b06f245-0909-42d3-bad5-b3a07c8ffd21" providerId="ADAL" clId="{11BCE0D8-1F33-4057-A775-07C3F688388F}" dt="2021-05-25T15:02:51.083" v="17383"/>
        <pc:sldMkLst>
          <pc:docMk/>
          <pc:sldMk cId="2291217259" sldId="10389"/>
        </pc:sldMkLst>
        <pc:spChg chg="mod">
          <ac:chgData name="Joseph KEMOUN" userId="0b06f245-0909-42d3-bad5-b3a07c8ffd21" providerId="ADAL" clId="{11BCE0D8-1F33-4057-A775-07C3F688388F}" dt="2021-05-25T15:02:50.967" v="17326" actId="948"/>
          <ac:spMkLst>
            <pc:docMk/>
            <pc:sldMk cId="2291217259" sldId="10389"/>
            <ac:spMk id="2" creationId="{3B352272-A751-4371-9AD1-0EDAA488B5E8}"/>
          </ac:spMkLst>
        </pc:spChg>
        <pc:spChg chg="add del mod modVis">
          <ac:chgData name="Joseph KEMOUN" userId="0b06f245-0909-42d3-bad5-b3a07c8ffd21" providerId="ADAL" clId="{11BCE0D8-1F33-4057-A775-07C3F688388F}" dt="2021-05-25T15:02:51.067" v="17381"/>
          <ac:spMkLst>
            <pc:docMk/>
            <pc:sldMk cId="2291217259" sldId="10389"/>
            <ac:spMk id="4" creationId="{36C45BA1-7BDD-4B7F-A2C6-F2F5EBB69966}"/>
          </ac:spMkLst>
        </pc:spChg>
        <pc:graphicFrameChg chg="mod">
          <ac:chgData name="Joseph KEMOUN" userId="0b06f245-0909-42d3-bad5-b3a07c8ffd21" providerId="ADAL" clId="{11BCE0D8-1F33-4057-A775-07C3F688388F}" dt="2021-05-25T15:02:51.083" v="17383"/>
          <ac:graphicFrameMkLst>
            <pc:docMk/>
            <pc:sldMk cId="2291217259" sldId="10389"/>
            <ac:graphicFrameMk id="6" creationId="{DD54D905-BBC0-4CCC-BEDA-1A4DE21D5402}"/>
          </ac:graphicFrameMkLst>
        </pc:graphicFrameChg>
      </pc:sldChg>
      <pc:sldChg chg="modSp mod">
        <pc:chgData name="Joseph KEMOUN" userId="0b06f245-0909-42d3-bad5-b3a07c8ffd21" providerId="ADAL" clId="{11BCE0D8-1F33-4057-A775-07C3F688388F}" dt="2021-05-25T09:01:29.981" v="13261" actId="13926"/>
        <pc:sldMkLst>
          <pc:docMk/>
          <pc:sldMk cId="1963154161" sldId="10390"/>
        </pc:sldMkLst>
        <pc:spChg chg="mod">
          <ac:chgData name="Joseph KEMOUN" userId="0b06f245-0909-42d3-bad5-b3a07c8ffd21" providerId="ADAL" clId="{11BCE0D8-1F33-4057-A775-07C3F688388F}" dt="2021-05-25T09:01:29.981" v="13261" actId="13926"/>
          <ac:spMkLst>
            <pc:docMk/>
            <pc:sldMk cId="1963154161" sldId="10390"/>
            <ac:spMk id="69" creationId="{9426D2C0-7317-4715-89A4-B73DFFD9C218}"/>
          </ac:spMkLst>
        </pc:spChg>
      </pc:sldChg>
      <pc:sldChg chg="delSp modSp mod">
        <pc:chgData name="Joseph KEMOUN" userId="0b06f245-0909-42d3-bad5-b3a07c8ffd21" providerId="ADAL" clId="{11BCE0D8-1F33-4057-A775-07C3F688388F}" dt="2021-05-25T09:06:49.893" v="13531" actId="33524"/>
        <pc:sldMkLst>
          <pc:docMk/>
          <pc:sldMk cId="3996239782" sldId="10399"/>
        </pc:sldMkLst>
        <pc:spChg chg="del">
          <ac:chgData name="Joseph KEMOUN" userId="0b06f245-0909-42d3-bad5-b3a07c8ffd21" providerId="ADAL" clId="{11BCE0D8-1F33-4057-A775-07C3F688388F}" dt="2021-05-25T09:06:19.846" v="13530" actId="478"/>
          <ac:spMkLst>
            <pc:docMk/>
            <pc:sldMk cId="3996239782" sldId="10399"/>
            <ac:spMk id="8" creationId="{BE20C05E-1A26-46E6-973C-A1D4EAEA014C}"/>
          </ac:spMkLst>
        </pc:spChg>
        <pc:spChg chg="mod">
          <ac:chgData name="Joseph KEMOUN" userId="0b06f245-0909-42d3-bad5-b3a07c8ffd21" providerId="ADAL" clId="{11BCE0D8-1F33-4057-A775-07C3F688388F}" dt="2021-05-25T09:06:49.893" v="13531" actId="33524"/>
          <ac:spMkLst>
            <pc:docMk/>
            <pc:sldMk cId="3996239782" sldId="10399"/>
            <ac:spMk id="23" creationId="{7A7B45BB-0C39-4952-96D9-943DAC289519}"/>
          </ac:spMkLst>
        </pc:spChg>
      </pc:sldChg>
      <pc:sldChg chg="addSp delSp modSp mod">
        <pc:chgData name="Joseph KEMOUN" userId="0b06f245-0909-42d3-bad5-b3a07c8ffd21" providerId="ADAL" clId="{11BCE0D8-1F33-4057-A775-07C3F688388F}" dt="2021-05-25T11:19:35.839" v="15433" actId="1076"/>
        <pc:sldMkLst>
          <pc:docMk/>
          <pc:sldMk cId="2868900962" sldId="10407"/>
        </pc:sldMkLst>
        <pc:spChg chg="del mod">
          <ac:chgData name="Joseph KEMOUN" userId="0b06f245-0909-42d3-bad5-b3a07c8ffd21" providerId="ADAL" clId="{11BCE0D8-1F33-4057-A775-07C3F688388F}" dt="2021-05-25T11:14:22.660" v="15286" actId="478"/>
          <ac:spMkLst>
            <pc:docMk/>
            <pc:sldMk cId="2868900962" sldId="10407"/>
            <ac:spMk id="4" creationId="{6846C837-D7D3-4E93-997C-80DC509A1088}"/>
          </ac:spMkLst>
        </pc:spChg>
        <pc:spChg chg="del mod">
          <ac:chgData name="Joseph KEMOUN" userId="0b06f245-0909-42d3-bad5-b3a07c8ffd21" providerId="ADAL" clId="{11BCE0D8-1F33-4057-A775-07C3F688388F}" dt="2021-05-25T11:18:29.045" v="15396" actId="478"/>
          <ac:spMkLst>
            <pc:docMk/>
            <pc:sldMk cId="2868900962" sldId="10407"/>
            <ac:spMk id="6" creationId="{2BCBEB73-6F79-423F-848C-986ECE1C5C9E}"/>
          </ac:spMkLst>
        </pc:spChg>
        <pc:spChg chg="mod">
          <ac:chgData name="Joseph KEMOUN" userId="0b06f245-0909-42d3-bad5-b3a07c8ffd21" providerId="ADAL" clId="{11BCE0D8-1F33-4057-A775-07C3F688388F}" dt="2021-05-24T08:44:05.613" v="157" actId="1076"/>
          <ac:spMkLst>
            <pc:docMk/>
            <pc:sldMk cId="2868900962" sldId="10407"/>
            <ac:spMk id="19" creationId="{1DDBE6AD-B865-45EC-BC21-2763DDC2E241}"/>
          </ac:spMkLst>
        </pc:spChg>
        <pc:spChg chg="del">
          <ac:chgData name="Joseph KEMOUN" userId="0b06f245-0909-42d3-bad5-b3a07c8ffd21" providerId="ADAL" clId="{11BCE0D8-1F33-4057-A775-07C3F688388F}" dt="2021-05-25T11:14:17.597" v="15284" actId="478"/>
          <ac:spMkLst>
            <pc:docMk/>
            <pc:sldMk cId="2868900962" sldId="10407"/>
            <ac:spMk id="66" creationId="{B18555CE-EA8D-42A2-B42C-EECD0577CFC9}"/>
          </ac:spMkLst>
        </pc:spChg>
        <pc:spChg chg="add mod">
          <ac:chgData name="Joseph KEMOUN" userId="0b06f245-0909-42d3-bad5-b3a07c8ffd21" providerId="ADAL" clId="{11BCE0D8-1F33-4057-A775-07C3F688388F}" dt="2021-05-25T11:19:35.839" v="15433" actId="1076"/>
          <ac:spMkLst>
            <pc:docMk/>
            <pc:sldMk cId="2868900962" sldId="10407"/>
            <ac:spMk id="68" creationId="{20C684A8-58F2-47D1-8D45-9A9139CFFD55}"/>
          </ac:spMkLst>
        </pc:spChg>
        <pc:spChg chg="del">
          <ac:chgData name="Joseph KEMOUN" userId="0b06f245-0909-42d3-bad5-b3a07c8ffd21" providerId="ADAL" clId="{11BCE0D8-1F33-4057-A775-07C3F688388F}" dt="2021-05-25T10:12:14.727" v="14295" actId="478"/>
          <ac:spMkLst>
            <pc:docMk/>
            <pc:sldMk cId="2868900962" sldId="10407"/>
            <ac:spMk id="69" creationId="{BA031102-DBA3-46AB-8D83-EF3A8C254D33}"/>
          </ac:spMkLst>
        </pc:spChg>
        <pc:spChg chg="add mod">
          <ac:chgData name="Joseph KEMOUN" userId="0b06f245-0909-42d3-bad5-b3a07c8ffd21" providerId="ADAL" clId="{11BCE0D8-1F33-4057-A775-07C3F688388F}" dt="2021-05-24T08:44:08.178" v="158" actId="1076"/>
          <ac:spMkLst>
            <pc:docMk/>
            <pc:sldMk cId="2868900962" sldId="10407"/>
            <ac:spMk id="71" creationId="{1FC9E25B-B1E1-4334-BC70-2489B891782B}"/>
          </ac:spMkLst>
        </pc:spChg>
        <pc:spChg chg="mod">
          <ac:chgData name="Joseph KEMOUN" userId="0b06f245-0909-42d3-bad5-b3a07c8ffd21" providerId="ADAL" clId="{11BCE0D8-1F33-4057-A775-07C3F688388F}" dt="2021-05-25T11:14:13.143" v="15283" actId="20577"/>
          <ac:spMkLst>
            <pc:docMk/>
            <pc:sldMk cId="2868900962" sldId="10407"/>
            <ac:spMk id="76" creationId="{5F4FFF79-371E-4E5E-99B3-677CD02E93F1}"/>
          </ac:spMkLst>
        </pc:spChg>
        <pc:spChg chg="mod">
          <ac:chgData name="Joseph KEMOUN" userId="0b06f245-0909-42d3-bad5-b3a07c8ffd21" providerId="ADAL" clId="{11BCE0D8-1F33-4057-A775-07C3F688388F}" dt="2021-05-25T11:14:42.409" v="15289" actId="1076"/>
          <ac:spMkLst>
            <pc:docMk/>
            <pc:sldMk cId="2868900962" sldId="10407"/>
            <ac:spMk id="84" creationId="{2E352F39-712F-4BC9-ADA9-781EF77D1FBB}"/>
          </ac:spMkLst>
        </pc:spChg>
        <pc:spChg chg="del mod topLvl">
          <ac:chgData name="Joseph KEMOUN" userId="0b06f245-0909-42d3-bad5-b3a07c8ffd21" providerId="ADAL" clId="{11BCE0D8-1F33-4057-A775-07C3F688388F}" dt="2021-05-25T11:15:08.955" v="15291" actId="478"/>
          <ac:spMkLst>
            <pc:docMk/>
            <pc:sldMk cId="2868900962" sldId="10407"/>
            <ac:spMk id="86" creationId="{B979ACF7-2B50-45DA-A1E7-FA45C7BF35F4}"/>
          </ac:spMkLst>
        </pc:spChg>
        <pc:spChg chg="mod topLvl">
          <ac:chgData name="Joseph KEMOUN" userId="0b06f245-0909-42d3-bad5-b3a07c8ffd21" providerId="ADAL" clId="{11BCE0D8-1F33-4057-A775-07C3F688388F}" dt="2021-05-25T11:15:20.005" v="15316" actId="1037"/>
          <ac:spMkLst>
            <pc:docMk/>
            <pc:sldMk cId="2868900962" sldId="10407"/>
            <ac:spMk id="87" creationId="{849ACC58-2FA5-43E2-8089-59CB8D7ED689}"/>
          </ac:spMkLst>
        </pc:spChg>
        <pc:spChg chg="del mod topLvl">
          <ac:chgData name="Joseph KEMOUN" userId="0b06f245-0909-42d3-bad5-b3a07c8ffd21" providerId="ADAL" clId="{11BCE0D8-1F33-4057-A775-07C3F688388F}" dt="2021-05-25T11:15:08.955" v="15291" actId="478"/>
          <ac:spMkLst>
            <pc:docMk/>
            <pc:sldMk cId="2868900962" sldId="10407"/>
            <ac:spMk id="88" creationId="{433BFCD4-9B08-4FA8-AD94-D7A4FAAB81BD}"/>
          </ac:spMkLst>
        </pc:spChg>
        <pc:spChg chg="mod topLvl">
          <ac:chgData name="Joseph KEMOUN" userId="0b06f245-0909-42d3-bad5-b3a07c8ffd21" providerId="ADAL" clId="{11BCE0D8-1F33-4057-A775-07C3F688388F}" dt="2021-05-25T11:15:20.005" v="15316" actId="1037"/>
          <ac:spMkLst>
            <pc:docMk/>
            <pc:sldMk cId="2868900962" sldId="10407"/>
            <ac:spMk id="89" creationId="{1EC9526A-D5E0-463C-A078-93D5223027DB}"/>
          </ac:spMkLst>
        </pc:spChg>
        <pc:spChg chg="del mod topLvl">
          <ac:chgData name="Joseph KEMOUN" userId="0b06f245-0909-42d3-bad5-b3a07c8ffd21" providerId="ADAL" clId="{11BCE0D8-1F33-4057-A775-07C3F688388F}" dt="2021-05-25T11:15:08.955" v="15291" actId="478"/>
          <ac:spMkLst>
            <pc:docMk/>
            <pc:sldMk cId="2868900962" sldId="10407"/>
            <ac:spMk id="90" creationId="{8FFAFC9E-8713-4870-8CEE-C202596A4DF6}"/>
          </ac:spMkLst>
        </pc:spChg>
        <pc:spChg chg="mod topLvl">
          <ac:chgData name="Joseph KEMOUN" userId="0b06f245-0909-42d3-bad5-b3a07c8ffd21" providerId="ADAL" clId="{11BCE0D8-1F33-4057-A775-07C3F688388F}" dt="2021-05-25T11:15:20.005" v="15316" actId="1037"/>
          <ac:spMkLst>
            <pc:docMk/>
            <pc:sldMk cId="2868900962" sldId="10407"/>
            <ac:spMk id="91" creationId="{9EB3F53F-B3B4-4889-B966-F7AD5A1A15C6}"/>
          </ac:spMkLst>
        </pc:spChg>
        <pc:grpChg chg="del">
          <ac:chgData name="Joseph KEMOUN" userId="0b06f245-0909-42d3-bad5-b3a07c8ffd21" providerId="ADAL" clId="{11BCE0D8-1F33-4057-A775-07C3F688388F}" dt="2021-05-25T11:14:38.085" v="15287" actId="165"/>
          <ac:grpSpMkLst>
            <pc:docMk/>
            <pc:sldMk cId="2868900962" sldId="10407"/>
            <ac:grpSpMk id="85" creationId="{1CD0B969-3255-46D4-8A4F-9038912EF613}"/>
          </ac:grpSpMkLst>
        </pc:grpChg>
      </pc:sldChg>
      <pc:sldChg chg="addSp delSp modSp mod">
        <pc:chgData name="Joseph KEMOUN" userId="0b06f245-0909-42d3-bad5-b3a07c8ffd21" providerId="ADAL" clId="{11BCE0D8-1F33-4057-A775-07C3F688388F}" dt="2021-05-25T08:56:35.102" v="13151" actId="20577"/>
        <pc:sldMkLst>
          <pc:docMk/>
          <pc:sldMk cId="4003625964" sldId="10410"/>
        </pc:sldMkLst>
        <pc:spChg chg="mod">
          <ac:chgData name="Joseph KEMOUN" userId="0b06f245-0909-42d3-bad5-b3a07c8ffd21" providerId="ADAL" clId="{11BCE0D8-1F33-4057-A775-07C3F688388F}" dt="2021-05-25T08:50:48.596" v="13074" actId="948"/>
          <ac:spMkLst>
            <pc:docMk/>
            <pc:sldMk cId="4003625964" sldId="10410"/>
            <ac:spMk id="2" creationId="{1B8B41D0-3B5A-41F2-BD36-274CA5605C3A}"/>
          </ac:spMkLst>
        </pc:spChg>
        <pc:spChg chg="mod">
          <ac:chgData name="Joseph KEMOUN" userId="0b06f245-0909-42d3-bad5-b3a07c8ffd21" providerId="ADAL" clId="{11BCE0D8-1F33-4057-A775-07C3F688388F}" dt="2021-05-25T08:50:47.831" v="12947" actId="947"/>
          <ac:spMkLst>
            <pc:docMk/>
            <pc:sldMk cId="4003625964" sldId="10410"/>
            <ac:spMk id="3" creationId="{F2961EB7-FC0B-4AEF-8BF3-7969101BE0A7}"/>
          </ac:spMkLst>
        </pc:spChg>
        <pc:spChg chg="mod">
          <ac:chgData name="Joseph KEMOUN" userId="0b06f245-0909-42d3-bad5-b3a07c8ffd21" providerId="ADAL" clId="{11BCE0D8-1F33-4057-A775-07C3F688388F}" dt="2021-05-25T08:50:47.955" v="13015" actId="947"/>
          <ac:spMkLst>
            <pc:docMk/>
            <pc:sldMk cId="4003625964" sldId="10410"/>
            <ac:spMk id="4" creationId="{43E0D5C7-0986-42B1-8E8C-7B58D0CBD773}"/>
          </ac:spMkLst>
        </pc:spChg>
        <pc:spChg chg="mod">
          <ac:chgData name="Joseph KEMOUN" userId="0b06f245-0909-42d3-bad5-b3a07c8ffd21" providerId="ADAL" clId="{11BCE0D8-1F33-4057-A775-07C3F688388F}" dt="2021-05-25T08:50:47.887" v="12981" actId="947"/>
          <ac:spMkLst>
            <pc:docMk/>
            <pc:sldMk cId="4003625964" sldId="10410"/>
            <ac:spMk id="5" creationId="{32E0BE14-B2E8-4A96-ADE4-0BE247A47D79}"/>
          </ac:spMkLst>
        </pc:spChg>
        <pc:spChg chg="mod">
          <ac:chgData name="Joseph KEMOUN" userId="0b06f245-0909-42d3-bad5-b3a07c8ffd21" providerId="ADAL" clId="{11BCE0D8-1F33-4057-A775-07C3F688388F}" dt="2021-05-25T08:50:47.813" v="12935" actId="947"/>
          <ac:spMkLst>
            <pc:docMk/>
            <pc:sldMk cId="4003625964" sldId="10410"/>
            <ac:spMk id="6" creationId="{8AEA1672-C0F9-4DB2-A6F4-76831980F749}"/>
          </ac:spMkLst>
        </pc:spChg>
        <pc:spChg chg="mod">
          <ac:chgData name="Joseph KEMOUN" userId="0b06f245-0909-42d3-bad5-b3a07c8ffd21" providerId="ADAL" clId="{11BCE0D8-1F33-4057-A775-07C3F688388F}" dt="2021-05-25T08:50:47.850" v="12961" actId="947"/>
          <ac:spMkLst>
            <pc:docMk/>
            <pc:sldMk cId="4003625964" sldId="10410"/>
            <ac:spMk id="7" creationId="{064EAC16-1947-4EB5-B699-F79BA984701D}"/>
          </ac:spMkLst>
        </pc:spChg>
        <pc:spChg chg="mod">
          <ac:chgData name="Joseph KEMOUN" userId="0b06f245-0909-42d3-bad5-b3a07c8ffd21" providerId="ADAL" clId="{11BCE0D8-1F33-4057-A775-07C3F688388F}" dt="2021-05-25T08:50:47.937" v="13001" actId="947"/>
          <ac:spMkLst>
            <pc:docMk/>
            <pc:sldMk cId="4003625964" sldId="10410"/>
            <ac:spMk id="8" creationId="{17235FB0-B480-4F11-BAB2-ECCE97A0AE35}"/>
          </ac:spMkLst>
        </pc:spChg>
        <pc:spChg chg="mod">
          <ac:chgData name="Joseph KEMOUN" userId="0b06f245-0909-42d3-bad5-b3a07c8ffd21" providerId="ADAL" clId="{11BCE0D8-1F33-4057-A775-07C3F688388F}" dt="2021-05-25T08:50:47.911" v="12983" actId="947"/>
          <ac:spMkLst>
            <pc:docMk/>
            <pc:sldMk cId="4003625964" sldId="10410"/>
            <ac:spMk id="9" creationId="{E57AC7D2-FC03-4826-B2B4-B86B10C8A912}"/>
          </ac:spMkLst>
        </pc:spChg>
        <pc:spChg chg="mod">
          <ac:chgData name="Joseph KEMOUN" userId="0b06f245-0909-42d3-bad5-b3a07c8ffd21" providerId="ADAL" clId="{11BCE0D8-1F33-4057-A775-07C3F688388F}" dt="2021-05-25T08:50:47.976" v="13031" actId="947"/>
          <ac:spMkLst>
            <pc:docMk/>
            <pc:sldMk cId="4003625964" sldId="10410"/>
            <ac:spMk id="10" creationId="{EC4BC8E5-CDE6-4BDA-8B1B-E89284306AC8}"/>
          </ac:spMkLst>
        </pc:spChg>
        <pc:spChg chg="add del mod modVis">
          <ac:chgData name="Joseph KEMOUN" userId="0b06f245-0909-42d3-bad5-b3a07c8ffd21" providerId="ADAL" clId="{11BCE0D8-1F33-4057-A775-07C3F688388F}" dt="2021-05-25T08:50:48.676" v="13114"/>
          <ac:spMkLst>
            <pc:docMk/>
            <pc:sldMk cId="4003625964" sldId="10410"/>
            <ac:spMk id="11" creationId="{1BA72EEA-2381-443E-9CC8-13E6EF90BF75}"/>
          </ac:spMkLst>
        </pc:spChg>
        <pc:spChg chg="mod">
          <ac:chgData name="Joseph KEMOUN" userId="0b06f245-0909-42d3-bad5-b3a07c8ffd21" providerId="ADAL" clId="{11BCE0D8-1F33-4057-A775-07C3F688388F}" dt="2021-05-25T08:50:47.837" v="12951" actId="947"/>
          <ac:spMkLst>
            <pc:docMk/>
            <pc:sldMk cId="4003625964" sldId="10410"/>
            <ac:spMk id="12" creationId="{06146879-726F-492D-B854-B9E140208671}"/>
          </ac:spMkLst>
        </pc:spChg>
        <pc:spChg chg="mod">
          <ac:chgData name="Joseph KEMOUN" userId="0b06f245-0909-42d3-bad5-b3a07c8ffd21" providerId="ADAL" clId="{11BCE0D8-1F33-4057-A775-07C3F688388F}" dt="2021-05-25T08:50:47.819" v="12939" actId="20577"/>
          <ac:spMkLst>
            <pc:docMk/>
            <pc:sldMk cId="4003625964" sldId="10410"/>
            <ac:spMk id="13" creationId="{E9F049B4-9F79-4754-AA4A-B557B2A6D3C9}"/>
          </ac:spMkLst>
        </pc:spChg>
        <pc:spChg chg="del mod">
          <ac:chgData name="Joseph KEMOUN" userId="0b06f245-0909-42d3-bad5-b3a07c8ffd21" providerId="ADAL" clId="{11BCE0D8-1F33-4057-A775-07C3F688388F}" dt="2021-05-25T08:50:55.552" v="13117" actId="478"/>
          <ac:spMkLst>
            <pc:docMk/>
            <pc:sldMk cId="4003625964" sldId="10410"/>
            <ac:spMk id="14" creationId="{FB5075C0-EB15-41D7-9CC4-B64837E153D1}"/>
          </ac:spMkLst>
        </pc:spChg>
        <pc:spChg chg="mod">
          <ac:chgData name="Joseph KEMOUN" userId="0b06f245-0909-42d3-bad5-b3a07c8ffd21" providerId="ADAL" clId="{11BCE0D8-1F33-4057-A775-07C3F688388F}" dt="2021-05-25T08:50:47.857" v="12967" actId="20577"/>
          <ac:spMkLst>
            <pc:docMk/>
            <pc:sldMk cId="4003625964" sldId="10410"/>
            <ac:spMk id="19" creationId="{D183DC4A-A310-4818-8DE5-DD81DA31ACA2}"/>
          </ac:spMkLst>
        </pc:spChg>
        <pc:spChg chg="mod">
          <ac:chgData name="Joseph KEMOUN" userId="0b06f245-0909-42d3-bad5-b3a07c8ffd21" providerId="ADAL" clId="{11BCE0D8-1F33-4057-A775-07C3F688388F}" dt="2021-05-25T08:50:47.950" v="13011" actId="947"/>
          <ac:spMkLst>
            <pc:docMk/>
            <pc:sldMk cId="4003625964" sldId="10410"/>
            <ac:spMk id="20" creationId="{54E8F179-87EF-4A92-9C29-92D7E20EB946}"/>
          </ac:spMkLst>
        </pc:spChg>
        <pc:spChg chg="mod">
          <ac:chgData name="Joseph KEMOUN" userId="0b06f245-0909-42d3-bad5-b3a07c8ffd21" providerId="ADAL" clId="{11BCE0D8-1F33-4057-A775-07C3F688388F}" dt="2021-05-25T08:50:47.958" v="13017" actId="947"/>
          <ac:spMkLst>
            <pc:docMk/>
            <pc:sldMk cId="4003625964" sldId="10410"/>
            <ac:spMk id="21" creationId="{44BA4EC0-19D7-41DC-B319-396D8267BC37}"/>
          </ac:spMkLst>
        </pc:spChg>
        <pc:spChg chg="mod">
          <ac:chgData name="Joseph KEMOUN" userId="0b06f245-0909-42d3-bad5-b3a07c8ffd21" providerId="ADAL" clId="{11BCE0D8-1F33-4057-A775-07C3F688388F}" dt="2021-05-25T08:50:47.939" v="13003" actId="947"/>
          <ac:spMkLst>
            <pc:docMk/>
            <pc:sldMk cId="4003625964" sldId="10410"/>
            <ac:spMk id="22" creationId="{43B8FABF-5816-42AC-8939-29224794884E}"/>
          </ac:spMkLst>
        </pc:spChg>
        <pc:spChg chg="mod">
          <ac:chgData name="Joseph KEMOUN" userId="0b06f245-0909-42d3-bad5-b3a07c8ffd21" providerId="ADAL" clId="{11BCE0D8-1F33-4057-A775-07C3F688388F}" dt="2021-05-25T08:50:47.944" v="13007" actId="947"/>
          <ac:spMkLst>
            <pc:docMk/>
            <pc:sldMk cId="4003625964" sldId="10410"/>
            <ac:spMk id="33" creationId="{243F8FAD-0118-4F1B-B40B-A7D84FD36396}"/>
          </ac:spMkLst>
        </pc:spChg>
        <pc:spChg chg="mod">
          <ac:chgData name="Joseph KEMOUN" userId="0b06f245-0909-42d3-bad5-b3a07c8ffd21" providerId="ADAL" clId="{11BCE0D8-1F33-4057-A775-07C3F688388F}" dt="2021-05-25T08:50:47.953" v="13013" actId="947"/>
          <ac:spMkLst>
            <pc:docMk/>
            <pc:sldMk cId="4003625964" sldId="10410"/>
            <ac:spMk id="47" creationId="{9E10C541-E455-4AF2-AA1A-715E3DF2DDC1}"/>
          </ac:spMkLst>
        </pc:spChg>
        <pc:spChg chg="mod">
          <ac:chgData name="Joseph KEMOUN" userId="0b06f245-0909-42d3-bad5-b3a07c8ffd21" providerId="ADAL" clId="{11BCE0D8-1F33-4057-A775-07C3F688388F}" dt="2021-05-25T08:50:47.882" v="12977" actId="947"/>
          <ac:spMkLst>
            <pc:docMk/>
            <pc:sldMk cId="4003625964" sldId="10410"/>
            <ac:spMk id="49" creationId="{B10468A4-1BAC-4153-BC9A-99B8715C0AD1}"/>
          </ac:spMkLst>
        </pc:spChg>
        <pc:spChg chg="mod">
          <ac:chgData name="Joseph KEMOUN" userId="0b06f245-0909-42d3-bad5-b3a07c8ffd21" providerId="ADAL" clId="{11BCE0D8-1F33-4057-A775-07C3F688388F}" dt="2021-05-25T08:50:47.845" v="12957" actId="947"/>
          <ac:spMkLst>
            <pc:docMk/>
            <pc:sldMk cId="4003625964" sldId="10410"/>
            <ac:spMk id="50" creationId="{06AD3339-7557-4559-B2EA-6A391CF2BF0C}"/>
          </ac:spMkLst>
        </pc:spChg>
        <pc:spChg chg="mod">
          <ac:chgData name="Joseph KEMOUN" userId="0b06f245-0909-42d3-bad5-b3a07c8ffd21" providerId="ADAL" clId="{11BCE0D8-1F33-4057-A775-07C3F688388F}" dt="2021-05-25T08:50:47.974" v="13029" actId="947"/>
          <ac:spMkLst>
            <pc:docMk/>
            <pc:sldMk cId="4003625964" sldId="10410"/>
            <ac:spMk id="88" creationId="{336D463B-B815-4500-8F61-78A091129044}"/>
          </ac:spMkLst>
        </pc:spChg>
        <pc:spChg chg="mod">
          <ac:chgData name="Joseph KEMOUN" userId="0b06f245-0909-42d3-bad5-b3a07c8ffd21" providerId="ADAL" clId="{11BCE0D8-1F33-4057-A775-07C3F688388F}" dt="2021-05-25T08:50:47.859" v="12969" actId="947"/>
          <ac:spMkLst>
            <pc:docMk/>
            <pc:sldMk cId="4003625964" sldId="10410"/>
            <ac:spMk id="96" creationId="{5BB653FA-7502-456B-9DD5-1867522D3A88}"/>
          </ac:spMkLst>
        </pc:spChg>
        <pc:spChg chg="mod">
          <ac:chgData name="Joseph KEMOUN" userId="0b06f245-0909-42d3-bad5-b3a07c8ffd21" providerId="ADAL" clId="{11BCE0D8-1F33-4057-A775-07C3F688388F}" dt="2021-05-25T08:50:47.848" v="12959" actId="947"/>
          <ac:spMkLst>
            <pc:docMk/>
            <pc:sldMk cId="4003625964" sldId="10410"/>
            <ac:spMk id="100" creationId="{EF6C7B41-C54E-4684-BB9A-36701E115EBF}"/>
          </ac:spMkLst>
        </pc:spChg>
        <pc:spChg chg="mod">
          <ac:chgData name="Joseph KEMOUN" userId="0b06f245-0909-42d3-bad5-b3a07c8ffd21" providerId="ADAL" clId="{11BCE0D8-1F33-4057-A775-07C3F688388F}" dt="2021-05-25T08:50:47.884" v="12979" actId="947"/>
          <ac:spMkLst>
            <pc:docMk/>
            <pc:sldMk cId="4003625964" sldId="10410"/>
            <ac:spMk id="107" creationId="{31D0AEAA-51DD-4312-8DD3-D5664A3B479D}"/>
          </ac:spMkLst>
        </pc:spChg>
        <pc:spChg chg="mod">
          <ac:chgData name="Joseph KEMOUN" userId="0b06f245-0909-42d3-bad5-b3a07c8ffd21" providerId="ADAL" clId="{11BCE0D8-1F33-4057-A775-07C3F688388F}" dt="2021-05-25T08:50:47.966" v="13023" actId="947"/>
          <ac:spMkLst>
            <pc:docMk/>
            <pc:sldMk cId="4003625964" sldId="10410"/>
            <ac:spMk id="108" creationId="{B4E79E7D-0395-4CE2-8F8E-F7FFDE4BA106}"/>
          </ac:spMkLst>
        </pc:spChg>
        <pc:spChg chg="mod">
          <ac:chgData name="Joseph KEMOUN" userId="0b06f245-0909-42d3-bad5-b3a07c8ffd21" providerId="ADAL" clId="{11BCE0D8-1F33-4057-A775-07C3F688388F}" dt="2021-05-25T08:50:47.979" v="13033" actId="947"/>
          <ac:spMkLst>
            <pc:docMk/>
            <pc:sldMk cId="4003625964" sldId="10410"/>
            <ac:spMk id="119" creationId="{EEF55E94-FD53-41D7-A423-6B56C40D88A1}"/>
          </ac:spMkLst>
        </pc:spChg>
        <pc:spChg chg="mod">
          <ac:chgData name="Joseph KEMOUN" userId="0b06f245-0909-42d3-bad5-b3a07c8ffd21" providerId="ADAL" clId="{11BCE0D8-1F33-4057-A775-07C3F688388F}" dt="2021-05-25T08:50:47.822" v="12941" actId="947"/>
          <ac:spMkLst>
            <pc:docMk/>
            <pc:sldMk cId="4003625964" sldId="10410"/>
            <ac:spMk id="120" creationId="{697B9F9F-BFD2-4BBC-A2BC-06F0D17B4298}"/>
          </ac:spMkLst>
        </pc:spChg>
        <pc:spChg chg="mod">
          <ac:chgData name="Joseph KEMOUN" userId="0b06f245-0909-42d3-bad5-b3a07c8ffd21" providerId="ADAL" clId="{11BCE0D8-1F33-4057-A775-07C3F688388F}" dt="2021-05-25T08:50:47.852" v="12963" actId="947"/>
          <ac:spMkLst>
            <pc:docMk/>
            <pc:sldMk cId="4003625964" sldId="10410"/>
            <ac:spMk id="122" creationId="{7ED4A8D8-06EE-4620-B65B-5E3B52A3ABAE}"/>
          </ac:spMkLst>
        </pc:spChg>
        <pc:spChg chg="mod">
          <ac:chgData name="Joseph KEMOUN" userId="0b06f245-0909-42d3-bad5-b3a07c8ffd21" providerId="ADAL" clId="{11BCE0D8-1F33-4057-A775-07C3F688388F}" dt="2021-05-25T08:50:47.862" v="12971" actId="947"/>
          <ac:spMkLst>
            <pc:docMk/>
            <pc:sldMk cId="4003625964" sldId="10410"/>
            <ac:spMk id="123" creationId="{CCD5F39F-64EB-4F4E-BE6B-002C617492EF}"/>
          </ac:spMkLst>
        </pc:spChg>
        <pc:spChg chg="mod">
          <ac:chgData name="Joseph KEMOUN" userId="0b06f245-0909-42d3-bad5-b3a07c8ffd21" providerId="ADAL" clId="{11BCE0D8-1F33-4057-A775-07C3F688388F}" dt="2021-05-25T08:50:48.022" v="13043" actId="947"/>
          <ac:spMkLst>
            <pc:docMk/>
            <pc:sldMk cId="4003625964" sldId="10410"/>
            <ac:spMk id="124" creationId="{D6C1E53A-55EC-4A78-A526-02C0AC2C60BB}"/>
          </ac:spMkLst>
        </pc:spChg>
        <pc:spChg chg="mod">
          <ac:chgData name="Joseph KEMOUN" userId="0b06f245-0909-42d3-bad5-b3a07c8ffd21" providerId="ADAL" clId="{11BCE0D8-1F33-4057-A775-07C3F688388F}" dt="2021-05-25T08:50:47.926" v="12993" actId="20577"/>
          <ac:spMkLst>
            <pc:docMk/>
            <pc:sldMk cId="4003625964" sldId="10410"/>
            <ac:spMk id="125" creationId="{D74D7498-92CD-485E-B64F-458B030E1CC2}"/>
          </ac:spMkLst>
        </pc:spChg>
        <pc:spChg chg="mod">
          <ac:chgData name="Joseph KEMOUN" userId="0b06f245-0909-42d3-bad5-b3a07c8ffd21" providerId="ADAL" clId="{11BCE0D8-1F33-4057-A775-07C3F688388F}" dt="2021-05-25T08:50:47.934" v="12999" actId="947"/>
          <ac:spMkLst>
            <pc:docMk/>
            <pc:sldMk cId="4003625964" sldId="10410"/>
            <ac:spMk id="126" creationId="{ED54800C-53A0-4A95-B01D-6800A323DD3B}"/>
          </ac:spMkLst>
        </pc:spChg>
        <pc:spChg chg="mod">
          <ac:chgData name="Joseph KEMOUN" userId="0b06f245-0909-42d3-bad5-b3a07c8ffd21" providerId="ADAL" clId="{11BCE0D8-1F33-4057-A775-07C3F688388F}" dt="2021-05-25T08:50:48.024" v="13045" actId="947"/>
          <ac:spMkLst>
            <pc:docMk/>
            <pc:sldMk cId="4003625964" sldId="10410"/>
            <ac:spMk id="136" creationId="{84C28327-00A2-4711-A8BF-996CFA88AC98}"/>
          </ac:spMkLst>
        </pc:spChg>
        <pc:spChg chg="mod">
          <ac:chgData name="Joseph KEMOUN" userId="0b06f245-0909-42d3-bad5-b3a07c8ffd21" providerId="ADAL" clId="{11BCE0D8-1F33-4057-A775-07C3F688388F}" dt="2021-05-25T08:50:48.026" v="13047" actId="947"/>
          <ac:spMkLst>
            <pc:docMk/>
            <pc:sldMk cId="4003625964" sldId="10410"/>
            <ac:spMk id="137" creationId="{AEE977AB-712C-41D1-AD50-0C0BDEF0923D}"/>
          </ac:spMkLst>
        </pc:spChg>
        <pc:spChg chg="mod">
          <ac:chgData name="Joseph KEMOUN" userId="0b06f245-0909-42d3-bad5-b3a07c8ffd21" providerId="ADAL" clId="{11BCE0D8-1F33-4057-A775-07C3F688388F}" dt="2021-05-25T08:50:48.030" v="13049" actId="947"/>
          <ac:spMkLst>
            <pc:docMk/>
            <pc:sldMk cId="4003625964" sldId="10410"/>
            <ac:spMk id="138" creationId="{3ED5E0DD-7898-41FC-9518-B99CF6724888}"/>
          </ac:spMkLst>
        </pc:spChg>
        <pc:spChg chg="mod">
          <ac:chgData name="Joseph KEMOUN" userId="0b06f245-0909-42d3-bad5-b3a07c8ffd21" providerId="ADAL" clId="{11BCE0D8-1F33-4057-A775-07C3F688388F}" dt="2021-05-25T08:50:47.921" v="12989" actId="947"/>
          <ac:spMkLst>
            <pc:docMk/>
            <pc:sldMk cId="4003625964" sldId="10410"/>
            <ac:spMk id="154" creationId="{A7269958-7FC5-479F-B17B-49D115F118B6}"/>
          </ac:spMkLst>
        </pc:spChg>
        <pc:spChg chg="mod">
          <ac:chgData name="Joseph KEMOUN" userId="0b06f245-0909-42d3-bad5-b3a07c8ffd21" providerId="ADAL" clId="{11BCE0D8-1F33-4057-A775-07C3F688388F}" dt="2021-05-25T08:50:47.918" v="12987" actId="947"/>
          <ac:spMkLst>
            <pc:docMk/>
            <pc:sldMk cId="4003625964" sldId="10410"/>
            <ac:spMk id="165" creationId="{C389F3EC-7313-454E-9942-F14FD0BD4C77}"/>
          </ac:spMkLst>
        </pc:spChg>
        <pc:spChg chg="mod">
          <ac:chgData name="Joseph KEMOUN" userId="0b06f245-0909-42d3-bad5-b3a07c8ffd21" providerId="ADAL" clId="{11BCE0D8-1F33-4057-A775-07C3F688388F}" dt="2021-05-25T08:50:47.947" v="13009" actId="947"/>
          <ac:spMkLst>
            <pc:docMk/>
            <pc:sldMk cId="4003625964" sldId="10410"/>
            <ac:spMk id="166" creationId="{A3938D6F-1923-42FF-B2ED-6C2BEA79BA03}"/>
          </ac:spMkLst>
        </pc:spChg>
        <pc:spChg chg="mod">
          <ac:chgData name="Joseph KEMOUN" userId="0b06f245-0909-42d3-bad5-b3a07c8ffd21" providerId="ADAL" clId="{11BCE0D8-1F33-4057-A775-07C3F688388F}" dt="2021-05-25T08:50:47.876" v="12973" actId="947"/>
          <ac:spMkLst>
            <pc:docMk/>
            <pc:sldMk cId="4003625964" sldId="10410"/>
            <ac:spMk id="168" creationId="{C423BD9F-9E4A-46B8-89D7-67C1FE84B168}"/>
          </ac:spMkLst>
        </pc:spChg>
        <pc:spChg chg="mod">
          <ac:chgData name="Joseph KEMOUN" userId="0b06f245-0909-42d3-bad5-b3a07c8ffd21" providerId="ADAL" clId="{11BCE0D8-1F33-4057-A775-07C3F688388F}" dt="2021-05-25T08:50:47.879" v="12975" actId="947"/>
          <ac:spMkLst>
            <pc:docMk/>
            <pc:sldMk cId="4003625964" sldId="10410"/>
            <ac:spMk id="171" creationId="{BCC6DEFD-6FEB-4777-9432-E3B2F5C51000}"/>
          </ac:spMkLst>
        </pc:spChg>
        <pc:spChg chg="mod">
          <ac:chgData name="Joseph KEMOUN" userId="0b06f245-0909-42d3-bad5-b3a07c8ffd21" providerId="ADAL" clId="{11BCE0D8-1F33-4057-A775-07C3F688388F}" dt="2021-05-25T08:56:35.102" v="13151" actId="20577"/>
          <ac:spMkLst>
            <pc:docMk/>
            <pc:sldMk cId="4003625964" sldId="10410"/>
            <ac:spMk id="173" creationId="{BE452BF0-402D-4BCD-91A6-3CEC4D05BAD1}"/>
          </ac:spMkLst>
        </pc:spChg>
        <pc:spChg chg="mod">
          <ac:chgData name="Joseph KEMOUN" userId="0b06f245-0909-42d3-bad5-b3a07c8ffd21" providerId="ADAL" clId="{11BCE0D8-1F33-4057-A775-07C3F688388F}" dt="2021-05-25T08:50:48.018" v="13039" actId="947"/>
          <ac:spMkLst>
            <pc:docMk/>
            <pc:sldMk cId="4003625964" sldId="10410"/>
            <ac:spMk id="184" creationId="{2D6BD341-2669-45B8-8E10-F13130479C8B}"/>
          </ac:spMkLst>
        </pc:spChg>
        <pc:spChg chg="mod">
          <ac:chgData name="Joseph KEMOUN" userId="0b06f245-0909-42d3-bad5-b3a07c8ffd21" providerId="ADAL" clId="{11BCE0D8-1F33-4057-A775-07C3F688388F}" dt="2021-05-25T08:50:48.020" v="13041" actId="947"/>
          <ac:spMkLst>
            <pc:docMk/>
            <pc:sldMk cId="4003625964" sldId="10410"/>
            <ac:spMk id="185" creationId="{5AE57E1A-6506-4F9C-A94E-27A1D75F149A}"/>
          </ac:spMkLst>
        </pc:spChg>
        <pc:spChg chg="mod">
          <ac:chgData name="Joseph KEMOUN" userId="0b06f245-0909-42d3-bad5-b3a07c8ffd21" providerId="ADAL" clId="{11BCE0D8-1F33-4057-A775-07C3F688388F}" dt="2021-05-25T08:50:47.842" v="12955" actId="20577"/>
          <ac:spMkLst>
            <pc:docMk/>
            <pc:sldMk cId="4003625964" sldId="10410"/>
            <ac:spMk id="197" creationId="{EB1ED8EE-1371-4F31-B475-A7FD22F01C88}"/>
          </ac:spMkLst>
        </pc:spChg>
        <pc:spChg chg="mod">
          <ac:chgData name="Joseph KEMOUN" userId="0b06f245-0909-42d3-bad5-b3a07c8ffd21" providerId="ADAL" clId="{11BCE0D8-1F33-4057-A775-07C3F688388F}" dt="2021-05-25T08:50:48.035" v="13053" actId="20577"/>
          <ac:spMkLst>
            <pc:docMk/>
            <pc:sldMk cId="4003625964" sldId="10410"/>
            <ac:spMk id="204" creationId="{6CC6C49E-D434-403F-BE50-A7622E04ADF6}"/>
          </ac:spMkLst>
        </pc:spChg>
        <pc:spChg chg="mod">
          <ac:chgData name="Joseph KEMOUN" userId="0b06f245-0909-42d3-bad5-b3a07c8ffd21" providerId="ADAL" clId="{11BCE0D8-1F33-4057-A775-07C3F688388F}" dt="2021-05-25T08:50:47.971" v="13027" actId="20577"/>
          <ac:spMkLst>
            <pc:docMk/>
            <pc:sldMk cId="4003625964" sldId="10410"/>
            <ac:spMk id="205" creationId="{32F079B9-FFF1-42AB-9B15-BC9184FFBCAF}"/>
          </ac:spMkLst>
        </pc:spChg>
        <pc:spChg chg="mod">
          <ac:chgData name="Joseph KEMOUN" userId="0b06f245-0909-42d3-bad5-b3a07c8ffd21" providerId="ADAL" clId="{11BCE0D8-1F33-4057-A775-07C3F688388F}" dt="2021-05-25T08:50:48.040" v="13057" actId="20577"/>
          <ac:spMkLst>
            <pc:docMk/>
            <pc:sldMk cId="4003625964" sldId="10410"/>
            <ac:spMk id="206" creationId="{89686EE2-3C88-4AA0-87A1-4BC04B48AB02}"/>
          </ac:spMkLst>
        </pc:spChg>
        <pc:spChg chg="mod">
          <ac:chgData name="Joseph KEMOUN" userId="0b06f245-0909-42d3-bad5-b3a07c8ffd21" providerId="ADAL" clId="{11BCE0D8-1F33-4057-A775-07C3F688388F}" dt="2021-05-25T08:50:47.828" v="12945" actId="20577"/>
          <ac:spMkLst>
            <pc:docMk/>
            <pc:sldMk cId="4003625964" sldId="10410"/>
            <ac:spMk id="207" creationId="{AC37BD0B-23A7-4DB4-B2F5-65C70DADE73C}"/>
          </ac:spMkLst>
        </pc:spChg>
        <pc:spChg chg="mod">
          <ac:chgData name="Joseph KEMOUN" userId="0b06f245-0909-42d3-bad5-b3a07c8ffd21" providerId="ADAL" clId="{11BCE0D8-1F33-4057-A775-07C3F688388F}" dt="2021-05-25T08:50:48.047" v="13061" actId="20577"/>
          <ac:spMkLst>
            <pc:docMk/>
            <pc:sldMk cId="4003625964" sldId="10410"/>
            <ac:spMk id="208" creationId="{742E52DF-B90F-44D4-9B0A-5774B4121BA9}"/>
          </ac:spMkLst>
        </pc:spChg>
        <pc:spChg chg="mod">
          <ac:chgData name="Joseph KEMOUN" userId="0b06f245-0909-42d3-bad5-b3a07c8ffd21" providerId="ADAL" clId="{11BCE0D8-1F33-4057-A775-07C3F688388F}" dt="2021-05-25T08:50:48.052" v="13065" actId="20577"/>
          <ac:spMkLst>
            <pc:docMk/>
            <pc:sldMk cId="4003625964" sldId="10410"/>
            <ac:spMk id="209" creationId="{FE8ADA23-A482-4A71-B96C-4FF784FF76A5}"/>
          </ac:spMkLst>
        </pc:spChg>
        <pc:spChg chg="mod">
          <ac:chgData name="Joseph KEMOUN" userId="0b06f245-0909-42d3-bad5-b3a07c8ffd21" providerId="ADAL" clId="{11BCE0D8-1F33-4057-A775-07C3F688388F}" dt="2021-05-25T08:50:48.058" v="13069" actId="20577"/>
          <ac:spMkLst>
            <pc:docMk/>
            <pc:sldMk cId="4003625964" sldId="10410"/>
            <ac:spMk id="210" creationId="{F8F6D5DC-83D8-4EDF-96BE-EA0B142DCE81}"/>
          </ac:spMkLst>
        </pc:spChg>
        <pc:spChg chg="mod">
          <ac:chgData name="Joseph KEMOUN" userId="0b06f245-0909-42d3-bad5-b3a07c8ffd21" providerId="ADAL" clId="{11BCE0D8-1F33-4057-A775-07C3F688388F}" dt="2021-05-25T08:50:48.064" v="13073" actId="20577"/>
          <ac:spMkLst>
            <pc:docMk/>
            <pc:sldMk cId="4003625964" sldId="10410"/>
            <ac:spMk id="211" creationId="{03AEBBA0-73DD-4747-AD0F-3B8EC27C90DB}"/>
          </ac:spMkLst>
        </pc:spChg>
        <pc:spChg chg="mod">
          <ac:chgData name="Joseph KEMOUN" userId="0b06f245-0909-42d3-bad5-b3a07c8ffd21" providerId="ADAL" clId="{11BCE0D8-1F33-4057-A775-07C3F688388F}" dt="2021-05-25T08:50:47.963" v="13021" actId="20577"/>
          <ac:spMkLst>
            <pc:docMk/>
            <pc:sldMk cId="4003625964" sldId="10410"/>
            <ac:spMk id="212" creationId="{F492C173-DFD6-47CF-9BB4-C8925127E1EE}"/>
          </ac:spMkLst>
        </pc:spChg>
        <pc:spChg chg="mod">
          <ac:chgData name="Joseph KEMOUN" userId="0b06f245-0909-42d3-bad5-b3a07c8ffd21" providerId="ADAL" clId="{11BCE0D8-1F33-4057-A775-07C3F688388F}" dt="2021-05-25T08:50:47.916" v="12985" actId="947"/>
          <ac:spMkLst>
            <pc:docMk/>
            <pc:sldMk cId="4003625964" sldId="10410"/>
            <ac:spMk id="1031" creationId="{A3845A5C-C65F-4C44-AE3B-D3285DF51268}"/>
          </ac:spMkLst>
        </pc:spChg>
        <pc:spChg chg="mod">
          <ac:chgData name="Joseph KEMOUN" userId="0b06f245-0909-42d3-bad5-b3a07c8ffd21" providerId="ADAL" clId="{11BCE0D8-1F33-4057-A775-07C3F688388F}" dt="2021-05-25T08:50:47.941" v="13005" actId="947"/>
          <ac:spMkLst>
            <pc:docMk/>
            <pc:sldMk cId="4003625964" sldId="10410"/>
            <ac:spMk id="1035" creationId="{9164A53F-4711-41A4-BE3D-8D2F4243A495}"/>
          </ac:spMkLst>
        </pc:spChg>
        <pc:spChg chg="mod">
          <ac:chgData name="Joseph KEMOUN" userId="0b06f245-0909-42d3-bad5-b3a07c8ffd21" providerId="ADAL" clId="{11BCE0D8-1F33-4057-A775-07C3F688388F}" dt="2021-05-25T08:50:47.932" v="12997" actId="20577"/>
          <ac:spMkLst>
            <pc:docMk/>
            <pc:sldMk cId="4003625964" sldId="10410"/>
            <ac:spMk id="4107" creationId="{EBC573C8-C4E3-432A-81F7-B99236DF594A}"/>
          </ac:spMkLst>
        </pc:spChg>
        <pc:graphicFrameChg chg="mod">
          <ac:chgData name="Joseph KEMOUN" userId="0b06f245-0909-42d3-bad5-b3a07c8ffd21" providerId="ADAL" clId="{11BCE0D8-1F33-4057-A775-07C3F688388F}" dt="2021-05-25T08:50:48.692" v="13116"/>
          <ac:graphicFrameMkLst>
            <pc:docMk/>
            <pc:sldMk cId="4003625964" sldId="10410"/>
            <ac:graphicFrameMk id="17" creationId="{FF44A7FF-DA1D-48E9-88AF-BFA57A1D74D1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09:09:55.737" v="13667" actId="20577"/>
        <pc:sldMkLst>
          <pc:docMk/>
          <pc:sldMk cId="3428758149" sldId="10411"/>
        </pc:sldMkLst>
        <pc:spChg chg="mod">
          <ac:chgData name="Joseph KEMOUN" userId="0b06f245-0909-42d3-bad5-b3a07c8ffd21" providerId="ADAL" clId="{11BCE0D8-1F33-4057-A775-07C3F688388F}" dt="2021-05-25T09:09:05.879" v="13622" actId="948"/>
          <ac:spMkLst>
            <pc:docMk/>
            <pc:sldMk cId="3428758149" sldId="10411"/>
            <ac:spMk id="2" creationId="{1B8B41D0-3B5A-41F2-BD36-274CA5605C3A}"/>
          </ac:spMkLst>
        </pc:spChg>
        <pc:spChg chg="add del mod modVis">
          <ac:chgData name="Joseph KEMOUN" userId="0b06f245-0909-42d3-bad5-b3a07c8ffd21" providerId="ADAL" clId="{11BCE0D8-1F33-4057-A775-07C3F688388F}" dt="2021-05-25T09:09:00.136" v="13574"/>
          <ac:spMkLst>
            <pc:docMk/>
            <pc:sldMk cId="3428758149" sldId="10411"/>
            <ac:spMk id="3" creationId="{24985B06-4BE5-4957-91DB-9395C2D945AE}"/>
          </ac:spMkLst>
        </pc:spChg>
        <pc:spChg chg="add del mod modVis">
          <ac:chgData name="Joseph KEMOUN" userId="0b06f245-0909-42d3-bad5-b3a07c8ffd21" providerId="ADAL" clId="{11BCE0D8-1F33-4057-A775-07C3F688388F}" dt="2021-05-25T09:09:01.378" v="13618"/>
          <ac:spMkLst>
            <pc:docMk/>
            <pc:sldMk cId="3428758149" sldId="10411"/>
            <ac:spMk id="11" creationId="{6CEE818D-F2F5-48D2-B770-81CF4A47C935}"/>
          </ac:spMkLst>
        </pc:spChg>
        <pc:spChg chg="add del mod modVis">
          <ac:chgData name="Joseph KEMOUN" userId="0b06f245-0909-42d3-bad5-b3a07c8ffd21" providerId="ADAL" clId="{11BCE0D8-1F33-4057-A775-07C3F688388F}" dt="2021-05-25T09:09:05.996" v="13662"/>
          <ac:spMkLst>
            <pc:docMk/>
            <pc:sldMk cId="3428758149" sldId="10411"/>
            <ac:spMk id="12" creationId="{A7E1D472-28F7-4881-B6C3-3E62946A41DA}"/>
          </ac:spMkLst>
        </pc:spChg>
        <pc:spChg chg="mod">
          <ac:chgData name="Joseph KEMOUN" userId="0b06f245-0909-42d3-bad5-b3a07c8ffd21" providerId="ADAL" clId="{11BCE0D8-1F33-4057-A775-07C3F688388F}" dt="2021-05-25T09:09:55.737" v="13667" actId="20577"/>
          <ac:spMkLst>
            <pc:docMk/>
            <pc:sldMk cId="3428758149" sldId="10411"/>
            <ac:spMk id="182" creationId="{A076D8FE-B37B-4946-B8B8-0EDB06F5AC05}"/>
          </ac:spMkLst>
        </pc:spChg>
        <pc:graphicFrameChg chg="mod">
          <ac:chgData name="Joseph KEMOUN" userId="0b06f245-0909-42d3-bad5-b3a07c8ffd21" providerId="ADAL" clId="{11BCE0D8-1F33-4057-A775-07C3F688388F}" dt="2021-05-25T09:09:05.998" v="13664"/>
          <ac:graphicFrameMkLst>
            <pc:docMk/>
            <pc:sldMk cId="3428758149" sldId="10411"/>
            <ac:graphicFrameMk id="17" creationId="{FF44A7FF-DA1D-48E9-88AF-BFA57A1D74D1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1:22:08.568" v="15593" actId="1076"/>
        <pc:sldMkLst>
          <pc:docMk/>
          <pc:sldMk cId="3463901835" sldId="10414"/>
        </pc:sldMkLst>
        <pc:spChg chg="mod topLvl">
          <ac:chgData name="Joseph KEMOUN" userId="0b06f245-0909-42d3-bad5-b3a07c8ffd21" providerId="ADAL" clId="{11BCE0D8-1F33-4057-A775-07C3F688388F}" dt="2021-05-25T11:20:32.808" v="15443" actId="1076"/>
          <ac:spMkLst>
            <pc:docMk/>
            <pc:sldMk cId="3463901835" sldId="10414"/>
            <ac:spMk id="3" creationId="{560625DF-BB9A-476B-B434-FFCE76A905DE}"/>
          </ac:spMkLst>
        </pc:spChg>
        <pc:spChg chg="add del">
          <ac:chgData name="Joseph KEMOUN" userId="0b06f245-0909-42d3-bad5-b3a07c8ffd21" providerId="ADAL" clId="{11BCE0D8-1F33-4057-A775-07C3F688388F}" dt="2021-05-25T10:50:41.690" v="14586" actId="478"/>
          <ac:spMkLst>
            <pc:docMk/>
            <pc:sldMk cId="3463901835" sldId="10414"/>
            <ac:spMk id="8" creationId="{CBE389E3-943D-4B80-A796-EDB7F672751F}"/>
          </ac:spMkLst>
        </pc:spChg>
        <pc:spChg chg="add del mod">
          <ac:chgData name="Joseph KEMOUN" userId="0b06f245-0909-42d3-bad5-b3a07c8ffd21" providerId="ADAL" clId="{11BCE0D8-1F33-4057-A775-07C3F688388F}" dt="2021-05-25T11:21:51.766" v="15588" actId="478"/>
          <ac:spMkLst>
            <pc:docMk/>
            <pc:sldMk cId="3463901835" sldId="10414"/>
            <ac:spMk id="9" creationId="{5633E805-52F6-40AF-8687-7443F69CB403}"/>
          </ac:spMkLst>
        </pc:spChg>
        <pc:spChg chg="mod">
          <ac:chgData name="Joseph KEMOUN" userId="0b06f245-0909-42d3-bad5-b3a07c8ffd21" providerId="ADAL" clId="{11BCE0D8-1F33-4057-A775-07C3F688388F}" dt="2021-05-25T10:49:36.013" v="14571" actId="553"/>
          <ac:spMkLst>
            <pc:docMk/>
            <pc:sldMk cId="3463901835" sldId="10414"/>
            <ac:spMk id="14" creationId="{BF99168B-58D2-49E3-9128-C54D5771CCAF}"/>
          </ac:spMkLst>
        </pc:spChg>
        <pc:spChg chg="mod topLvl">
          <ac:chgData name="Joseph KEMOUN" userId="0b06f245-0909-42d3-bad5-b3a07c8ffd21" providerId="ADAL" clId="{11BCE0D8-1F33-4057-A775-07C3F688388F}" dt="2021-05-25T11:20:12.141" v="15438" actId="14100"/>
          <ac:spMkLst>
            <pc:docMk/>
            <pc:sldMk cId="3463901835" sldId="10414"/>
            <ac:spMk id="18" creationId="{A0FC123E-1912-4BE1-A532-BD9FD91F6D4C}"/>
          </ac:spMkLst>
        </pc:spChg>
        <pc:spChg chg="mod topLvl">
          <ac:chgData name="Joseph KEMOUN" userId="0b06f245-0909-42d3-bad5-b3a07c8ffd21" providerId="ADAL" clId="{11BCE0D8-1F33-4057-A775-07C3F688388F}" dt="2021-05-25T10:55:18.161" v="14685" actId="13926"/>
          <ac:spMkLst>
            <pc:docMk/>
            <pc:sldMk cId="3463901835" sldId="10414"/>
            <ac:spMk id="19" creationId="{53B1CD2F-0672-4E2A-A3D2-D816C1F3C13A}"/>
          </ac:spMkLst>
        </pc:spChg>
        <pc:spChg chg="add del mod">
          <ac:chgData name="Joseph KEMOUN" userId="0b06f245-0909-42d3-bad5-b3a07c8ffd21" providerId="ADAL" clId="{11BCE0D8-1F33-4057-A775-07C3F688388F}" dt="2021-05-25T10:57:09.036" v="14775" actId="478"/>
          <ac:spMkLst>
            <pc:docMk/>
            <pc:sldMk cId="3463901835" sldId="10414"/>
            <ac:spMk id="27" creationId="{160A04D4-D421-4D2F-94AA-171ED0A772E4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29" creationId="{4EBEFE44-2A14-4F09-A3EB-58ED287D0203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30" creationId="{0D81CDD6-14AC-4542-8189-57ADD3120D86}"/>
          </ac:spMkLst>
        </pc:spChg>
        <pc:spChg chg="mod topLvl">
          <ac:chgData name="Joseph KEMOUN" userId="0b06f245-0909-42d3-bad5-b3a07c8ffd21" providerId="ADAL" clId="{11BCE0D8-1F33-4057-A775-07C3F688388F}" dt="2021-05-25T10:56:04.969" v="14732" actId="20577"/>
          <ac:spMkLst>
            <pc:docMk/>
            <pc:sldMk cId="3463901835" sldId="10414"/>
            <ac:spMk id="31" creationId="{0A21BF8A-4686-4FC7-B72A-00B5F9563C97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33" creationId="{6F619186-A29F-47FC-B4C9-60FE5B327007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34" creationId="{7710F13B-8FD8-4679-A9E3-0FF42D7E205D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38" creationId="{443D7E13-5E25-417A-AA2B-D37766447346}"/>
          </ac:spMkLst>
        </pc:spChg>
        <pc:spChg chg="mod topLvl">
          <ac:chgData name="Joseph KEMOUN" userId="0b06f245-0909-42d3-bad5-b3a07c8ffd21" providerId="ADAL" clId="{11BCE0D8-1F33-4057-A775-07C3F688388F}" dt="2021-05-25T11:20:07.885" v="15437" actId="1076"/>
          <ac:spMkLst>
            <pc:docMk/>
            <pc:sldMk cId="3463901835" sldId="10414"/>
            <ac:spMk id="40" creationId="{951BFB89-3A96-459C-8E4A-080B28FCA297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41" creationId="{8514CDF6-D3F3-4CEC-96D8-EB94AFEB3106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42" creationId="{B14DB10B-7FE9-42ED-B303-F33106400EA9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43" creationId="{E84EA5FA-08E9-40F6-A71F-8BA8F3E3ED99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44" creationId="{F595688A-2B2A-4B18-BC8F-3E1BBE846D86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45" creationId="{7A651798-9873-484A-BCBC-F1732F254FCF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46" creationId="{54AFC57A-2292-4CA3-B567-A14B5835A6E8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47" creationId="{A14096DC-4CAE-4A32-BFA3-6DBFBDDF9334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48" creationId="{071ECFC0-1FE9-49A0-A0B0-4AFD8164EB62}"/>
          </ac:spMkLst>
        </pc:spChg>
        <pc:spChg chg="mod">
          <ac:chgData name="Joseph KEMOUN" userId="0b06f245-0909-42d3-bad5-b3a07c8ffd21" providerId="ADAL" clId="{11BCE0D8-1F33-4057-A775-07C3F688388F}" dt="2021-05-25T11:22:08.568" v="15593" actId="1076"/>
          <ac:spMkLst>
            <pc:docMk/>
            <pc:sldMk cId="3463901835" sldId="10414"/>
            <ac:spMk id="56" creationId="{2FB57385-9778-4E16-88A7-927D307E97B3}"/>
          </ac:spMkLst>
        </pc:spChg>
        <pc:spChg chg="mod topLvl">
          <ac:chgData name="Joseph KEMOUN" userId="0b06f245-0909-42d3-bad5-b3a07c8ffd21" providerId="ADAL" clId="{11BCE0D8-1F33-4057-A775-07C3F688388F}" dt="2021-05-25T10:50:53.220" v="14587" actId="1076"/>
          <ac:spMkLst>
            <pc:docMk/>
            <pc:sldMk cId="3463901835" sldId="10414"/>
            <ac:spMk id="58" creationId="{328B4C86-96DF-4F0B-9DF0-1048DA68F379}"/>
          </ac:spMkLst>
        </pc:spChg>
        <pc:spChg chg="del mod">
          <ac:chgData name="Joseph KEMOUN" userId="0b06f245-0909-42d3-bad5-b3a07c8ffd21" providerId="ADAL" clId="{11BCE0D8-1F33-4057-A775-07C3F688388F}" dt="2021-05-25T11:22:05.289" v="15592" actId="478"/>
          <ac:spMkLst>
            <pc:docMk/>
            <pc:sldMk cId="3463901835" sldId="10414"/>
            <ac:spMk id="61" creationId="{D8946D35-831B-4FB2-9D8B-4DC903BFA94D}"/>
          </ac:spMkLst>
        </pc:spChg>
        <pc:spChg chg="add del mod">
          <ac:chgData name="Joseph KEMOUN" userId="0b06f245-0909-42d3-bad5-b3a07c8ffd21" providerId="ADAL" clId="{11BCE0D8-1F33-4057-A775-07C3F688388F}" dt="2021-05-25T11:21:09.327" v="15449" actId="478"/>
          <ac:spMkLst>
            <pc:docMk/>
            <pc:sldMk cId="3463901835" sldId="10414"/>
            <ac:spMk id="62" creationId="{B272D2A6-27B4-4CCB-9AAB-635DCFACB418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63" creationId="{CACC76FC-2977-4355-BF81-4E5EDB67542C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64" creationId="{E69A6A78-2AD3-4D53-8B9B-27B1B6264317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65" creationId="{B996472B-4494-4092-90D2-F9B0598EDA9B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66" creationId="{580E88D8-DB2D-4BAA-87C9-C7877E27FD4E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67" creationId="{29C19D83-CDAD-468C-B418-83C2D1E45543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68" creationId="{7BD2CCAB-CCFD-487A-BBD3-6041900F9E7C}"/>
          </ac:spMkLst>
        </pc:spChg>
        <pc:spChg chg="mod topLvl">
          <ac:chgData name="Joseph KEMOUN" userId="0b06f245-0909-42d3-bad5-b3a07c8ffd21" providerId="ADAL" clId="{11BCE0D8-1F33-4057-A775-07C3F688388F}" dt="2021-05-25T10:49:52.574" v="14584" actId="165"/>
          <ac:spMkLst>
            <pc:docMk/>
            <pc:sldMk cId="3463901835" sldId="10414"/>
            <ac:spMk id="69" creationId="{B7EBBC5A-DA14-4F74-B1F0-E98AF52DABD0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70" creationId="{3291AB25-490F-4B63-A46D-E02764883457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71" creationId="{075BD30D-D6B5-4502-AB64-F5EF3A546F22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72" creationId="{B8A5B5FA-956D-4336-94C9-315F1C4DA686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73" creationId="{BB81862D-1352-415B-9794-C265DDB814EE}"/>
          </ac:spMkLst>
        </pc:spChg>
        <pc:spChg chg="mod topLvl">
          <ac:chgData name="Joseph KEMOUN" userId="0b06f245-0909-42d3-bad5-b3a07c8ffd21" providerId="ADAL" clId="{11BCE0D8-1F33-4057-A775-07C3F688388F}" dt="2021-05-25T11:19:58.775" v="15434" actId="1076"/>
          <ac:spMkLst>
            <pc:docMk/>
            <pc:sldMk cId="3463901835" sldId="10414"/>
            <ac:spMk id="74" creationId="{5013318F-F7B4-4AAF-ADC5-C66BF396BB1E}"/>
          </ac:spMkLst>
        </pc:spChg>
        <pc:spChg chg="del">
          <ac:chgData name="Joseph KEMOUN" userId="0b06f245-0909-42d3-bad5-b3a07c8ffd21" providerId="ADAL" clId="{11BCE0D8-1F33-4057-A775-07C3F688388F}" dt="2021-05-25T11:22:03.905" v="15591" actId="478"/>
          <ac:spMkLst>
            <pc:docMk/>
            <pc:sldMk cId="3463901835" sldId="10414"/>
            <ac:spMk id="161" creationId="{3C336A9A-5573-4E7F-9707-73EC798AFA2F}"/>
          </ac:spMkLst>
        </pc:spChg>
        <pc:spChg chg="del">
          <ac:chgData name="Joseph KEMOUN" userId="0b06f245-0909-42d3-bad5-b3a07c8ffd21" providerId="ADAL" clId="{11BCE0D8-1F33-4057-A775-07C3F688388F}" dt="2021-05-25T11:21:05.564" v="15448" actId="478"/>
          <ac:spMkLst>
            <pc:docMk/>
            <pc:sldMk cId="3463901835" sldId="10414"/>
            <ac:spMk id="162" creationId="{61804EA3-4E75-4335-A703-963D409C9434}"/>
          </ac:spMkLst>
        </pc:spChg>
        <pc:spChg chg="add mod">
          <ac:chgData name="Joseph KEMOUN" userId="0b06f245-0909-42d3-bad5-b3a07c8ffd21" providerId="ADAL" clId="{11BCE0D8-1F33-4057-A775-07C3F688388F}" dt="2021-05-25T11:15:36.988" v="15320"/>
          <ac:spMkLst>
            <pc:docMk/>
            <pc:sldMk cId="3463901835" sldId="10414"/>
            <ac:spMk id="163" creationId="{C9BC372D-27E0-4C61-9FF9-BB8CEF98E767}"/>
          </ac:spMkLst>
        </pc:spChg>
        <pc:spChg chg="add mod">
          <ac:chgData name="Joseph KEMOUN" userId="0b06f245-0909-42d3-bad5-b3a07c8ffd21" providerId="ADAL" clId="{11BCE0D8-1F33-4057-A775-07C3F688388F}" dt="2021-05-25T11:15:36.988" v="15320"/>
          <ac:spMkLst>
            <pc:docMk/>
            <pc:sldMk cId="3463901835" sldId="10414"/>
            <ac:spMk id="164" creationId="{9115E2E4-D1D6-48E2-8A7C-9F6D62B1EF33}"/>
          </ac:spMkLst>
        </pc:spChg>
        <pc:spChg chg="add mod">
          <ac:chgData name="Joseph KEMOUN" userId="0b06f245-0909-42d3-bad5-b3a07c8ffd21" providerId="ADAL" clId="{11BCE0D8-1F33-4057-A775-07C3F688388F}" dt="2021-05-25T11:15:36.988" v="15320"/>
          <ac:spMkLst>
            <pc:docMk/>
            <pc:sldMk cId="3463901835" sldId="10414"/>
            <ac:spMk id="165" creationId="{4215182C-EDD8-446A-9ED2-694EBD52371C}"/>
          </ac:spMkLst>
        </pc:spChg>
        <pc:spChg chg="add mod">
          <ac:chgData name="Joseph KEMOUN" userId="0b06f245-0909-42d3-bad5-b3a07c8ffd21" providerId="ADAL" clId="{11BCE0D8-1F33-4057-A775-07C3F688388F}" dt="2021-05-25T11:21:45.969" v="15587" actId="20577"/>
          <ac:spMkLst>
            <pc:docMk/>
            <pc:sldMk cId="3463901835" sldId="10414"/>
            <ac:spMk id="166" creationId="{66B7A34F-AB5D-426F-B1C8-20B0860BD288}"/>
          </ac:spMkLst>
        </pc:spChg>
        <pc:spChg chg="add mod">
          <ac:chgData name="Joseph KEMOUN" userId="0b06f245-0909-42d3-bad5-b3a07c8ffd21" providerId="ADAL" clId="{11BCE0D8-1F33-4057-A775-07C3F688388F}" dt="2021-05-25T11:20:52.441" v="15447" actId="20577"/>
          <ac:spMkLst>
            <pc:docMk/>
            <pc:sldMk cId="3463901835" sldId="10414"/>
            <ac:spMk id="167" creationId="{85343B7B-FA9F-423E-9110-E022B7AB66AB}"/>
          </ac:spMkLst>
        </pc:spChg>
        <pc:spChg chg="add mod">
          <ac:chgData name="Joseph KEMOUN" userId="0b06f245-0909-42d3-bad5-b3a07c8ffd21" providerId="ADAL" clId="{11BCE0D8-1F33-4057-A775-07C3F688388F}" dt="2021-05-25T11:22:00.212" v="15590" actId="1076"/>
          <ac:spMkLst>
            <pc:docMk/>
            <pc:sldMk cId="3463901835" sldId="10414"/>
            <ac:spMk id="168" creationId="{97CEBF19-A4E2-44F8-8148-A7DB0C354FDE}"/>
          </ac:spMkLst>
        </pc:spChg>
        <pc:grpChg chg="add del mod topLvl">
          <ac:chgData name="Joseph KEMOUN" userId="0b06f245-0909-42d3-bad5-b3a07c8ffd21" providerId="ADAL" clId="{11BCE0D8-1F33-4057-A775-07C3F688388F}" dt="2021-05-25T10:49:52.574" v="14584" actId="165"/>
          <ac:grpSpMkLst>
            <pc:docMk/>
            <pc:sldMk cId="3463901835" sldId="10414"/>
            <ac:grpSpMk id="4" creationId="{278F81AD-3F8F-4783-9C7B-3D203687287E}"/>
          </ac:grpSpMkLst>
        </pc:grpChg>
        <pc:grpChg chg="add del mod topLvl">
          <ac:chgData name="Joseph KEMOUN" userId="0b06f245-0909-42d3-bad5-b3a07c8ffd21" providerId="ADAL" clId="{11BCE0D8-1F33-4057-A775-07C3F688388F}" dt="2021-05-25T10:49:52.574" v="14584" actId="165"/>
          <ac:grpSpMkLst>
            <pc:docMk/>
            <pc:sldMk cId="3463901835" sldId="10414"/>
            <ac:grpSpMk id="6" creationId="{FEED5E19-DBCF-4B60-96F6-6C5A44AD6363}"/>
          </ac:grpSpMkLst>
        </pc:grpChg>
        <pc:grpChg chg="add del mod">
          <ac:chgData name="Joseph KEMOUN" userId="0b06f245-0909-42d3-bad5-b3a07c8ffd21" providerId="ADAL" clId="{11BCE0D8-1F33-4057-A775-07C3F688388F}" dt="2021-05-25T10:49:51.601" v="14583" actId="165"/>
          <ac:grpSpMkLst>
            <pc:docMk/>
            <pc:sldMk cId="3463901835" sldId="10414"/>
            <ac:grpSpMk id="7" creationId="{0E51A0BD-EC6A-41AA-B0E0-044EC748E6A7}"/>
          </ac:grpSpMkLst>
        </pc:grpChg>
        <pc:grpChg chg="del">
          <ac:chgData name="Joseph KEMOUN" userId="0b06f245-0909-42d3-bad5-b3a07c8ffd21" providerId="ADAL" clId="{11BCE0D8-1F33-4057-A775-07C3F688388F}" dt="2021-05-25T11:15:36.656" v="15319" actId="478"/>
          <ac:grpSpMkLst>
            <pc:docMk/>
            <pc:sldMk cId="3463901835" sldId="10414"/>
            <ac:grpSpMk id="117" creationId="{E1F74118-DC1A-4E12-8A53-785ED4A3156A}"/>
          </ac:grpSpMkLst>
        </pc:grpChg>
      </pc:sldChg>
      <pc:sldChg chg="addSp delSp modSp mod">
        <pc:chgData name="Joseph KEMOUN" userId="0b06f245-0909-42d3-bad5-b3a07c8ffd21" providerId="ADAL" clId="{11BCE0D8-1F33-4057-A775-07C3F688388F}" dt="2021-05-25T11:34:11.650" v="16189" actId="206"/>
        <pc:sldMkLst>
          <pc:docMk/>
          <pc:sldMk cId="718926585" sldId="10416"/>
        </pc:sldMkLst>
        <pc:spChg chg="mod ord">
          <ac:chgData name="Joseph KEMOUN" userId="0b06f245-0909-42d3-bad5-b3a07c8ffd21" providerId="ADAL" clId="{11BCE0D8-1F33-4057-A775-07C3F688388F}" dt="2021-05-25T11:30:41.998" v="16092"/>
          <ac:spMkLst>
            <pc:docMk/>
            <pc:sldMk cId="718926585" sldId="10416"/>
            <ac:spMk id="2" creationId="{6141F854-3009-40D7-9038-56590105A49E}"/>
          </ac:spMkLst>
        </pc:spChg>
        <pc:spChg chg="add del">
          <ac:chgData name="Joseph KEMOUN" userId="0b06f245-0909-42d3-bad5-b3a07c8ffd21" providerId="ADAL" clId="{11BCE0D8-1F33-4057-A775-07C3F688388F}" dt="2021-05-25T10:58:53.508" v="14777" actId="478"/>
          <ac:spMkLst>
            <pc:docMk/>
            <pc:sldMk cId="718926585" sldId="10416"/>
            <ac:spMk id="3" creationId="{67F47312-963E-4EB6-8736-AE7345F88DFC}"/>
          </ac:spMkLst>
        </pc:spChg>
        <pc:spChg chg="del">
          <ac:chgData name="Joseph KEMOUN" userId="0b06f245-0909-42d3-bad5-b3a07c8ffd21" providerId="ADAL" clId="{11BCE0D8-1F33-4057-A775-07C3F688388F}" dt="2021-05-24T09:03:26.428" v="1101" actId="478"/>
          <ac:spMkLst>
            <pc:docMk/>
            <pc:sldMk cId="718926585" sldId="10416"/>
            <ac:spMk id="3" creationId="{F5CA8CC9-6A13-4BDE-9953-50691A73BA81}"/>
          </ac:spMkLst>
        </pc:spChg>
        <pc:spChg chg="add del mod">
          <ac:chgData name="Joseph KEMOUN" userId="0b06f245-0909-42d3-bad5-b3a07c8ffd21" providerId="ADAL" clId="{11BCE0D8-1F33-4057-A775-07C3F688388F}" dt="2021-05-25T10:59:35.981" v="14780"/>
          <ac:spMkLst>
            <pc:docMk/>
            <pc:sldMk cId="718926585" sldId="10416"/>
            <ac:spMk id="4" creationId="{C10C0C9D-1264-4B0E-84A6-42AC650116D6}"/>
          </ac:spMkLst>
        </pc:spChg>
        <pc:spChg chg="add del mod ord">
          <ac:chgData name="Joseph KEMOUN" userId="0b06f245-0909-42d3-bad5-b3a07c8ffd21" providerId="ADAL" clId="{11BCE0D8-1F33-4057-A775-07C3F688388F}" dt="2021-05-25T11:30:56.863" v="16144" actId="478"/>
          <ac:spMkLst>
            <pc:docMk/>
            <pc:sldMk cId="718926585" sldId="10416"/>
            <ac:spMk id="6" creationId="{8D00387A-5C98-4503-95B9-4F6B8AE94346}"/>
          </ac:spMkLst>
        </pc:spChg>
        <pc:spChg chg="add mod ord">
          <ac:chgData name="Joseph KEMOUN" userId="0b06f245-0909-42d3-bad5-b3a07c8ffd21" providerId="ADAL" clId="{11BCE0D8-1F33-4057-A775-07C3F688388F}" dt="2021-05-25T11:34:11.650" v="16189" actId="206"/>
          <ac:spMkLst>
            <pc:docMk/>
            <pc:sldMk cId="718926585" sldId="10416"/>
            <ac:spMk id="7" creationId="{9F978BF0-A2ED-423C-83F1-4F728472B1F8}"/>
          </ac:spMkLst>
        </pc:spChg>
        <pc:spChg chg="add del mod modVis">
          <ac:chgData name="Joseph KEMOUN" userId="0b06f245-0909-42d3-bad5-b3a07c8ffd21" providerId="ADAL" clId="{11BCE0D8-1F33-4057-A775-07C3F688388F}" dt="2021-05-25T11:23:22.596" v="15694"/>
          <ac:spMkLst>
            <pc:docMk/>
            <pc:sldMk cId="718926585" sldId="10416"/>
            <ac:spMk id="8" creationId="{2F6F56B4-0202-4FD8-B976-7BAA474C130B}"/>
          </ac:spMkLst>
        </pc:spChg>
        <pc:spChg chg="add mod ord">
          <ac:chgData name="Joseph KEMOUN" userId="0b06f245-0909-42d3-bad5-b3a07c8ffd21" providerId="ADAL" clId="{11BCE0D8-1F33-4057-A775-07C3F688388F}" dt="2021-05-25T11:33:08.960" v="16179" actId="1035"/>
          <ac:spMkLst>
            <pc:docMk/>
            <pc:sldMk cId="718926585" sldId="10416"/>
            <ac:spMk id="9" creationId="{75BECECC-CD31-4F42-8A47-EE3665FCBFD8}"/>
          </ac:spMkLst>
        </pc:spChg>
        <pc:spChg chg="del">
          <ac:chgData name="Joseph KEMOUN" userId="0b06f245-0909-42d3-bad5-b3a07c8ffd21" providerId="ADAL" clId="{11BCE0D8-1F33-4057-A775-07C3F688388F}" dt="2021-05-24T09:03:26.428" v="1101" actId="478"/>
          <ac:spMkLst>
            <pc:docMk/>
            <pc:sldMk cId="718926585" sldId="10416"/>
            <ac:spMk id="9" creationId="{E5F54033-B14D-4834-9383-8C247A6B375C}"/>
          </ac:spMkLst>
        </pc:spChg>
        <pc:spChg chg="mod ord">
          <ac:chgData name="Joseph KEMOUN" userId="0b06f245-0909-42d3-bad5-b3a07c8ffd21" providerId="ADAL" clId="{11BCE0D8-1F33-4057-A775-07C3F688388F}" dt="2021-05-25T11:30:41.998" v="16084"/>
          <ac:spMkLst>
            <pc:docMk/>
            <pc:sldMk cId="718926585" sldId="10416"/>
            <ac:spMk id="14" creationId="{79163A55-8253-4415-87E3-49B6AA0C98BF}"/>
          </ac:spMkLst>
        </pc:spChg>
        <pc:spChg chg="mod ord">
          <ac:chgData name="Joseph KEMOUN" userId="0b06f245-0909-42d3-bad5-b3a07c8ffd21" providerId="ADAL" clId="{11BCE0D8-1F33-4057-A775-07C3F688388F}" dt="2021-05-25T11:30:41.998" v="16082"/>
          <ac:spMkLst>
            <pc:docMk/>
            <pc:sldMk cId="718926585" sldId="10416"/>
            <ac:spMk id="15" creationId="{C7CC0E72-2C4D-4227-BE31-58EBB8D10C2D}"/>
          </ac:spMkLst>
        </pc:spChg>
        <pc:spChg chg="mod ord">
          <ac:chgData name="Joseph KEMOUN" userId="0b06f245-0909-42d3-bad5-b3a07c8ffd21" providerId="ADAL" clId="{11BCE0D8-1F33-4057-A775-07C3F688388F}" dt="2021-05-25T11:30:41.998" v="16090"/>
          <ac:spMkLst>
            <pc:docMk/>
            <pc:sldMk cId="718926585" sldId="10416"/>
            <ac:spMk id="16" creationId="{D2E2D690-327F-4633-A872-ADB29F27F398}"/>
          </ac:spMkLst>
        </pc:spChg>
        <pc:spChg chg="mod ord">
          <ac:chgData name="Joseph KEMOUN" userId="0b06f245-0909-42d3-bad5-b3a07c8ffd21" providerId="ADAL" clId="{11BCE0D8-1F33-4057-A775-07C3F688388F}" dt="2021-05-25T11:30:41.998" v="16098"/>
          <ac:spMkLst>
            <pc:docMk/>
            <pc:sldMk cId="718926585" sldId="10416"/>
            <ac:spMk id="25" creationId="{C509ABA6-0D56-4D9A-8217-F214397AC6C6}"/>
          </ac:spMkLst>
        </pc:spChg>
        <pc:spChg chg="mod ord">
          <ac:chgData name="Joseph KEMOUN" userId="0b06f245-0909-42d3-bad5-b3a07c8ffd21" providerId="ADAL" clId="{11BCE0D8-1F33-4057-A775-07C3F688388F}" dt="2021-05-25T11:30:42.014" v="16100"/>
          <ac:spMkLst>
            <pc:docMk/>
            <pc:sldMk cId="718926585" sldId="10416"/>
            <ac:spMk id="26" creationId="{7214233D-03FD-4212-9D98-B0CAE1EA952D}"/>
          </ac:spMkLst>
        </pc:spChg>
        <pc:spChg chg="mod ord">
          <ac:chgData name="Joseph KEMOUN" userId="0b06f245-0909-42d3-bad5-b3a07c8ffd21" providerId="ADAL" clId="{11BCE0D8-1F33-4057-A775-07C3F688388F}" dt="2021-05-25T11:30:42.014" v="16102"/>
          <ac:spMkLst>
            <pc:docMk/>
            <pc:sldMk cId="718926585" sldId="10416"/>
            <ac:spMk id="27" creationId="{63FECFE8-77A5-4C8D-9A95-E5E89281A837}"/>
          </ac:spMkLst>
        </pc:spChg>
        <pc:spChg chg="mod ord">
          <ac:chgData name="Joseph KEMOUN" userId="0b06f245-0909-42d3-bad5-b3a07c8ffd21" providerId="ADAL" clId="{11BCE0D8-1F33-4057-A775-07C3F688388F}" dt="2021-05-25T11:30:42.014" v="16104"/>
          <ac:spMkLst>
            <pc:docMk/>
            <pc:sldMk cId="718926585" sldId="10416"/>
            <ac:spMk id="28" creationId="{B4F1C8B4-203B-4299-B34E-7D33C44B7B71}"/>
          </ac:spMkLst>
        </pc:spChg>
        <pc:spChg chg="mod ord">
          <ac:chgData name="Joseph KEMOUN" userId="0b06f245-0909-42d3-bad5-b3a07c8ffd21" providerId="ADAL" clId="{11BCE0D8-1F33-4057-A775-07C3F688388F}" dt="2021-05-25T11:30:42.014" v="16106"/>
          <ac:spMkLst>
            <pc:docMk/>
            <pc:sldMk cId="718926585" sldId="10416"/>
            <ac:spMk id="29" creationId="{8A165B1F-6634-43C5-A885-140265BE12E8}"/>
          </ac:spMkLst>
        </pc:spChg>
        <pc:spChg chg="mod ord">
          <ac:chgData name="Joseph KEMOUN" userId="0b06f245-0909-42d3-bad5-b3a07c8ffd21" providerId="ADAL" clId="{11BCE0D8-1F33-4057-A775-07C3F688388F}" dt="2021-05-25T11:30:42.014" v="16108"/>
          <ac:spMkLst>
            <pc:docMk/>
            <pc:sldMk cId="718926585" sldId="10416"/>
            <ac:spMk id="30" creationId="{52F7899A-6E23-45C9-AB1D-5A04E49DE8D3}"/>
          </ac:spMkLst>
        </pc:spChg>
        <pc:spChg chg="mod ord">
          <ac:chgData name="Joseph KEMOUN" userId="0b06f245-0909-42d3-bad5-b3a07c8ffd21" providerId="ADAL" clId="{11BCE0D8-1F33-4057-A775-07C3F688388F}" dt="2021-05-25T11:30:42.014" v="16110"/>
          <ac:spMkLst>
            <pc:docMk/>
            <pc:sldMk cId="718926585" sldId="10416"/>
            <ac:spMk id="31" creationId="{39A4E537-6B70-42D6-B76D-22EBE99E5324}"/>
          </ac:spMkLst>
        </pc:spChg>
        <pc:spChg chg="mod ord">
          <ac:chgData name="Joseph KEMOUN" userId="0b06f245-0909-42d3-bad5-b3a07c8ffd21" providerId="ADAL" clId="{11BCE0D8-1F33-4057-A775-07C3F688388F}" dt="2021-05-25T11:30:42.014" v="16112"/>
          <ac:spMkLst>
            <pc:docMk/>
            <pc:sldMk cId="718926585" sldId="10416"/>
            <ac:spMk id="32" creationId="{E344EE6B-B062-4077-8C00-8A44A9ED2DC4}"/>
          </ac:spMkLst>
        </pc:spChg>
        <pc:spChg chg="mod ord">
          <ac:chgData name="Joseph KEMOUN" userId="0b06f245-0909-42d3-bad5-b3a07c8ffd21" providerId="ADAL" clId="{11BCE0D8-1F33-4057-A775-07C3F688388F}" dt="2021-05-25T11:30:42.014" v="16116"/>
          <ac:spMkLst>
            <pc:docMk/>
            <pc:sldMk cId="718926585" sldId="10416"/>
            <ac:spMk id="36" creationId="{E88FEEFE-E9AA-4FA4-BD22-4477BCB96162}"/>
          </ac:spMkLst>
        </pc:spChg>
        <pc:spChg chg="del mod ord">
          <ac:chgData name="Joseph KEMOUN" userId="0b06f245-0909-42d3-bad5-b3a07c8ffd21" providerId="ADAL" clId="{11BCE0D8-1F33-4057-A775-07C3F688388F}" dt="2021-05-25T11:31:17.898" v="16145" actId="478"/>
          <ac:spMkLst>
            <pc:docMk/>
            <pc:sldMk cId="718926585" sldId="10416"/>
            <ac:spMk id="37" creationId="{32DACDDC-5FA7-4AC4-9343-BD5E5911AA8C}"/>
          </ac:spMkLst>
        </pc:spChg>
        <pc:spChg chg="add mod ord">
          <ac:chgData name="Joseph KEMOUN" userId="0b06f245-0909-42d3-bad5-b3a07c8ffd21" providerId="ADAL" clId="{11BCE0D8-1F33-4057-A775-07C3F688388F}" dt="2021-05-25T11:30:42.014" v="16136"/>
          <ac:spMkLst>
            <pc:docMk/>
            <pc:sldMk cId="718926585" sldId="10416"/>
            <ac:spMk id="39" creationId="{D1647B34-90C1-4C29-B580-9480E45107E8}"/>
          </ac:spMkLst>
        </pc:spChg>
        <pc:spChg chg="add mod ord">
          <ac:chgData name="Joseph KEMOUN" userId="0b06f245-0909-42d3-bad5-b3a07c8ffd21" providerId="ADAL" clId="{11BCE0D8-1F33-4057-A775-07C3F688388F}" dt="2021-05-25T11:30:42.014" v="16138"/>
          <ac:spMkLst>
            <pc:docMk/>
            <pc:sldMk cId="718926585" sldId="10416"/>
            <ac:spMk id="40" creationId="{0486214C-6235-49DA-85D1-C93D9421B994}"/>
          </ac:spMkLst>
        </pc:spChg>
        <pc:spChg chg="add mod ord">
          <ac:chgData name="Joseph KEMOUN" userId="0b06f245-0909-42d3-bad5-b3a07c8ffd21" providerId="ADAL" clId="{11BCE0D8-1F33-4057-A775-07C3F688388F}" dt="2021-05-25T11:30:42.014" v="16140"/>
          <ac:spMkLst>
            <pc:docMk/>
            <pc:sldMk cId="718926585" sldId="10416"/>
            <ac:spMk id="41" creationId="{6A88B8B1-EE95-4CCC-A064-323BC70DFA00}"/>
          </ac:spMkLst>
        </pc:spChg>
        <pc:spChg chg="add mod">
          <ac:chgData name="Joseph KEMOUN" userId="0b06f245-0909-42d3-bad5-b3a07c8ffd21" providerId="ADAL" clId="{11BCE0D8-1F33-4057-A775-07C3F688388F}" dt="2021-05-24T08:44:57.535" v="177" actId="20577"/>
          <ac:spMkLst>
            <pc:docMk/>
            <pc:sldMk cId="718926585" sldId="10416"/>
            <ac:spMk id="42" creationId="{72CC8CD0-E8F4-4627-8A22-56D76E21EC50}"/>
          </ac:spMkLst>
        </pc:spChg>
        <pc:spChg chg="del mod ord">
          <ac:chgData name="Joseph KEMOUN" userId="0b06f245-0909-42d3-bad5-b3a07c8ffd21" providerId="ADAL" clId="{11BCE0D8-1F33-4057-A775-07C3F688388F}" dt="2021-05-25T11:31:17.898" v="16145" actId="478"/>
          <ac:spMkLst>
            <pc:docMk/>
            <pc:sldMk cId="718926585" sldId="10416"/>
            <ac:spMk id="43" creationId="{82E1424B-3A43-4D65-BCD8-062689C60A78}"/>
          </ac:spMkLst>
        </pc:spChg>
        <pc:spChg chg="add mod ord">
          <ac:chgData name="Joseph KEMOUN" userId="0b06f245-0909-42d3-bad5-b3a07c8ffd21" providerId="ADAL" clId="{11BCE0D8-1F33-4057-A775-07C3F688388F}" dt="2021-05-25T11:30:42.014" v="16120"/>
          <ac:spMkLst>
            <pc:docMk/>
            <pc:sldMk cId="718926585" sldId="10416"/>
            <ac:spMk id="44" creationId="{5B2A13CB-D242-4CEC-BD84-9421FD92C730}"/>
          </ac:spMkLst>
        </pc:spChg>
        <pc:spChg chg="add mod ord">
          <ac:chgData name="Joseph KEMOUN" userId="0b06f245-0909-42d3-bad5-b3a07c8ffd21" providerId="ADAL" clId="{11BCE0D8-1F33-4057-A775-07C3F688388F}" dt="2021-05-25T11:30:42.014" v="16122"/>
          <ac:spMkLst>
            <pc:docMk/>
            <pc:sldMk cId="718926585" sldId="10416"/>
            <ac:spMk id="45" creationId="{C3F0F705-A049-4672-849F-319AB1731825}"/>
          </ac:spMkLst>
        </pc:spChg>
        <pc:spChg chg="add mod ord">
          <ac:chgData name="Joseph KEMOUN" userId="0b06f245-0909-42d3-bad5-b3a07c8ffd21" providerId="ADAL" clId="{11BCE0D8-1F33-4057-A775-07C3F688388F}" dt="2021-05-25T11:30:42.014" v="16124"/>
          <ac:spMkLst>
            <pc:docMk/>
            <pc:sldMk cId="718926585" sldId="10416"/>
            <ac:spMk id="46" creationId="{133D97A8-1546-424C-9184-ED69A50C0630}"/>
          </ac:spMkLst>
        </pc:spChg>
        <pc:spChg chg="add mod">
          <ac:chgData name="Joseph KEMOUN" userId="0b06f245-0909-42d3-bad5-b3a07c8ffd21" providerId="ADAL" clId="{11BCE0D8-1F33-4057-A775-07C3F688388F}" dt="2021-05-24T09:05:04.070" v="1162" actId="571"/>
          <ac:spMkLst>
            <pc:docMk/>
            <pc:sldMk cId="718926585" sldId="10416"/>
            <ac:spMk id="48" creationId="{835FEBF3-68BA-4C94-9737-2FE61987ECCE}"/>
          </ac:spMkLst>
        </pc:spChg>
        <pc:spChg chg="add mod ord">
          <ac:chgData name="Joseph KEMOUN" userId="0b06f245-0909-42d3-bad5-b3a07c8ffd21" providerId="ADAL" clId="{11BCE0D8-1F33-4057-A775-07C3F688388F}" dt="2021-05-25T11:30:42.014" v="16126"/>
          <ac:spMkLst>
            <pc:docMk/>
            <pc:sldMk cId="718926585" sldId="10416"/>
            <ac:spMk id="49" creationId="{FBEB6038-28B9-4622-A72B-871078F5D725}"/>
          </ac:spMkLst>
        </pc:spChg>
        <pc:spChg chg="mod ord">
          <ac:chgData name="Joseph KEMOUN" userId="0b06f245-0909-42d3-bad5-b3a07c8ffd21" providerId="ADAL" clId="{11BCE0D8-1F33-4057-A775-07C3F688388F}" dt="2021-05-25T11:30:42.014" v="16128"/>
          <ac:spMkLst>
            <pc:docMk/>
            <pc:sldMk cId="718926585" sldId="10416"/>
            <ac:spMk id="54" creationId="{0430F2AF-1132-469B-87C0-1811AC4EE4A6}"/>
          </ac:spMkLst>
        </pc:spChg>
        <pc:spChg chg="mod ord">
          <ac:chgData name="Joseph KEMOUN" userId="0b06f245-0909-42d3-bad5-b3a07c8ffd21" providerId="ADAL" clId="{11BCE0D8-1F33-4057-A775-07C3F688388F}" dt="2021-05-25T11:30:42.014" v="16130"/>
          <ac:spMkLst>
            <pc:docMk/>
            <pc:sldMk cId="718926585" sldId="10416"/>
            <ac:spMk id="55" creationId="{8F49C6D1-BE00-4BD4-B114-2E2DE10B7B67}"/>
          </ac:spMkLst>
        </pc:spChg>
        <pc:grpChg chg="mod ord">
          <ac:chgData name="Joseph KEMOUN" userId="0b06f245-0909-42d3-bad5-b3a07c8ffd21" providerId="ADAL" clId="{11BCE0D8-1F33-4057-A775-07C3F688388F}" dt="2021-05-25T11:30:42.014" v="16114"/>
          <ac:grpSpMkLst>
            <pc:docMk/>
            <pc:sldMk cId="718926585" sldId="10416"/>
            <ac:grpSpMk id="33" creationId="{905E66DD-D435-4BAC-A243-2E99A1B1B320}"/>
          </ac:grpSpMkLst>
        </pc:grpChg>
        <pc:grpChg chg="del">
          <ac:chgData name="Joseph KEMOUN" userId="0b06f245-0909-42d3-bad5-b3a07c8ffd21" providerId="ADAL" clId="{11BCE0D8-1F33-4057-A775-07C3F688388F}" dt="2021-05-25T11:15:40.615" v="15321" actId="478"/>
          <ac:grpSpMkLst>
            <pc:docMk/>
            <pc:sldMk cId="718926585" sldId="10416"/>
            <ac:grpSpMk id="56" creationId="{DF7A69EF-757D-4D21-957D-D85D9E6DA28D}"/>
          </ac:grpSpMkLst>
        </pc:grpChg>
        <pc:graphicFrameChg chg="mod">
          <ac:chgData name="Joseph KEMOUN" userId="0b06f245-0909-42d3-bad5-b3a07c8ffd21" providerId="ADAL" clId="{11BCE0D8-1F33-4057-A775-07C3F688388F}" dt="2021-05-25T11:30:42.014" v="16142"/>
          <ac:graphicFrameMkLst>
            <pc:docMk/>
            <pc:sldMk cId="718926585" sldId="10416"/>
            <ac:graphicFrameMk id="5" creationId="{58F89C0C-E0E8-4876-A98A-438F18CAD392}"/>
          </ac:graphicFrameMkLst>
        </pc:graphicFrameChg>
        <pc:graphicFrameChg chg="mod ord">
          <ac:chgData name="Joseph KEMOUN" userId="0b06f245-0909-42d3-bad5-b3a07c8ffd21" providerId="ADAL" clId="{11BCE0D8-1F33-4057-A775-07C3F688388F}" dt="2021-05-25T11:32:46.088" v="16159"/>
          <ac:graphicFrameMkLst>
            <pc:docMk/>
            <pc:sldMk cId="718926585" sldId="10416"/>
            <ac:graphicFrameMk id="13" creationId="{DA5795B9-898C-4C1A-A701-D345F5549D94}"/>
          </ac:graphicFrameMkLst>
        </pc:graphicFrameChg>
        <pc:graphicFrameChg chg="add mod">
          <ac:chgData name="Joseph KEMOUN" userId="0b06f245-0909-42d3-bad5-b3a07c8ffd21" providerId="ADAL" clId="{11BCE0D8-1F33-4057-A775-07C3F688388F}" dt="2021-05-24T09:05:04.070" v="1162" actId="571"/>
          <ac:graphicFrameMkLst>
            <pc:docMk/>
            <pc:sldMk cId="718926585" sldId="10416"/>
            <ac:graphicFrameMk id="47" creationId="{5116D1CA-164C-4B07-817D-CD9FEA047E4D}"/>
          </ac:graphicFrameMkLst>
        </pc:graphicFrameChg>
        <pc:picChg chg="del">
          <ac:chgData name="Joseph KEMOUN" userId="0b06f245-0909-42d3-bad5-b3a07c8ffd21" providerId="ADAL" clId="{11BCE0D8-1F33-4057-A775-07C3F688388F}" dt="2021-05-24T09:03:26.428" v="1101" actId="478"/>
          <ac:picMkLst>
            <pc:docMk/>
            <pc:sldMk cId="718926585" sldId="10416"/>
            <ac:picMk id="6" creationId="{72806EA5-EB4B-4F4D-849B-43729FF70335}"/>
          </ac:picMkLst>
        </pc:picChg>
        <pc:picChg chg="del">
          <ac:chgData name="Joseph KEMOUN" userId="0b06f245-0909-42d3-bad5-b3a07c8ffd21" providerId="ADAL" clId="{11BCE0D8-1F33-4057-A775-07C3F688388F}" dt="2021-05-24T09:03:21.964" v="1100" actId="478"/>
          <ac:picMkLst>
            <pc:docMk/>
            <pc:sldMk cId="718926585" sldId="10416"/>
            <ac:picMk id="8" creationId="{666E72B1-D90F-4F97-9FAF-645EACF8EA70}"/>
          </ac:picMkLst>
        </pc:picChg>
        <pc:cxnChg chg="mod ord">
          <ac:chgData name="Joseph KEMOUN" userId="0b06f245-0909-42d3-bad5-b3a07c8ffd21" providerId="ADAL" clId="{11BCE0D8-1F33-4057-A775-07C3F688388F}" dt="2021-05-25T11:30:41.998" v="16096"/>
          <ac:cxnSpMkLst>
            <pc:docMk/>
            <pc:sldMk cId="718926585" sldId="10416"/>
            <ac:cxnSpMk id="24" creationId="{328D9AA7-F8DB-470E-A57C-08ADB006C361}"/>
          </ac:cxnSpMkLst>
        </pc:cxnChg>
      </pc:sldChg>
      <pc:sldChg chg="modSp mod">
        <pc:chgData name="Joseph KEMOUN" userId="0b06f245-0909-42d3-bad5-b3a07c8ffd21" providerId="ADAL" clId="{11BCE0D8-1F33-4057-A775-07C3F688388F}" dt="2021-05-24T12:01:46.328" v="5380" actId="20577"/>
        <pc:sldMkLst>
          <pc:docMk/>
          <pc:sldMk cId="1802608156" sldId="10417"/>
        </pc:sldMkLst>
        <pc:spChg chg="mod">
          <ac:chgData name="Joseph KEMOUN" userId="0b06f245-0909-42d3-bad5-b3a07c8ffd21" providerId="ADAL" clId="{11BCE0D8-1F33-4057-A775-07C3F688388F}" dt="2021-05-24T11:48:15.527" v="3909" actId="1076"/>
          <ac:spMkLst>
            <pc:docMk/>
            <pc:sldMk cId="1802608156" sldId="10417"/>
            <ac:spMk id="9" creationId="{02B09B86-63EB-478A-A1B9-73EB0B102213}"/>
          </ac:spMkLst>
        </pc:spChg>
        <pc:spChg chg="mod">
          <ac:chgData name="Joseph KEMOUN" userId="0b06f245-0909-42d3-bad5-b3a07c8ffd21" providerId="ADAL" clId="{11BCE0D8-1F33-4057-A775-07C3F688388F}" dt="2021-05-24T11:55:09.039" v="4574" actId="20577"/>
          <ac:spMkLst>
            <pc:docMk/>
            <pc:sldMk cId="1802608156" sldId="10417"/>
            <ac:spMk id="17" creationId="{93C43DF0-5B80-4873-976E-9DCC9459DEE9}"/>
          </ac:spMkLst>
        </pc:spChg>
        <pc:spChg chg="mod">
          <ac:chgData name="Joseph KEMOUN" userId="0b06f245-0909-42d3-bad5-b3a07c8ffd21" providerId="ADAL" clId="{11BCE0D8-1F33-4057-A775-07C3F688388F}" dt="2021-05-24T12:01:46.328" v="5380" actId="20577"/>
          <ac:spMkLst>
            <pc:docMk/>
            <pc:sldMk cId="1802608156" sldId="10417"/>
            <ac:spMk id="19" creationId="{34792A96-E177-45FE-8A1C-54080EF644FD}"/>
          </ac:spMkLst>
        </pc:spChg>
        <pc:picChg chg="mod">
          <ac:chgData name="Joseph KEMOUN" userId="0b06f245-0909-42d3-bad5-b3a07c8ffd21" providerId="ADAL" clId="{11BCE0D8-1F33-4057-A775-07C3F688388F}" dt="2021-05-24T11:55:19.467" v="4576" actId="1076"/>
          <ac:picMkLst>
            <pc:docMk/>
            <pc:sldMk cId="1802608156" sldId="10417"/>
            <ac:picMk id="18" creationId="{228EABAF-A989-4B46-8036-4F98D5212A68}"/>
          </ac:picMkLst>
        </pc:picChg>
        <pc:picChg chg="mod">
          <ac:chgData name="Joseph KEMOUN" userId="0b06f245-0909-42d3-bad5-b3a07c8ffd21" providerId="ADAL" clId="{11BCE0D8-1F33-4057-A775-07C3F688388F}" dt="2021-05-24T11:57:08.211" v="4755" actId="108"/>
          <ac:picMkLst>
            <pc:docMk/>
            <pc:sldMk cId="1802608156" sldId="10417"/>
            <ac:picMk id="29" creationId="{25B9D01C-A3C2-4BDA-842F-156B93608450}"/>
          </ac:picMkLst>
        </pc:picChg>
      </pc:sldChg>
      <pc:sldChg chg="addSp delSp modSp mod">
        <pc:chgData name="Joseph KEMOUN" userId="0b06f245-0909-42d3-bad5-b3a07c8ffd21" providerId="ADAL" clId="{11BCE0D8-1F33-4057-A775-07C3F688388F}" dt="2021-05-25T11:15:48.990" v="15326"/>
        <pc:sldMkLst>
          <pc:docMk/>
          <pc:sldMk cId="1880839470" sldId="10420"/>
        </pc:sldMkLst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3" creationId="{79D8092C-AC66-484C-9645-EEB08D4A59C6}"/>
          </ac:spMkLst>
        </pc:spChg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4" creationId="{02BD46C9-B279-482D-89B3-4956B609E15C}"/>
          </ac:spMkLst>
        </pc:spChg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5" creationId="{661F72E1-48F0-44F4-A92A-E722B8B95227}"/>
          </ac:spMkLst>
        </pc:spChg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6" creationId="{70B52D0E-DC9C-4722-916E-D6FDF79A7420}"/>
          </ac:spMkLst>
        </pc:spChg>
        <pc:spChg chg="add del mod">
          <ac:chgData name="Joseph KEMOUN" userId="0b06f245-0909-42d3-bad5-b3a07c8ffd21" providerId="ADAL" clId="{11BCE0D8-1F33-4057-A775-07C3F688388F}" dt="2021-05-24T11:23:36.064" v="3530" actId="478"/>
          <ac:spMkLst>
            <pc:docMk/>
            <pc:sldMk cId="1880839470" sldId="10420"/>
            <ac:spMk id="8" creationId="{01B7E1C3-5118-4812-813C-0E1A6DDCBF02}"/>
          </ac:spMkLst>
        </pc:spChg>
        <pc:spChg chg="add del mod">
          <ac:chgData name="Joseph KEMOUN" userId="0b06f245-0909-42d3-bad5-b3a07c8ffd21" providerId="ADAL" clId="{11BCE0D8-1F33-4057-A775-07C3F688388F}" dt="2021-05-24T11:28:22.635" v="3823" actId="21"/>
          <ac:spMkLst>
            <pc:docMk/>
            <pc:sldMk cId="1880839470" sldId="10420"/>
            <ac:spMk id="11" creationId="{2331E887-E9B4-4565-B36C-7AB42A1E29A7}"/>
          </ac:spMkLst>
        </pc:spChg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36" creationId="{20444DA5-5894-4095-8895-C57452F8E45B}"/>
          </ac:spMkLst>
        </pc:spChg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42" creationId="{1247795D-0072-40BA-AF93-9C1D019692A8}"/>
          </ac:spMkLst>
        </pc:spChg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43" creationId="{36DDE4C0-A9E6-441D-96A4-45A7DBB77394}"/>
          </ac:spMkLst>
        </pc:spChg>
        <pc:spChg chg="mod">
          <ac:chgData name="Joseph KEMOUN" userId="0b06f245-0909-42d3-bad5-b3a07c8ffd21" providerId="ADAL" clId="{11BCE0D8-1F33-4057-A775-07C3F688388F}" dt="2021-05-24T11:28:35.779" v="3827" actId="1076"/>
          <ac:spMkLst>
            <pc:docMk/>
            <pc:sldMk cId="1880839470" sldId="10420"/>
            <ac:spMk id="44" creationId="{2F8E33B2-FF7C-48A6-A801-E93B48683090}"/>
          </ac:spMkLst>
        </pc:spChg>
        <pc:spChg chg="del mod">
          <ac:chgData name="Joseph KEMOUN" userId="0b06f245-0909-42d3-bad5-b3a07c8ffd21" providerId="ADAL" clId="{11BCE0D8-1F33-4057-A775-07C3F688388F}" dt="2021-05-24T12:22:12.973" v="5385" actId="478"/>
          <ac:spMkLst>
            <pc:docMk/>
            <pc:sldMk cId="1880839470" sldId="10420"/>
            <ac:spMk id="59" creationId="{7D3CB576-6910-4580-8B93-61400A776F0F}"/>
          </ac:spMkLst>
        </pc:spChg>
        <pc:spChg chg="add del mod">
          <ac:chgData name="Joseph KEMOUN" userId="0b06f245-0909-42d3-bad5-b3a07c8ffd21" providerId="ADAL" clId="{11BCE0D8-1F33-4057-A775-07C3F688388F}" dt="2021-05-24T12:22:15.336" v="5386" actId="478"/>
          <ac:spMkLst>
            <pc:docMk/>
            <pc:sldMk cId="1880839470" sldId="10420"/>
            <ac:spMk id="60" creationId="{C1AC785B-60D5-4A61-9BD4-9BD82AA91B30}"/>
          </ac:spMkLst>
        </pc:spChg>
        <pc:spChg chg="add mod">
          <ac:chgData name="Joseph KEMOUN" userId="0b06f245-0909-42d3-bad5-b3a07c8ffd21" providerId="ADAL" clId="{11BCE0D8-1F33-4057-A775-07C3F688388F}" dt="2021-05-25T11:04:11.276" v="15049" actId="571"/>
          <ac:spMkLst>
            <pc:docMk/>
            <pc:sldMk cId="1880839470" sldId="10420"/>
            <ac:spMk id="64" creationId="{AA83050A-CAD5-4C9F-BBB4-7565837DA1A0}"/>
          </ac:spMkLst>
        </pc:spChg>
        <pc:spChg chg="add mod">
          <ac:chgData name="Joseph KEMOUN" userId="0b06f245-0909-42d3-bad5-b3a07c8ffd21" providerId="ADAL" clId="{11BCE0D8-1F33-4057-A775-07C3F688388F}" dt="2021-05-25T11:04:15.044" v="15050" actId="571"/>
          <ac:spMkLst>
            <pc:docMk/>
            <pc:sldMk cId="1880839470" sldId="10420"/>
            <ac:spMk id="65" creationId="{F0F22F56-752A-43DE-8CC7-20EB03DD1187}"/>
          </ac:spMkLst>
        </pc:spChg>
        <pc:spChg chg="add mod">
          <ac:chgData name="Joseph KEMOUN" userId="0b06f245-0909-42d3-bad5-b3a07c8ffd21" providerId="ADAL" clId="{11BCE0D8-1F33-4057-A775-07C3F688388F}" dt="2021-05-25T11:04:19.388" v="15051" actId="571"/>
          <ac:spMkLst>
            <pc:docMk/>
            <pc:sldMk cId="1880839470" sldId="10420"/>
            <ac:spMk id="66" creationId="{FB1463C1-ADB9-49FA-92CC-16E830562850}"/>
          </ac:spMkLst>
        </pc:spChg>
        <pc:spChg chg="add mod">
          <ac:chgData name="Joseph KEMOUN" userId="0b06f245-0909-42d3-bad5-b3a07c8ffd21" providerId="ADAL" clId="{11BCE0D8-1F33-4057-A775-07C3F688388F}" dt="2021-05-25T11:04:23.235" v="15052" actId="571"/>
          <ac:spMkLst>
            <pc:docMk/>
            <pc:sldMk cId="1880839470" sldId="10420"/>
            <ac:spMk id="67" creationId="{D59121BA-62EE-4DD0-B872-8DF99444F7AA}"/>
          </ac:spMkLst>
        </pc:spChg>
        <pc:spChg chg="add mod">
          <ac:chgData name="Joseph KEMOUN" userId="0b06f245-0909-42d3-bad5-b3a07c8ffd21" providerId="ADAL" clId="{11BCE0D8-1F33-4057-A775-07C3F688388F}" dt="2021-05-24T11:30:39.707" v="3855" actId="207"/>
          <ac:spMkLst>
            <pc:docMk/>
            <pc:sldMk cId="1880839470" sldId="10420"/>
            <ac:spMk id="69" creationId="{01D1152F-DC04-47F3-B3E6-FE427477534B}"/>
          </ac:spMkLst>
        </pc:spChg>
        <pc:spChg chg="add mod">
          <ac:chgData name="Joseph KEMOUN" userId="0b06f245-0909-42d3-bad5-b3a07c8ffd21" providerId="ADAL" clId="{11BCE0D8-1F33-4057-A775-07C3F688388F}" dt="2021-05-25T11:15:48.990" v="15326"/>
          <ac:spMkLst>
            <pc:docMk/>
            <pc:sldMk cId="1880839470" sldId="10420"/>
            <ac:spMk id="88" creationId="{84C437B2-41A7-4B1D-B6B5-C74D7F2007C4}"/>
          </ac:spMkLst>
        </pc:spChg>
        <pc:spChg chg="add mod">
          <ac:chgData name="Joseph KEMOUN" userId="0b06f245-0909-42d3-bad5-b3a07c8ffd21" providerId="ADAL" clId="{11BCE0D8-1F33-4057-A775-07C3F688388F}" dt="2021-05-25T11:15:48.990" v="15326"/>
          <ac:spMkLst>
            <pc:docMk/>
            <pc:sldMk cId="1880839470" sldId="10420"/>
            <ac:spMk id="89" creationId="{7573E8A5-F804-4A0F-B74E-6A94AC2B01B9}"/>
          </ac:spMkLst>
        </pc:spChg>
        <pc:spChg chg="add mod">
          <ac:chgData name="Joseph KEMOUN" userId="0b06f245-0909-42d3-bad5-b3a07c8ffd21" providerId="ADAL" clId="{11BCE0D8-1F33-4057-A775-07C3F688388F}" dt="2021-05-25T11:15:48.990" v="15326"/>
          <ac:spMkLst>
            <pc:docMk/>
            <pc:sldMk cId="1880839470" sldId="10420"/>
            <ac:spMk id="90" creationId="{F2D1466A-128D-4CB3-8881-8422DBD50FD9}"/>
          </ac:spMkLst>
        </pc:spChg>
        <pc:spChg chg="mod">
          <ac:chgData name="Joseph KEMOUN" userId="0b06f245-0909-42d3-bad5-b3a07c8ffd21" providerId="ADAL" clId="{11BCE0D8-1F33-4057-A775-07C3F688388F}" dt="2021-05-24T09:35:54.515" v="1622" actId="20577"/>
          <ac:spMkLst>
            <pc:docMk/>
            <pc:sldMk cId="1880839470" sldId="10420"/>
            <ac:spMk id="104" creationId="{4A968F88-0BEE-4D26-A5E9-83CB21CDAC4E}"/>
          </ac:spMkLst>
        </pc:spChg>
        <pc:grpChg chg="del">
          <ac:chgData name="Joseph KEMOUN" userId="0b06f245-0909-42d3-bad5-b3a07c8ffd21" providerId="ADAL" clId="{11BCE0D8-1F33-4057-A775-07C3F688388F}" dt="2021-05-25T11:15:48.712" v="15325" actId="478"/>
          <ac:grpSpMkLst>
            <pc:docMk/>
            <pc:sldMk cId="1880839470" sldId="10420"/>
            <ac:grpSpMk id="72" creationId="{C401F5AE-9161-4ED8-9A26-4E27F9303F54}"/>
          </ac:grpSpMkLst>
        </pc:grpChg>
      </pc:sldChg>
      <pc:sldChg chg="addSp delSp modSp mod ord">
        <pc:chgData name="Joseph KEMOUN" userId="0b06f245-0909-42d3-bad5-b3a07c8ffd21" providerId="ADAL" clId="{11BCE0D8-1F33-4057-A775-07C3F688388F}" dt="2021-05-25T11:17:58.355" v="15391" actId="1076"/>
        <pc:sldMkLst>
          <pc:docMk/>
          <pc:sldMk cId="3436081094" sldId="10430"/>
        </pc:sldMkLst>
        <pc:spChg chg="add del mod modVis">
          <ac:chgData name="Joseph KEMOUN" userId="0b06f245-0909-42d3-bad5-b3a07c8ffd21" providerId="ADAL" clId="{11BCE0D8-1F33-4057-A775-07C3F688388F}" dt="2021-05-25T11:07:58.551" v="15094"/>
          <ac:spMkLst>
            <pc:docMk/>
            <pc:sldMk cId="3436081094" sldId="10430"/>
            <ac:spMk id="13" creationId="{A6995395-F6A7-4009-941D-5313A25722DB}"/>
          </ac:spMkLst>
        </pc:spChg>
        <pc:spChg chg="add del mod">
          <ac:chgData name="Joseph KEMOUN" userId="0b06f245-0909-42d3-bad5-b3a07c8ffd21" providerId="ADAL" clId="{11BCE0D8-1F33-4057-A775-07C3F688388F}" dt="2021-05-25T11:08:42.147" v="15163" actId="478"/>
          <ac:spMkLst>
            <pc:docMk/>
            <pc:sldMk cId="3436081094" sldId="10430"/>
            <ac:spMk id="14" creationId="{DC398096-98E9-4882-9017-65130DAAEAD0}"/>
          </ac:spMkLst>
        </pc:spChg>
        <pc:spChg chg="add mod">
          <ac:chgData name="Joseph KEMOUN" userId="0b06f245-0909-42d3-bad5-b3a07c8ffd21" providerId="ADAL" clId="{11BCE0D8-1F33-4057-A775-07C3F688388F}" dt="2021-05-25T11:17:04.320" v="15363"/>
          <ac:spMkLst>
            <pc:docMk/>
            <pc:sldMk cId="3436081094" sldId="10430"/>
            <ac:spMk id="81" creationId="{41140C4B-D81F-4C2D-9325-CBDB4F046536}"/>
          </ac:spMkLst>
        </pc:spChg>
        <pc:spChg chg="add mod">
          <ac:chgData name="Joseph KEMOUN" userId="0b06f245-0909-42d3-bad5-b3a07c8ffd21" providerId="ADAL" clId="{11BCE0D8-1F33-4057-A775-07C3F688388F}" dt="2021-05-25T11:17:04.320" v="15363"/>
          <ac:spMkLst>
            <pc:docMk/>
            <pc:sldMk cId="3436081094" sldId="10430"/>
            <ac:spMk id="82" creationId="{A4CD6AED-02DD-459A-B1C7-F559D9F1E86B}"/>
          </ac:spMkLst>
        </pc:spChg>
        <pc:spChg chg="add mod">
          <ac:chgData name="Joseph KEMOUN" userId="0b06f245-0909-42d3-bad5-b3a07c8ffd21" providerId="ADAL" clId="{11BCE0D8-1F33-4057-A775-07C3F688388F}" dt="2021-05-25T11:17:04.320" v="15363"/>
          <ac:spMkLst>
            <pc:docMk/>
            <pc:sldMk cId="3436081094" sldId="10430"/>
            <ac:spMk id="83" creationId="{67FF2AF0-191A-453A-83C2-8045CA773D57}"/>
          </ac:spMkLst>
        </pc:spChg>
        <pc:spChg chg="mod">
          <ac:chgData name="Joseph KEMOUN" userId="0b06f245-0909-42d3-bad5-b3a07c8ffd21" providerId="ADAL" clId="{11BCE0D8-1F33-4057-A775-07C3F688388F}" dt="2021-05-25T11:17:58.355" v="15391" actId="1076"/>
          <ac:spMkLst>
            <pc:docMk/>
            <pc:sldMk cId="3436081094" sldId="10430"/>
            <ac:spMk id="86" creationId="{E7961BDE-6076-4E21-960D-1961F2C205C8}"/>
          </ac:spMkLst>
        </pc:spChg>
        <pc:spChg chg="del">
          <ac:chgData name="Joseph KEMOUN" userId="0b06f245-0909-42d3-bad5-b3a07c8ffd21" providerId="ADAL" clId="{11BCE0D8-1F33-4057-A775-07C3F688388F}" dt="2021-05-25T11:17:04.078" v="15362" actId="478"/>
          <ac:spMkLst>
            <pc:docMk/>
            <pc:sldMk cId="3436081094" sldId="10430"/>
            <ac:spMk id="87" creationId="{FF25DA73-14ED-477C-9B99-1D5DA2FA800B}"/>
          </ac:spMkLst>
        </pc:spChg>
        <pc:spChg chg="del">
          <ac:chgData name="Joseph KEMOUN" userId="0b06f245-0909-42d3-bad5-b3a07c8ffd21" providerId="ADAL" clId="{11BCE0D8-1F33-4057-A775-07C3F688388F}" dt="2021-05-25T11:17:04.078" v="15362" actId="478"/>
          <ac:spMkLst>
            <pc:docMk/>
            <pc:sldMk cId="3436081094" sldId="10430"/>
            <ac:spMk id="88" creationId="{DBE3F4AA-FA46-4787-9255-35C92E486ECE}"/>
          </ac:spMkLst>
        </pc:spChg>
        <pc:spChg chg="del">
          <ac:chgData name="Joseph KEMOUN" userId="0b06f245-0909-42d3-bad5-b3a07c8ffd21" providerId="ADAL" clId="{11BCE0D8-1F33-4057-A775-07C3F688388F}" dt="2021-05-25T11:17:04.078" v="15362" actId="478"/>
          <ac:spMkLst>
            <pc:docMk/>
            <pc:sldMk cId="3436081094" sldId="10430"/>
            <ac:spMk id="89" creationId="{4C8D3EF4-7154-4318-9DE1-AADE3D0EB9BA}"/>
          </ac:spMkLst>
        </pc:spChg>
        <pc:spChg chg="del">
          <ac:chgData name="Joseph KEMOUN" userId="0b06f245-0909-42d3-bad5-b3a07c8ffd21" providerId="ADAL" clId="{11BCE0D8-1F33-4057-A775-07C3F688388F}" dt="2021-05-25T11:17:04.078" v="15362" actId="478"/>
          <ac:spMkLst>
            <pc:docMk/>
            <pc:sldMk cId="3436081094" sldId="10430"/>
            <ac:spMk id="90" creationId="{D2F0B971-BE9E-45CC-A144-B0139CDB4A50}"/>
          </ac:spMkLst>
        </pc:spChg>
        <pc:spChg chg="del">
          <ac:chgData name="Joseph KEMOUN" userId="0b06f245-0909-42d3-bad5-b3a07c8ffd21" providerId="ADAL" clId="{11BCE0D8-1F33-4057-A775-07C3F688388F}" dt="2021-05-25T11:17:04.078" v="15362" actId="478"/>
          <ac:spMkLst>
            <pc:docMk/>
            <pc:sldMk cId="3436081094" sldId="10430"/>
            <ac:spMk id="91" creationId="{E64B60F5-8B2D-40AA-86F9-59B1E1D0FECF}"/>
          </ac:spMkLst>
        </pc:spChg>
        <pc:spChg chg="del">
          <ac:chgData name="Joseph KEMOUN" userId="0b06f245-0909-42d3-bad5-b3a07c8ffd21" providerId="ADAL" clId="{11BCE0D8-1F33-4057-A775-07C3F688388F}" dt="2021-05-25T11:17:04.078" v="15362" actId="478"/>
          <ac:spMkLst>
            <pc:docMk/>
            <pc:sldMk cId="3436081094" sldId="10430"/>
            <ac:spMk id="92" creationId="{4764BC01-78A1-416F-96B7-4FB959471A8B}"/>
          </ac:spMkLst>
        </pc:spChg>
        <pc:graphicFrameChg chg="mod">
          <ac:chgData name="Joseph KEMOUN" userId="0b06f245-0909-42d3-bad5-b3a07c8ffd21" providerId="ADAL" clId="{11BCE0D8-1F33-4057-A775-07C3F688388F}" dt="2021-05-25T11:07:58.567" v="15096"/>
          <ac:graphicFrameMkLst>
            <pc:docMk/>
            <pc:sldMk cId="3436081094" sldId="10430"/>
            <ac:graphicFrameMk id="4" creationId="{FE9A305D-3669-4634-B9B4-C6C2AFA8A793}"/>
          </ac:graphicFrameMkLst>
        </pc:graphicFrameChg>
      </pc:sldChg>
      <pc:sldChg chg="delSp modSp del mod">
        <pc:chgData name="Joseph KEMOUN" userId="0b06f245-0909-42d3-bad5-b3a07c8ffd21" providerId="ADAL" clId="{11BCE0D8-1F33-4057-A775-07C3F688388F}" dt="2021-05-25T08:14:50.462" v="12785" actId="47"/>
        <pc:sldMkLst>
          <pc:docMk/>
          <pc:sldMk cId="1782056456" sldId="10434"/>
        </pc:sldMkLst>
        <pc:spChg chg="del mod">
          <ac:chgData name="Joseph KEMOUN" userId="0b06f245-0909-42d3-bad5-b3a07c8ffd21" providerId="ADAL" clId="{11BCE0D8-1F33-4057-A775-07C3F688388F}" dt="2021-05-24T12:22:26.677" v="5387" actId="478"/>
          <ac:spMkLst>
            <pc:docMk/>
            <pc:sldMk cId="1782056456" sldId="10434"/>
            <ac:spMk id="59" creationId="{828B114B-0950-4E6B-92A3-84AFD3F3C3BF}"/>
          </ac:spMkLst>
        </pc:spChg>
      </pc:sldChg>
      <pc:sldChg chg="addSp delSp modSp mod">
        <pc:chgData name="Joseph KEMOUN" userId="0b06f245-0909-42d3-bad5-b3a07c8ffd21" providerId="ADAL" clId="{11BCE0D8-1F33-4057-A775-07C3F688388F}" dt="2021-05-25T11:15:45.120" v="15324"/>
        <pc:sldMkLst>
          <pc:docMk/>
          <pc:sldMk cId="3781687056" sldId="10437"/>
        </pc:sldMkLst>
        <pc:spChg chg="mod">
          <ac:chgData name="Joseph KEMOUN" userId="0b06f245-0909-42d3-bad5-b3a07c8ffd21" providerId="ADAL" clId="{11BCE0D8-1F33-4057-A775-07C3F688388F}" dt="2021-05-24T13:46:57.107" v="7588" actId="1076"/>
          <ac:spMkLst>
            <pc:docMk/>
            <pc:sldMk cId="3781687056" sldId="10437"/>
            <ac:spMk id="3" creationId="{F5CA8CC9-6A13-4BDE-9953-50691A73BA81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4" creationId="{8F15B80F-09DF-4F44-A671-16DAD8DB32D1}"/>
          </ac:spMkLst>
        </pc:spChg>
        <pc:spChg chg="add del mod">
          <ac:chgData name="Joseph KEMOUN" userId="0b06f245-0909-42d3-bad5-b3a07c8ffd21" providerId="ADAL" clId="{11BCE0D8-1F33-4057-A775-07C3F688388F}" dt="2021-05-25T11:03:39.988" v="15048" actId="478"/>
          <ac:spMkLst>
            <pc:docMk/>
            <pc:sldMk cId="3781687056" sldId="10437"/>
            <ac:spMk id="6" creationId="{0A3311A3-7C9C-462B-AAC4-475DC9D32EBE}"/>
          </ac:spMkLst>
        </pc:spChg>
        <pc:spChg chg="add del mod">
          <ac:chgData name="Joseph KEMOUN" userId="0b06f245-0909-42d3-bad5-b3a07c8ffd21" providerId="ADAL" clId="{11BCE0D8-1F33-4057-A775-07C3F688388F}" dt="2021-05-25T11:03:39.988" v="15048" actId="478"/>
          <ac:spMkLst>
            <pc:docMk/>
            <pc:sldMk cId="3781687056" sldId="10437"/>
            <ac:spMk id="7" creationId="{6CA2B164-EFE4-4EEC-8547-65CD0B4E8CB9}"/>
          </ac:spMkLst>
        </pc:spChg>
        <pc:spChg chg="del mod">
          <ac:chgData name="Joseph KEMOUN" userId="0b06f245-0909-42d3-bad5-b3a07c8ffd21" providerId="ADAL" clId="{11BCE0D8-1F33-4057-A775-07C3F688388F}" dt="2021-05-24T13:42:57.047" v="7542" actId="478"/>
          <ac:spMkLst>
            <pc:docMk/>
            <pc:sldMk cId="3781687056" sldId="10437"/>
            <ac:spMk id="9" creationId="{E5F54033-B14D-4834-9383-8C247A6B375C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6" creationId="{D2E2D690-327F-4633-A872-ADB29F27F398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7" creationId="{A2D0F004-7BB1-4CB7-8D0B-42321F6A5542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31" creationId="{39A4E537-6B70-42D6-B76D-22EBE99E5324}"/>
          </ac:spMkLst>
        </pc:spChg>
        <pc:spChg chg="mod">
          <ac:chgData name="Joseph KEMOUN" userId="0b06f245-0909-42d3-bad5-b3a07c8ffd21" providerId="ADAL" clId="{11BCE0D8-1F33-4057-A775-07C3F688388F}" dt="2021-05-24T13:48:52.241" v="7733" actId="14100"/>
          <ac:spMkLst>
            <pc:docMk/>
            <pc:sldMk cId="3781687056" sldId="10437"/>
            <ac:spMk id="44" creationId="{477526AF-EDB0-4811-B55E-5B4DBA8CB600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45" creationId="{2BA6CE4E-7982-4D26-9262-C56F0898C5E2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46" creationId="{78000759-D0F4-4489-B0F9-BB8EC55A1191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47" creationId="{0D2666E1-A6F4-409F-9431-C0A5F6D79FC6}"/>
          </ac:spMkLst>
        </pc:spChg>
        <pc:spChg chg="mod">
          <ac:chgData name="Joseph KEMOUN" userId="0b06f245-0909-42d3-bad5-b3a07c8ffd21" providerId="ADAL" clId="{11BCE0D8-1F33-4057-A775-07C3F688388F}" dt="2021-05-24T13:42:09.598" v="7526" actId="12788"/>
          <ac:spMkLst>
            <pc:docMk/>
            <pc:sldMk cId="3781687056" sldId="10437"/>
            <ac:spMk id="97" creationId="{6E066559-1B4D-4775-A03B-28E34099AAD8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98" creationId="{F900BD09-AFFE-497B-B047-11FEDC423513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99" creationId="{DC487871-5C77-464A-96E3-EB8F962B5B65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00" creationId="{E861CDD7-D84C-4719-BEF7-4DE00D716D3B}"/>
          </ac:spMkLst>
        </pc:spChg>
        <pc:spChg chg="mod">
          <ac:chgData name="Joseph KEMOUN" userId="0b06f245-0909-42d3-bad5-b3a07c8ffd21" providerId="ADAL" clId="{11BCE0D8-1F33-4057-A775-07C3F688388F}" dt="2021-05-24T13:48:48.733" v="7732" actId="14100"/>
          <ac:spMkLst>
            <pc:docMk/>
            <pc:sldMk cId="3781687056" sldId="10437"/>
            <ac:spMk id="111" creationId="{120AA726-0FF6-4209-BB20-1BA916108E4E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29" creationId="{555638A0-D999-4327-A4A7-179DEE0BEA1B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30" creationId="{D30FFD4A-C467-4F1C-A4DF-BCB3EB71D32F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31" creationId="{93EEF8DD-E42C-4C2B-94DD-89C3DDAF9A59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32" creationId="{37866BA4-BF7F-46F4-9BDC-A7E6E551D6F2}"/>
          </ac:spMkLst>
        </pc:spChg>
        <pc:spChg chg="del">
          <ac:chgData name="Joseph KEMOUN" userId="0b06f245-0909-42d3-bad5-b3a07c8ffd21" providerId="ADAL" clId="{11BCE0D8-1F33-4057-A775-07C3F688388F}" dt="2021-05-24T13:36:34.283" v="7415" actId="478"/>
          <ac:spMkLst>
            <pc:docMk/>
            <pc:sldMk cId="3781687056" sldId="10437"/>
            <ac:spMk id="140" creationId="{7B803F30-3BE3-484D-A43D-8C38CEA9ED62}"/>
          </ac:spMkLst>
        </pc:spChg>
        <pc:spChg chg="del">
          <ac:chgData name="Joseph KEMOUN" userId="0b06f245-0909-42d3-bad5-b3a07c8ffd21" providerId="ADAL" clId="{11BCE0D8-1F33-4057-A775-07C3F688388F}" dt="2021-05-24T13:36:34.283" v="7415" actId="478"/>
          <ac:spMkLst>
            <pc:docMk/>
            <pc:sldMk cId="3781687056" sldId="10437"/>
            <ac:spMk id="141" creationId="{B8BEDC77-6914-4F89-B58A-074BF4283643}"/>
          </ac:spMkLst>
        </pc:spChg>
        <pc:spChg chg="del">
          <ac:chgData name="Joseph KEMOUN" userId="0b06f245-0909-42d3-bad5-b3a07c8ffd21" providerId="ADAL" clId="{11BCE0D8-1F33-4057-A775-07C3F688388F}" dt="2021-05-24T13:36:34.283" v="7415" actId="478"/>
          <ac:spMkLst>
            <pc:docMk/>
            <pc:sldMk cId="3781687056" sldId="10437"/>
            <ac:spMk id="142" creationId="{0FB0B0C3-48D3-49A9-9DED-B6BC79E1E324}"/>
          </ac:spMkLst>
        </pc:spChg>
        <pc:spChg chg="del">
          <ac:chgData name="Joseph KEMOUN" userId="0b06f245-0909-42d3-bad5-b3a07c8ffd21" providerId="ADAL" clId="{11BCE0D8-1F33-4057-A775-07C3F688388F}" dt="2021-05-24T13:36:34.283" v="7415" actId="478"/>
          <ac:spMkLst>
            <pc:docMk/>
            <pc:sldMk cId="3781687056" sldId="10437"/>
            <ac:spMk id="143" creationId="{DF9D26B5-DBB9-484F-B667-2227DD93AD71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44" creationId="{433FC52C-1389-4204-AEEB-C9CA9E418A00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45" creationId="{6A96C0AC-EDD4-48F7-A707-F61145038153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46" creationId="{054F79DE-098B-4A1C-93C7-642B122E7D15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47" creationId="{C050FFFB-6045-4F5E-B830-458E17DA18F1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50" creationId="{8EAE2B76-2313-4656-A866-046474D9996A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51" creationId="{1EC6A59F-072B-4B31-95CB-BE3AA5E1AF39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52" creationId="{EF73B3A9-E91B-41E1-8986-2718E25E62D9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53" creationId="{6326A5C1-03CF-4303-91D8-855CCFCB6188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54" creationId="{94C8C856-D1CB-4225-A7D9-CA0FD6CF89C6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55" creationId="{54C742CD-5C48-4EB7-99B5-8A28818C5366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56" creationId="{1F440329-79EC-471D-BDCF-46FA131899D6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57" creationId="{12F4AF09-179E-4827-BED1-C78EB213DC6B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59" creationId="{B80AF701-FD02-4A49-AF04-0D717773F8CE}"/>
          </ac:spMkLst>
        </pc:spChg>
        <pc:spChg chg="mod">
          <ac:chgData name="Joseph KEMOUN" userId="0b06f245-0909-42d3-bad5-b3a07c8ffd21" providerId="ADAL" clId="{11BCE0D8-1F33-4057-A775-07C3F688388F}" dt="2021-05-25T11:02:03.494" v="14901" actId="13926"/>
          <ac:spMkLst>
            <pc:docMk/>
            <pc:sldMk cId="3781687056" sldId="10437"/>
            <ac:spMk id="160" creationId="{6794BF10-E356-4CFA-A5D2-64019521185A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61" creationId="{98B95108-A1D7-406A-9437-35CC8389273C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62" creationId="{E1AEBA31-2AB3-475A-A9D4-798F713EEFD7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63" creationId="{A02BA35A-F494-480F-8210-97DCAE0F40D4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64" creationId="{96799BBD-9716-4675-B816-A24F8B182973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67" creationId="{AABEE270-608F-479B-8CA5-B82D4B6E27AA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68" creationId="{F93FCD89-38BE-4A9F-89B4-7F9F1F03E6AA}"/>
          </ac:spMkLst>
        </pc:spChg>
        <pc:spChg chg="add del mod">
          <ac:chgData name="Joseph KEMOUN" userId="0b06f245-0909-42d3-bad5-b3a07c8ffd21" providerId="ADAL" clId="{11BCE0D8-1F33-4057-A775-07C3F688388F}" dt="2021-05-24T13:41:48.948" v="7521" actId="478"/>
          <ac:spMkLst>
            <pc:docMk/>
            <pc:sldMk cId="3781687056" sldId="10437"/>
            <ac:spMk id="169" creationId="{AD511381-C850-4853-9CBD-CD36B9807558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71" creationId="{1C8173C6-5E3A-4216-8804-5399B6AA31C6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72" creationId="{863FD84C-845E-42CC-B2EE-54140523C6B3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73" creationId="{1DD71EE6-7E10-4444-888A-89EBA3A5DBED}"/>
          </ac:spMkLst>
        </pc:spChg>
        <pc:spChg chg="add mod">
          <ac:chgData name="Joseph KEMOUN" userId="0b06f245-0909-42d3-bad5-b3a07c8ffd21" providerId="ADAL" clId="{11BCE0D8-1F33-4057-A775-07C3F688388F}" dt="2021-05-25T11:15:45.120" v="15324"/>
          <ac:spMkLst>
            <pc:docMk/>
            <pc:sldMk cId="3781687056" sldId="10437"/>
            <ac:spMk id="175" creationId="{B6151360-4C3B-4926-8A80-73D55AF3ADD6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76" creationId="{04D2C6B9-3B58-4E34-BE83-8AA3849160DE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77" creationId="{93AA6B9B-95A6-4425-A52D-B73C84CE1796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83" creationId="{289DFA16-857A-412F-9C0A-278A9227568F}"/>
          </ac:spMkLst>
        </pc:spChg>
        <pc:spChg chg="add mod">
          <ac:chgData name="Joseph KEMOUN" userId="0b06f245-0909-42d3-bad5-b3a07c8ffd21" providerId="ADAL" clId="{11BCE0D8-1F33-4057-A775-07C3F688388F}" dt="2021-05-25T11:15:45.120" v="15324"/>
          <ac:spMkLst>
            <pc:docMk/>
            <pc:sldMk cId="3781687056" sldId="10437"/>
            <ac:spMk id="184" creationId="{DF9017A1-87B5-47BF-980F-88AE8D9EFEBC}"/>
          </ac:spMkLst>
        </pc:spChg>
        <pc:spChg chg="add mod">
          <ac:chgData name="Joseph KEMOUN" userId="0b06f245-0909-42d3-bad5-b3a07c8ffd21" providerId="ADAL" clId="{11BCE0D8-1F33-4057-A775-07C3F688388F}" dt="2021-05-24T08:45:24.440" v="178"/>
          <ac:spMkLst>
            <pc:docMk/>
            <pc:sldMk cId="3781687056" sldId="10437"/>
            <ac:spMk id="190" creationId="{A520A727-1C94-4AB3-90D3-F7A76FF5254F}"/>
          </ac:spMkLst>
        </pc:spChg>
        <pc:spChg chg="add mod">
          <ac:chgData name="Joseph KEMOUN" userId="0b06f245-0909-42d3-bad5-b3a07c8ffd21" providerId="ADAL" clId="{11BCE0D8-1F33-4057-A775-07C3F688388F}" dt="2021-05-25T11:15:45.120" v="15324"/>
          <ac:spMkLst>
            <pc:docMk/>
            <pc:sldMk cId="3781687056" sldId="10437"/>
            <ac:spMk id="190" creationId="{DA8DD1D5-D78F-473A-9071-2505FC3D8F8E}"/>
          </ac:spMkLst>
        </pc:spChg>
        <pc:spChg chg="mod">
          <ac:chgData name="Joseph KEMOUN" userId="0b06f245-0909-42d3-bad5-b3a07c8ffd21" providerId="ADAL" clId="{11BCE0D8-1F33-4057-A775-07C3F688388F}" dt="2021-05-24T13:40:30.897" v="7479" actId="12788"/>
          <ac:spMkLst>
            <pc:docMk/>
            <pc:sldMk cId="3781687056" sldId="10437"/>
            <ac:spMk id="194" creationId="{7EB2B24B-10F1-4463-82D8-A136B9B73716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195" creationId="{47138FD4-27DF-40DB-BAE0-23F8E66AD89B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96" creationId="{4FB2EC28-4905-4CA5-BF08-392B3782DA49}"/>
          </ac:spMkLst>
        </pc:spChg>
        <pc:spChg chg="mod">
          <ac:chgData name="Joseph KEMOUN" userId="0b06f245-0909-42d3-bad5-b3a07c8ffd21" providerId="ADAL" clId="{11BCE0D8-1F33-4057-A775-07C3F688388F}" dt="2021-05-24T13:42:31.170" v="7537" actId="1076"/>
          <ac:spMkLst>
            <pc:docMk/>
            <pc:sldMk cId="3781687056" sldId="10437"/>
            <ac:spMk id="197" creationId="{3A832681-45CF-4B0A-B698-69DF86F8325C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98" creationId="{E0927A02-123E-4F6E-A17B-48818630B8DA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199" creationId="{8CA4A8A4-2C34-4930-B088-A9E050673F3D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201" creationId="{22C293ED-3457-456B-B33E-9B30D283EC28}"/>
          </ac:spMkLst>
        </pc:spChg>
        <pc:spChg chg="mod">
          <ac:chgData name="Joseph KEMOUN" userId="0b06f245-0909-42d3-bad5-b3a07c8ffd21" providerId="ADAL" clId="{11BCE0D8-1F33-4057-A775-07C3F688388F}" dt="2021-05-24T13:34:38.819" v="7396" actId="1076"/>
          <ac:spMkLst>
            <pc:docMk/>
            <pc:sldMk cId="3781687056" sldId="10437"/>
            <ac:spMk id="202" creationId="{2C411495-2DDE-4ED8-87D0-24644C529575}"/>
          </ac:spMkLst>
        </pc:spChg>
        <pc:spChg chg="mod">
          <ac:chgData name="Joseph KEMOUN" userId="0b06f245-0909-42d3-bad5-b3a07c8ffd21" providerId="ADAL" clId="{11BCE0D8-1F33-4057-A775-07C3F688388F}" dt="2021-05-24T13:48:54.801" v="7734" actId="1076"/>
          <ac:spMkLst>
            <pc:docMk/>
            <pc:sldMk cId="3781687056" sldId="10437"/>
            <ac:spMk id="210" creationId="{02DFB263-4201-4CE5-9E34-D9E8F5DCEF68}"/>
          </ac:spMkLst>
        </pc:spChg>
        <pc:spChg chg="mod">
          <ac:chgData name="Joseph KEMOUN" userId="0b06f245-0909-42d3-bad5-b3a07c8ffd21" providerId="ADAL" clId="{11BCE0D8-1F33-4057-A775-07C3F688388F}" dt="2021-05-24T13:46:57.293" v="7589" actId="1076"/>
          <ac:spMkLst>
            <pc:docMk/>
            <pc:sldMk cId="3781687056" sldId="10437"/>
            <ac:spMk id="211" creationId="{E80B6C42-3CAD-4FA1-9728-E3089DD967C0}"/>
          </ac:spMkLst>
        </pc:spChg>
        <pc:spChg chg="mod">
          <ac:chgData name="Joseph KEMOUN" userId="0b06f245-0909-42d3-bad5-b3a07c8ffd21" providerId="ADAL" clId="{11BCE0D8-1F33-4057-A775-07C3F688388F}" dt="2021-05-24T13:46:57.293" v="7589" actId="1076"/>
          <ac:spMkLst>
            <pc:docMk/>
            <pc:sldMk cId="3781687056" sldId="10437"/>
            <ac:spMk id="212" creationId="{37F99B79-C2EB-4E9B-8867-29C88DDE31D2}"/>
          </ac:spMkLst>
        </pc:spChg>
        <pc:spChg chg="mod">
          <ac:chgData name="Joseph KEMOUN" userId="0b06f245-0909-42d3-bad5-b3a07c8ffd21" providerId="ADAL" clId="{11BCE0D8-1F33-4057-A775-07C3F688388F}" dt="2021-05-24T13:48:31.361" v="7730" actId="20577"/>
          <ac:spMkLst>
            <pc:docMk/>
            <pc:sldMk cId="3781687056" sldId="10437"/>
            <ac:spMk id="213" creationId="{5EE59935-F88B-4713-91C2-CDA6D67F98C8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214" creationId="{BE823D1E-AA34-4C5D-A606-17F7CE404F90}"/>
          </ac:spMkLst>
        </pc:spChg>
        <pc:spChg chg="mod">
          <ac:chgData name="Joseph KEMOUN" userId="0b06f245-0909-42d3-bad5-b3a07c8ffd21" providerId="ADAL" clId="{11BCE0D8-1F33-4057-A775-07C3F688388F}" dt="2021-05-24T13:46:57.492" v="7590" actId="1076"/>
          <ac:spMkLst>
            <pc:docMk/>
            <pc:sldMk cId="3781687056" sldId="10437"/>
            <ac:spMk id="215" creationId="{B62FC16B-4040-4AF6-B5CC-BF978E5158FB}"/>
          </ac:spMkLst>
        </pc:spChg>
        <pc:spChg chg="mod">
          <ac:chgData name="Joseph KEMOUN" userId="0b06f245-0909-42d3-bad5-b3a07c8ffd21" providerId="ADAL" clId="{11BCE0D8-1F33-4057-A775-07C3F688388F}" dt="2021-05-24T13:46:57.293" v="7589" actId="1076"/>
          <ac:spMkLst>
            <pc:docMk/>
            <pc:sldMk cId="3781687056" sldId="10437"/>
            <ac:spMk id="216" creationId="{9C9C8A51-74C6-4591-B716-ABF7D96667F0}"/>
          </ac:spMkLst>
        </pc:spChg>
        <pc:spChg chg="mod">
          <ac:chgData name="Joseph KEMOUN" userId="0b06f245-0909-42d3-bad5-b3a07c8ffd21" providerId="ADAL" clId="{11BCE0D8-1F33-4057-A775-07C3F688388F}" dt="2021-05-24T13:40:35.566" v="7480" actId="1076"/>
          <ac:spMkLst>
            <pc:docMk/>
            <pc:sldMk cId="3781687056" sldId="10437"/>
            <ac:spMk id="218" creationId="{C5EF3539-3D1C-4F7D-A6E1-7379A4E12F0D}"/>
          </ac:spMkLst>
        </pc:spChg>
        <pc:spChg chg="mod">
          <ac:chgData name="Joseph KEMOUN" userId="0b06f245-0909-42d3-bad5-b3a07c8ffd21" providerId="ADAL" clId="{11BCE0D8-1F33-4057-A775-07C3F688388F}" dt="2021-05-24T13:40:35.566" v="7480" actId="1076"/>
          <ac:spMkLst>
            <pc:docMk/>
            <pc:sldMk cId="3781687056" sldId="10437"/>
            <ac:spMk id="219" creationId="{3FDFBAB4-2EE0-4057-A2C7-2331C9EBB3A3}"/>
          </ac:spMkLst>
        </pc:spChg>
        <pc:spChg chg="mod">
          <ac:chgData name="Joseph KEMOUN" userId="0b06f245-0909-42d3-bad5-b3a07c8ffd21" providerId="ADAL" clId="{11BCE0D8-1F33-4057-A775-07C3F688388F}" dt="2021-05-24T13:34:42.060" v="7397" actId="1076"/>
          <ac:spMkLst>
            <pc:docMk/>
            <pc:sldMk cId="3781687056" sldId="10437"/>
            <ac:spMk id="221" creationId="{EE7607F0-4F39-4335-9266-F10C12A764C8}"/>
          </ac:spMkLst>
        </pc:spChg>
        <pc:spChg chg="mod">
          <ac:chgData name="Joseph KEMOUN" userId="0b06f245-0909-42d3-bad5-b3a07c8ffd21" providerId="ADAL" clId="{11BCE0D8-1F33-4057-A775-07C3F688388F}" dt="2021-05-24T13:34:42.060" v="7397" actId="1076"/>
          <ac:spMkLst>
            <pc:docMk/>
            <pc:sldMk cId="3781687056" sldId="10437"/>
            <ac:spMk id="222" creationId="{62A0F709-C64C-49D4-B7C3-A4046DA2A523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224" creationId="{34FD904E-0698-4BCD-82F7-A1E0B8F5A3AE}"/>
          </ac:spMkLst>
        </pc:spChg>
        <pc:spChg chg="mod">
          <ac:chgData name="Joseph KEMOUN" userId="0b06f245-0909-42d3-bad5-b3a07c8ffd21" providerId="ADAL" clId="{11BCE0D8-1F33-4057-A775-07C3F688388F}" dt="2021-05-24T13:48:44.779" v="7731" actId="1076"/>
          <ac:spMkLst>
            <pc:docMk/>
            <pc:sldMk cId="3781687056" sldId="10437"/>
            <ac:spMk id="225" creationId="{E1B5BF2C-BC0B-4185-9CA0-0D1612963785}"/>
          </ac:spMkLst>
        </pc:spChg>
        <pc:spChg chg="del">
          <ac:chgData name="Joseph KEMOUN" userId="0b06f245-0909-42d3-bad5-b3a07c8ffd21" providerId="ADAL" clId="{11BCE0D8-1F33-4057-A775-07C3F688388F}" dt="2021-05-24T13:38:22.216" v="7426" actId="478"/>
          <ac:spMkLst>
            <pc:docMk/>
            <pc:sldMk cId="3781687056" sldId="10437"/>
            <ac:spMk id="230" creationId="{372A6E88-946E-4A1B-91C5-F0C2849F1723}"/>
          </ac:spMkLst>
        </pc:spChg>
        <pc:spChg chg="mod">
          <ac:chgData name="Joseph KEMOUN" userId="0b06f245-0909-42d3-bad5-b3a07c8ffd21" providerId="ADAL" clId="{11BCE0D8-1F33-4057-A775-07C3F688388F}" dt="2021-05-24T13:38:10.038" v="7424" actId="1076"/>
          <ac:spMkLst>
            <pc:docMk/>
            <pc:sldMk cId="3781687056" sldId="10437"/>
            <ac:spMk id="237" creationId="{3BCC8D0B-8609-4886-88F3-BE2664FA764C}"/>
          </ac:spMkLst>
        </pc:spChg>
        <pc:grpChg chg="mod">
          <ac:chgData name="Joseph KEMOUN" userId="0b06f245-0909-42d3-bad5-b3a07c8ffd21" providerId="ADAL" clId="{11BCE0D8-1F33-4057-A775-07C3F688388F}" dt="2021-05-24T13:42:31.170" v="7537" actId="1076"/>
          <ac:grpSpMkLst>
            <pc:docMk/>
            <pc:sldMk cId="3781687056" sldId="10437"/>
            <ac:grpSpMk id="49" creationId="{9FA9453A-89CB-43CD-9149-24125A34D943}"/>
          </ac:grpSpMkLst>
        </pc:grpChg>
        <pc:grpChg chg="mod">
          <ac:chgData name="Joseph KEMOUN" userId="0b06f245-0909-42d3-bad5-b3a07c8ffd21" providerId="ADAL" clId="{11BCE0D8-1F33-4057-A775-07C3F688388F}" dt="2021-05-24T13:42:31.170" v="7537" actId="1076"/>
          <ac:grpSpMkLst>
            <pc:docMk/>
            <pc:sldMk cId="3781687056" sldId="10437"/>
            <ac:grpSpMk id="61" creationId="{CF037D44-CACE-40C1-8AF2-36281C90BEC7}"/>
          </ac:grpSpMkLst>
        </pc:grpChg>
        <pc:grpChg chg="mod">
          <ac:chgData name="Joseph KEMOUN" userId="0b06f245-0909-42d3-bad5-b3a07c8ffd21" providerId="ADAL" clId="{11BCE0D8-1F33-4057-A775-07C3F688388F}" dt="2021-05-24T13:34:38.819" v="7396" actId="1076"/>
          <ac:grpSpMkLst>
            <pc:docMk/>
            <pc:sldMk cId="3781687056" sldId="10437"/>
            <ac:grpSpMk id="104" creationId="{4A1FB31B-9720-43CB-AE60-5541DADFB35A}"/>
          </ac:grpSpMkLst>
        </pc:grpChg>
        <pc:grpChg chg="mod">
          <ac:chgData name="Joseph KEMOUN" userId="0b06f245-0909-42d3-bad5-b3a07c8ffd21" providerId="ADAL" clId="{11BCE0D8-1F33-4057-A775-07C3F688388F}" dt="2021-05-24T13:34:38.819" v="7396" actId="1076"/>
          <ac:grpSpMkLst>
            <pc:docMk/>
            <pc:sldMk cId="3781687056" sldId="10437"/>
            <ac:grpSpMk id="112" creationId="{BCAF6075-5A0A-426C-BE07-730C814D8929}"/>
          </ac:grpSpMkLst>
        </pc:grpChg>
        <pc:grpChg chg="mod">
          <ac:chgData name="Joseph KEMOUN" userId="0b06f245-0909-42d3-bad5-b3a07c8ffd21" providerId="ADAL" clId="{11BCE0D8-1F33-4057-A775-07C3F688388F}" dt="2021-05-24T13:34:38.819" v="7396" actId="1076"/>
          <ac:grpSpMkLst>
            <pc:docMk/>
            <pc:sldMk cId="3781687056" sldId="10437"/>
            <ac:grpSpMk id="120" creationId="{98F4A28E-2E49-4796-8789-4D7AB3B6CFD2}"/>
          </ac:grpSpMkLst>
        </pc:grpChg>
        <pc:grpChg chg="mod">
          <ac:chgData name="Joseph KEMOUN" userId="0b06f245-0909-42d3-bad5-b3a07c8ffd21" providerId="ADAL" clId="{11BCE0D8-1F33-4057-A775-07C3F688388F}" dt="2021-05-24T13:48:44.779" v="7731" actId="1076"/>
          <ac:grpSpMkLst>
            <pc:docMk/>
            <pc:sldMk cId="3781687056" sldId="10437"/>
            <ac:grpSpMk id="125" creationId="{452908AA-902F-4A7E-AB73-9F52D786B6C4}"/>
          </ac:grpSpMkLst>
        </pc:grpChg>
        <pc:grpChg chg="mod">
          <ac:chgData name="Joseph KEMOUN" userId="0b06f245-0909-42d3-bad5-b3a07c8ffd21" providerId="ADAL" clId="{11BCE0D8-1F33-4057-A775-07C3F688388F}" dt="2021-05-24T13:34:38.819" v="7396" actId="1076"/>
          <ac:grpSpMkLst>
            <pc:docMk/>
            <pc:sldMk cId="3781687056" sldId="10437"/>
            <ac:grpSpMk id="148" creationId="{A45CC702-29E9-42FD-987C-424344FC61DA}"/>
          </ac:grpSpMkLst>
        </pc:grpChg>
        <pc:grpChg chg="mod">
          <ac:chgData name="Joseph KEMOUN" userId="0b06f245-0909-42d3-bad5-b3a07c8ffd21" providerId="ADAL" clId="{11BCE0D8-1F33-4057-A775-07C3F688388F}" dt="2021-05-24T13:40:35.566" v="7480" actId="1076"/>
          <ac:grpSpMkLst>
            <pc:docMk/>
            <pc:sldMk cId="3781687056" sldId="10437"/>
            <ac:grpSpMk id="217" creationId="{2DA9897F-FC7A-4D48-AE60-71C4207C2B24}"/>
          </ac:grpSpMkLst>
        </pc:grpChg>
        <pc:grpChg chg="mod">
          <ac:chgData name="Joseph KEMOUN" userId="0b06f245-0909-42d3-bad5-b3a07c8ffd21" providerId="ADAL" clId="{11BCE0D8-1F33-4057-A775-07C3F688388F}" dt="2021-05-24T13:34:42.060" v="7397" actId="1076"/>
          <ac:grpSpMkLst>
            <pc:docMk/>
            <pc:sldMk cId="3781687056" sldId="10437"/>
            <ac:grpSpMk id="220" creationId="{60C270A4-4F70-4D44-9130-58E087F2547A}"/>
          </ac:grpSpMkLst>
        </pc:grpChg>
        <pc:grpChg chg="mod">
          <ac:chgData name="Joseph KEMOUN" userId="0b06f245-0909-42d3-bad5-b3a07c8ffd21" providerId="ADAL" clId="{11BCE0D8-1F33-4057-A775-07C3F688388F}" dt="2021-05-24T13:48:44.779" v="7731" actId="1076"/>
          <ac:grpSpMkLst>
            <pc:docMk/>
            <pc:sldMk cId="3781687056" sldId="10437"/>
            <ac:grpSpMk id="223" creationId="{00C63843-1C3F-4D88-ABCE-CBEBDCDA08F0}"/>
          </ac:grpSpMkLst>
        </pc:grpChg>
        <pc:grpChg chg="del">
          <ac:chgData name="Joseph KEMOUN" userId="0b06f245-0909-42d3-bad5-b3a07c8ffd21" providerId="ADAL" clId="{11BCE0D8-1F33-4057-A775-07C3F688388F}" dt="2021-05-25T11:15:44.801" v="15323" actId="478"/>
          <ac:grpSpMkLst>
            <pc:docMk/>
            <pc:sldMk cId="3781687056" sldId="10437"/>
            <ac:grpSpMk id="239" creationId="{7C488335-E6BD-440F-8B27-E7018F4C66D7}"/>
          </ac:grpSpMkLst>
        </pc:grp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48" creationId="{F390DF62-7306-40AD-88B3-1423869F0A5B}"/>
          </ac:picMkLst>
        </pc:picChg>
        <pc:picChg chg="del">
          <ac:chgData name="Joseph KEMOUN" userId="0b06f245-0909-42d3-bad5-b3a07c8ffd21" providerId="ADAL" clId="{11BCE0D8-1F33-4057-A775-07C3F688388F}" dt="2021-05-24T13:36:34.283" v="7415" actId="478"/>
          <ac:picMkLst>
            <pc:docMk/>
            <pc:sldMk cId="3781687056" sldId="10437"/>
            <ac:picMk id="58" creationId="{61C795B8-8F25-4455-B9EB-E19190E6F851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59" creationId="{7716B71C-C240-49D0-B2AC-B29C3CE7A9EB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60" creationId="{1C0F3B35-A6B7-4C3F-BC1E-AEFA39D25F4B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01" creationId="{1907BEC5-38AF-4731-98CF-C6F99205870B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02" creationId="{C2BA409A-BD92-4FF6-A8D1-C4E08C5E9844}"/>
          </ac:picMkLst>
        </pc:picChg>
        <pc:picChg chg="mod">
          <ac:chgData name="Joseph KEMOUN" userId="0b06f245-0909-42d3-bad5-b3a07c8ffd21" providerId="ADAL" clId="{11BCE0D8-1F33-4057-A775-07C3F688388F}" dt="2021-05-24T13:34:38.819" v="7396" actId="1076"/>
          <ac:picMkLst>
            <pc:docMk/>
            <pc:sldMk cId="3781687056" sldId="10437"/>
            <ac:picMk id="103" creationId="{08B68E32-6CC5-48AE-847D-EDF423AAE264}"/>
          </ac:picMkLst>
        </pc:picChg>
        <pc:picChg chg="mod">
          <ac:chgData name="Joseph KEMOUN" userId="0b06f245-0909-42d3-bad5-b3a07c8ffd21" providerId="ADAL" clId="{11BCE0D8-1F33-4057-A775-07C3F688388F}" dt="2021-05-24T13:34:38.819" v="7396" actId="1076"/>
          <ac:picMkLst>
            <pc:docMk/>
            <pc:sldMk cId="3781687056" sldId="10437"/>
            <ac:picMk id="109" creationId="{A2699CDE-57F5-49C6-8121-8DC37371DDEA}"/>
          </ac:picMkLst>
        </pc:picChg>
        <pc:picChg chg="mod">
          <ac:chgData name="Joseph KEMOUN" userId="0b06f245-0909-42d3-bad5-b3a07c8ffd21" providerId="ADAL" clId="{11BCE0D8-1F33-4057-A775-07C3F688388F}" dt="2021-05-24T13:34:38.819" v="7396" actId="1076"/>
          <ac:picMkLst>
            <pc:docMk/>
            <pc:sldMk cId="3781687056" sldId="10437"/>
            <ac:picMk id="110" creationId="{EACA0370-F359-40ED-A8B0-E41ABBDFBFD3}"/>
          </ac:picMkLst>
        </pc:picChg>
        <pc:picChg chg="mod">
          <ac:chgData name="Joseph KEMOUN" userId="0b06f245-0909-42d3-bad5-b3a07c8ffd21" providerId="ADAL" clId="{11BCE0D8-1F33-4057-A775-07C3F688388F}" dt="2021-05-24T13:48:44.779" v="7731" actId="1076"/>
          <ac:picMkLst>
            <pc:docMk/>
            <pc:sldMk cId="3781687056" sldId="10437"/>
            <ac:picMk id="126" creationId="{267C8206-7439-45C3-BED1-A9926A9C8466}"/>
          </ac:picMkLst>
        </pc:picChg>
        <pc:picChg chg="mod">
          <ac:chgData name="Joseph KEMOUN" userId="0b06f245-0909-42d3-bad5-b3a07c8ffd21" providerId="ADAL" clId="{11BCE0D8-1F33-4057-A775-07C3F688388F}" dt="2021-05-24T13:48:44.779" v="7731" actId="1076"/>
          <ac:picMkLst>
            <pc:docMk/>
            <pc:sldMk cId="3781687056" sldId="10437"/>
            <ac:picMk id="127" creationId="{08A43A2F-3ACE-4CEA-8051-C2D273E4BAF4}"/>
          </ac:picMkLst>
        </pc:picChg>
        <pc:picChg chg="mod">
          <ac:chgData name="Joseph KEMOUN" userId="0b06f245-0909-42d3-bad5-b3a07c8ffd21" providerId="ADAL" clId="{11BCE0D8-1F33-4057-A775-07C3F688388F}" dt="2021-05-24T13:48:44.779" v="7731" actId="1076"/>
          <ac:picMkLst>
            <pc:docMk/>
            <pc:sldMk cId="3781687056" sldId="10437"/>
            <ac:picMk id="128" creationId="{FD43D956-7F15-4C6E-A0DE-30024A1A0CEF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78" creationId="{CFA1B83C-B2C6-4B1D-900A-1D46370EB1C0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79" creationId="{6523B893-D49E-4120-ADE3-34969903A352}"/>
          </ac:picMkLst>
        </pc:picChg>
        <pc:picChg chg="mod">
          <ac:chgData name="Joseph KEMOUN" userId="0b06f245-0909-42d3-bad5-b3a07c8ffd21" providerId="ADAL" clId="{11BCE0D8-1F33-4057-A775-07C3F688388F}" dt="2021-05-24T13:34:38.819" v="7396" actId="1076"/>
          <ac:picMkLst>
            <pc:docMk/>
            <pc:sldMk cId="3781687056" sldId="10437"/>
            <ac:picMk id="180" creationId="{C12BF57E-C00E-406B-8E6A-8E384CE705BD}"/>
          </ac:picMkLst>
        </pc:picChg>
        <pc:picChg chg="mod">
          <ac:chgData name="Joseph KEMOUN" userId="0b06f245-0909-42d3-bad5-b3a07c8ffd21" providerId="ADAL" clId="{11BCE0D8-1F33-4057-A775-07C3F688388F}" dt="2021-05-24T13:34:38.819" v="7396" actId="1076"/>
          <ac:picMkLst>
            <pc:docMk/>
            <pc:sldMk cId="3781687056" sldId="10437"/>
            <ac:picMk id="181" creationId="{1256FA07-658A-4C04-952C-F3CA36CA4BF8}"/>
          </ac:picMkLst>
        </pc:picChg>
        <pc:picChg chg="mod">
          <ac:chgData name="Joseph KEMOUN" userId="0b06f245-0909-42d3-bad5-b3a07c8ffd21" providerId="ADAL" clId="{11BCE0D8-1F33-4057-A775-07C3F688388F}" dt="2021-05-24T13:34:38.819" v="7396" actId="1076"/>
          <ac:picMkLst>
            <pc:docMk/>
            <pc:sldMk cId="3781687056" sldId="10437"/>
            <ac:picMk id="182" creationId="{DF485F4D-B144-4BD6-998E-B2095A225123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85" creationId="{08AD47D6-31A1-4605-8942-B21036D8E1C0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86" creationId="{ECB5203F-6D4A-4FEE-9394-3CF3F86734AB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87" creationId="{6B0BE353-35DD-407F-BEC6-294E6077B590}"/>
          </ac:picMkLst>
        </pc:picChg>
        <pc:picChg chg="mod">
          <ac:chgData name="Joseph KEMOUN" userId="0b06f245-0909-42d3-bad5-b3a07c8ffd21" providerId="ADAL" clId="{11BCE0D8-1F33-4057-A775-07C3F688388F}" dt="2021-05-24T13:42:31.170" v="7537" actId="1076"/>
          <ac:picMkLst>
            <pc:docMk/>
            <pc:sldMk cId="3781687056" sldId="10437"/>
            <ac:picMk id="188" creationId="{5FA28EE2-C979-4388-9ED2-DA6542A7AF67}"/>
          </ac:picMkLst>
        </pc:picChg>
      </pc:sldChg>
      <pc:sldChg chg="addSp delSp modSp mod">
        <pc:chgData name="Joseph KEMOUN" userId="0b06f245-0909-42d3-bad5-b3a07c8ffd21" providerId="ADAL" clId="{11BCE0D8-1F33-4057-A775-07C3F688388F}" dt="2021-05-25T08:49:53.238" v="12933"/>
        <pc:sldMkLst>
          <pc:docMk/>
          <pc:sldMk cId="203190409" sldId="10438"/>
        </pc:sldMkLst>
        <pc:spChg chg="mod">
          <ac:chgData name="Joseph KEMOUN" userId="0b06f245-0909-42d3-bad5-b3a07c8ffd21" providerId="ADAL" clId="{11BCE0D8-1F33-4057-A775-07C3F688388F}" dt="2021-05-25T08:49:53.125" v="12891" actId="948"/>
          <ac:spMkLst>
            <pc:docMk/>
            <pc:sldMk cId="203190409" sldId="10438"/>
            <ac:spMk id="2" creationId="{1B8B41D0-3B5A-41F2-BD36-274CA5605C3A}"/>
          </ac:spMkLst>
        </pc:spChg>
        <pc:spChg chg="mod">
          <ac:chgData name="Joseph KEMOUN" userId="0b06f245-0909-42d3-bad5-b3a07c8ffd21" providerId="ADAL" clId="{11BCE0D8-1F33-4057-A775-07C3F688388F}" dt="2021-05-25T08:49:52.418" v="12802" actId="947"/>
          <ac:spMkLst>
            <pc:docMk/>
            <pc:sldMk cId="203190409" sldId="10438"/>
            <ac:spMk id="3" creationId="{F2961EB7-FC0B-4AEF-8BF3-7969101BE0A7}"/>
          </ac:spMkLst>
        </pc:spChg>
        <pc:spChg chg="mod">
          <ac:chgData name="Joseph KEMOUN" userId="0b06f245-0909-42d3-bad5-b3a07c8ffd21" providerId="ADAL" clId="{11BCE0D8-1F33-4057-A775-07C3F688388F}" dt="2021-05-25T08:49:52.420" v="12804" actId="947"/>
          <ac:spMkLst>
            <pc:docMk/>
            <pc:sldMk cId="203190409" sldId="10438"/>
            <ac:spMk id="4" creationId="{43E0D5C7-0986-42B1-8E8C-7B58D0CBD773}"/>
          </ac:spMkLst>
        </pc:spChg>
        <pc:spChg chg="mod">
          <ac:chgData name="Joseph KEMOUN" userId="0b06f245-0909-42d3-bad5-b3a07c8ffd21" providerId="ADAL" clId="{11BCE0D8-1F33-4057-A775-07C3F688388F}" dt="2021-05-25T08:49:52.465" v="12826" actId="947"/>
          <ac:spMkLst>
            <pc:docMk/>
            <pc:sldMk cId="203190409" sldId="10438"/>
            <ac:spMk id="5" creationId="{32E0BE14-B2E8-4A96-ADE4-0BE247A47D79}"/>
          </ac:spMkLst>
        </pc:spChg>
        <pc:spChg chg="mod">
          <ac:chgData name="Joseph KEMOUN" userId="0b06f245-0909-42d3-bad5-b3a07c8ffd21" providerId="ADAL" clId="{11BCE0D8-1F33-4057-A775-07C3F688388F}" dt="2021-05-25T08:49:52.467" v="12828" actId="947"/>
          <ac:spMkLst>
            <pc:docMk/>
            <pc:sldMk cId="203190409" sldId="10438"/>
            <ac:spMk id="6" creationId="{8AEA1672-C0F9-4DB2-A6F4-76831980F749}"/>
          </ac:spMkLst>
        </pc:spChg>
        <pc:spChg chg="mod">
          <ac:chgData name="Joseph KEMOUN" userId="0b06f245-0909-42d3-bad5-b3a07c8ffd21" providerId="ADAL" clId="{11BCE0D8-1F33-4057-A775-07C3F688388F}" dt="2021-05-25T08:49:52.441" v="12818" actId="947"/>
          <ac:spMkLst>
            <pc:docMk/>
            <pc:sldMk cId="203190409" sldId="10438"/>
            <ac:spMk id="7" creationId="{064EAC16-1947-4EB5-B699-F79BA984701D}"/>
          </ac:spMkLst>
        </pc:spChg>
        <pc:spChg chg="mod">
          <ac:chgData name="Joseph KEMOUN" userId="0b06f245-0909-42d3-bad5-b3a07c8ffd21" providerId="ADAL" clId="{11BCE0D8-1F33-4057-A775-07C3F688388F}" dt="2021-05-25T08:49:52.447" v="12822" actId="947"/>
          <ac:spMkLst>
            <pc:docMk/>
            <pc:sldMk cId="203190409" sldId="10438"/>
            <ac:spMk id="8" creationId="{17235FB0-B480-4F11-BAB2-ECCE97A0AE35}"/>
          </ac:spMkLst>
        </pc:spChg>
        <pc:spChg chg="mod">
          <ac:chgData name="Joseph KEMOUN" userId="0b06f245-0909-42d3-bad5-b3a07c8ffd21" providerId="ADAL" clId="{11BCE0D8-1F33-4057-A775-07C3F688388F}" dt="2021-05-25T08:49:52.470" v="12830" actId="947"/>
          <ac:spMkLst>
            <pc:docMk/>
            <pc:sldMk cId="203190409" sldId="10438"/>
            <ac:spMk id="9" creationId="{E57AC7D2-FC03-4826-B2B4-B86B10C8A912}"/>
          </ac:spMkLst>
        </pc:spChg>
        <pc:spChg chg="mod">
          <ac:chgData name="Joseph KEMOUN" userId="0b06f245-0909-42d3-bad5-b3a07c8ffd21" providerId="ADAL" clId="{11BCE0D8-1F33-4057-A775-07C3F688388F}" dt="2021-05-25T08:49:52.495" v="12846" actId="947"/>
          <ac:spMkLst>
            <pc:docMk/>
            <pc:sldMk cId="203190409" sldId="10438"/>
            <ac:spMk id="10" creationId="{EC4BC8E5-CDE6-4BDA-8B1B-E89284306AC8}"/>
          </ac:spMkLst>
        </pc:spChg>
        <pc:spChg chg="add del mod modVis">
          <ac:chgData name="Joseph KEMOUN" userId="0b06f245-0909-42d3-bad5-b3a07c8ffd21" providerId="ADAL" clId="{11BCE0D8-1F33-4057-A775-07C3F688388F}" dt="2021-05-25T08:49:53.234" v="12931"/>
          <ac:spMkLst>
            <pc:docMk/>
            <pc:sldMk cId="203190409" sldId="10438"/>
            <ac:spMk id="11" creationId="{3FF5B14C-5408-4252-BE3D-5F4F21649650}"/>
          </ac:spMkLst>
        </pc:spChg>
        <pc:spChg chg="mod">
          <ac:chgData name="Joseph KEMOUN" userId="0b06f245-0909-42d3-bad5-b3a07c8ffd21" providerId="ADAL" clId="{11BCE0D8-1F33-4057-A775-07C3F688388F}" dt="2021-05-25T08:49:52.416" v="12800" actId="947"/>
          <ac:spMkLst>
            <pc:docMk/>
            <pc:sldMk cId="203190409" sldId="10438"/>
            <ac:spMk id="12" creationId="{06146879-726F-492D-B854-B9E140208671}"/>
          </ac:spMkLst>
        </pc:spChg>
        <pc:spChg chg="mod">
          <ac:chgData name="Joseph KEMOUN" userId="0b06f245-0909-42d3-bad5-b3a07c8ffd21" providerId="ADAL" clId="{11BCE0D8-1F33-4057-A775-07C3F688388F}" dt="2021-05-25T08:49:52.557" v="12872" actId="20577"/>
          <ac:spMkLst>
            <pc:docMk/>
            <pc:sldMk cId="203190409" sldId="10438"/>
            <ac:spMk id="13" creationId="{E9F049B4-9F79-4754-AA4A-B557B2A6D3C9}"/>
          </ac:spMkLst>
        </pc:spChg>
        <pc:spChg chg="mod">
          <ac:chgData name="Joseph KEMOUN" userId="0b06f245-0909-42d3-bad5-b3a07c8ffd21" providerId="ADAL" clId="{11BCE0D8-1F33-4057-A775-07C3F688388F}" dt="2021-05-25T08:49:52.475" v="12834" actId="20577"/>
          <ac:spMkLst>
            <pc:docMk/>
            <pc:sldMk cId="203190409" sldId="10438"/>
            <ac:spMk id="19" creationId="{D183DC4A-A310-4818-8DE5-DD81DA31ACA2}"/>
          </ac:spMkLst>
        </pc:spChg>
        <pc:spChg chg="mod">
          <ac:chgData name="Joseph KEMOUN" userId="0b06f245-0909-42d3-bad5-b3a07c8ffd21" providerId="ADAL" clId="{11BCE0D8-1F33-4057-A775-07C3F688388F}" dt="2021-05-25T08:49:52.479" v="12836" actId="947"/>
          <ac:spMkLst>
            <pc:docMk/>
            <pc:sldMk cId="203190409" sldId="10438"/>
            <ac:spMk id="20" creationId="{54E8F179-87EF-4A92-9C29-92D7E20EB946}"/>
          </ac:spMkLst>
        </pc:spChg>
        <pc:spChg chg="mod">
          <ac:chgData name="Joseph KEMOUN" userId="0b06f245-0909-42d3-bad5-b3a07c8ffd21" providerId="ADAL" clId="{11BCE0D8-1F33-4057-A775-07C3F688388F}" dt="2021-05-25T08:49:52.460" v="12824" actId="947"/>
          <ac:spMkLst>
            <pc:docMk/>
            <pc:sldMk cId="203190409" sldId="10438"/>
            <ac:spMk id="21" creationId="{44BA4EC0-19D7-41DC-B319-396D8267BC37}"/>
          </ac:spMkLst>
        </pc:spChg>
        <pc:spChg chg="mod">
          <ac:chgData name="Joseph KEMOUN" userId="0b06f245-0909-42d3-bad5-b3a07c8ffd21" providerId="ADAL" clId="{11BCE0D8-1F33-4057-A775-07C3F688388F}" dt="2021-05-25T08:49:52.482" v="12838" actId="947"/>
          <ac:spMkLst>
            <pc:docMk/>
            <pc:sldMk cId="203190409" sldId="10438"/>
            <ac:spMk id="22" creationId="{43B8FABF-5816-42AC-8939-29224794884E}"/>
          </ac:spMkLst>
        </pc:spChg>
        <pc:spChg chg="mod">
          <ac:chgData name="Joseph KEMOUN" userId="0b06f245-0909-42d3-bad5-b3a07c8ffd21" providerId="ADAL" clId="{11BCE0D8-1F33-4057-A775-07C3F688388F}" dt="2021-05-25T08:49:52.397" v="12798" actId="947"/>
          <ac:spMkLst>
            <pc:docMk/>
            <pc:sldMk cId="203190409" sldId="10438"/>
            <ac:spMk id="33" creationId="{243F8FAD-0118-4F1B-B40B-A7D84FD36396}"/>
          </ac:spMkLst>
        </pc:spChg>
        <pc:spChg chg="mod">
          <ac:chgData name="Joseph KEMOUN" userId="0b06f245-0909-42d3-bad5-b3a07c8ffd21" providerId="ADAL" clId="{11BCE0D8-1F33-4057-A775-07C3F688388F}" dt="2021-05-25T08:49:52.423" v="12806" actId="947"/>
          <ac:spMkLst>
            <pc:docMk/>
            <pc:sldMk cId="203190409" sldId="10438"/>
            <ac:spMk id="47" creationId="{9E10C541-E455-4AF2-AA1A-715E3DF2DDC1}"/>
          </ac:spMkLst>
        </pc:spChg>
        <pc:spChg chg="mod">
          <ac:chgData name="Joseph KEMOUN" userId="0b06f245-0909-42d3-bad5-b3a07c8ffd21" providerId="ADAL" clId="{11BCE0D8-1F33-4057-A775-07C3F688388F}" dt="2021-05-25T08:49:52.486" v="12840" actId="947"/>
          <ac:spMkLst>
            <pc:docMk/>
            <pc:sldMk cId="203190409" sldId="10438"/>
            <ac:spMk id="49" creationId="{B10468A4-1BAC-4153-BC9A-99B8715C0AD1}"/>
          </ac:spMkLst>
        </pc:spChg>
        <pc:spChg chg="mod">
          <ac:chgData name="Joseph KEMOUN" userId="0b06f245-0909-42d3-bad5-b3a07c8ffd21" providerId="ADAL" clId="{11BCE0D8-1F33-4057-A775-07C3F688388F}" dt="2021-05-25T08:49:52.434" v="12814" actId="947"/>
          <ac:spMkLst>
            <pc:docMk/>
            <pc:sldMk cId="203190409" sldId="10438"/>
            <ac:spMk id="50" creationId="{06AD3339-7557-4559-B2EA-6A391CF2BF0C}"/>
          </ac:spMkLst>
        </pc:spChg>
        <pc:spChg chg="mod">
          <ac:chgData name="Joseph KEMOUN" userId="0b06f245-0909-42d3-bad5-b3a07c8ffd21" providerId="ADAL" clId="{11BCE0D8-1F33-4057-A775-07C3F688388F}" dt="2021-05-25T08:49:52.538" v="12860" actId="947"/>
          <ac:spMkLst>
            <pc:docMk/>
            <pc:sldMk cId="203190409" sldId="10438"/>
            <ac:spMk id="88" creationId="{336D463B-B815-4500-8F61-78A091129044}"/>
          </ac:spMkLst>
        </pc:spChg>
        <pc:spChg chg="mod">
          <ac:chgData name="Joseph KEMOUN" userId="0b06f245-0909-42d3-bad5-b3a07c8ffd21" providerId="ADAL" clId="{11BCE0D8-1F33-4057-A775-07C3F688388F}" dt="2021-05-25T08:49:52.551" v="12868" actId="947"/>
          <ac:spMkLst>
            <pc:docMk/>
            <pc:sldMk cId="203190409" sldId="10438"/>
            <ac:spMk id="96" creationId="{5BB653FA-7502-456B-9DD5-1867522D3A88}"/>
          </ac:spMkLst>
        </pc:spChg>
        <pc:spChg chg="mod">
          <ac:chgData name="Joseph KEMOUN" userId="0b06f245-0909-42d3-bad5-b3a07c8ffd21" providerId="ADAL" clId="{11BCE0D8-1F33-4057-A775-07C3F688388F}" dt="2021-05-25T08:49:52.489" v="12842" actId="947"/>
          <ac:spMkLst>
            <pc:docMk/>
            <pc:sldMk cId="203190409" sldId="10438"/>
            <ac:spMk id="100" creationId="{EF6C7B41-C54E-4684-BB9A-36701E115EBF}"/>
          </ac:spMkLst>
        </pc:spChg>
        <pc:spChg chg="mod">
          <ac:chgData name="Joseph KEMOUN" userId="0b06f245-0909-42d3-bad5-b3a07c8ffd21" providerId="ADAL" clId="{11BCE0D8-1F33-4057-A775-07C3F688388F}" dt="2021-05-25T08:49:52.514" v="12852" actId="947"/>
          <ac:spMkLst>
            <pc:docMk/>
            <pc:sldMk cId="203190409" sldId="10438"/>
            <ac:spMk id="101" creationId="{DA7B562D-2A6F-42DF-9E67-3035C79FFC2C}"/>
          </ac:spMkLst>
        </pc:spChg>
        <pc:spChg chg="mod">
          <ac:chgData name="Joseph KEMOUN" userId="0b06f245-0909-42d3-bad5-b3a07c8ffd21" providerId="ADAL" clId="{11BCE0D8-1F33-4057-A775-07C3F688388F}" dt="2021-05-25T08:49:52.426" v="12808" actId="947"/>
          <ac:spMkLst>
            <pc:docMk/>
            <pc:sldMk cId="203190409" sldId="10438"/>
            <ac:spMk id="107" creationId="{31D0AEAA-51DD-4312-8DD3-D5664A3B479D}"/>
          </ac:spMkLst>
        </pc:spChg>
        <pc:spChg chg="mod">
          <ac:chgData name="Joseph KEMOUN" userId="0b06f245-0909-42d3-bad5-b3a07c8ffd21" providerId="ADAL" clId="{11BCE0D8-1F33-4057-A775-07C3F688388F}" dt="2021-05-25T08:49:52.541" v="12862" actId="947"/>
          <ac:spMkLst>
            <pc:docMk/>
            <pc:sldMk cId="203190409" sldId="10438"/>
            <ac:spMk id="108" creationId="{B4E79E7D-0395-4CE2-8F8E-F7FFDE4BA106}"/>
          </ac:spMkLst>
        </pc:spChg>
        <pc:spChg chg="mod">
          <ac:chgData name="Joseph KEMOUN" userId="0b06f245-0909-42d3-bad5-b3a07c8ffd21" providerId="ADAL" clId="{11BCE0D8-1F33-4057-A775-07C3F688388F}" dt="2021-05-25T08:49:52.528" v="12854" actId="947"/>
          <ac:spMkLst>
            <pc:docMk/>
            <pc:sldMk cId="203190409" sldId="10438"/>
            <ac:spMk id="119" creationId="{EEF55E94-FD53-41D7-A423-6B56C40D88A1}"/>
          </ac:spMkLst>
        </pc:spChg>
        <pc:spChg chg="mod">
          <ac:chgData name="Joseph KEMOUN" userId="0b06f245-0909-42d3-bad5-b3a07c8ffd21" providerId="ADAL" clId="{11BCE0D8-1F33-4057-A775-07C3F688388F}" dt="2021-05-25T08:49:52.549" v="12866" actId="947"/>
          <ac:spMkLst>
            <pc:docMk/>
            <pc:sldMk cId="203190409" sldId="10438"/>
            <ac:spMk id="120" creationId="{697B9F9F-BFD2-4BBC-A2BC-06F0D17B4298}"/>
          </ac:spMkLst>
        </pc:spChg>
        <pc:spChg chg="mod">
          <ac:chgData name="Joseph KEMOUN" userId="0b06f245-0909-42d3-bad5-b3a07c8ffd21" providerId="ADAL" clId="{11BCE0D8-1F33-4057-A775-07C3F688388F}" dt="2021-05-25T08:49:52.546" v="12864" actId="947"/>
          <ac:spMkLst>
            <pc:docMk/>
            <pc:sldMk cId="203190409" sldId="10438"/>
            <ac:spMk id="122" creationId="{7ED4A8D8-06EE-4620-B65B-5E3B52A3ABAE}"/>
          </ac:spMkLst>
        </pc:spChg>
        <pc:spChg chg="mod">
          <ac:chgData name="Joseph KEMOUN" userId="0b06f245-0909-42d3-bad5-b3a07c8ffd21" providerId="ADAL" clId="{11BCE0D8-1F33-4057-A775-07C3F688388F}" dt="2021-05-25T08:49:52.507" v="12848" actId="947"/>
          <ac:spMkLst>
            <pc:docMk/>
            <pc:sldMk cId="203190409" sldId="10438"/>
            <ac:spMk id="123" creationId="{CCD5F39F-64EB-4F4E-BE6B-002C617492EF}"/>
          </ac:spMkLst>
        </pc:spChg>
        <pc:spChg chg="mod">
          <ac:chgData name="Joseph KEMOUN" userId="0b06f245-0909-42d3-bad5-b3a07c8ffd21" providerId="ADAL" clId="{11BCE0D8-1F33-4057-A775-07C3F688388F}" dt="2021-05-25T08:49:52.568" v="12882" actId="947"/>
          <ac:spMkLst>
            <pc:docMk/>
            <pc:sldMk cId="203190409" sldId="10438"/>
            <ac:spMk id="154" creationId="{A7269958-7FC5-479F-B17B-49D115F118B6}"/>
          </ac:spMkLst>
        </pc:spChg>
        <pc:spChg chg="mod">
          <ac:chgData name="Joseph KEMOUN" userId="0b06f245-0909-42d3-bad5-b3a07c8ffd21" providerId="ADAL" clId="{11BCE0D8-1F33-4057-A775-07C3F688388F}" dt="2021-05-25T08:49:52.559" v="12874" actId="947"/>
          <ac:spMkLst>
            <pc:docMk/>
            <pc:sldMk cId="203190409" sldId="10438"/>
            <ac:spMk id="165" creationId="{C389F3EC-7313-454E-9942-F14FD0BD4C77}"/>
          </ac:spMkLst>
        </pc:spChg>
        <pc:spChg chg="mod">
          <ac:chgData name="Joseph KEMOUN" userId="0b06f245-0909-42d3-bad5-b3a07c8ffd21" providerId="ADAL" clId="{11BCE0D8-1F33-4057-A775-07C3F688388F}" dt="2021-05-25T08:49:52.438" v="12816" actId="947"/>
          <ac:spMkLst>
            <pc:docMk/>
            <pc:sldMk cId="203190409" sldId="10438"/>
            <ac:spMk id="166" creationId="{A3938D6F-1923-42FF-B2ED-6C2BEA79BA03}"/>
          </ac:spMkLst>
        </pc:spChg>
        <pc:spChg chg="mod">
          <ac:chgData name="Joseph KEMOUN" userId="0b06f245-0909-42d3-bad5-b3a07c8ffd21" providerId="ADAL" clId="{11BCE0D8-1F33-4057-A775-07C3F688388F}" dt="2021-05-25T08:49:52.563" v="12878" actId="947"/>
          <ac:spMkLst>
            <pc:docMk/>
            <pc:sldMk cId="203190409" sldId="10438"/>
            <ac:spMk id="168" creationId="{C423BD9F-9E4A-46B8-89D7-67C1FE84B168}"/>
          </ac:spMkLst>
        </pc:spChg>
        <pc:spChg chg="mod">
          <ac:chgData name="Joseph KEMOUN" userId="0b06f245-0909-42d3-bad5-b3a07c8ffd21" providerId="ADAL" clId="{11BCE0D8-1F33-4057-A775-07C3F688388F}" dt="2021-05-25T08:49:52.491" v="12844" actId="947"/>
          <ac:spMkLst>
            <pc:docMk/>
            <pc:sldMk cId="203190409" sldId="10438"/>
            <ac:spMk id="169" creationId="{7881ABC3-A97B-4E90-939F-E48D9595FFFF}"/>
          </ac:spMkLst>
        </pc:spChg>
        <pc:spChg chg="mod">
          <ac:chgData name="Joseph KEMOUN" userId="0b06f245-0909-42d3-bad5-b3a07c8ffd21" providerId="ADAL" clId="{11BCE0D8-1F33-4057-A775-07C3F688388F}" dt="2021-05-25T08:49:52.566" v="12880" actId="947"/>
          <ac:spMkLst>
            <pc:docMk/>
            <pc:sldMk cId="203190409" sldId="10438"/>
            <ac:spMk id="170" creationId="{A886CA56-9620-415B-9489-A004AB6EB706}"/>
          </ac:spMkLst>
        </pc:spChg>
        <pc:spChg chg="mod">
          <ac:chgData name="Joseph KEMOUN" userId="0b06f245-0909-42d3-bad5-b3a07c8ffd21" providerId="ADAL" clId="{11BCE0D8-1F33-4057-A775-07C3F688388F}" dt="2021-05-25T08:49:52.561" v="12876" actId="947"/>
          <ac:spMkLst>
            <pc:docMk/>
            <pc:sldMk cId="203190409" sldId="10438"/>
            <ac:spMk id="171" creationId="{BCC6DEFD-6FEB-4777-9432-E3B2F5C51000}"/>
          </ac:spMkLst>
        </pc:spChg>
        <pc:spChg chg="mod">
          <ac:chgData name="Joseph KEMOUN" userId="0b06f245-0909-42d3-bad5-b3a07c8ffd21" providerId="ADAL" clId="{11BCE0D8-1F33-4057-A775-07C3F688388F}" dt="2021-05-25T08:49:52.511" v="12850" actId="947"/>
          <ac:spMkLst>
            <pc:docMk/>
            <pc:sldMk cId="203190409" sldId="10438"/>
            <ac:spMk id="172" creationId="{04568322-5012-422B-991D-C9A4712E25C9}"/>
          </ac:spMkLst>
        </pc:spChg>
        <pc:spChg chg="mod">
          <ac:chgData name="Joseph KEMOUN" userId="0b06f245-0909-42d3-bad5-b3a07c8ffd21" providerId="ADAL" clId="{11BCE0D8-1F33-4057-A775-07C3F688388F}" dt="2021-05-25T08:49:52.574" v="12886" actId="20577"/>
          <ac:spMkLst>
            <pc:docMk/>
            <pc:sldMk cId="203190409" sldId="10438"/>
            <ac:spMk id="197" creationId="{EB1ED8EE-1371-4F31-B475-A7FD22F01C88}"/>
          </ac:spMkLst>
        </pc:spChg>
        <pc:spChg chg="mod">
          <ac:chgData name="Joseph KEMOUN" userId="0b06f245-0909-42d3-bad5-b3a07c8ffd21" providerId="ADAL" clId="{11BCE0D8-1F33-4057-A775-07C3F688388F}" dt="2021-05-25T08:49:52.579" v="12890" actId="20577"/>
          <ac:spMkLst>
            <pc:docMk/>
            <pc:sldMk cId="203190409" sldId="10438"/>
            <ac:spMk id="212" creationId="{F492C173-DFD6-47CF-9BB4-C8925127E1EE}"/>
          </ac:spMkLst>
        </pc:spChg>
        <pc:spChg chg="mod">
          <ac:chgData name="Joseph KEMOUN" userId="0b06f245-0909-42d3-bad5-b3a07c8ffd21" providerId="ADAL" clId="{11BCE0D8-1F33-4057-A775-07C3F688388F}" dt="2021-05-25T08:49:52.531" v="12856" actId="947"/>
          <ac:spMkLst>
            <pc:docMk/>
            <pc:sldMk cId="203190409" sldId="10438"/>
            <ac:spMk id="1031" creationId="{A3845A5C-C65F-4C44-AE3B-D3285DF51268}"/>
          </ac:spMkLst>
        </pc:spChg>
        <pc:spChg chg="mod">
          <ac:chgData name="Joseph KEMOUN" userId="0b06f245-0909-42d3-bad5-b3a07c8ffd21" providerId="ADAL" clId="{11BCE0D8-1F33-4057-A775-07C3F688388F}" dt="2021-05-25T08:49:52.533" v="12858" actId="947"/>
          <ac:spMkLst>
            <pc:docMk/>
            <pc:sldMk cId="203190409" sldId="10438"/>
            <ac:spMk id="1035" creationId="{9164A53F-4711-41A4-BE3D-8D2F4243A495}"/>
          </ac:spMkLst>
        </pc:spChg>
        <pc:spChg chg="mod">
          <ac:chgData name="Joseph KEMOUN" userId="0b06f245-0909-42d3-bad5-b3a07c8ffd21" providerId="ADAL" clId="{11BCE0D8-1F33-4057-A775-07C3F688388F}" dt="2021-05-25T08:49:52.432" v="12812" actId="20577"/>
          <ac:spMkLst>
            <pc:docMk/>
            <pc:sldMk cId="203190409" sldId="10438"/>
            <ac:spMk id="4107" creationId="{EBC573C8-C4E3-432A-81F7-B99236DF594A}"/>
          </ac:spMkLst>
        </pc:spChg>
        <pc:graphicFrameChg chg="mod">
          <ac:chgData name="Joseph KEMOUN" userId="0b06f245-0909-42d3-bad5-b3a07c8ffd21" providerId="ADAL" clId="{11BCE0D8-1F33-4057-A775-07C3F688388F}" dt="2021-05-25T08:49:53.238" v="12933"/>
          <ac:graphicFrameMkLst>
            <pc:docMk/>
            <pc:sldMk cId="203190409" sldId="10438"/>
            <ac:graphicFrameMk id="17" creationId="{FF44A7FF-DA1D-48E9-88AF-BFA57A1D74D1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1:18:13.596" v="15394" actId="1076"/>
        <pc:sldMkLst>
          <pc:docMk/>
          <pc:sldMk cId="1845337448" sldId="10441"/>
        </pc:sldMkLst>
        <pc:spChg chg="add del">
          <ac:chgData name="Joseph KEMOUN" userId="0b06f245-0909-42d3-bad5-b3a07c8ffd21" providerId="ADAL" clId="{11BCE0D8-1F33-4057-A775-07C3F688388F}" dt="2021-05-25T11:06:49.775" v="15054" actId="478"/>
          <ac:spMkLst>
            <pc:docMk/>
            <pc:sldMk cId="1845337448" sldId="10441"/>
            <ac:spMk id="16" creationId="{66A209F8-4C48-41C1-AC8E-76967E4DE7AE}"/>
          </ac:spMkLst>
        </pc:spChg>
        <pc:spChg chg="add del mod">
          <ac:chgData name="Joseph KEMOUN" userId="0b06f245-0909-42d3-bad5-b3a07c8ffd21" providerId="ADAL" clId="{11BCE0D8-1F33-4057-A775-07C3F688388F}" dt="2021-05-25T11:16:45.199" v="15356" actId="478"/>
          <ac:spMkLst>
            <pc:docMk/>
            <pc:sldMk cId="1845337448" sldId="10441"/>
            <ac:spMk id="136" creationId="{5054EC42-6F85-4F25-ACD1-A150F45A5724}"/>
          </ac:spMkLst>
        </pc:spChg>
        <pc:spChg chg="add del mod">
          <ac:chgData name="Joseph KEMOUN" userId="0b06f245-0909-42d3-bad5-b3a07c8ffd21" providerId="ADAL" clId="{11BCE0D8-1F33-4057-A775-07C3F688388F}" dt="2021-05-25T11:16:47.371" v="15357" actId="478"/>
          <ac:spMkLst>
            <pc:docMk/>
            <pc:sldMk cId="1845337448" sldId="10441"/>
            <ac:spMk id="137" creationId="{E41E1F28-FA2B-4CC0-8851-1D200FADA3DB}"/>
          </ac:spMkLst>
        </pc:spChg>
        <pc:spChg chg="add mod">
          <ac:chgData name="Joseph KEMOUN" userId="0b06f245-0909-42d3-bad5-b3a07c8ffd21" providerId="ADAL" clId="{11BCE0D8-1F33-4057-A775-07C3F688388F}" dt="2021-05-25T11:16:15.747" v="15332"/>
          <ac:spMkLst>
            <pc:docMk/>
            <pc:sldMk cId="1845337448" sldId="10441"/>
            <ac:spMk id="138" creationId="{4EA20FC4-BD02-4A2A-B729-2FB8D8C2F641}"/>
          </ac:spMkLst>
        </pc:spChg>
        <pc:spChg chg="add mod">
          <ac:chgData name="Joseph KEMOUN" userId="0b06f245-0909-42d3-bad5-b3a07c8ffd21" providerId="ADAL" clId="{11BCE0D8-1F33-4057-A775-07C3F688388F}" dt="2021-05-25T11:16:43.094" v="15351"/>
          <ac:spMkLst>
            <pc:docMk/>
            <pc:sldMk cId="1845337448" sldId="10441"/>
            <ac:spMk id="139" creationId="{43174406-7F8F-43EB-A041-39BA3704E438}"/>
          </ac:spMkLst>
        </pc:spChg>
        <pc:spChg chg="mod">
          <ac:chgData name="Joseph KEMOUN" userId="0b06f245-0909-42d3-bad5-b3a07c8ffd21" providerId="ADAL" clId="{11BCE0D8-1F33-4057-A775-07C3F688388F}" dt="2021-05-25T11:18:13.596" v="15394" actId="1076"/>
          <ac:spMkLst>
            <pc:docMk/>
            <pc:sldMk cId="1845337448" sldId="10441"/>
            <ac:spMk id="156" creationId="{78B42A74-8402-46F7-85B4-4EA55358E9EE}"/>
          </ac:spMkLst>
        </pc:spChg>
        <pc:spChg chg="del mod">
          <ac:chgData name="Joseph KEMOUN" userId="0b06f245-0909-42d3-bad5-b3a07c8ffd21" providerId="ADAL" clId="{11BCE0D8-1F33-4057-A775-07C3F688388F}" dt="2021-05-25T11:16:47.371" v="15357" actId="478"/>
          <ac:spMkLst>
            <pc:docMk/>
            <pc:sldMk cId="1845337448" sldId="10441"/>
            <ac:spMk id="158" creationId="{018C1073-1707-42C1-9EB1-0419864D0894}"/>
          </ac:spMkLst>
        </pc:spChg>
        <pc:spChg chg="del mod">
          <ac:chgData name="Joseph KEMOUN" userId="0b06f245-0909-42d3-bad5-b3a07c8ffd21" providerId="ADAL" clId="{11BCE0D8-1F33-4057-A775-07C3F688388F}" dt="2021-05-25T11:16:47.371" v="15357" actId="478"/>
          <ac:spMkLst>
            <pc:docMk/>
            <pc:sldMk cId="1845337448" sldId="10441"/>
            <ac:spMk id="159" creationId="{1F60C19C-B20E-4713-B9B2-B460BB96CBCC}"/>
          </ac:spMkLst>
        </pc:spChg>
        <pc:spChg chg="del mod">
          <ac:chgData name="Joseph KEMOUN" userId="0b06f245-0909-42d3-bad5-b3a07c8ffd21" providerId="ADAL" clId="{11BCE0D8-1F33-4057-A775-07C3F688388F}" dt="2021-05-25T11:16:47.371" v="15357" actId="478"/>
          <ac:spMkLst>
            <pc:docMk/>
            <pc:sldMk cId="1845337448" sldId="10441"/>
            <ac:spMk id="160" creationId="{17966E04-7D6E-4A88-871C-02D8F9F76972}"/>
          </ac:spMkLst>
        </pc:spChg>
        <pc:spChg chg="mod">
          <ac:chgData name="Joseph KEMOUN" userId="0b06f245-0909-42d3-bad5-b3a07c8ffd21" providerId="ADAL" clId="{11BCE0D8-1F33-4057-A775-07C3F688388F}" dt="2021-05-25T11:16:35.940" v="15346"/>
          <ac:spMkLst>
            <pc:docMk/>
            <pc:sldMk cId="1845337448" sldId="10441"/>
            <ac:spMk id="161" creationId="{B53FB642-A247-41DF-B8C1-743170CD37A4}"/>
          </ac:spMkLst>
        </pc:spChg>
        <pc:spChg chg="del mod">
          <ac:chgData name="Joseph KEMOUN" userId="0b06f245-0909-42d3-bad5-b3a07c8ffd21" providerId="ADAL" clId="{11BCE0D8-1F33-4057-A775-07C3F688388F}" dt="2021-05-25T11:16:47.371" v="15357" actId="478"/>
          <ac:spMkLst>
            <pc:docMk/>
            <pc:sldMk cId="1845337448" sldId="10441"/>
            <ac:spMk id="162" creationId="{9F73F5EE-B015-43F6-8CCF-FE13D398FD9A}"/>
          </ac:spMkLst>
        </pc:spChg>
        <pc:spChg chg="del mod">
          <ac:chgData name="Joseph KEMOUN" userId="0b06f245-0909-42d3-bad5-b3a07c8ffd21" providerId="ADAL" clId="{11BCE0D8-1F33-4057-A775-07C3F688388F}" dt="2021-05-25T11:16:47.371" v="15357" actId="478"/>
          <ac:spMkLst>
            <pc:docMk/>
            <pc:sldMk cId="1845337448" sldId="10441"/>
            <ac:spMk id="163" creationId="{915CE087-6A01-4C8B-9F1A-FC807317FFA9}"/>
          </ac:spMkLst>
        </pc:spChg>
      </pc:sldChg>
      <pc:sldChg chg="addSp delSp modSp mod">
        <pc:chgData name="Joseph KEMOUN" userId="0b06f245-0909-42d3-bad5-b3a07c8ffd21" providerId="ADAL" clId="{11BCE0D8-1F33-4057-A775-07C3F688388F}" dt="2021-05-24T16:11:09.803" v="12541" actId="1076"/>
        <pc:sldMkLst>
          <pc:docMk/>
          <pc:sldMk cId="119867206" sldId="10442"/>
        </pc:sldMkLst>
        <pc:spChg chg="mod">
          <ac:chgData name="Joseph KEMOUN" userId="0b06f245-0909-42d3-bad5-b3a07c8ffd21" providerId="ADAL" clId="{11BCE0D8-1F33-4057-A775-07C3F688388F}" dt="2021-05-24T16:07:46.540" v="12255" actId="948"/>
          <ac:spMkLst>
            <pc:docMk/>
            <pc:sldMk cId="119867206" sldId="10442"/>
            <ac:spMk id="2" creationId="{65FB54C3-7A29-4F52-9D6B-AA323F834961}"/>
          </ac:spMkLst>
        </pc:spChg>
        <pc:spChg chg="add del mod modVis">
          <ac:chgData name="Joseph KEMOUN" userId="0b06f245-0909-42d3-bad5-b3a07c8ffd21" providerId="ADAL" clId="{11BCE0D8-1F33-4057-A775-07C3F688388F}" dt="2021-05-24T15:00:41.822" v="8300"/>
          <ac:spMkLst>
            <pc:docMk/>
            <pc:sldMk cId="119867206" sldId="10442"/>
            <ac:spMk id="3" creationId="{3E8235E0-B177-4622-8F92-4CFBB1C89483}"/>
          </ac:spMkLst>
        </pc:spChg>
        <pc:spChg chg="add del mod modVis">
          <ac:chgData name="Joseph KEMOUN" userId="0b06f245-0909-42d3-bad5-b3a07c8ffd21" providerId="ADAL" clId="{11BCE0D8-1F33-4057-A775-07C3F688388F}" dt="2021-05-24T15:01:30.049" v="8347"/>
          <ac:spMkLst>
            <pc:docMk/>
            <pc:sldMk cId="119867206" sldId="10442"/>
            <ac:spMk id="4" creationId="{82BF5032-80B7-4303-8580-B484D500DB9C}"/>
          </ac:spMkLst>
        </pc:spChg>
        <pc:spChg chg="del mod">
          <ac:chgData name="Joseph KEMOUN" userId="0b06f245-0909-42d3-bad5-b3a07c8ffd21" providerId="ADAL" clId="{11BCE0D8-1F33-4057-A775-07C3F688388F}" dt="2021-05-24T15:00:44.353" v="8303" actId="478"/>
          <ac:spMkLst>
            <pc:docMk/>
            <pc:sldMk cId="119867206" sldId="10442"/>
            <ac:spMk id="6" creationId="{17814E99-965C-4895-9646-E33069A9A320}"/>
          </ac:spMkLst>
        </pc:spChg>
        <pc:spChg chg="del mod">
          <ac:chgData name="Joseph KEMOUN" userId="0b06f245-0909-42d3-bad5-b3a07c8ffd21" providerId="ADAL" clId="{11BCE0D8-1F33-4057-A775-07C3F688388F}" dt="2021-05-24T14:46:31.933" v="8064" actId="478"/>
          <ac:spMkLst>
            <pc:docMk/>
            <pc:sldMk cId="119867206" sldId="10442"/>
            <ac:spMk id="7" creationId="{82AE89E6-D4E3-4178-B8E1-8AE6595F0637}"/>
          </ac:spMkLst>
        </pc:spChg>
        <pc:spChg chg="del mod">
          <ac:chgData name="Joseph KEMOUN" userId="0b06f245-0909-42d3-bad5-b3a07c8ffd21" providerId="ADAL" clId="{11BCE0D8-1F33-4057-A775-07C3F688388F}" dt="2021-05-24T14:47:03.301" v="8075" actId="478"/>
          <ac:spMkLst>
            <pc:docMk/>
            <pc:sldMk cId="119867206" sldId="10442"/>
            <ac:spMk id="8" creationId="{9F4269E6-46DB-47B7-95A3-54D40A0E47A1}"/>
          </ac:spMkLst>
        </pc:spChg>
        <pc:spChg chg="del mod">
          <ac:chgData name="Joseph KEMOUN" userId="0b06f245-0909-42d3-bad5-b3a07c8ffd21" providerId="ADAL" clId="{11BCE0D8-1F33-4057-A775-07C3F688388F}" dt="2021-05-24T14:47:20.670" v="8081" actId="478"/>
          <ac:spMkLst>
            <pc:docMk/>
            <pc:sldMk cId="119867206" sldId="10442"/>
            <ac:spMk id="9" creationId="{2D4E4221-24DC-43CD-B5D5-370F991FE917}"/>
          </ac:spMkLst>
        </pc:spChg>
        <pc:spChg chg="del mod">
          <ac:chgData name="Joseph KEMOUN" userId="0b06f245-0909-42d3-bad5-b3a07c8ffd21" providerId="ADAL" clId="{11BCE0D8-1F33-4057-A775-07C3F688388F}" dt="2021-05-24T14:47:43.907" v="8091" actId="478"/>
          <ac:spMkLst>
            <pc:docMk/>
            <pc:sldMk cId="119867206" sldId="10442"/>
            <ac:spMk id="10" creationId="{E8C45A6F-E245-4010-97F3-89B076D31E91}"/>
          </ac:spMkLst>
        </pc:spChg>
        <pc:spChg chg="del mod">
          <ac:chgData name="Joseph KEMOUN" userId="0b06f245-0909-42d3-bad5-b3a07c8ffd21" providerId="ADAL" clId="{11BCE0D8-1F33-4057-A775-07C3F688388F}" dt="2021-05-24T14:45:53.667" v="8060" actId="478"/>
          <ac:spMkLst>
            <pc:docMk/>
            <pc:sldMk cId="119867206" sldId="10442"/>
            <ac:spMk id="12" creationId="{1AE79417-FE24-4346-9D97-86AA44877733}"/>
          </ac:spMkLst>
        </pc:spChg>
        <pc:spChg chg="del mod">
          <ac:chgData name="Joseph KEMOUN" userId="0b06f245-0909-42d3-bad5-b3a07c8ffd21" providerId="ADAL" clId="{11BCE0D8-1F33-4057-A775-07C3F688388F}" dt="2021-05-24T14:45:53.667" v="8060" actId="478"/>
          <ac:spMkLst>
            <pc:docMk/>
            <pc:sldMk cId="119867206" sldId="10442"/>
            <ac:spMk id="14" creationId="{547A547C-C0C3-4B16-BFF7-9DFEC12870C1}"/>
          </ac:spMkLst>
        </pc:spChg>
        <pc:spChg chg="del mod">
          <ac:chgData name="Joseph KEMOUN" userId="0b06f245-0909-42d3-bad5-b3a07c8ffd21" providerId="ADAL" clId="{11BCE0D8-1F33-4057-A775-07C3F688388F}" dt="2021-05-24T15:05:26.605" v="8411" actId="478"/>
          <ac:spMkLst>
            <pc:docMk/>
            <pc:sldMk cId="119867206" sldId="10442"/>
            <ac:spMk id="15" creationId="{5D22D7AF-E656-45E3-A226-B8CF9280DB09}"/>
          </ac:spMkLst>
        </pc:spChg>
        <pc:spChg chg="mod">
          <ac:chgData name="Joseph KEMOUN" userId="0b06f245-0909-42d3-bad5-b3a07c8ffd21" providerId="ADAL" clId="{11BCE0D8-1F33-4057-A775-07C3F688388F}" dt="2021-05-24T15:01:29.326" v="8306"/>
          <ac:spMkLst>
            <pc:docMk/>
            <pc:sldMk cId="119867206" sldId="10442"/>
            <ac:spMk id="16" creationId="{E625AD53-64CF-42F3-AA64-D4ABD13045AB}"/>
          </ac:spMkLst>
        </pc:spChg>
        <pc:spChg chg="del mod">
          <ac:chgData name="Joseph KEMOUN" userId="0b06f245-0909-42d3-bad5-b3a07c8ffd21" providerId="ADAL" clId="{11BCE0D8-1F33-4057-A775-07C3F688388F}" dt="2021-05-24T14:48:39.840" v="8101" actId="478"/>
          <ac:spMkLst>
            <pc:docMk/>
            <pc:sldMk cId="119867206" sldId="10442"/>
            <ac:spMk id="17" creationId="{5329159C-AA45-4FCE-B188-EE02B9D769D6}"/>
          </ac:spMkLst>
        </pc:spChg>
        <pc:spChg chg="add mod">
          <ac:chgData name="Joseph KEMOUN" userId="0b06f245-0909-42d3-bad5-b3a07c8ffd21" providerId="ADAL" clId="{11BCE0D8-1F33-4057-A775-07C3F688388F}" dt="2021-05-24T15:09:00.729" v="8503" actId="554"/>
          <ac:spMkLst>
            <pc:docMk/>
            <pc:sldMk cId="119867206" sldId="10442"/>
            <ac:spMk id="19" creationId="{CE784874-640E-4FCC-A7A8-772CCF499F02}"/>
          </ac:spMkLst>
        </pc:spChg>
        <pc:spChg chg="add mod topLvl">
          <ac:chgData name="Joseph KEMOUN" userId="0b06f245-0909-42d3-bad5-b3a07c8ffd21" providerId="ADAL" clId="{11BCE0D8-1F33-4057-A775-07C3F688388F}" dt="2021-05-24T15:19:22.173" v="9518" actId="554"/>
          <ac:spMkLst>
            <pc:docMk/>
            <pc:sldMk cId="119867206" sldId="10442"/>
            <ac:spMk id="20" creationId="{D1FA0833-EFF2-4B7E-9171-123851B44050}"/>
          </ac:spMkLst>
        </pc:spChg>
        <pc:spChg chg="add del mod">
          <ac:chgData name="Joseph KEMOUN" userId="0b06f245-0909-42d3-bad5-b3a07c8ffd21" providerId="ADAL" clId="{11BCE0D8-1F33-4057-A775-07C3F688388F}" dt="2021-05-24T15:01:57.344" v="8354" actId="478"/>
          <ac:spMkLst>
            <pc:docMk/>
            <pc:sldMk cId="119867206" sldId="10442"/>
            <ac:spMk id="21" creationId="{06D96C6B-E475-45B3-BC45-F284D1CE118D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22" creationId="{F3C04D9E-BF7B-4E81-8F68-CB75E5A8639B}"/>
          </ac:spMkLst>
        </pc:spChg>
        <pc:spChg chg="add mod topLvl">
          <ac:chgData name="Joseph KEMOUN" userId="0b06f245-0909-42d3-bad5-b3a07c8ffd21" providerId="ADAL" clId="{11BCE0D8-1F33-4057-A775-07C3F688388F}" dt="2021-05-24T15:20:12.624" v="9529" actId="554"/>
          <ac:spMkLst>
            <pc:docMk/>
            <pc:sldMk cId="119867206" sldId="10442"/>
            <ac:spMk id="23" creationId="{69708570-8585-4B93-8B60-BFE38DA082AC}"/>
          </ac:spMkLst>
        </pc:spChg>
        <pc:spChg chg="add del mod">
          <ac:chgData name="Joseph KEMOUN" userId="0b06f245-0909-42d3-bad5-b3a07c8ffd21" providerId="ADAL" clId="{11BCE0D8-1F33-4057-A775-07C3F688388F}" dt="2021-05-24T15:02:04.638" v="8355" actId="478"/>
          <ac:spMkLst>
            <pc:docMk/>
            <pc:sldMk cId="119867206" sldId="10442"/>
            <ac:spMk id="24" creationId="{08AAAA58-37CD-4825-958A-F31E8F3B6EFA}"/>
          </ac:spMkLst>
        </pc:spChg>
        <pc:spChg chg="add del mod">
          <ac:chgData name="Joseph KEMOUN" userId="0b06f245-0909-42d3-bad5-b3a07c8ffd21" providerId="ADAL" clId="{11BCE0D8-1F33-4057-A775-07C3F688388F}" dt="2021-05-24T16:08:52.263" v="12410" actId="478"/>
          <ac:spMkLst>
            <pc:docMk/>
            <pc:sldMk cId="119867206" sldId="10442"/>
            <ac:spMk id="25" creationId="{B2E15A85-4EF3-4C76-84D0-C91E31B750E5}"/>
          </ac:spMkLst>
        </pc:spChg>
        <pc:spChg chg="add del mod">
          <ac:chgData name="Joseph KEMOUN" userId="0b06f245-0909-42d3-bad5-b3a07c8ffd21" providerId="ADAL" clId="{11BCE0D8-1F33-4057-A775-07C3F688388F}" dt="2021-05-24T16:08:52.263" v="12410" actId="478"/>
          <ac:spMkLst>
            <pc:docMk/>
            <pc:sldMk cId="119867206" sldId="10442"/>
            <ac:spMk id="26" creationId="{25B6D64A-3C90-4850-94AA-93589F113A33}"/>
          </ac:spMkLst>
        </pc:spChg>
        <pc:spChg chg="add del mod">
          <ac:chgData name="Joseph KEMOUN" userId="0b06f245-0909-42d3-bad5-b3a07c8ffd21" providerId="ADAL" clId="{11BCE0D8-1F33-4057-A775-07C3F688388F}" dt="2021-05-24T16:08:52.263" v="12410" actId="478"/>
          <ac:spMkLst>
            <pc:docMk/>
            <pc:sldMk cId="119867206" sldId="10442"/>
            <ac:spMk id="27" creationId="{59E9AB94-AF02-4118-8DB2-E6821C5EFC90}"/>
          </ac:spMkLst>
        </pc:spChg>
        <pc:spChg chg="add del mod">
          <ac:chgData name="Joseph KEMOUN" userId="0b06f245-0909-42d3-bad5-b3a07c8ffd21" providerId="ADAL" clId="{11BCE0D8-1F33-4057-A775-07C3F688388F}" dt="2021-05-24T16:11:05.629" v="12540" actId="1076"/>
          <ac:spMkLst>
            <pc:docMk/>
            <pc:sldMk cId="119867206" sldId="10442"/>
            <ac:spMk id="28" creationId="{138E85E6-5B09-4B9A-A67C-B8BF0299E406}"/>
          </ac:spMkLst>
        </pc:spChg>
        <pc:spChg chg="add mod">
          <ac:chgData name="Joseph KEMOUN" userId="0b06f245-0909-42d3-bad5-b3a07c8ffd21" providerId="ADAL" clId="{11BCE0D8-1F33-4057-A775-07C3F688388F}" dt="2021-05-24T15:01:29.326" v="8306"/>
          <ac:spMkLst>
            <pc:docMk/>
            <pc:sldMk cId="119867206" sldId="10442"/>
            <ac:spMk id="29" creationId="{4D05E647-B2AC-4967-8A12-04BF6D849BA2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30" creationId="{3234BEDE-0EAA-43C8-B745-6264596C01F6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31" creationId="{FBCCFBAE-290E-4D09-9A7A-6DD2B4B74D5E}"/>
          </ac:spMkLst>
        </pc:spChg>
        <pc:spChg chg="add del mod">
          <ac:chgData name="Joseph KEMOUN" userId="0b06f245-0909-42d3-bad5-b3a07c8ffd21" providerId="ADAL" clId="{11BCE0D8-1F33-4057-A775-07C3F688388F}" dt="2021-05-24T15:01:51.552" v="8353" actId="478"/>
          <ac:spMkLst>
            <pc:docMk/>
            <pc:sldMk cId="119867206" sldId="10442"/>
            <ac:spMk id="32" creationId="{EA104E83-5F07-4522-A4C0-2B56C2129385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33" creationId="{D943280D-7597-44ED-8893-A5890193057B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34" creationId="{4FDBDE50-D4D5-423B-89F8-28819E20B66A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35" creationId="{04821F65-85B0-49C8-8185-2D9762D2388E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36" creationId="{482A1232-234F-4E6C-ABD1-A62108139B77}"/>
          </ac:spMkLst>
        </pc:spChg>
        <pc:spChg chg="add del mod">
          <ac:chgData name="Joseph KEMOUN" userId="0b06f245-0909-42d3-bad5-b3a07c8ffd21" providerId="ADAL" clId="{11BCE0D8-1F33-4057-A775-07C3F688388F}" dt="2021-05-24T15:00:53.580" v="8304" actId="478"/>
          <ac:spMkLst>
            <pc:docMk/>
            <pc:sldMk cId="119867206" sldId="10442"/>
            <ac:spMk id="37" creationId="{60544AF4-8412-445A-962C-B57A01E5AD08}"/>
          </ac:spMkLst>
        </pc:spChg>
        <pc:spChg chg="add mod">
          <ac:chgData name="Joseph KEMOUN" userId="0b06f245-0909-42d3-bad5-b3a07c8ffd21" providerId="ADAL" clId="{11BCE0D8-1F33-4057-A775-07C3F688388F}" dt="2021-05-24T15:09:00.729" v="8503" actId="554"/>
          <ac:spMkLst>
            <pc:docMk/>
            <pc:sldMk cId="119867206" sldId="10442"/>
            <ac:spMk id="38" creationId="{044C8133-1CA2-451F-9021-BE7A6E1D59C4}"/>
          </ac:spMkLst>
        </pc:spChg>
        <pc:spChg chg="add del mod">
          <ac:chgData name="Joseph KEMOUN" userId="0b06f245-0909-42d3-bad5-b3a07c8ffd21" providerId="ADAL" clId="{11BCE0D8-1F33-4057-A775-07C3F688388F}" dt="2021-05-24T15:54:30.981" v="11010" actId="478"/>
          <ac:spMkLst>
            <pc:docMk/>
            <pc:sldMk cId="119867206" sldId="10442"/>
            <ac:spMk id="39" creationId="{E585079B-0F36-4D3F-AA82-90D247DEC22E}"/>
          </ac:spMkLst>
        </pc:spChg>
        <pc:spChg chg="add del mod topLvl">
          <ac:chgData name="Joseph KEMOUN" userId="0b06f245-0909-42d3-bad5-b3a07c8ffd21" providerId="ADAL" clId="{11BCE0D8-1F33-4057-A775-07C3F688388F}" dt="2021-05-24T15:19:34.949" v="9521" actId="478"/>
          <ac:spMkLst>
            <pc:docMk/>
            <pc:sldMk cId="119867206" sldId="10442"/>
            <ac:spMk id="40" creationId="{3A732AC7-15E6-44D2-8636-78B5A79D45A9}"/>
          </ac:spMkLst>
        </pc:spChg>
        <pc:spChg chg="add del mod">
          <ac:chgData name="Joseph KEMOUN" userId="0b06f245-0909-42d3-bad5-b3a07c8ffd21" providerId="ADAL" clId="{11BCE0D8-1F33-4057-A775-07C3F688388F}" dt="2021-05-24T15:01:57.344" v="8354" actId="478"/>
          <ac:spMkLst>
            <pc:docMk/>
            <pc:sldMk cId="119867206" sldId="10442"/>
            <ac:spMk id="41" creationId="{9402F83A-05E2-41DD-808F-33DCBF4E94C8}"/>
          </ac:spMkLst>
        </pc:spChg>
        <pc:spChg chg="add del mod topLvl">
          <ac:chgData name="Joseph KEMOUN" userId="0b06f245-0909-42d3-bad5-b3a07c8ffd21" providerId="ADAL" clId="{11BCE0D8-1F33-4057-A775-07C3F688388F}" dt="2021-05-24T15:36:54.118" v="9873" actId="478"/>
          <ac:spMkLst>
            <pc:docMk/>
            <pc:sldMk cId="119867206" sldId="10442"/>
            <ac:spMk id="42" creationId="{1FE38CBB-0B74-461A-A649-61D588FFA9EF}"/>
          </ac:spMkLst>
        </pc:spChg>
        <pc:spChg chg="add del mod topLvl">
          <ac:chgData name="Joseph KEMOUN" userId="0b06f245-0909-42d3-bad5-b3a07c8ffd21" providerId="ADAL" clId="{11BCE0D8-1F33-4057-A775-07C3F688388F}" dt="2021-05-24T15:38:09.546" v="10074" actId="478"/>
          <ac:spMkLst>
            <pc:docMk/>
            <pc:sldMk cId="119867206" sldId="10442"/>
            <ac:spMk id="43" creationId="{E5E24738-C897-4DDC-B560-8464687EA58D}"/>
          </ac:spMkLst>
        </pc:spChg>
        <pc:spChg chg="add del mod">
          <ac:chgData name="Joseph KEMOUN" userId="0b06f245-0909-42d3-bad5-b3a07c8ffd21" providerId="ADAL" clId="{11BCE0D8-1F33-4057-A775-07C3F688388F}" dt="2021-05-24T15:02:04.638" v="8355" actId="478"/>
          <ac:spMkLst>
            <pc:docMk/>
            <pc:sldMk cId="119867206" sldId="10442"/>
            <ac:spMk id="44" creationId="{B5F1A67B-1F4D-404F-AA68-ACF67B414944}"/>
          </ac:spMkLst>
        </pc:spChg>
        <pc:spChg chg="add mod topLvl">
          <ac:chgData name="Joseph KEMOUN" userId="0b06f245-0909-42d3-bad5-b3a07c8ffd21" providerId="ADAL" clId="{11BCE0D8-1F33-4057-A775-07C3F688388F}" dt="2021-05-24T15:35:06.603" v="9698" actId="5793"/>
          <ac:spMkLst>
            <pc:docMk/>
            <pc:sldMk cId="119867206" sldId="10442"/>
            <ac:spMk id="45" creationId="{3E502BB1-A8E8-4A13-9372-A8667C6FB05E}"/>
          </ac:spMkLst>
        </pc:spChg>
        <pc:spChg chg="add del mod">
          <ac:chgData name="Joseph KEMOUN" userId="0b06f245-0909-42d3-bad5-b3a07c8ffd21" providerId="ADAL" clId="{11BCE0D8-1F33-4057-A775-07C3F688388F}" dt="2021-05-24T15:00:53.580" v="8304" actId="478"/>
          <ac:spMkLst>
            <pc:docMk/>
            <pc:sldMk cId="119867206" sldId="10442"/>
            <ac:spMk id="46" creationId="{64B40757-EC81-4109-9352-11157B510A4D}"/>
          </ac:spMkLst>
        </pc:spChg>
        <pc:spChg chg="add del mod topLvl">
          <ac:chgData name="Joseph KEMOUN" userId="0b06f245-0909-42d3-bad5-b3a07c8ffd21" providerId="ADAL" clId="{11BCE0D8-1F33-4057-A775-07C3F688388F}" dt="2021-05-24T15:11:47.264" v="8676" actId="478"/>
          <ac:spMkLst>
            <pc:docMk/>
            <pc:sldMk cId="119867206" sldId="10442"/>
            <ac:spMk id="47" creationId="{6B039908-0724-48BE-B885-56D9B60AE8EC}"/>
          </ac:spMkLst>
        </pc:spChg>
        <pc:spChg chg="add del mod topLvl">
          <ac:chgData name="Joseph KEMOUN" userId="0b06f245-0909-42d3-bad5-b3a07c8ffd21" providerId="ADAL" clId="{11BCE0D8-1F33-4057-A775-07C3F688388F}" dt="2021-05-24T15:18:49.906" v="9512" actId="478"/>
          <ac:spMkLst>
            <pc:docMk/>
            <pc:sldMk cId="119867206" sldId="10442"/>
            <ac:spMk id="48" creationId="{A30D5717-7A7D-4A24-982F-B45CF37C4EDE}"/>
          </ac:spMkLst>
        </pc:spChg>
        <pc:spChg chg="add del mod">
          <ac:chgData name="Joseph KEMOUN" userId="0b06f245-0909-42d3-bad5-b3a07c8ffd21" providerId="ADAL" clId="{11BCE0D8-1F33-4057-A775-07C3F688388F}" dt="2021-05-24T15:01:51.552" v="8353" actId="478"/>
          <ac:spMkLst>
            <pc:docMk/>
            <pc:sldMk cId="119867206" sldId="10442"/>
            <ac:spMk id="49" creationId="{BBE0C2C1-C548-4134-92A7-526FF3681EB8}"/>
          </ac:spMkLst>
        </pc:spChg>
        <pc:spChg chg="add del mod topLvl">
          <ac:chgData name="Joseph KEMOUN" userId="0b06f245-0909-42d3-bad5-b3a07c8ffd21" providerId="ADAL" clId="{11BCE0D8-1F33-4057-A775-07C3F688388F}" dt="2021-05-24T15:10:10.980" v="8511" actId="478"/>
          <ac:spMkLst>
            <pc:docMk/>
            <pc:sldMk cId="119867206" sldId="10442"/>
            <ac:spMk id="50" creationId="{5A50DAD8-EBFC-479E-BD03-8069BDC9CCBE}"/>
          </ac:spMkLst>
        </pc:spChg>
        <pc:spChg chg="add del mod topLvl">
          <ac:chgData name="Joseph KEMOUN" userId="0b06f245-0909-42d3-bad5-b3a07c8ffd21" providerId="ADAL" clId="{11BCE0D8-1F33-4057-A775-07C3F688388F}" dt="2021-05-24T15:14:01.835" v="8881" actId="478"/>
          <ac:spMkLst>
            <pc:docMk/>
            <pc:sldMk cId="119867206" sldId="10442"/>
            <ac:spMk id="51" creationId="{D35E4FD3-95B6-4E14-9FE1-82E6707EB0DE}"/>
          </ac:spMkLst>
        </pc:spChg>
        <pc:spChg chg="add del mod topLvl">
          <ac:chgData name="Joseph KEMOUN" userId="0b06f245-0909-42d3-bad5-b3a07c8ffd21" providerId="ADAL" clId="{11BCE0D8-1F33-4057-A775-07C3F688388F}" dt="2021-05-24T15:17:38.557" v="9277" actId="478"/>
          <ac:spMkLst>
            <pc:docMk/>
            <pc:sldMk cId="119867206" sldId="10442"/>
            <ac:spMk id="52" creationId="{C96121B6-677E-4398-B6C9-85DBED15011E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53" creationId="{2D090911-243F-4A27-B4DB-205B60F55F47}"/>
          </ac:spMkLst>
        </pc:spChg>
        <pc:spChg chg="add del mod">
          <ac:chgData name="Joseph KEMOUN" userId="0b06f245-0909-42d3-bad5-b3a07c8ffd21" providerId="ADAL" clId="{11BCE0D8-1F33-4057-A775-07C3F688388F}" dt="2021-05-24T15:00:53.580" v="8304" actId="478"/>
          <ac:spMkLst>
            <pc:docMk/>
            <pc:sldMk cId="119867206" sldId="10442"/>
            <ac:spMk id="54" creationId="{2E175606-BDAA-41B2-8503-36D8376E48C9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55" creationId="{22FD3FE4-143E-452C-8A68-21746130045F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56" creationId="{33345204-2C0C-4D2E-A957-6156AE4001F9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57" creationId="{4C0ABB09-009A-4915-B6C6-174B5F04C563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58" creationId="{824D8A0B-4FEC-4235-92B9-B2E5612B441F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59" creationId="{D24B7842-328D-4964-A761-7041F79F2020}"/>
          </ac:spMkLst>
        </pc:spChg>
        <pc:spChg chg="add del mod">
          <ac:chgData name="Joseph KEMOUN" userId="0b06f245-0909-42d3-bad5-b3a07c8ffd21" providerId="ADAL" clId="{11BCE0D8-1F33-4057-A775-07C3F688388F}" dt="2021-05-24T15:01:51.552" v="8353" actId="478"/>
          <ac:spMkLst>
            <pc:docMk/>
            <pc:sldMk cId="119867206" sldId="10442"/>
            <ac:spMk id="60" creationId="{8088978C-2E63-405B-92FE-A586E95C7A2A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61" creationId="{2344C252-77C1-47F1-9695-C9D5C41D6734}"/>
          </ac:spMkLst>
        </pc:spChg>
        <pc:spChg chg="add del mod">
          <ac:chgData name="Joseph KEMOUN" userId="0b06f245-0909-42d3-bad5-b3a07c8ffd21" providerId="ADAL" clId="{11BCE0D8-1F33-4057-A775-07C3F688388F}" dt="2021-05-24T15:01:57.344" v="8354" actId="478"/>
          <ac:spMkLst>
            <pc:docMk/>
            <pc:sldMk cId="119867206" sldId="10442"/>
            <ac:spMk id="62" creationId="{278224E4-9994-42D5-A961-90F6FB5DC53C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63" creationId="{2FE9B556-371C-4FD0-9F35-D909BFD38D55}"/>
          </ac:spMkLst>
        </pc:spChg>
        <pc:spChg chg="add mod topLvl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64" creationId="{26041E40-EA63-4937-8610-E0F42F136D9A}"/>
          </ac:spMkLst>
        </pc:spChg>
        <pc:spChg chg="add del mod">
          <ac:chgData name="Joseph KEMOUN" userId="0b06f245-0909-42d3-bad5-b3a07c8ffd21" providerId="ADAL" clId="{11BCE0D8-1F33-4057-A775-07C3F688388F}" dt="2021-05-24T15:02:04.638" v="8355" actId="478"/>
          <ac:spMkLst>
            <pc:docMk/>
            <pc:sldMk cId="119867206" sldId="10442"/>
            <ac:spMk id="65" creationId="{82A73444-DA35-4C20-8FB5-6DBDCD771EC4}"/>
          </ac:spMkLst>
        </pc:spChg>
        <pc:spChg chg="add del mod">
          <ac:chgData name="Joseph KEMOUN" userId="0b06f245-0909-42d3-bad5-b3a07c8ffd21" providerId="ADAL" clId="{11BCE0D8-1F33-4057-A775-07C3F688388F}" dt="2021-05-24T15:54:30.981" v="11010" actId="478"/>
          <ac:spMkLst>
            <pc:docMk/>
            <pc:sldMk cId="119867206" sldId="10442"/>
            <ac:spMk id="80" creationId="{E547160A-58BE-400C-8CFC-578FD6CD1124}"/>
          </ac:spMkLst>
        </pc:spChg>
        <pc:spChg chg="mod">
          <ac:chgData name="Joseph KEMOUN" userId="0b06f245-0909-42d3-bad5-b3a07c8ffd21" providerId="ADAL" clId="{11BCE0D8-1F33-4057-A775-07C3F688388F}" dt="2021-05-24T14:45:42.727" v="8058"/>
          <ac:spMkLst>
            <pc:docMk/>
            <pc:sldMk cId="119867206" sldId="10442"/>
            <ac:spMk id="86" creationId="{FACE4A09-AB06-48BA-AFD2-0F43DA4A23A4}"/>
          </ac:spMkLst>
        </pc:spChg>
        <pc:spChg chg="add del mod">
          <ac:chgData name="Joseph KEMOUN" userId="0b06f245-0909-42d3-bad5-b3a07c8ffd21" providerId="ADAL" clId="{11BCE0D8-1F33-4057-A775-07C3F688388F}" dt="2021-05-24T15:54:30.981" v="11010" actId="478"/>
          <ac:spMkLst>
            <pc:docMk/>
            <pc:sldMk cId="119867206" sldId="10442"/>
            <ac:spMk id="91" creationId="{78C979AE-3187-499E-A3C5-418B7774E4A2}"/>
          </ac:spMkLst>
        </pc:spChg>
        <pc:spChg chg="mod">
          <ac:chgData name="Joseph KEMOUN" userId="0b06f245-0909-42d3-bad5-b3a07c8ffd21" providerId="ADAL" clId="{11BCE0D8-1F33-4057-A775-07C3F688388F}" dt="2021-05-24T14:45:42.727" v="8058"/>
          <ac:spMkLst>
            <pc:docMk/>
            <pc:sldMk cId="119867206" sldId="10442"/>
            <ac:spMk id="93" creationId="{2C9D4BBD-4C58-4EC0-BF06-C9B17B857874}"/>
          </ac:spMkLst>
        </pc:spChg>
        <pc:spChg chg="mod">
          <ac:chgData name="Joseph KEMOUN" userId="0b06f245-0909-42d3-bad5-b3a07c8ffd21" providerId="ADAL" clId="{11BCE0D8-1F33-4057-A775-07C3F688388F}" dt="2021-05-24T14:45:42.727" v="8058"/>
          <ac:spMkLst>
            <pc:docMk/>
            <pc:sldMk cId="119867206" sldId="10442"/>
            <ac:spMk id="96" creationId="{0764A5AB-DCC3-4CE6-AE60-51C093E036A2}"/>
          </ac:spMkLst>
        </pc:spChg>
        <pc:spChg chg="add del mod">
          <ac:chgData name="Joseph KEMOUN" userId="0b06f245-0909-42d3-bad5-b3a07c8ffd21" providerId="ADAL" clId="{11BCE0D8-1F33-4057-A775-07C3F688388F}" dt="2021-05-24T15:54:30.981" v="11010" actId="478"/>
          <ac:spMkLst>
            <pc:docMk/>
            <pc:sldMk cId="119867206" sldId="10442"/>
            <ac:spMk id="100" creationId="{85636F83-DB9C-4DAD-934F-36113E64E237}"/>
          </ac:spMkLst>
        </pc:spChg>
        <pc:spChg chg="add del mod">
          <ac:chgData name="Joseph KEMOUN" userId="0b06f245-0909-42d3-bad5-b3a07c8ffd21" providerId="ADAL" clId="{11BCE0D8-1F33-4057-A775-07C3F688388F}" dt="2021-05-24T15:54:30.981" v="11010" actId="478"/>
          <ac:spMkLst>
            <pc:docMk/>
            <pc:sldMk cId="119867206" sldId="10442"/>
            <ac:spMk id="101" creationId="{87771EFF-B38C-4396-9EF7-7662156F6461}"/>
          </ac:spMkLst>
        </pc:spChg>
        <pc:spChg chg="add del mod">
          <ac:chgData name="Joseph KEMOUN" userId="0b06f245-0909-42d3-bad5-b3a07c8ffd21" providerId="ADAL" clId="{11BCE0D8-1F33-4057-A775-07C3F688388F}" dt="2021-05-24T15:54:30.981" v="11010" actId="478"/>
          <ac:spMkLst>
            <pc:docMk/>
            <pc:sldMk cId="119867206" sldId="10442"/>
            <ac:spMk id="102" creationId="{EC423598-61ED-49B8-B730-14F93B8DBEF1}"/>
          </ac:spMkLst>
        </pc:spChg>
        <pc:spChg chg="add mod">
          <ac:chgData name="Joseph KEMOUN" userId="0b06f245-0909-42d3-bad5-b3a07c8ffd21" providerId="ADAL" clId="{11BCE0D8-1F33-4057-A775-07C3F688388F}" dt="2021-05-24T15:10:34.010" v="8515" actId="242"/>
          <ac:spMkLst>
            <pc:docMk/>
            <pc:sldMk cId="119867206" sldId="10442"/>
            <ac:spMk id="104" creationId="{4533AB2B-0301-4919-81AB-4BE02FE8A291}"/>
          </ac:spMkLst>
        </pc:spChg>
        <pc:spChg chg="add mod">
          <ac:chgData name="Joseph KEMOUN" userId="0b06f245-0909-42d3-bad5-b3a07c8ffd21" providerId="ADAL" clId="{11BCE0D8-1F33-4057-A775-07C3F688388F}" dt="2021-05-24T15:35:01.257" v="9690" actId="20577"/>
          <ac:spMkLst>
            <pc:docMk/>
            <pc:sldMk cId="119867206" sldId="10442"/>
            <ac:spMk id="105" creationId="{B75BBABA-FB81-456B-BD42-DFD10AA7AE3B}"/>
          </ac:spMkLst>
        </pc:spChg>
        <pc:spChg chg="add mod">
          <ac:chgData name="Joseph KEMOUN" userId="0b06f245-0909-42d3-bad5-b3a07c8ffd21" providerId="ADAL" clId="{11BCE0D8-1F33-4057-A775-07C3F688388F}" dt="2021-05-24T15:13:58.900" v="8880" actId="20577"/>
          <ac:spMkLst>
            <pc:docMk/>
            <pc:sldMk cId="119867206" sldId="10442"/>
            <ac:spMk id="106" creationId="{A133B2BE-2068-4A99-9833-0DA5D8BC0137}"/>
          </ac:spMkLst>
        </pc:spChg>
        <pc:spChg chg="add mod">
          <ac:chgData name="Joseph KEMOUN" userId="0b06f245-0909-42d3-bad5-b3a07c8ffd21" providerId="ADAL" clId="{11BCE0D8-1F33-4057-A775-07C3F688388F}" dt="2021-05-24T15:14:07.282" v="8882" actId="571"/>
          <ac:spMkLst>
            <pc:docMk/>
            <pc:sldMk cId="119867206" sldId="10442"/>
            <ac:spMk id="107" creationId="{C04BF618-86C1-49B9-875E-705B371DFD35}"/>
          </ac:spMkLst>
        </pc:spChg>
        <pc:spChg chg="add mod">
          <ac:chgData name="Joseph KEMOUN" userId="0b06f245-0909-42d3-bad5-b3a07c8ffd21" providerId="ADAL" clId="{11BCE0D8-1F33-4057-A775-07C3F688388F}" dt="2021-05-24T15:17:35.128" v="9276" actId="20577"/>
          <ac:spMkLst>
            <pc:docMk/>
            <pc:sldMk cId="119867206" sldId="10442"/>
            <ac:spMk id="108" creationId="{F09EEB06-45F0-47E2-B53C-B3DD95201528}"/>
          </ac:spMkLst>
        </pc:spChg>
        <pc:spChg chg="add mod">
          <ac:chgData name="Joseph KEMOUN" userId="0b06f245-0909-42d3-bad5-b3a07c8ffd21" providerId="ADAL" clId="{11BCE0D8-1F33-4057-A775-07C3F688388F}" dt="2021-05-24T16:06:16.045" v="12025" actId="5793"/>
          <ac:spMkLst>
            <pc:docMk/>
            <pc:sldMk cId="119867206" sldId="10442"/>
            <ac:spMk id="109" creationId="{6E2B6BAA-BDFD-4BED-B53C-733E75F8298A}"/>
          </ac:spMkLst>
        </pc:spChg>
        <pc:spChg chg="add mod">
          <ac:chgData name="Joseph KEMOUN" userId="0b06f245-0909-42d3-bad5-b3a07c8ffd21" providerId="ADAL" clId="{11BCE0D8-1F33-4057-A775-07C3F688388F}" dt="2021-05-24T15:50:58.113" v="11008" actId="20577"/>
          <ac:spMkLst>
            <pc:docMk/>
            <pc:sldMk cId="119867206" sldId="10442"/>
            <ac:spMk id="110" creationId="{F899CAD4-8D7B-4725-8ACD-6E5C03C61B9B}"/>
          </ac:spMkLst>
        </pc:spChg>
        <pc:spChg chg="add del mod">
          <ac:chgData name="Joseph KEMOUN" userId="0b06f245-0909-42d3-bad5-b3a07c8ffd21" providerId="ADAL" clId="{11BCE0D8-1F33-4057-A775-07C3F688388F}" dt="2021-05-24T15:51:06.877" v="11009" actId="478"/>
          <ac:spMkLst>
            <pc:docMk/>
            <pc:sldMk cId="119867206" sldId="10442"/>
            <ac:spMk id="111" creationId="{82B3AA66-B2C9-48D5-8070-D01FA5B7F9D7}"/>
          </ac:spMkLst>
        </pc:spChg>
        <pc:spChg chg="add mod">
          <ac:chgData name="Joseph KEMOUN" userId="0b06f245-0909-42d3-bad5-b3a07c8ffd21" providerId="ADAL" clId="{11BCE0D8-1F33-4057-A775-07C3F688388F}" dt="2021-05-24T15:36:49.679" v="9872" actId="20577"/>
          <ac:spMkLst>
            <pc:docMk/>
            <pc:sldMk cId="119867206" sldId="10442"/>
            <ac:spMk id="112" creationId="{891230FB-1862-448C-B85F-FFE2EADAC578}"/>
          </ac:spMkLst>
        </pc:spChg>
        <pc:spChg chg="add mod">
          <ac:chgData name="Joseph KEMOUN" userId="0b06f245-0909-42d3-bad5-b3a07c8ffd21" providerId="ADAL" clId="{11BCE0D8-1F33-4057-A775-07C3F688388F}" dt="2021-05-24T15:38:05.982" v="10073" actId="20577"/>
          <ac:spMkLst>
            <pc:docMk/>
            <pc:sldMk cId="119867206" sldId="10442"/>
            <ac:spMk id="113" creationId="{71A9A602-8981-4663-A273-24A1CB6A59CE}"/>
          </ac:spMkLst>
        </pc:spChg>
        <pc:spChg chg="add del mod">
          <ac:chgData name="Joseph KEMOUN" userId="0b06f245-0909-42d3-bad5-b3a07c8ffd21" providerId="ADAL" clId="{11BCE0D8-1F33-4057-A775-07C3F688388F}" dt="2021-05-24T15:39:10.685" v="10859" actId="478"/>
          <ac:spMkLst>
            <pc:docMk/>
            <pc:sldMk cId="119867206" sldId="10442"/>
            <ac:spMk id="114" creationId="{A64678DA-38FD-4EC8-8379-990A221FDB42}"/>
          </ac:spMkLst>
        </pc:spChg>
        <pc:spChg chg="add del mod modVis">
          <ac:chgData name="Joseph KEMOUN" userId="0b06f245-0909-42d3-bad5-b3a07c8ffd21" providerId="ADAL" clId="{11BCE0D8-1F33-4057-A775-07C3F688388F}" dt="2021-05-24T15:38:26.501" v="10122"/>
          <ac:spMkLst>
            <pc:docMk/>
            <pc:sldMk cId="119867206" sldId="10442"/>
            <ac:spMk id="115" creationId="{A9E39CF8-6B12-4FFB-973F-3BE53480AAF9}"/>
          </ac:spMkLst>
        </pc:spChg>
        <pc:spChg chg="add del mod modVis">
          <ac:chgData name="Joseph KEMOUN" userId="0b06f245-0909-42d3-bad5-b3a07c8ffd21" providerId="ADAL" clId="{11BCE0D8-1F33-4057-A775-07C3F688388F}" dt="2021-05-24T15:38:30.058" v="10190"/>
          <ac:spMkLst>
            <pc:docMk/>
            <pc:sldMk cId="119867206" sldId="10442"/>
            <ac:spMk id="116" creationId="{492EA5BE-CE0F-473B-8998-0A1D56ECBA8F}"/>
          </ac:spMkLst>
        </pc:spChg>
        <pc:spChg chg="add del mod modVis">
          <ac:chgData name="Joseph KEMOUN" userId="0b06f245-0909-42d3-bad5-b3a07c8ffd21" providerId="ADAL" clId="{11BCE0D8-1F33-4057-A775-07C3F688388F}" dt="2021-05-24T15:38:32.402" v="10238"/>
          <ac:spMkLst>
            <pc:docMk/>
            <pc:sldMk cId="119867206" sldId="10442"/>
            <ac:spMk id="117" creationId="{E8BA26DF-64DF-4255-81B8-2EE1C33811BF}"/>
          </ac:spMkLst>
        </pc:spChg>
        <pc:spChg chg="add del mod modVis">
          <ac:chgData name="Joseph KEMOUN" userId="0b06f245-0909-42d3-bad5-b3a07c8ffd21" providerId="ADAL" clId="{11BCE0D8-1F33-4057-A775-07C3F688388F}" dt="2021-05-24T15:38:36.321" v="10304"/>
          <ac:spMkLst>
            <pc:docMk/>
            <pc:sldMk cId="119867206" sldId="10442"/>
            <ac:spMk id="118" creationId="{282700D2-77EC-4618-8280-58BE2E8B0373}"/>
          </ac:spMkLst>
        </pc:spChg>
        <pc:spChg chg="add del mod modVis">
          <ac:chgData name="Joseph KEMOUN" userId="0b06f245-0909-42d3-bad5-b3a07c8ffd21" providerId="ADAL" clId="{11BCE0D8-1F33-4057-A775-07C3F688388F}" dt="2021-05-24T15:38:42.712" v="10366"/>
          <ac:spMkLst>
            <pc:docMk/>
            <pc:sldMk cId="119867206" sldId="10442"/>
            <ac:spMk id="119" creationId="{F8888EB8-17FD-44D7-B93A-96E78E25CB5F}"/>
          </ac:spMkLst>
        </pc:spChg>
        <pc:spChg chg="add del mod modVis">
          <ac:chgData name="Joseph KEMOUN" userId="0b06f245-0909-42d3-bad5-b3a07c8ffd21" providerId="ADAL" clId="{11BCE0D8-1F33-4057-A775-07C3F688388F}" dt="2021-05-24T15:38:43.888" v="10414"/>
          <ac:spMkLst>
            <pc:docMk/>
            <pc:sldMk cId="119867206" sldId="10442"/>
            <ac:spMk id="120" creationId="{125A17B6-0FF4-446D-912E-1C8CEDE84DA7}"/>
          </ac:spMkLst>
        </pc:spChg>
        <pc:spChg chg="add del mod modVis">
          <ac:chgData name="Joseph KEMOUN" userId="0b06f245-0909-42d3-bad5-b3a07c8ffd21" providerId="ADAL" clId="{11BCE0D8-1F33-4057-A775-07C3F688388F}" dt="2021-05-24T15:38:47.685" v="10459"/>
          <ac:spMkLst>
            <pc:docMk/>
            <pc:sldMk cId="119867206" sldId="10442"/>
            <ac:spMk id="121" creationId="{403A167B-DFD3-462C-BA95-4C366961D0EA}"/>
          </ac:spMkLst>
        </pc:spChg>
        <pc:spChg chg="add del mod modVis">
          <ac:chgData name="Joseph KEMOUN" userId="0b06f245-0909-42d3-bad5-b3a07c8ffd21" providerId="ADAL" clId="{11BCE0D8-1F33-4057-A775-07C3F688388F}" dt="2021-05-24T15:38:49.451" v="10514"/>
          <ac:spMkLst>
            <pc:docMk/>
            <pc:sldMk cId="119867206" sldId="10442"/>
            <ac:spMk id="122" creationId="{F30297A6-4434-4CF4-B68A-ADEAEC8A79DB}"/>
          </ac:spMkLst>
        </pc:spChg>
        <pc:spChg chg="add del mod modVis">
          <ac:chgData name="Joseph KEMOUN" userId="0b06f245-0909-42d3-bad5-b3a07c8ffd21" providerId="ADAL" clId="{11BCE0D8-1F33-4057-A775-07C3F688388F}" dt="2021-05-24T15:38:51.047" v="10564"/>
          <ac:spMkLst>
            <pc:docMk/>
            <pc:sldMk cId="119867206" sldId="10442"/>
            <ac:spMk id="123" creationId="{A3F7535E-5DDE-4C23-A562-84A14B73E658}"/>
          </ac:spMkLst>
        </pc:spChg>
        <pc:spChg chg="add del mod modVis">
          <ac:chgData name="Joseph KEMOUN" userId="0b06f245-0909-42d3-bad5-b3a07c8ffd21" providerId="ADAL" clId="{11BCE0D8-1F33-4057-A775-07C3F688388F}" dt="2021-05-24T15:38:55.117" v="10634"/>
          <ac:spMkLst>
            <pc:docMk/>
            <pc:sldMk cId="119867206" sldId="10442"/>
            <ac:spMk id="124" creationId="{ACF0CAEC-74E5-4E16-AA56-056191B744D0}"/>
          </ac:spMkLst>
        </pc:spChg>
        <pc:spChg chg="add del mod modVis">
          <ac:chgData name="Joseph KEMOUN" userId="0b06f245-0909-42d3-bad5-b3a07c8ffd21" providerId="ADAL" clId="{11BCE0D8-1F33-4057-A775-07C3F688388F}" dt="2021-05-24T15:38:56.122" v="10680"/>
          <ac:spMkLst>
            <pc:docMk/>
            <pc:sldMk cId="119867206" sldId="10442"/>
            <ac:spMk id="125" creationId="{4F21E78B-31A9-41C3-B028-F7339F7046CD}"/>
          </ac:spMkLst>
        </pc:spChg>
        <pc:spChg chg="add del mod modVis">
          <ac:chgData name="Joseph KEMOUN" userId="0b06f245-0909-42d3-bad5-b3a07c8ffd21" providerId="ADAL" clId="{11BCE0D8-1F33-4057-A775-07C3F688388F}" dt="2021-05-24T15:39:02.255" v="10742"/>
          <ac:spMkLst>
            <pc:docMk/>
            <pc:sldMk cId="119867206" sldId="10442"/>
            <ac:spMk id="126" creationId="{B3FFBD33-D91B-4E76-AF5F-2B3535A6C9D9}"/>
          </ac:spMkLst>
        </pc:spChg>
        <pc:spChg chg="add del mod modVis">
          <ac:chgData name="Joseph KEMOUN" userId="0b06f245-0909-42d3-bad5-b3a07c8ffd21" providerId="ADAL" clId="{11BCE0D8-1F33-4057-A775-07C3F688388F}" dt="2021-05-24T15:39:03.079" v="10788"/>
          <ac:spMkLst>
            <pc:docMk/>
            <pc:sldMk cId="119867206" sldId="10442"/>
            <ac:spMk id="127" creationId="{09A5D685-D114-4589-A0F0-B0C2E083CD91}"/>
          </ac:spMkLst>
        </pc:spChg>
        <pc:spChg chg="add del mod modVis">
          <ac:chgData name="Joseph KEMOUN" userId="0b06f245-0909-42d3-bad5-b3a07c8ffd21" providerId="ADAL" clId="{11BCE0D8-1F33-4057-A775-07C3F688388F}" dt="2021-05-24T15:39:07.492" v="10856"/>
          <ac:spMkLst>
            <pc:docMk/>
            <pc:sldMk cId="119867206" sldId="10442"/>
            <ac:spMk id="128" creationId="{BE4867C7-7D17-4F6F-8815-9B55793C002D}"/>
          </ac:spMkLst>
        </pc:spChg>
        <pc:spChg chg="add mod">
          <ac:chgData name="Joseph KEMOUN" userId="0b06f245-0909-42d3-bad5-b3a07c8ffd21" providerId="ADAL" clId="{11BCE0D8-1F33-4057-A775-07C3F688388F}" dt="2021-05-24T16:02:53.255" v="11418" actId="1076"/>
          <ac:spMkLst>
            <pc:docMk/>
            <pc:sldMk cId="119867206" sldId="10442"/>
            <ac:spMk id="129" creationId="{823B65AE-6671-43D3-A32F-C41395D3CB4C}"/>
          </ac:spMkLst>
        </pc:spChg>
        <pc:spChg chg="add 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30" creationId="{7274C6BD-E1D3-4025-AEAC-93EF095573B3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31" creationId="{14CBDB50-6988-4E3A-9CE0-CD40AF3DC288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32" creationId="{B7B773EA-BFA4-41EC-A785-195ED7AB4DF4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33" creationId="{9663497B-C5C2-421F-B8CE-04A847F4B2AC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34" creationId="{34705AB8-3D5B-41E9-8D70-612B6FC354C0}"/>
          </ac:spMkLst>
        </pc:spChg>
        <pc:spChg chg="mod">
          <ac:chgData name="Joseph KEMOUN" userId="0b06f245-0909-42d3-bad5-b3a07c8ffd21" providerId="ADAL" clId="{11BCE0D8-1F33-4057-A775-07C3F688388F}" dt="2021-05-24T15:54:44.897" v="11111"/>
          <ac:spMkLst>
            <pc:docMk/>
            <pc:sldMk cId="119867206" sldId="10442"/>
            <ac:spMk id="136" creationId="{C59C73B9-9339-4168-9762-048F5D235376}"/>
          </ac:spMkLst>
        </pc:spChg>
        <pc:spChg chg="mod">
          <ac:chgData name="Joseph KEMOUN" userId="0b06f245-0909-42d3-bad5-b3a07c8ffd21" providerId="ADAL" clId="{11BCE0D8-1F33-4057-A775-07C3F688388F}" dt="2021-05-24T15:54:44.897" v="11111"/>
          <ac:spMkLst>
            <pc:docMk/>
            <pc:sldMk cId="119867206" sldId="10442"/>
            <ac:spMk id="137" creationId="{882074C6-E54F-495F-A8C9-F8AE9EF37895}"/>
          </ac:spMkLst>
        </pc:spChg>
        <pc:spChg chg="mod">
          <ac:chgData name="Joseph KEMOUN" userId="0b06f245-0909-42d3-bad5-b3a07c8ffd21" providerId="ADAL" clId="{11BCE0D8-1F33-4057-A775-07C3F688388F}" dt="2021-05-24T15:54:44.897" v="11115"/>
          <ac:spMkLst>
            <pc:docMk/>
            <pc:sldMk cId="119867206" sldId="10442"/>
            <ac:spMk id="139" creationId="{C2B74B0A-C366-4D53-9A0E-AB1E2B1990C5}"/>
          </ac:spMkLst>
        </pc:spChg>
        <pc:spChg chg="mod">
          <ac:chgData name="Joseph KEMOUN" userId="0b06f245-0909-42d3-bad5-b3a07c8ffd21" providerId="ADAL" clId="{11BCE0D8-1F33-4057-A775-07C3F688388F}" dt="2021-05-24T15:54:44.897" v="11115"/>
          <ac:spMkLst>
            <pc:docMk/>
            <pc:sldMk cId="119867206" sldId="10442"/>
            <ac:spMk id="140" creationId="{EF96773F-22E4-4171-B0FB-4AA42B381907}"/>
          </ac:spMkLst>
        </pc:spChg>
        <pc:spChg chg="mod">
          <ac:chgData name="Joseph KEMOUN" userId="0b06f245-0909-42d3-bad5-b3a07c8ffd21" providerId="ADAL" clId="{11BCE0D8-1F33-4057-A775-07C3F688388F}" dt="2021-05-24T15:54:44.897" v="11119"/>
          <ac:spMkLst>
            <pc:docMk/>
            <pc:sldMk cId="119867206" sldId="10442"/>
            <ac:spMk id="142" creationId="{C2FC5B93-CB3C-4FCA-9F2F-4EBFCD9D53A6}"/>
          </ac:spMkLst>
        </pc:spChg>
        <pc:spChg chg="mod">
          <ac:chgData name="Joseph KEMOUN" userId="0b06f245-0909-42d3-bad5-b3a07c8ffd21" providerId="ADAL" clId="{11BCE0D8-1F33-4057-A775-07C3F688388F}" dt="2021-05-24T15:54:44.897" v="11119"/>
          <ac:spMkLst>
            <pc:docMk/>
            <pc:sldMk cId="119867206" sldId="10442"/>
            <ac:spMk id="143" creationId="{CE0AE7B8-8C87-429C-817A-9DDE46DC37E1}"/>
          </ac:spMkLst>
        </pc:spChg>
        <pc:spChg chg="mod">
          <ac:chgData name="Joseph KEMOUN" userId="0b06f245-0909-42d3-bad5-b3a07c8ffd21" providerId="ADAL" clId="{11BCE0D8-1F33-4057-A775-07C3F688388F}" dt="2021-05-24T15:54:44.897" v="11123"/>
          <ac:spMkLst>
            <pc:docMk/>
            <pc:sldMk cId="119867206" sldId="10442"/>
            <ac:spMk id="145" creationId="{3051825F-2093-46A5-ADE6-FBCA61E8833C}"/>
          </ac:spMkLst>
        </pc:spChg>
        <pc:spChg chg="mod">
          <ac:chgData name="Joseph KEMOUN" userId="0b06f245-0909-42d3-bad5-b3a07c8ffd21" providerId="ADAL" clId="{11BCE0D8-1F33-4057-A775-07C3F688388F}" dt="2021-05-24T15:54:44.897" v="11123"/>
          <ac:spMkLst>
            <pc:docMk/>
            <pc:sldMk cId="119867206" sldId="10442"/>
            <ac:spMk id="146" creationId="{3C7F5C78-18A6-4476-9FB2-DB1A38B85D25}"/>
          </ac:spMkLst>
        </pc:spChg>
        <pc:spChg chg="mod">
          <ac:chgData name="Joseph KEMOUN" userId="0b06f245-0909-42d3-bad5-b3a07c8ffd21" providerId="ADAL" clId="{11BCE0D8-1F33-4057-A775-07C3F688388F}" dt="2021-05-24T15:54:44.897" v="11127"/>
          <ac:spMkLst>
            <pc:docMk/>
            <pc:sldMk cId="119867206" sldId="10442"/>
            <ac:spMk id="148" creationId="{AAA13998-C600-4FDF-96D3-8A4262B34058}"/>
          </ac:spMkLst>
        </pc:spChg>
        <pc:spChg chg="mod">
          <ac:chgData name="Joseph KEMOUN" userId="0b06f245-0909-42d3-bad5-b3a07c8ffd21" providerId="ADAL" clId="{11BCE0D8-1F33-4057-A775-07C3F688388F}" dt="2021-05-24T15:54:44.897" v="11127"/>
          <ac:spMkLst>
            <pc:docMk/>
            <pc:sldMk cId="119867206" sldId="10442"/>
            <ac:spMk id="149" creationId="{0F06E036-0F4B-470A-8AEB-5736013600D3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0" creationId="{BBD0593F-8ABD-4BB6-8BE6-593726B6CBC1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1" creationId="{01516C57-3F89-44A8-A8D8-F5018005F0FC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2" creationId="{6CB6C98C-4244-4A66-ABC6-C1E6CDB06FAA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3" creationId="{D64127FB-4E62-4E9C-8628-0A8CE035C9E1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4" creationId="{CC42F146-BA98-45F7-AF3A-D99F70591DC6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5" creationId="{E9BDF0EC-CAB7-4E6C-9994-F7CE63BAE3EB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6" creationId="{09C07A30-0718-4CA4-8CFA-13957009DFB8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7" creationId="{DE2053B6-3947-4A81-ADB1-3F74FFA9BACB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8" creationId="{68D6A32B-D17E-4BDE-9046-22728C8F98D7}"/>
          </ac:spMkLst>
        </pc:spChg>
        <pc:spChg chg="add del mod">
          <ac:chgData name="Joseph KEMOUN" userId="0b06f245-0909-42d3-bad5-b3a07c8ffd21" providerId="ADAL" clId="{11BCE0D8-1F33-4057-A775-07C3F688388F}" dt="2021-05-24T16:04:53.679" v="11864" actId="478"/>
          <ac:spMkLst>
            <pc:docMk/>
            <pc:sldMk cId="119867206" sldId="10442"/>
            <ac:spMk id="159" creationId="{20A3B1F2-9A0D-457C-AA69-AC0FE1C9900D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61" creationId="{29EB28E8-98D5-4FCF-9D4E-EA55A5E12A93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62" creationId="{8AD19139-0993-45F6-A9AC-77C1C2A30F7C}"/>
          </ac:spMkLst>
        </pc:spChg>
        <pc:spChg chg="mod">
          <ac:chgData name="Joseph KEMOUN" userId="0b06f245-0909-42d3-bad5-b3a07c8ffd21" providerId="ADAL" clId="{11BCE0D8-1F33-4057-A775-07C3F688388F}" dt="2021-05-24T15:54:44.966" v="11225"/>
          <ac:spMkLst>
            <pc:docMk/>
            <pc:sldMk cId="119867206" sldId="10442"/>
            <ac:spMk id="164" creationId="{72319E1B-81E3-400A-A1EB-92A8FB42C6B0}"/>
          </ac:spMkLst>
        </pc:spChg>
        <pc:spChg chg="mod">
          <ac:chgData name="Joseph KEMOUN" userId="0b06f245-0909-42d3-bad5-b3a07c8ffd21" providerId="ADAL" clId="{11BCE0D8-1F33-4057-A775-07C3F688388F}" dt="2021-05-24T15:54:44.966" v="11225"/>
          <ac:spMkLst>
            <pc:docMk/>
            <pc:sldMk cId="119867206" sldId="10442"/>
            <ac:spMk id="165" creationId="{9D92FBE9-B3F1-4B7D-8FD1-CF804A4FF53D}"/>
          </ac:spMkLst>
        </pc:spChg>
        <pc:spChg chg="mod">
          <ac:chgData name="Joseph KEMOUN" userId="0b06f245-0909-42d3-bad5-b3a07c8ffd21" providerId="ADAL" clId="{11BCE0D8-1F33-4057-A775-07C3F688388F}" dt="2021-05-24T15:54:44.966" v="11229"/>
          <ac:spMkLst>
            <pc:docMk/>
            <pc:sldMk cId="119867206" sldId="10442"/>
            <ac:spMk id="167" creationId="{AFD98305-E0AC-4B62-A7CB-1BA59CFDD597}"/>
          </ac:spMkLst>
        </pc:spChg>
        <pc:spChg chg="mod">
          <ac:chgData name="Joseph KEMOUN" userId="0b06f245-0909-42d3-bad5-b3a07c8ffd21" providerId="ADAL" clId="{11BCE0D8-1F33-4057-A775-07C3F688388F}" dt="2021-05-24T15:54:44.966" v="11229"/>
          <ac:spMkLst>
            <pc:docMk/>
            <pc:sldMk cId="119867206" sldId="10442"/>
            <ac:spMk id="168" creationId="{CEED5B37-3B7A-4C60-B816-6BB82B46D873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70" creationId="{56612989-C493-4456-9CAF-22F83A14ACE6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71" creationId="{C9AD2C3B-068F-4481-8BBE-748D1C8F5ABD}"/>
          </ac:spMkLst>
        </pc:spChg>
        <pc:spChg chg="add del mod">
          <ac:chgData name="Joseph KEMOUN" userId="0b06f245-0909-42d3-bad5-b3a07c8ffd21" providerId="ADAL" clId="{11BCE0D8-1F33-4057-A775-07C3F688388F}" dt="2021-05-24T16:04:10.876" v="11618" actId="478"/>
          <ac:spMkLst>
            <pc:docMk/>
            <pc:sldMk cId="119867206" sldId="10442"/>
            <ac:spMk id="172" creationId="{BF08B35E-6CB8-4CD0-9DDB-35F3E15113A2}"/>
          </ac:spMkLst>
        </pc:spChg>
        <pc:spChg chg="add del mod">
          <ac:chgData name="Joseph KEMOUN" userId="0b06f245-0909-42d3-bad5-b3a07c8ffd21" providerId="ADAL" clId="{11BCE0D8-1F33-4057-A775-07C3F688388F}" dt="2021-05-24T16:04:10.876" v="11618" actId="478"/>
          <ac:spMkLst>
            <pc:docMk/>
            <pc:sldMk cId="119867206" sldId="10442"/>
            <ac:spMk id="173" creationId="{1EB575E1-40C6-40C2-8504-A6962A952348}"/>
          </ac:spMkLst>
        </pc:spChg>
        <pc:spChg chg="add del mod">
          <ac:chgData name="Joseph KEMOUN" userId="0b06f245-0909-42d3-bad5-b3a07c8ffd21" providerId="ADAL" clId="{11BCE0D8-1F33-4057-A775-07C3F688388F}" dt="2021-05-24T16:04:50.462" v="11863" actId="478"/>
          <ac:spMkLst>
            <pc:docMk/>
            <pc:sldMk cId="119867206" sldId="10442"/>
            <ac:spMk id="174" creationId="{7C00C9F3-80AD-47B2-A1F4-D96C95ABBD98}"/>
          </ac:spMkLst>
        </pc:spChg>
        <pc:spChg chg="add mod">
          <ac:chgData name="Joseph KEMOUN" userId="0b06f245-0909-42d3-bad5-b3a07c8ffd21" providerId="ADAL" clId="{11BCE0D8-1F33-4057-A775-07C3F688388F}" dt="2021-05-24T16:07:46.557" v="12259"/>
          <ac:spMkLst>
            <pc:docMk/>
            <pc:sldMk cId="119867206" sldId="10442"/>
            <ac:spMk id="175" creationId="{5C2DEDAC-44EB-4334-9FDA-E49190484943}"/>
          </ac:spMkLst>
        </pc:spChg>
        <pc:spChg chg="add mod">
          <ac:chgData name="Joseph KEMOUN" userId="0b06f245-0909-42d3-bad5-b3a07c8ffd21" providerId="ADAL" clId="{11BCE0D8-1F33-4057-A775-07C3F688388F}" dt="2021-05-24T16:07:46.557" v="12273"/>
          <ac:spMkLst>
            <pc:docMk/>
            <pc:sldMk cId="119867206" sldId="10442"/>
            <ac:spMk id="176" creationId="{91408530-0C52-4970-8D86-5CE1F7C05DE8}"/>
          </ac:spMkLst>
        </pc:spChg>
        <pc:spChg chg="add mod">
          <ac:chgData name="Joseph KEMOUN" userId="0b06f245-0909-42d3-bad5-b3a07c8ffd21" providerId="ADAL" clId="{11BCE0D8-1F33-4057-A775-07C3F688388F}" dt="2021-05-24T16:07:46.557" v="12277"/>
          <ac:spMkLst>
            <pc:docMk/>
            <pc:sldMk cId="119867206" sldId="10442"/>
            <ac:spMk id="177" creationId="{4C7285FD-5877-4C09-A20C-3127954D24A7}"/>
          </ac:spMkLst>
        </pc:spChg>
        <pc:spChg chg="add mod">
          <ac:chgData name="Joseph KEMOUN" userId="0b06f245-0909-42d3-bad5-b3a07c8ffd21" providerId="ADAL" clId="{11BCE0D8-1F33-4057-A775-07C3F688388F}" dt="2021-05-24T16:07:46.573" v="12291"/>
          <ac:spMkLst>
            <pc:docMk/>
            <pc:sldMk cId="119867206" sldId="10442"/>
            <ac:spMk id="178" creationId="{D64EFAA4-6D69-4699-8A02-F0DB7533D687}"/>
          </ac:spMkLst>
        </pc:spChg>
        <pc:spChg chg="add del mod">
          <ac:chgData name="Joseph KEMOUN" userId="0b06f245-0909-42d3-bad5-b3a07c8ffd21" providerId="ADAL" clId="{11BCE0D8-1F33-4057-A775-07C3F688388F}" dt="2021-05-24T16:03:13.189" v="11428" actId="478"/>
          <ac:spMkLst>
            <pc:docMk/>
            <pc:sldMk cId="119867206" sldId="10442"/>
            <ac:spMk id="179" creationId="{2292CA68-3B47-4658-85AD-284EFB91681F}"/>
          </ac:spMkLst>
        </pc:spChg>
        <pc:spChg chg="add del mod">
          <ac:chgData name="Joseph KEMOUN" userId="0b06f245-0909-42d3-bad5-b3a07c8ffd21" providerId="ADAL" clId="{11BCE0D8-1F33-4057-A775-07C3F688388F}" dt="2021-05-24T16:03:11.885" v="11427" actId="478"/>
          <ac:spMkLst>
            <pc:docMk/>
            <pc:sldMk cId="119867206" sldId="10442"/>
            <ac:spMk id="180" creationId="{47165243-FE53-429A-B8F1-201B661D936E}"/>
          </ac:spMkLst>
        </pc:spChg>
        <pc:spChg chg="add mod">
          <ac:chgData name="Joseph KEMOUN" userId="0b06f245-0909-42d3-bad5-b3a07c8ffd21" providerId="ADAL" clId="{11BCE0D8-1F33-4057-A775-07C3F688388F}" dt="2021-05-24T16:07:46.573" v="12295"/>
          <ac:spMkLst>
            <pc:docMk/>
            <pc:sldMk cId="119867206" sldId="10442"/>
            <ac:spMk id="181" creationId="{5A48DF51-841E-4C28-8685-6DEC806A15D8}"/>
          </ac:spMkLst>
        </pc:spChg>
        <pc:spChg chg="add mod">
          <ac:chgData name="Joseph KEMOUN" userId="0b06f245-0909-42d3-bad5-b3a07c8ffd21" providerId="ADAL" clId="{11BCE0D8-1F33-4057-A775-07C3F688388F}" dt="2021-05-24T16:07:46.573" v="12309"/>
          <ac:spMkLst>
            <pc:docMk/>
            <pc:sldMk cId="119867206" sldId="10442"/>
            <ac:spMk id="182" creationId="{76599DB5-B50D-4D47-A7C5-E17568B9C49D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84" creationId="{02E499E2-EAA0-4605-B4FB-B5E97F9E2C40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85" creationId="{E1C3D24D-9C96-4F3F-96C2-BCD9DA042444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87" creationId="{C8CD0202-A689-4E07-8CC8-E1C2D2B22973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88" creationId="{678EA5DA-B9F5-45E1-A297-6280BA265D69}"/>
          </ac:spMkLst>
        </pc:spChg>
        <pc:spChg chg="mod">
          <ac:chgData name="Joseph KEMOUN" userId="0b06f245-0909-42d3-bad5-b3a07c8ffd21" providerId="ADAL" clId="{11BCE0D8-1F33-4057-A775-07C3F688388F}" dt="2021-05-24T15:54:45.020" v="11355"/>
          <ac:spMkLst>
            <pc:docMk/>
            <pc:sldMk cId="119867206" sldId="10442"/>
            <ac:spMk id="190" creationId="{A6E4C210-4AFA-4714-A04F-FAF6514A007A}"/>
          </ac:spMkLst>
        </pc:spChg>
        <pc:spChg chg="mod">
          <ac:chgData name="Joseph KEMOUN" userId="0b06f245-0909-42d3-bad5-b3a07c8ffd21" providerId="ADAL" clId="{11BCE0D8-1F33-4057-A775-07C3F688388F}" dt="2021-05-24T15:54:45.020" v="11355"/>
          <ac:spMkLst>
            <pc:docMk/>
            <pc:sldMk cId="119867206" sldId="10442"/>
            <ac:spMk id="191" creationId="{63F56CB3-CDCC-4AE7-A4D1-C5CC206EC1AC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93" creationId="{5DAE789B-584B-41D6-8669-545DF7EAC64C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94" creationId="{87A93274-1310-4AC8-8B6B-E6AC94721C33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96" creationId="{80AFF933-E54C-4835-BE42-E0B008B7C3CC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197" creationId="{8C2A2686-385D-404B-BB95-B7AE88084EB5}"/>
          </ac:spMkLst>
        </pc:spChg>
        <pc:spChg chg="add del mod modVis">
          <ac:chgData name="Joseph KEMOUN" userId="0b06f245-0909-42d3-bad5-b3a07c8ffd21" providerId="ADAL" clId="{11BCE0D8-1F33-4057-A775-07C3F688388F}" dt="2021-05-24T15:54:33.993" v="11052"/>
          <ac:spMkLst>
            <pc:docMk/>
            <pc:sldMk cId="119867206" sldId="10442"/>
            <ac:spMk id="198" creationId="{AA586BC9-D798-4B10-BD93-CF9F2822662D}"/>
          </ac:spMkLst>
        </pc:spChg>
        <pc:spChg chg="add del mod">
          <ac:chgData name="Joseph KEMOUN" userId="0b06f245-0909-42d3-bad5-b3a07c8ffd21" providerId="ADAL" clId="{11BCE0D8-1F33-4057-A775-07C3F688388F}" dt="2021-05-24T16:08:05.644" v="12406" actId="478"/>
          <ac:spMkLst>
            <pc:docMk/>
            <pc:sldMk cId="119867206" sldId="10442"/>
            <ac:spMk id="199" creationId="{F292260B-78D3-4A8F-89F3-B47D4E4C9A15}"/>
          </ac:spMkLst>
        </pc:spChg>
        <pc:spChg chg="add del mod modVis">
          <ac:chgData name="Joseph KEMOUN" userId="0b06f245-0909-42d3-bad5-b3a07c8ffd21" providerId="ADAL" clId="{11BCE0D8-1F33-4057-A775-07C3F688388F}" dt="2021-05-24T16:03:14.853" v="11469"/>
          <ac:spMkLst>
            <pc:docMk/>
            <pc:sldMk cId="119867206" sldId="10442"/>
            <ac:spMk id="200" creationId="{747856BC-926C-402D-8473-DC289B956692}"/>
          </ac:spMkLst>
        </pc:spChg>
        <pc:spChg chg="add del mod modVis">
          <ac:chgData name="Joseph KEMOUN" userId="0b06f245-0909-42d3-bad5-b3a07c8ffd21" providerId="ADAL" clId="{11BCE0D8-1F33-4057-A775-07C3F688388F}" dt="2021-05-24T16:03:46.131" v="11596"/>
          <ac:spMkLst>
            <pc:docMk/>
            <pc:sldMk cId="119867206" sldId="10442"/>
            <ac:spMk id="201" creationId="{AC901EEE-48D0-4B42-B2EB-8BCFB1805593}"/>
          </ac:spMkLst>
        </pc:spChg>
        <pc:spChg chg="add del mod modVis">
          <ac:chgData name="Joseph KEMOUN" userId="0b06f245-0909-42d3-bad5-b3a07c8ffd21" providerId="ADAL" clId="{11BCE0D8-1F33-4057-A775-07C3F688388F}" dt="2021-05-24T16:04:22.108" v="11776"/>
          <ac:spMkLst>
            <pc:docMk/>
            <pc:sldMk cId="119867206" sldId="10442"/>
            <ac:spMk id="202" creationId="{7AEDB99C-DE6E-44A0-96B3-4866C7E1A7D2}"/>
          </ac:spMkLst>
        </pc:spChg>
        <pc:spChg chg="add mod">
          <ac:chgData name="Joseph KEMOUN" userId="0b06f245-0909-42d3-bad5-b3a07c8ffd21" providerId="ADAL" clId="{11BCE0D8-1F33-4057-A775-07C3F688388F}" dt="2021-05-24T16:07:46.573" v="12313"/>
          <ac:spMkLst>
            <pc:docMk/>
            <pc:sldMk cId="119867206" sldId="10442"/>
            <ac:spMk id="203" creationId="{188A6C56-2174-4152-976A-6D8A2575B158}"/>
          </ac:spMkLst>
        </pc:spChg>
        <pc:spChg chg="add mod">
          <ac:chgData name="Joseph KEMOUN" userId="0b06f245-0909-42d3-bad5-b3a07c8ffd21" providerId="ADAL" clId="{11BCE0D8-1F33-4057-A775-07C3F688388F}" dt="2021-05-24T16:07:46.589" v="12327"/>
          <ac:spMkLst>
            <pc:docMk/>
            <pc:sldMk cId="119867206" sldId="10442"/>
            <ac:spMk id="204" creationId="{DD0C0FD2-5C64-4550-AD6C-2FE2255D828D}"/>
          </ac:spMkLst>
        </pc:spChg>
        <pc:spChg chg="add del mod modVis">
          <ac:chgData name="Joseph KEMOUN" userId="0b06f245-0909-42d3-bad5-b3a07c8ffd21" providerId="ADAL" clId="{11BCE0D8-1F33-4057-A775-07C3F688388F}" dt="2021-05-24T16:04:25.821" v="11842"/>
          <ac:spMkLst>
            <pc:docMk/>
            <pc:sldMk cId="119867206" sldId="10442"/>
            <ac:spMk id="205" creationId="{BA975537-95DF-42EA-9DD2-1C6D8E9AD6A9}"/>
          </ac:spMkLst>
        </pc:spChg>
        <pc:spChg chg="add mod">
          <ac:chgData name="Joseph KEMOUN" userId="0b06f245-0909-42d3-bad5-b3a07c8ffd21" providerId="ADAL" clId="{11BCE0D8-1F33-4057-A775-07C3F688388F}" dt="2021-05-24T16:07:46.590" v="12331"/>
          <ac:spMkLst>
            <pc:docMk/>
            <pc:sldMk cId="119867206" sldId="10442"/>
            <ac:spMk id="206" creationId="{E74E2BC6-B95F-4767-B3ED-44D142CD7092}"/>
          </ac:spMkLst>
        </pc:spChg>
        <pc:spChg chg="add del mod">
          <ac:chgData name="Joseph KEMOUN" userId="0b06f245-0909-42d3-bad5-b3a07c8ffd21" providerId="ADAL" clId="{11BCE0D8-1F33-4057-A775-07C3F688388F}" dt="2021-05-24T16:05:11.339" v="11935"/>
          <ac:spMkLst>
            <pc:docMk/>
            <pc:sldMk cId="119867206" sldId="10442"/>
            <ac:spMk id="207" creationId="{9F624993-F596-407F-B7FD-4D3D721D811B}"/>
          </ac:spMkLst>
        </pc:spChg>
        <pc:spChg chg="add del mod modVis">
          <ac:chgData name="Joseph KEMOUN" userId="0b06f245-0909-42d3-bad5-b3a07c8ffd21" providerId="ADAL" clId="{11BCE0D8-1F33-4057-A775-07C3F688388F}" dt="2021-05-24T16:05:03.346" v="11928"/>
          <ac:spMkLst>
            <pc:docMk/>
            <pc:sldMk cId="119867206" sldId="10442"/>
            <ac:spMk id="208" creationId="{2E620622-1A1C-4118-A58E-B55C594DA6A0}"/>
          </ac:spMkLst>
        </pc:spChg>
        <pc:spChg chg="add mod">
          <ac:chgData name="Joseph KEMOUN" userId="0b06f245-0909-42d3-bad5-b3a07c8ffd21" providerId="ADAL" clId="{11BCE0D8-1F33-4057-A775-07C3F688388F}" dt="2021-05-24T16:07:46.590" v="12335"/>
          <ac:spMkLst>
            <pc:docMk/>
            <pc:sldMk cId="119867206" sldId="10442"/>
            <ac:spMk id="209" creationId="{F4CE7B0C-5294-4930-B5A4-B333C27010D3}"/>
          </ac:spMkLst>
        </pc:spChg>
        <pc:spChg chg="add mod">
          <ac:chgData name="Joseph KEMOUN" userId="0b06f245-0909-42d3-bad5-b3a07c8ffd21" providerId="ADAL" clId="{11BCE0D8-1F33-4057-A775-07C3F688388F}" dt="2021-05-24T16:07:46.590" v="12349"/>
          <ac:spMkLst>
            <pc:docMk/>
            <pc:sldMk cId="119867206" sldId="10442"/>
            <ac:spMk id="210" creationId="{9DAE5F46-A6B4-4B74-8576-ABA442D6A216}"/>
          </ac:spMkLst>
        </pc:spChg>
        <pc:spChg chg="add del mod modVis">
          <ac:chgData name="Joseph KEMOUN" userId="0b06f245-0909-42d3-bad5-b3a07c8ffd21" providerId="ADAL" clId="{11BCE0D8-1F33-4057-A775-07C3F688388F}" dt="2021-05-24T16:06:30.836" v="12089"/>
          <ac:spMkLst>
            <pc:docMk/>
            <pc:sldMk cId="119867206" sldId="10442"/>
            <ac:spMk id="211" creationId="{9A129819-B949-4BDE-AFFF-E9BC79828705}"/>
          </ac:spMkLst>
        </pc:spChg>
        <pc:spChg chg="add mod">
          <ac:chgData name="Joseph KEMOUN" userId="0b06f245-0909-42d3-bad5-b3a07c8ffd21" providerId="ADAL" clId="{11BCE0D8-1F33-4057-A775-07C3F688388F}" dt="2021-05-24T16:07:46.590" v="12353"/>
          <ac:spMkLst>
            <pc:docMk/>
            <pc:sldMk cId="119867206" sldId="10442"/>
            <ac:spMk id="212" creationId="{FACEDCAC-5D6C-4607-8510-1FE1033318FA}"/>
          </ac:spMkLst>
        </pc:spChg>
        <pc:spChg chg="add mod">
          <ac:chgData name="Joseph KEMOUN" userId="0b06f245-0909-42d3-bad5-b3a07c8ffd21" providerId="ADAL" clId="{11BCE0D8-1F33-4057-A775-07C3F688388F}" dt="2021-05-24T16:07:46.590" v="12367"/>
          <ac:spMkLst>
            <pc:docMk/>
            <pc:sldMk cId="119867206" sldId="10442"/>
            <ac:spMk id="213" creationId="{7C91C66F-61E5-43C3-8903-04464463B492}"/>
          </ac:spMkLst>
        </pc:spChg>
        <pc:spChg chg="add del mod modVis">
          <ac:chgData name="Joseph KEMOUN" userId="0b06f245-0909-42d3-bad5-b3a07c8ffd21" providerId="ADAL" clId="{11BCE0D8-1F33-4057-A775-07C3F688388F}" dt="2021-05-24T16:06:57.656" v="12156"/>
          <ac:spMkLst>
            <pc:docMk/>
            <pc:sldMk cId="119867206" sldId="10442"/>
            <ac:spMk id="214" creationId="{1674801D-C535-4F76-8F83-88E3815CFD72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216" creationId="{21A5F5BF-50E4-41CF-8C00-27F153E8D1C3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217" creationId="{FD4B33BA-D302-4C6C-91D6-25186639288E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219" creationId="{E248C9AA-E1BF-4BA8-8B48-680C8A779456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220" creationId="{222918EA-D4D3-49DF-89A5-76BCA51EF737}"/>
          </ac:spMkLst>
        </pc:spChg>
        <pc:spChg chg="add mod">
          <ac:chgData name="Joseph KEMOUN" userId="0b06f245-0909-42d3-bad5-b3a07c8ffd21" providerId="ADAL" clId="{11BCE0D8-1F33-4057-A775-07C3F688388F}" dt="2021-05-24T16:07:46.607" v="12371"/>
          <ac:spMkLst>
            <pc:docMk/>
            <pc:sldMk cId="119867206" sldId="10442"/>
            <ac:spMk id="221" creationId="{8379F084-8F95-415E-B6D7-CFB4E7A3FBC3}"/>
          </ac:spMkLst>
        </pc:spChg>
        <pc:spChg chg="add mod">
          <ac:chgData name="Joseph KEMOUN" userId="0b06f245-0909-42d3-bad5-b3a07c8ffd21" providerId="ADAL" clId="{11BCE0D8-1F33-4057-A775-07C3F688388F}" dt="2021-05-24T16:07:46.607" v="12385"/>
          <ac:spMkLst>
            <pc:docMk/>
            <pc:sldMk cId="119867206" sldId="10442"/>
            <ac:spMk id="222" creationId="{157E94B0-0409-44CE-B65C-7866FFC77D20}"/>
          </ac:spMkLst>
        </pc:spChg>
        <pc:spChg chg="add mod">
          <ac:chgData name="Joseph KEMOUN" userId="0b06f245-0909-42d3-bad5-b3a07c8ffd21" providerId="ADAL" clId="{11BCE0D8-1F33-4057-A775-07C3F688388F}" dt="2021-05-24T16:07:46.607" v="12389"/>
          <ac:spMkLst>
            <pc:docMk/>
            <pc:sldMk cId="119867206" sldId="10442"/>
            <ac:spMk id="223" creationId="{59ED9AFD-7240-46F5-B8E5-2E05AA930F79}"/>
          </ac:spMkLst>
        </pc:spChg>
        <pc:spChg chg="add mod">
          <ac:chgData name="Joseph KEMOUN" userId="0b06f245-0909-42d3-bad5-b3a07c8ffd21" providerId="ADAL" clId="{11BCE0D8-1F33-4057-A775-07C3F688388F}" dt="2021-05-24T16:07:46.607" v="12403"/>
          <ac:spMkLst>
            <pc:docMk/>
            <pc:sldMk cId="119867206" sldId="10442"/>
            <ac:spMk id="224" creationId="{0F99E4E2-C619-4FF5-88D4-C03F403E16A2}"/>
          </ac:spMkLst>
        </pc:spChg>
        <pc:spChg chg="add del mod modVis">
          <ac:chgData name="Joseph KEMOUN" userId="0b06f245-0909-42d3-bad5-b3a07c8ffd21" providerId="ADAL" clId="{11BCE0D8-1F33-4057-A775-07C3F688388F}" dt="2021-05-24T16:07:26.125" v="12250"/>
          <ac:spMkLst>
            <pc:docMk/>
            <pc:sldMk cId="119867206" sldId="10442"/>
            <ac:spMk id="225" creationId="{39ADAD7C-8D63-43D0-AD8A-09FF51DE8451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227" creationId="{80973DEC-340C-42B5-9D55-92BAF27F00C6}"/>
          </ac:spMkLst>
        </pc:spChg>
        <pc:spChg chg="mod">
          <ac:chgData name="Joseph KEMOUN" userId="0b06f245-0909-42d3-bad5-b3a07c8ffd21" providerId="ADAL" clId="{11BCE0D8-1F33-4057-A775-07C3F688388F}" dt="2021-05-24T16:07:41.717" v="12254" actId="12788"/>
          <ac:spMkLst>
            <pc:docMk/>
            <pc:sldMk cId="119867206" sldId="10442"/>
            <ac:spMk id="228" creationId="{2846DEE4-C287-4999-9DD7-E6A46F8BBD05}"/>
          </ac:spMkLst>
        </pc:spChg>
        <pc:spChg chg="mod">
          <ac:chgData name="Joseph KEMOUN" userId="0b06f245-0909-42d3-bad5-b3a07c8ffd21" providerId="ADAL" clId="{11BCE0D8-1F33-4057-A775-07C3F688388F}" dt="2021-05-24T16:10:50.466" v="12515" actId="12789"/>
          <ac:spMkLst>
            <pc:docMk/>
            <pc:sldMk cId="119867206" sldId="10442"/>
            <ac:spMk id="230" creationId="{E9F7EFEF-38E6-4F00-BED1-C59AFFE8CA9E}"/>
          </ac:spMkLst>
        </pc:spChg>
        <pc:spChg chg="mod">
          <ac:chgData name="Joseph KEMOUN" userId="0b06f245-0909-42d3-bad5-b3a07c8ffd21" providerId="ADAL" clId="{11BCE0D8-1F33-4057-A775-07C3F688388F}" dt="2021-05-24T16:10:50.466" v="12515" actId="12789"/>
          <ac:spMkLst>
            <pc:docMk/>
            <pc:sldMk cId="119867206" sldId="10442"/>
            <ac:spMk id="231" creationId="{C849F236-CB44-409F-A2D1-952EEAAFC07B}"/>
          </ac:spMkLst>
        </pc:spChg>
        <pc:spChg chg="mod">
          <ac:chgData name="Joseph KEMOUN" userId="0b06f245-0909-42d3-bad5-b3a07c8ffd21" providerId="ADAL" clId="{11BCE0D8-1F33-4057-A775-07C3F688388F}" dt="2021-05-24T16:11:05.629" v="12540" actId="1076"/>
          <ac:spMkLst>
            <pc:docMk/>
            <pc:sldMk cId="119867206" sldId="10442"/>
            <ac:spMk id="233" creationId="{86778EE4-7187-4A4F-9F77-FFE20E6A70C3}"/>
          </ac:spMkLst>
        </pc:spChg>
        <pc:spChg chg="mod">
          <ac:chgData name="Joseph KEMOUN" userId="0b06f245-0909-42d3-bad5-b3a07c8ffd21" providerId="ADAL" clId="{11BCE0D8-1F33-4057-A775-07C3F688388F}" dt="2021-05-24T16:11:05.629" v="12540" actId="1076"/>
          <ac:spMkLst>
            <pc:docMk/>
            <pc:sldMk cId="119867206" sldId="10442"/>
            <ac:spMk id="234" creationId="{18C708B9-3F5B-4CE9-A2DF-F6E5DBEDC6DD}"/>
          </ac:spMkLst>
        </pc:spChg>
        <pc:spChg chg="mod">
          <ac:chgData name="Joseph KEMOUN" userId="0b06f245-0909-42d3-bad5-b3a07c8ffd21" providerId="ADAL" clId="{11BCE0D8-1F33-4057-A775-07C3F688388F}" dt="2021-05-24T16:11:09.803" v="12541" actId="1076"/>
          <ac:spMkLst>
            <pc:docMk/>
            <pc:sldMk cId="119867206" sldId="10442"/>
            <ac:spMk id="236" creationId="{130744BE-558F-498B-9031-FADC0AADE2F3}"/>
          </ac:spMkLst>
        </pc:spChg>
        <pc:spChg chg="mod">
          <ac:chgData name="Joseph KEMOUN" userId="0b06f245-0909-42d3-bad5-b3a07c8ffd21" providerId="ADAL" clId="{11BCE0D8-1F33-4057-A775-07C3F688388F}" dt="2021-05-24T16:11:09.803" v="12541" actId="1076"/>
          <ac:spMkLst>
            <pc:docMk/>
            <pc:sldMk cId="119867206" sldId="10442"/>
            <ac:spMk id="237" creationId="{718D158B-BFBE-4899-9943-3B01137E71E7}"/>
          </ac:spMkLst>
        </pc:spChg>
        <pc:spChg chg="add mod">
          <ac:chgData name="Joseph KEMOUN" userId="0b06f245-0909-42d3-bad5-b3a07c8ffd21" providerId="ADAL" clId="{11BCE0D8-1F33-4057-A775-07C3F688388F}" dt="2021-05-24T16:11:05.629" v="12540" actId="1076"/>
          <ac:spMkLst>
            <pc:docMk/>
            <pc:sldMk cId="119867206" sldId="10442"/>
            <ac:spMk id="238" creationId="{976BB76C-7D05-41FD-8AE5-B595546207B4}"/>
          </ac:spMkLst>
        </pc:spChg>
        <pc:spChg chg="add mod">
          <ac:chgData name="Joseph KEMOUN" userId="0b06f245-0909-42d3-bad5-b3a07c8ffd21" providerId="ADAL" clId="{11BCE0D8-1F33-4057-A775-07C3F688388F}" dt="2021-05-24T16:11:00.198" v="12539" actId="1038"/>
          <ac:spMkLst>
            <pc:docMk/>
            <pc:sldMk cId="119867206" sldId="10442"/>
            <ac:spMk id="239" creationId="{3BF5477F-7E89-4507-B592-C57D6A65E6E7}"/>
          </ac:spMkLst>
        </pc:spChg>
        <pc:spChg chg="add mod">
          <ac:chgData name="Joseph KEMOUN" userId="0b06f245-0909-42d3-bad5-b3a07c8ffd21" providerId="ADAL" clId="{11BCE0D8-1F33-4057-A775-07C3F688388F}" dt="2021-05-24T16:11:09.803" v="12541" actId="1076"/>
          <ac:spMkLst>
            <pc:docMk/>
            <pc:sldMk cId="119867206" sldId="10442"/>
            <ac:spMk id="240" creationId="{E26E8541-5CB2-40C9-A7FD-2B9BAF28C0AA}"/>
          </ac:spMkLst>
        </pc:s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7" creationId="{57E25A09-7FD6-455F-A6B9-292D9DBC23CD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8" creationId="{9F0935A2-856F-48B6-A0F1-F9FE5EBFD64D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9" creationId="{53A4B6EF-B09F-4B23-A852-AE7EAA4606D6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10" creationId="{C8BAF9AD-4CD6-4EAE-8267-0C3951405FE9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11" creationId="{47E9149B-7DD5-4390-A82D-2F15FB6C2C0D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12" creationId="{257FA100-7665-4E14-873F-2A56C17365F6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13" creationId="{21451B55-77AA-45DF-A6BF-263EB4BF11A2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14" creationId="{57646BD2-FA2D-40FA-BBA8-16B9939F4035}"/>
          </ac:grpSpMkLst>
        </pc:grpChg>
        <pc:grpChg chg="add del mod">
          <ac:chgData name="Joseph KEMOUN" userId="0b06f245-0909-42d3-bad5-b3a07c8ffd21" providerId="ADAL" clId="{11BCE0D8-1F33-4057-A775-07C3F688388F}" dt="2021-05-24T15:02:51.810" v="8367" actId="165"/>
          <ac:grpSpMkLst>
            <pc:docMk/>
            <pc:sldMk cId="119867206" sldId="10442"/>
            <ac:grpSpMk id="17" creationId="{FB1C3FAC-D648-48F7-9815-92CB8EA53938}"/>
          </ac:grpSpMkLst>
        </pc:grpChg>
        <pc:grpChg chg="add del mod">
          <ac:chgData name="Joseph KEMOUN" userId="0b06f245-0909-42d3-bad5-b3a07c8ffd21" providerId="ADAL" clId="{11BCE0D8-1F33-4057-A775-07C3F688388F}" dt="2021-05-24T15:54:30.981" v="11010" actId="478"/>
          <ac:grpSpMkLst>
            <pc:docMk/>
            <pc:sldMk cId="119867206" sldId="10442"/>
            <ac:grpSpMk id="85" creationId="{4570395F-AA50-43C6-B76C-061C4D65998E}"/>
          </ac:grpSpMkLst>
        </pc:grpChg>
        <pc:grpChg chg="add del mod">
          <ac:chgData name="Joseph KEMOUN" userId="0b06f245-0909-42d3-bad5-b3a07c8ffd21" providerId="ADAL" clId="{11BCE0D8-1F33-4057-A775-07C3F688388F}" dt="2021-05-24T15:54:30.981" v="11010" actId="478"/>
          <ac:grpSpMkLst>
            <pc:docMk/>
            <pc:sldMk cId="119867206" sldId="10442"/>
            <ac:grpSpMk id="92" creationId="{90F0A3B6-7976-43FC-B126-EB706FADCE01}"/>
          </ac:grpSpMkLst>
        </pc:grpChg>
        <pc:grpChg chg="add del mod">
          <ac:chgData name="Joseph KEMOUN" userId="0b06f245-0909-42d3-bad5-b3a07c8ffd21" providerId="ADAL" clId="{11BCE0D8-1F33-4057-A775-07C3F688388F}" dt="2021-05-24T15:54:30.981" v="11010" actId="478"/>
          <ac:grpSpMkLst>
            <pc:docMk/>
            <pc:sldMk cId="119867206" sldId="10442"/>
            <ac:grpSpMk id="95" creationId="{A5C278CB-5EBB-42DD-8FB8-88B159AD7125}"/>
          </ac:grpSpMkLst>
        </pc:grpChg>
        <pc:grpChg chg="add del mod">
          <ac:chgData name="Joseph KEMOUN" userId="0b06f245-0909-42d3-bad5-b3a07c8ffd21" providerId="ADAL" clId="{11BCE0D8-1F33-4057-A775-07C3F688388F}" dt="2021-05-24T16:04:53.679" v="11864" actId="478"/>
          <ac:grpSpMkLst>
            <pc:docMk/>
            <pc:sldMk cId="119867206" sldId="10442"/>
            <ac:grpSpMk id="135" creationId="{EFC563A7-785B-4B8F-A6E9-52771924CBFC}"/>
          </ac:grpSpMkLst>
        </pc:grpChg>
        <pc:grpChg chg="add del mod">
          <ac:chgData name="Joseph KEMOUN" userId="0b06f245-0909-42d3-bad5-b3a07c8ffd21" providerId="ADAL" clId="{11BCE0D8-1F33-4057-A775-07C3F688388F}" dt="2021-05-24T16:04:53.679" v="11864" actId="478"/>
          <ac:grpSpMkLst>
            <pc:docMk/>
            <pc:sldMk cId="119867206" sldId="10442"/>
            <ac:grpSpMk id="138" creationId="{023FFD25-6A29-462C-8B84-DE61F7731788}"/>
          </ac:grpSpMkLst>
        </pc:grpChg>
        <pc:grpChg chg="add del mod">
          <ac:chgData name="Joseph KEMOUN" userId="0b06f245-0909-42d3-bad5-b3a07c8ffd21" providerId="ADAL" clId="{11BCE0D8-1F33-4057-A775-07C3F688388F}" dt="2021-05-24T16:04:53.679" v="11864" actId="478"/>
          <ac:grpSpMkLst>
            <pc:docMk/>
            <pc:sldMk cId="119867206" sldId="10442"/>
            <ac:grpSpMk id="141" creationId="{2282682D-6845-400D-8660-C924CDE2C6CA}"/>
          </ac:grpSpMkLst>
        </pc:grpChg>
        <pc:grpChg chg="add del mod">
          <ac:chgData name="Joseph KEMOUN" userId="0b06f245-0909-42d3-bad5-b3a07c8ffd21" providerId="ADAL" clId="{11BCE0D8-1F33-4057-A775-07C3F688388F}" dt="2021-05-24T16:04:53.679" v="11864" actId="478"/>
          <ac:grpSpMkLst>
            <pc:docMk/>
            <pc:sldMk cId="119867206" sldId="10442"/>
            <ac:grpSpMk id="144" creationId="{1F8DF6E8-8C28-498D-9ADE-AA570F068008}"/>
          </ac:grpSpMkLst>
        </pc:grpChg>
        <pc:grpChg chg="add del mod">
          <ac:chgData name="Joseph KEMOUN" userId="0b06f245-0909-42d3-bad5-b3a07c8ffd21" providerId="ADAL" clId="{11BCE0D8-1F33-4057-A775-07C3F688388F}" dt="2021-05-24T16:04:53.679" v="11864" actId="478"/>
          <ac:grpSpMkLst>
            <pc:docMk/>
            <pc:sldMk cId="119867206" sldId="10442"/>
            <ac:grpSpMk id="147" creationId="{540B82F7-A0B0-4584-B2A0-E44C73AA4937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160" creationId="{81CB6233-DF06-43A6-B0A0-3382C94EEFDC}"/>
          </ac:grpSpMkLst>
        </pc:grpChg>
        <pc:grpChg chg="add del mod">
          <ac:chgData name="Joseph KEMOUN" userId="0b06f245-0909-42d3-bad5-b3a07c8ffd21" providerId="ADAL" clId="{11BCE0D8-1F33-4057-A775-07C3F688388F}" dt="2021-05-24T16:04:53.679" v="11864" actId="478"/>
          <ac:grpSpMkLst>
            <pc:docMk/>
            <pc:sldMk cId="119867206" sldId="10442"/>
            <ac:grpSpMk id="163" creationId="{1883AB11-4CF1-415C-B36B-1880DB41760D}"/>
          </ac:grpSpMkLst>
        </pc:grpChg>
        <pc:grpChg chg="add del mod">
          <ac:chgData name="Joseph KEMOUN" userId="0b06f245-0909-42d3-bad5-b3a07c8ffd21" providerId="ADAL" clId="{11BCE0D8-1F33-4057-A775-07C3F688388F}" dt="2021-05-24T16:04:53.679" v="11864" actId="478"/>
          <ac:grpSpMkLst>
            <pc:docMk/>
            <pc:sldMk cId="119867206" sldId="10442"/>
            <ac:grpSpMk id="166" creationId="{B1DEDC90-7465-48C7-84E5-0A966DAE0CAF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169" creationId="{B69EFDE9-DE87-4AB3-9535-CC49C691508F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183" creationId="{7F8BDF07-2EED-4E22-B4CA-8AE9E7094EF9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186" creationId="{4432C8AD-B6DE-458E-A5D4-E5D8F0CD2DD3}"/>
          </ac:grpSpMkLst>
        </pc:grpChg>
        <pc:grpChg chg="add del mod">
          <ac:chgData name="Joseph KEMOUN" userId="0b06f245-0909-42d3-bad5-b3a07c8ffd21" providerId="ADAL" clId="{11BCE0D8-1F33-4057-A775-07C3F688388F}" dt="2021-05-24T16:03:34.760" v="11535" actId="478"/>
          <ac:grpSpMkLst>
            <pc:docMk/>
            <pc:sldMk cId="119867206" sldId="10442"/>
            <ac:grpSpMk id="189" creationId="{24014C5C-C287-489C-AF60-AF8646F5E7BD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192" creationId="{19DC61C9-83EB-4FC0-8770-28ECA0AA3F04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195" creationId="{E6E9B7AA-694D-445E-A863-ECAE50B73DAC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215" creationId="{EE291633-9DAB-41E9-AF75-9B9A5CCFA373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218" creationId="{59768D7B-8A58-4CA8-A77B-181DD9BB6553}"/>
          </ac:grpSpMkLst>
        </pc:grpChg>
        <pc:grpChg chg="add mod">
          <ac:chgData name="Joseph KEMOUN" userId="0b06f245-0909-42d3-bad5-b3a07c8ffd21" providerId="ADAL" clId="{11BCE0D8-1F33-4057-A775-07C3F688388F}" dt="2021-05-24T16:07:41.717" v="12254" actId="12788"/>
          <ac:grpSpMkLst>
            <pc:docMk/>
            <pc:sldMk cId="119867206" sldId="10442"/>
            <ac:grpSpMk id="226" creationId="{4E2155B4-9254-49E4-82CF-56079D87DE35}"/>
          </ac:grpSpMkLst>
        </pc:grpChg>
        <pc:grpChg chg="add mod">
          <ac:chgData name="Joseph KEMOUN" userId="0b06f245-0909-42d3-bad5-b3a07c8ffd21" providerId="ADAL" clId="{11BCE0D8-1F33-4057-A775-07C3F688388F}" dt="2021-05-24T16:10:50.466" v="12515" actId="12789"/>
          <ac:grpSpMkLst>
            <pc:docMk/>
            <pc:sldMk cId="119867206" sldId="10442"/>
            <ac:grpSpMk id="229" creationId="{E7DFF936-2231-42E7-8CA6-3438EA831889}"/>
          </ac:grpSpMkLst>
        </pc:grpChg>
        <pc:grpChg chg="add mod">
          <ac:chgData name="Joseph KEMOUN" userId="0b06f245-0909-42d3-bad5-b3a07c8ffd21" providerId="ADAL" clId="{11BCE0D8-1F33-4057-A775-07C3F688388F}" dt="2021-05-24T16:11:05.629" v="12540" actId="1076"/>
          <ac:grpSpMkLst>
            <pc:docMk/>
            <pc:sldMk cId="119867206" sldId="10442"/>
            <ac:grpSpMk id="232" creationId="{B289A78C-ACD6-4685-964A-F2E17B832CC3}"/>
          </ac:grpSpMkLst>
        </pc:grpChg>
        <pc:grpChg chg="add mod">
          <ac:chgData name="Joseph KEMOUN" userId="0b06f245-0909-42d3-bad5-b3a07c8ffd21" providerId="ADAL" clId="{11BCE0D8-1F33-4057-A775-07C3F688388F}" dt="2021-05-24T16:11:09.803" v="12541" actId="1076"/>
          <ac:grpSpMkLst>
            <pc:docMk/>
            <pc:sldMk cId="119867206" sldId="10442"/>
            <ac:grpSpMk id="235" creationId="{FC08AE35-BBCF-48A0-9C80-1EBEF8AEAB81}"/>
          </ac:grpSpMkLst>
        </pc:grpChg>
        <pc:graphicFrameChg chg="mod">
          <ac:chgData name="Joseph KEMOUN" userId="0b06f245-0909-42d3-bad5-b3a07c8ffd21" providerId="ADAL" clId="{11BCE0D8-1F33-4057-A775-07C3F688388F}" dt="2021-05-24T16:07:46.624" v="12405"/>
          <ac:graphicFrameMkLst>
            <pc:docMk/>
            <pc:sldMk cId="119867206" sldId="10442"/>
            <ac:graphicFrameMk id="5" creationId="{01D08C26-676F-415E-8FAE-7E04E6FCB34C}"/>
          </ac:graphicFrameMkLst>
        </pc:graphicFrameChg>
        <pc:picChg chg="del mod">
          <ac:chgData name="Joseph KEMOUN" userId="0b06f245-0909-42d3-bad5-b3a07c8ffd21" providerId="ADAL" clId="{11BCE0D8-1F33-4057-A775-07C3F688388F}" dt="2021-05-24T15:20:43.227" v="9560" actId="478"/>
          <ac:picMkLst>
            <pc:docMk/>
            <pc:sldMk cId="119867206" sldId="10442"/>
            <ac:picMk id="18" creationId="{0FE37C88-0575-4C5F-AEE2-0B922B86DFDB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66" creationId="{418E9E83-719F-4023-ACF1-8A3E96D57614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67" creationId="{74A071D6-CFD2-4DA1-A20F-10314E8DB840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68" creationId="{E00B33F0-F5F6-4BDC-B3F3-0A2530447B4A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69" creationId="{7A1BE604-7D74-45F6-B599-384DC4F8703B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0" creationId="{00E66215-7317-4E63-9888-13CBD5EC6BE5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1" creationId="{81D7D0BC-4CED-4A39-8A5F-B4FB6EAD7448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2" creationId="{587AA817-4DF8-4B4D-ADCB-D1AF4582A9CE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3" creationId="{0D624C2A-547C-4B37-85D6-EF8A5954E2F6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4" creationId="{F9718EA1-CFD9-4B5E-A7EC-DAC62CC5383D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5" creationId="{4259CD29-2D3E-43AB-8DC5-CBA66EDAD31C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6" creationId="{67D02285-3107-4FF8-A508-465A43CDD627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7" creationId="{264A99F2-46F2-4C31-9577-C5B4E079C889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78" creationId="{B1111568-A2CE-4B74-ABE6-1BD005F3BB02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81" creationId="{D465B296-AA54-458B-BDDA-65700BA18D2B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82" creationId="{53D41914-9332-4E52-8D9B-C12E41243147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84" creationId="{421B1006-2189-469C-B9F4-D715AF5E88FE}"/>
          </ac:picMkLst>
        </pc:picChg>
        <pc:picChg chg="mod">
          <ac:chgData name="Joseph KEMOUN" userId="0b06f245-0909-42d3-bad5-b3a07c8ffd21" providerId="ADAL" clId="{11BCE0D8-1F33-4057-A775-07C3F688388F}" dt="2021-05-24T14:45:42.727" v="8058"/>
          <ac:picMkLst>
            <pc:docMk/>
            <pc:sldMk cId="119867206" sldId="10442"/>
            <ac:picMk id="87" creationId="{EB8A9595-D320-45FD-A7F2-9521EB6BB41E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88" creationId="{96CA0D7D-DCBE-4D1C-A2AC-241D3071B892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89" creationId="{821358D3-BE4B-4269-9B25-14ED64D19DAB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90" creationId="{67D630F6-A9B2-4BB4-8D11-7F97696CC2A6}"/>
          </ac:picMkLst>
        </pc:picChg>
        <pc:picChg chg="mod">
          <ac:chgData name="Joseph KEMOUN" userId="0b06f245-0909-42d3-bad5-b3a07c8ffd21" providerId="ADAL" clId="{11BCE0D8-1F33-4057-A775-07C3F688388F}" dt="2021-05-24T14:45:42.727" v="8058"/>
          <ac:picMkLst>
            <pc:docMk/>
            <pc:sldMk cId="119867206" sldId="10442"/>
            <ac:picMk id="94" creationId="{AEB16418-5553-4335-BBB0-A4EF0F96955E}"/>
          </ac:picMkLst>
        </pc:picChg>
        <pc:picChg chg="mod">
          <ac:chgData name="Joseph KEMOUN" userId="0b06f245-0909-42d3-bad5-b3a07c8ffd21" providerId="ADAL" clId="{11BCE0D8-1F33-4057-A775-07C3F688388F}" dt="2021-05-24T14:45:42.727" v="8058"/>
          <ac:picMkLst>
            <pc:docMk/>
            <pc:sldMk cId="119867206" sldId="10442"/>
            <ac:picMk id="97" creationId="{F9C29940-36B1-43BE-B8D3-0F128E986E7C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98" creationId="{2EDB5BEF-45EF-4D68-8D9C-CC9DEE55A333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99" creationId="{A76936AE-FC3D-42CC-8E0D-6BABEECCBFB7}"/>
          </ac:picMkLst>
        </pc:picChg>
        <pc:picChg chg="add del mod">
          <ac:chgData name="Joseph KEMOUN" userId="0b06f245-0909-42d3-bad5-b3a07c8ffd21" providerId="ADAL" clId="{11BCE0D8-1F33-4057-A775-07C3F688388F}" dt="2021-05-24T15:54:30.981" v="11010" actId="478"/>
          <ac:picMkLst>
            <pc:docMk/>
            <pc:sldMk cId="119867206" sldId="10442"/>
            <ac:picMk id="103" creationId="{10C33C82-A031-465F-B21A-30B8223E4176}"/>
          </ac:picMkLst>
        </pc:picChg>
        <pc:cxnChg chg="del mod">
          <ac:chgData name="Joseph KEMOUN" userId="0b06f245-0909-42d3-bad5-b3a07c8ffd21" providerId="ADAL" clId="{11BCE0D8-1F33-4057-A775-07C3F688388F}" dt="2021-05-24T14:45:53.667" v="8060" actId="478"/>
          <ac:cxnSpMkLst>
            <pc:docMk/>
            <pc:sldMk cId="119867206" sldId="10442"/>
            <ac:cxnSpMk id="11" creationId="{B4C7A67D-0A85-45FF-91F3-053B5BD86E27}"/>
          </ac:cxnSpMkLst>
        </pc:cxnChg>
        <pc:cxnChg chg="del mod">
          <ac:chgData name="Joseph KEMOUN" userId="0b06f245-0909-42d3-bad5-b3a07c8ffd21" providerId="ADAL" clId="{11BCE0D8-1F33-4057-A775-07C3F688388F}" dt="2021-05-24T14:45:53.667" v="8060" actId="478"/>
          <ac:cxnSpMkLst>
            <pc:docMk/>
            <pc:sldMk cId="119867206" sldId="10442"/>
            <ac:cxnSpMk id="13" creationId="{3471B0B7-BF0E-4B8B-9153-027BDE131ABC}"/>
          </ac:cxnSpMkLst>
        </pc:cxnChg>
        <pc:cxnChg chg="add del mod">
          <ac:chgData name="Joseph KEMOUN" userId="0b06f245-0909-42d3-bad5-b3a07c8ffd21" providerId="ADAL" clId="{11BCE0D8-1F33-4057-A775-07C3F688388F}" dt="2021-05-24T15:54:30.981" v="11010" actId="478"/>
          <ac:cxnSpMkLst>
            <pc:docMk/>
            <pc:sldMk cId="119867206" sldId="10442"/>
            <ac:cxnSpMk id="79" creationId="{BCB2214A-A0F5-4FB3-8BEE-427365576E63}"/>
          </ac:cxnSpMkLst>
        </pc:cxnChg>
        <pc:cxnChg chg="add del mod">
          <ac:chgData name="Joseph KEMOUN" userId="0b06f245-0909-42d3-bad5-b3a07c8ffd21" providerId="ADAL" clId="{11BCE0D8-1F33-4057-A775-07C3F688388F}" dt="2021-05-24T15:54:30.981" v="11010" actId="478"/>
          <ac:cxnSpMkLst>
            <pc:docMk/>
            <pc:sldMk cId="119867206" sldId="10442"/>
            <ac:cxnSpMk id="83" creationId="{5B960FE6-54A2-45B0-93F0-303EE02392A0}"/>
          </ac:cxnSpMkLst>
        </pc:cxnChg>
      </pc:sldChg>
      <pc:sldChg chg="addSp delSp modSp mod">
        <pc:chgData name="Joseph KEMOUN" userId="0b06f245-0909-42d3-bad5-b3a07c8ffd21" providerId="ADAL" clId="{11BCE0D8-1F33-4057-A775-07C3F688388F}" dt="2021-05-25T11:18:07.731" v="15393" actId="1076"/>
        <pc:sldMkLst>
          <pc:docMk/>
          <pc:sldMk cId="3186676131" sldId="10444"/>
        </pc:sldMkLst>
        <pc:spChg chg="add mod">
          <ac:chgData name="Joseph KEMOUN" userId="0b06f245-0909-42d3-bad5-b3a07c8ffd21" providerId="ADAL" clId="{11BCE0D8-1F33-4057-A775-07C3F688388F}" dt="2021-05-25T11:16:53.796" v="15359"/>
          <ac:spMkLst>
            <pc:docMk/>
            <pc:sldMk cId="3186676131" sldId="10444"/>
            <ac:spMk id="183" creationId="{0B82F722-7307-45F1-BCDC-54AF78D10E83}"/>
          </ac:spMkLst>
        </pc:spChg>
        <pc:spChg chg="add mod">
          <ac:chgData name="Joseph KEMOUN" userId="0b06f245-0909-42d3-bad5-b3a07c8ffd21" providerId="ADAL" clId="{11BCE0D8-1F33-4057-A775-07C3F688388F}" dt="2021-05-25T11:16:53.796" v="15359"/>
          <ac:spMkLst>
            <pc:docMk/>
            <pc:sldMk cId="3186676131" sldId="10444"/>
            <ac:spMk id="184" creationId="{10A87F2B-CE19-49A3-9FC4-902C47706B1B}"/>
          </ac:spMkLst>
        </pc:spChg>
        <pc:spChg chg="add mod">
          <ac:chgData name="Joseph KEMOUN" userId="0b06f245-0909-42d3-bad5-b3a07c8ffd21" providerId="ADAL" clId="{11BCE0D8-1F33-4057-A775-07C3F688388F}" dt="2021-05-25T11:16:53.796" v="15359"/>
          <ac:spMkLst>
            <pc:docMk/>
            <pc:sldMk cId="3186676131" sldId="10444"/>
            <ac:spMk id="185" creationId="{C68575BD-C83D-43AB-B618-1CDCA176A1D8}"/>
          </ac:spMkLst>
        </pc:spChg>
        <pc:spChg chg="mod">
          <ac:chgData name="Joseph KEMOUN" userId="0b06f245-0909-42d3-bad5-b3a07c8ffd21" providerId="ADAL" clId="{11BCE0D8-1F33-4057-A775-07C3F688388F}" dt="2021-05-25T11:18:07.731" v="15393" actId="1076"/>
          <ac:spMkLst>
            <pc:docMk/>
            <pc:sldMk cId="3186676131" sldId="10444"/>
            <ac:spMk id="191" creationId="{BCCB0F70-F9E3-49F7-B9CC-4810707D22BC}"/>
          </ac:spMkLst>
        </pc:spChg>
        <pc:spChg chg="del">
          <ac:chgData name="Joseph KEMOUN" userId="0b06f245-0909-42d3-bad5-b3a07c8ffd21" providerId="ADAL" clId="{11BCE0D8-1F33-4057-A775-07C3F688388F}" dt="2021-05-25T11:16:53.528" v="15358" actId="478"/>
          <ac:spMkLst>
            <pc:docMk/>
            <pc:sldMk cId="3186676131" sldId="10444"/>
            <ac:spMk id="192" creationId="{94A34A46-8E0E-47FF-881E-66715653B41E}"/>
          </ac:spMkLst>
        </pc:spChg>
        <pc:spChg chg="del">
          <ac:chgData name="Joseph KEMOUN" userId="0b06f245-0909-42d3-bad5-b3a07c8ffd21" providerId="ADAL" clId="{11BCE0D8-1F33-4057-A775-07C3F688388F}" dt="2021-05-25T11:16:53.528" v="15358" actId="478"/>
          <ac:spMkLst>
            <pc:docMk/>
            <pc:sldMk cId="3186676131" sldId="10444"/>
            <ac:spMk id="193" creationId="{D7E2235E-5186-4226-B6BB-3EC83201E1E8}"/>
          </ac:spMkLst>
        </pc:spChg>
        <pc:spChg chg="del">
          <ac:chgData name="Joseph KEMOUN" userId="0b06f245-0909-42d3-bad5-b3a07c8ffd21" providerId="ADAL" clId="{11BCE0D8-1F33-4057-A775-07C3F688388F}" dt="2021-05-25T11:16:53.528" v="15358" actId="478"/>
          <ac:spMkLst>
            <pc:docMk/>
            <pc:sldMk cId="3186676131" sldId="10444"/>
            <ac:spMk id="194" creationId="{5733A862-B877-44F6-A87C-4D2A2B1AA3D5}"/>
          </ac:spMkLst>
        </pc:spChg>
        <pc:spChg chg="del">
          <ac:chgData name="Joseph KEMOUN" userId="0b06f245-0909-42d3-bad5-b3a07c8ffd21" providerId="ADAL" clId="{11BCE0D8-1F33-4057-A775-07C3F688388F}" dt="2021-05-25T11:16:53.528" v="15358" actId="478"/>
          <ac:spMkLst>
            <pc:docMk/>
            <pc:sldMk cId="3186676131" sldId="10444"/>
            <ac:spMk id="195" creationId="{9134F630-89B7-4C04-85D0-A0215E053331}"/>
          </ac:spMkLst>
        </pc:spChg>
        <pc:spChg chg="del">
          <ac:chgData name="Joseph KEMOUN" userId="0b06f245-0909-42d3-bad5-b3a07c8ffd21" providerId="ADAL" clId="{11BCE0D8-1F33-4057-A775-07C3F688388F}" dt="2021-05-25T11:16:53.528" v="15358" actId="478"/>
          <ac:spMkLst>
            <pc:docMk/>
            <pc:sldMk cId="3186676131" sldId="10444"/>
            <ac:spMk id="196" creationId="{E4224438-3C05-4BDB-9AF9-00E317DDDEB1}"/>
          </ac:spMkLst>
        </pc:spChg>
        <pc:spChg chg="del">
          <ac:chgData name="Joseph KEMOUN" userId="0b06f245-0909-42d3-bad5-b3a07c8ffd21" providerId="ADAL" clId="{11BCE0D8-1F33-4057-A775-07C3F688388F}" dt="2021-05-25T11:16:53.528" v="15358" actId="478"/>
          <ac:spMkLst>
            <pc:docMk/>
            <pc:sldMk cId="3186676131" sldId="10444"/>
            <ac:spMk id="198" creationId="{AD17A495-0B0F-4F46-9F7D-200C03BF0AF5}"/>
          </ac:spMkLst>
        </pc:spChg>
      </pc:sldChg>
      <pc:sldChg chg="delSp modSp mod">
        <pc:chgData name="Joseph KEMOUN" userId="0b06f245-0909-42d3-bad5-b3a07c8ffd21" providerId="ADAL" clId="{11BCE0D8-1F33-4057-A775-07C3F688388F}" dt="2021-05-25T08:15:03.563" v="12787" actId="478"/>
        <pc:sldMkLst>
          <pc:docMk/>
          <pc:sldMk cId="3037564285" sldId="10446"/>
        </pc:sldMkLst>
        <pc:spChg chg="mod">
          <ac:chgData name="Joseph KEMOUN" userId="0b06f245-0909-42d3-bad5-b3a07c8ffd21" providerId="ADAL" clId="{11BCE0D8-1F33-4057-A775-07C3F688388F}" dt="2021-05-25T08:13:55.687" v="12780" actId="554"/>
          <ac:spMkLst>
            <pc:docMk/>
            <pc:sldMk cId="3037564285" sldId="10446"/>
            <ac:spMk id="4" creationId="{74ADDBE6-49E4-4049-B7BF-EE415633C5F5}"/>
          </ac:spMkLst>
        </pc:spChg>
        <pc:spChg chg="mod">
          <ac:chgData name="Joseph KEMOUN" userId="0b06f245-0909-42d3-bad5-b3a07c8ffd21" providerId="ADAL" clId="{11BCE0D8-1F33-4057-A775-07C3F688388F}" dt="2021-05-25T08:13:55.687" v="12780" actId="554"/>
          <ac:spMkLst>
            <pc:docMk/>
            <pc:sldMk cId="3037564285" sldId="10446"/>
            <ac:spMk id="5" creationId="{B0DA252B-E0E1-4EDA-AD43-C3699C200482}"/>
          </ac:spMkLst>
        </pc:spChg>
        <pc:spChg chg="mod">
          <ac:chgData name="Joseph KEMOUN" userId="0b06f245-0909-42d3-bad5-b3a07c8ffd21" providerId="ADAL" clId="{11BCE0D8-1F33-4057-A775-07C3F688388F}" dt="2021-05-25T08:13:58.853" v="12781" actId="14100"/>
          <ac:spMkLst>
            <pc:docMk/>
            <pc:sldMk cId="3037564285" sldId="10446"/>
            <ac:spMk id="6" creationId="{459DE8FF-F3A0-454B-89BD-EA7D3F0085F4}"/>
          </ac:spMkLst>
        </pc:spChg>
        <pc:spChg chg="del">
          <ac:chgData name="Joseph KEMOUN" userId="0b06f245-0909-42d3-bad5-b3a07c8ffd21" providerId="ADAL" clId="{11BCE0D8-1F33-4057-A775-07C3F688388F}" dt="2021-05-25T08:15:03.235" v="12786" actId="478"/>
          <ac:spMkLst>
            <pc:docMk/>
            <pc:sldMk cId="3037564285" sldId="10446"/>
            <ac:spMk id="85" creationId="{1A835908-83BB-404C-AE36-6D07AE32C2A9}"/>
          </ac:spMkLst>
        </pc:spChg>
        <pc:grpChg chg="del">
          <ac:chgData name="Joseph KEMOUN" userId="0b06f245-0909-42d3-bad5-b3a07c8ffd21" providerId="ADAL" clId="{11BCE0D8-1F33-4057-A775-07C3F688388F}" dt="2021-05-25T08:15:03.235" v="12786" actId="478"/>
          <ac:grpSpMkLst>
            <pc:docMk/>
            <pc:sldMk cId="3037564285" sldId="10446"/>
            <ac:grpSpMk id="82" creationId="{9CC8FE8A-ECD1-4248-A2C7-4991AC62D493}"/>
          </ac:grpSpMkLst>
        </pc:grpChg>
        <pc:picChg chg="del">
          <ac:chgData name="Joseph KEMOUN" userId="0b06f245-0909-42d3-bad5-b3a07c8ffd21" providerId="ADAL" clId="{11BCE0D8-1F33-4057-A775-07C3F688388F}" dt="2021-05-25T08:15:03.563" v="12787" actId="478"/>
          <ac:picMkLst>
            <pc:docMk/>
            <pc:sldMk cId="3037564285" sldId="10446"/>
            <ac:picMk id="46" creationId="{F42D6C9D-C7D0-4E8B-8E73-9D110CD32A04}"/>
          </ac:picMkLst>
        </pc:picChg>
      </pc:sldChg>
      <pc:sldChg chg="modSp add del mod">
        <pc:chgData name="Joseph KEMOUN" userId="0b06f245-0909-42d3-bad5-b3a07c8ffd21" providerId="ADAL" clId="{11BCE0D8-1F33-4057-A775-07C3F688388F}" dt="2021-05-24T11:47:50.847" v="3908" actId="47"/>
        <pc:sldMkLst>
          <pc:docMk/>
          <pc:sldMk cId="1695107413" sldId="10447"/>
        </pc:sldMkLst>
        <pc:graphicFrameChg chg="mod">
          <ac:chgData name="Joseph KEMOUN" userId="0b06f245-0909-42d3-bad5-b3a07c8ffd21" providerId="ADAL" clId="{11BCE0D8-1F33-4057-A775-07C3F688388F}" dt="2021-05-24T11:47:30.924" v="3862"/>
          <ac:graphicFrameMkLst>
            <pc:docMk/>
            <pc:sldMk cId="1695107413" sldId="10447"/>
            <ac:graphicFrameMk id="18" creationId="{CF7417D0-0B74-4D85-B813-1CC9F37E5F04}"/>
          </ac:graphicFrameMkLst>
        </pc:graphicFrameChg>
      </pc:sldChg>
      <pc:sldChg chg="addSp delSp modSp mod ord">
        <pc:chgData name="Joseph KEMOUN" userId="0b06f245-0909-42d3-bad5-b3a07c8ffd21" providerId="ADAL" clId="{11BCE0D8-1F33-4057-A775-07C3F688388F}" dt="2021-05-25T11:15:55.698" v="15328"/>
        <pc:sldMkLst>
          <pc:docMk/>
          <pc:sldMk cId="3968368318" sldId="10448"/>
        </pc:sldMkLst>
        <pc:spChg chg="mod ord">
          <ac:chgData name="Joseph KEMOUN" userId="0b06f245-0909-42d3-bad5-b3a07c8ffd21" providerId="ADAL" clId="{11BCE0D8-1F33-4057-A775-07C3F688388F}" dt="2021-05-24T09:38:10.999" v="1680"/>
          <ac:spMkLst>
            <pc:docMk/>
            <pc:sldMk cId="3968368318" sldId="10448"/>
            <ac:spMk id="2" creationId="{22CE637A-08CD-4B57-9E43-4D794A97D425}"/>
          </ac:spMkLst>
        </pc:spChg>
        <pc:spChg chg="add del mod modVis">
          <ac:chgData name="Joseph KEMOUN" userId="0b06f245-0909-42d3-bad5-b3a07c8ffd21" providerId="ADAL" clId="{11BCE0D8-1F33-4057-A775-07C3F688388F}" dt="2021-05-24T09:38:11.031" v="1786"/>
          <ac:spMkLst>
            <pc:docMk/>
            <pc:sldMk cId="3968368318" sldId="10448"/>
            <ac:spMk id="4" creationId="{D8014877-EAFB-4585-8D45-88A381FED2DF}"/>
          </ac:spMkLst>
        </pc:spChg>
        <pc:spChg chg="mod ord">
          <ac:chgData name="Joseph KEMOUN" userId="0b06f245-0909-42d3-bad5-b3a07c8ffd21" providerId="ADAL" clId="{11BCE0D8-1F33-4057-A775-07C3F688388F}" dt="2021-05-24T09:38:10.999" v="1692"/>
          <ac:spMkLst>
            <pc:docMk/>
            <pc:sldMk cId="3968368318" sldId="10448"/>
            <ac:spMk id="18" creationId="{B77F2001-EECC-4091-A46F-B13C297AFD91}"/>
          </ac:spMkLst>
        </pc:spChg>
        <pc:spChg chg="mod ord">
          <ac:chgData name="Joseph KEMOUN" userId="0b06f245-0909-42d3-bad5-b3a07c8ffd21" providerId="ADAL" clId="{11BCE0D8-1F33-4057-A775-07C3F688388F}" dt="2021-05-24T09:38:10.999" v="1690"/>
          <ac:spMkLst>
            <pc:docMk/>
            <pc:sldMk cId="3968368318" sldId="10448"/>
            <ac:spMk id="23" creationId="{0C95EF0E-C411-407B-BF74-3CD0A42FA4B6}"/>
          </ac:spMkLst>
        </pc:spChg>
        <pc:spChg chg="mod ord">
          <ac:chgData name="Joseph KEMOUN" userId="0b06f245-0909-42d3-bad5-b3a07c8ffd21" providerId="ADAL" clId="{11BCE0D8-1F33-4057-A775-07C3F688388F}" dt="2021-05-24T09:38:10.999" v="1694"/>
          <ac:spMkLst>
            <pc:docMk/>
            <pc:sldMk cId="3968368318" sldId="10448"/>
            <ac:spMk id="26" creationId="{1467DC4C-D91B-4890-86E8-8B6B324D9380}"/>
          </ac:spMkLst>
        </pc:spChg>
        <pc:spChg chg="mod ord">
          <ac:chgData name="Joseph KEMOUN" userId="0b06f245-0909-42d3-bad5-b3a07c8ffd21" providerId="ADAL" clId="{11BCE0D8-1F33-4057-A775-07C3F688388F}" dt="2021-05-24T09:38:10.999" v="1696"/>
          <ac:spMkLst>
            <pc:docMk/>
            <pc:sldMk cId="3968368318" sldId="10448"/>
            <ac:spMk id="29" creationId="{D49177BB-F71C-42AC-9A8C-812D68405634}"/>
          </ac:spMkLst>
        </pc:spChg>
        <pc:spChg chg="mod ord">
          <ac:chgData name="Joseph KEMOUN" userId="0b06f245-0909-42d3-bad5-b3a07c8ffd21" providerId="ADAL" clId="{11BCE0D8-1F33-4057-A775-07C3F688388F}" dt="2021-05-24T09:38:10.999" v="1698"/>
          <ac:spMkLst>
            <pc:docMk/>
            <pc:sldMk cId="3968368318" sldId="10448"/>
            <ac:spMk id="30" creationId="{990B3219-5A14-48A6-A29D-258D28CA817A}"/>
          </ac:spMkLst>
        </pc:spChg>
        <pc:spChg chg="mod ord">
          <ac:chgData name="Joseph KEMOUN" userId="0b06f245-0909-42d3-bad5-b3a07c8ffd21" providerId="ADAL" clId="{11BCE0D8-1F33-4057-A775-07C3F688388F}" dt="2021-05-24T09:38:10.999" v="1700"/>
          <ac:spMkLst>
            <pc:docMk/>
            <pc:sldMk cId="3968368318" sldId="10448"/>
            <ac:spMk id="31" creationId="{98270023-57CC-4644-A288-9156D3D5FBCE}"/>
          </ac:spMkLst>
        </pc:spChg>
        <pc:spChg chg="mod ord">
          <ac:chgData name="Joseph KEMOUN" userId="0b06f245-0909-42d3-bad5-b3a07c8ffd21" providerId="ADAL" clId="{11BCE0D8-1F33-4057-A775-07C3F688388F}" dt="2021-05-24T09:38:10.999" v="1702"/>
          <ac:spMkLst>
            <pc:docMk/>
            <pc:sldMk cId="3968368318" sldId="10448"/>
            <ac:spMk id="32" creationId="{9E722F19-F936-4688-BE29-34529CE98CFB}"/>
          </ac:spMkLst>
        </pc:spChg>
        <pc:spChg chg="mod ord">
          <ac:chgData name="Joseph KEMOUN" userId="0b06f245-0909-42d3-bad5-b3a07c8ffd21" providerId="ADAL" clId="{11BCE0D8-1F33-4057-A775-07C3F688388F}" dt="2021-05-24T09:38:11.015" v="1714"/>
          <ac:spMkLst>
            <pc:docMk/>
            <pc:sldMk cId="3968368318" sldId="10448"/>
            <ac:spMk id="41" creationId="{013DFE0D-012C-4AE2-A406-883249D468BC}"/>
          </ac:spMkLst>
        </pc:spChg>
        <pc:spChg chg="mod ord">
          <ac:chgData name="Joseph KEMOUN" userId="0b06f245-0909-42d3-bad5-b3a07c8ffd21" providerId="ADAL" clId="{11BCE0D8-1F33-4057-A775-07C3F688388F}" dt="2021-05-24T09:38:11.015" v="1730"/>
          <ac:spMkLst>
            <pc:docMk/>
            <pc:sldMk cId="3968368318" sldId="10448"/>
            <ac:spMk id="44" creationId="{0B53E553-6743-45FB-AE8E-BF6F0D532CEA}"/>
          </ac:spMkLst>
        </pc:spChg>
        <pc:spChg chg="mod ord">
          <ac:chgData name="Joseph KEMOUN" userId="0b06f245-0909-42d3-bad5-b3a07c8ffd21" providerId="ADAL" clId="{11BCE0D8-1F33-4057-A775-07C3F688388F}" dt="2021-05-24T09:38:11.015" v="1716"/>
          <ac:spMkLst>
            <pc:docMk/>
            <pc:sldMk cId="3968368318" sldId="10448"/>
            <ac:spMk id="45" creationId="{81D23D10-6232-4D82-8BCF-13B9525E1855}"/>
          </ac:spMkLst>
        </pc:spChg>
        <pc:spChg chg="mod ord">
          <ac:chgData name="Joseph KEMOUN" userId="0b06f245-0909-42d3-bad5-b3a07c8ffd21" providerId="ADAL" clId="{11BCE0D8-1F33-4057-A775-07C3F688388F}" dt="2021-05-24T09:38:11.015" v="1718"/>
          <ac:spMkLst>
            <pc:docMk/>
            <pc:sldMk cId="3968368318" sldId="10448"/>
            <ac:spMk id="46" creationId="{041E4A41-5EFF-4E8D-82D0-B598CD53AEB6}"/>
          </ac:spMkLst>
        </pc:spChg>
        <pc:spChg chg="mod ord">
          <ac:chgData name="Joseph KEMOUN" userId="0b06f245-0909-42d3-bad5-b3a07c8ffd21" providerId="ADAL" clId="{11BCE0D8-1F33-4057-A775-07C3F688388F}" dt="2021-05-24T09:38:11.015" v="1720"/>
          <ac:spMkLst>
            <pc:docMk/>
            <pc:sldMk cId="3968368318" sldId="10448"/>
            <ac:spMk id="49" creationId="{9FC58EF0-5CD6-4A71-8940-F6C8C883FBD1}"/>
          </ac:spMkLst>
        </pc:spChg>
        <pc:spChg chg="mod ord">
          <ac:chgData name="Joseph KEMOUN" userId="0b06f245-0909-42d3-bad5-b3a07c8ffd21" providerId="ADAL" clId="{11BCE0D8-1F33-4057-A775-07C3F688388F}" dt="2021-05-24T09:38:11.015" v="1722"/>
          <ac:spMkLst>
            <pc:docMk/>
            <pc:sldMk cId="3968368318" sldId="10448"/>
            <ac:spMk id="50" creationId="{0B6C5844-4A3E-4824-8EAE-60D3B3E1BFF5}"/>
          </ac:spMkLst>
        </pc:spChg>
        <pc:spChg chg="mod ord">
          <ac:chgData name="Joseph KEMOUN" userId="0b06f245-0909-42d3-bad5-b3a07c8ffd21" providerId="ADAL" clId="{11BCE0D8-1F33-4057-A775-07C3F688388F}" dt="2021-05-24T09:38:11.015" v="1724"/>
          <ac:spMkLst>
            <pc:docMk/>
            <pc:sldMk cId="3968368318" sldId="10448"/>
            <ac:spMk id="51" creationId="{8F8A1894-627E-4A77-8FEF-2E5519D9FC48}"/>
          </ac:spMkLst>
        </pc:spChg>
        <pc:spChg chg="mod ord">
          <ac:chgData name="Joseph KEMOUN" userId="0b06f245-0909-42d3-bad5-b3a07c8ffd21" providerId="ADAL" clId="{11BCE0D8-1F33-4057-A775-07C3F688388F}" dt="2021-05-25T10:13:33.440" v="14299" actId="5793"/>
          <ac:spMkLst>
            <pc:docMk/>
            <pc:sldMk cId="3968368318" sldId="10448"/>
            <ac:spMk id="52" creationId="{76A2D6C4-57ED-451A-A7F1-033FE34AB68E}"/>
          </ac:spMkLst>
        </pc:spChg>
        <pc:spChg chg="mod ord">
          <ac:chgData name="Joseph KEMOUN" userId="0b06f245-0909-42d3-bad5-b3a07c8ffd21" providerId="ADAL" clId="{11BCE0D8-1F33-4057-A775-07C3F688388F}" dt="2021-05-24T09:38:11.015" v="1728"/>
          <ac:spMkLst>
            <pc:docMk/>
            <pc:sldMk cId="3968368318" sldId="10448"/>
            <ac:spMk id="53" creationId="{1D696651-4ADA-4682-8B2D-872B8258B7F2}"/>
          </ac:spMkLst>
        </pc:spChg>
        <pc:spChg chg="mod ord">
          <ac:chgData name="Joseph KEMOUN" userId="0b06f245-0909-42d3-bad5-b3a07c8ffd21" providerId="ADAL" clId="{11BCE0D8-1F33-4057-A775-07C3F688388F}" dt="2021-05-24T09:38:11.031" v="1770"/>
          <ac:spMkLst>
            <pc:docMk/>
            <pc:sldMk cId="3968368318" sldId="10448"/>
            <ac:spMk id="55" creationId="{0C141722-A2EF-49DC-9F67-E93B3139C25B}"/>
          </ac:spMkLst>
        </pc:spChg>
        <pc:spChg chg="mod ord">
          <ac:chgData name="Joseph KEMOUN" userId="0b06f245-0909-42d3-bad5-b3a07c8ffd21" providerId="ADAL" clId="{11BCE0D8-1F33-4057-A775-07C3F688388F}" dt="2021-05-24T09:38:11.031" v="1772"/>
          <ac:spMkLst>
            <pc:docMk/>
            <pc:sldMk cId="3968368318" sldId="10448"/>
            <ac:spMk id="56" creationId="{A6349B2E-65F9-4CBE-8CCF-5E4961E634C0}"/>
          </ac:spMkLst>
        </pc:spChg>
        <pc:spChg chg="mod ord">
          <ac:chgData name="Joseph KEMOUN" userId="0b06f245-0909-42d3-bad5-b3a07c8ffd21" providerId="ADAL" clId="{11BCE0D8-1F33-4057-A775-07C3F688388F}" dt="2021-05-24T09:38:11.031" v="1774"/>
          <ac:spMkLst>
            <pc:docMk/>
            <pc:sldMk cId="3968368318" sldId="10448"/>
            <ac:spMk id="57" creationId="{E90B7430-5601-4ECE-AAD3-6FB768C85534}"/>
          </ac:spMkLst>
        </pc:spChg>
        <pc:spChg chg="mod ord">
          <ac:chgData name="Joseph KEMOUN" userId="0b06f245-0909-42d3-bad5-b3a07c8ffd21" providerId="ADAL" clId="{11BCE0D8-1F33-4057-A775-07C3F688388F}" dt="2021-05-24T09:38:28.939" v="1823" actId="20577"/>
          <ac:spMkLst>
            <pc:docMk/>
            <pc:sldMk cId="3968368318" sldId="10448"/>
            <ac:spMk id="59" creationId="{3DAFC222-EE91-423E-A279-AC68BF7E5200}"/>
          </ac:spMkLst>
        </pc:spChg>
        <pc:spChg chg="add mod">
          <ac:chgData name="Joseph KEMOUN" userId="0b06f245-0909-42d3-bad5-b3a07c8ffd21" providerId="ADAL" clId="{11BCE0D8-1F33-4057-A775-07C3F688388F}" dt="2021-05-25T11:15:55.698" v="15328"/>
          <ac:spMkLst>
            <pc:docMk/>
            <pc:sldMk cId="3968368318" sldId="10448"/>
            <ac:spMk id="60" creationId="{FED185D1-0646-4D42-BE32-1FFB44D7F8B2}"/>
          </ac:spMkLst>
        </pc:spChg>
        <pc:spChg chg="add mod">
          <ac:chgData name="Joseph KEMOUN" userId="0b06f245-0909-42d3-bad5-b3a07c8ffd21" providerId="ADAL" clId="{11BCE0D8-1F33-4057-A775-07C3F688388F}" dt="2021-05-25T11:15:55.698" v="15328"/>
          <ac:spMkLst>
            <pc:docMk/>
            <pc:sldMk cId="3968368318" sldId="10448"/>
            <ac:spMk id="61" creationId="{4E517523-BD87-4EA5-9774-D37BE602A52D}"/>
          </ac:spMkLst>
        </pc:spChg>
        <pc:spChg chg="mod ord">
          <ac:chgData name="Joseph KEMOUN" userId="0b06f245-0909-42d3-bad5-b3a07c8ffd21" providerId="ADAL" clId="{11BCE0D8-1F33-4057-A775-07C3F688388F}" dt="2021-05-24T09:38:11.031" v="1776"/>
          <ac:spMkLst>
            <pc:docMk/>
            <pc:sldMk cId="3968368318" sldId="10448"/>
            <ac:spMk id="61" creationId="{DC4554B5-055C-4796-96D5-8AE7F9FC77CD}"/>
          </ac:spMkLst>
        </pc:spChg>
        <pc:spChg chg="add mod">
          <ac:chgData name="Joseph KEMOUN" userId="0b06f245-0909-42d3-bad5-b3a07c8ffd21" providerId="ADAL" clId="{11BCE0D8-1F33-4057-A775-07C3F688388F}" dt="2021-05-25T11:15:55.698" v="15328"/>
          <ac:spMkLst>
            <pc:docMk/>
            <pc:sldMk cId="3968368318" sldId="10448"/>
            <ac:spMk id="62" creationId="{7FDD9C11-CF24-4E30-9796-2BB708C41E55}"/>
          </ac:spMkLst>
        </pc:spChg>
        <pc:spChg chg="mod ord">
          <ac:chgData name="Joseph KEMOUN" userId="0b06f245-0909-42d3-bad5-b3a07c8ffd21" providerId="ADAL" clId="{11BCE0D8-1F33-4057-A775-07C3F688388F}" dt="2021-05-24T09:38:11.031" v="1778"/>
          <ac:spMkLst>
            <pc:docMk/>
            <pc:sldMk cId="3968368318" sldId="10448"/>
            <ac:spMk id="62" creationId="{A38D78E0-148A-4F50-8A85-1252B5681E60}"/>
          </ac:spMkLst>
        </pc:spChg>
        <pc:spChg chg="mod ord">
          <ac:chgData name="Joseph KEMOUN" userId="0b06f245-0909-42d3-bad5-b3a07c8ffd21" providerId="ADAL" clId="{11BCE0D8-1F33-4057-A775-07C3F688388F}" dt="2021-05-24T09:39:37.491" v="1842" actId="465"/>
          <ac:spMkLst>
            <pc:docMk/>
            <pc:sldMk cId="3968368318" sldId="10448"/>
            <ac:spMk id="63" creationId="{E332C26C-6982-4266-9F93-4F2FAEAC1F59}"/>
          </ac:spMkLst>
        </pc:spChg>
        <pc:spChg chg="del mod ord">
          <ac:chgData name="Joseph KEMOUN" userId="0b06f245-0909-42d3-bad5-b3a07c8ffd21" providerId="ADAL" clId="{11BCE0D8-1F33-4057-A775-07C3F688388F}" dt="2021-05-24T09:59:07.411" v="3501" actId="478"/>
          <ac:spMkLst>
            <pc:docMk/>
            <pc:sldMk cId="3968368318" sldId="10448"/>
            <ac:spMk id="64" creationId="{1A18C6B3-2FBD-4D14-B6FE-A7A205C9EA40}"/>
          </ac:spMkLst>
        </pc:spChg>
        <pc:spChg chg="add del mod ord">
          <ac:chgData name="Joseph KEMOUN" userId="0b06f245-0909-42d3-bad5-b3a07c8ffd21" providerId="ADAL" clId="{11BCE0D8-1F33-4057-A775-07C3F688388F}" dt="2021-05-24T12:06:10.094" v="5381" actId="478"/>
          <ac:spMkLst>
            <pc:docMk/>
            <pc:sldMk cId="3968368318" sldId="10448"/>
            <ac:spMk id="65" creationId="{14DBDE30-5E3A-4F1E-9FBC-F7821E12A88B}"/>
          </ac:spMkLst>
        </pc:spChg>
        <pc:spChg chg="mod ord">
          <ac:chgData name="Joseph KEMOUN" userId="0b06f245-0909-42d3-bad5-b3a07c8ffd21" providerId="ADAL" clId="{11BCE0D8-1F33-4057-A775-07C3F688388F}" dt="2021-05-24T09:39:17.938" v="1840" actId="1076"/>
          <ac:spMkLst>
            <pc:docMk/>
            <pc:sldMk cId="3968368318" sldId="10448"/>
            <ac:spMk id="67" creationId="{2166AFB3-822C-4F0C-86C2-2CF099B5D8CB}"/>
          </ac:spMkLst>
        </pc:spChg>
        <pc:spChg chg="mod ord">
          <ac:chgData name="Joseph KEMOUN" userId="0b06f245-0909-42d3-bad5-b3a07c8ffd21" providerId="ADAL" clId="{11BCE0D8-1F33-4057-A775-07C3F688388F}" dt="2021-05-24T09:39:11.533" v="1839" actId="1076"/>
          <ac:spMkLst>
            <pc:docMk/>
            <pc:sldMk cId="3968368318" sldId="10448"/>
            <ac:spMk id="68" creationId="{B86316C1-E02D-43CA-AC7B-2A954859A66C}"/>
          </ac:spMkLst>
        </pc:spChg>
        <pc:spChg chg="mod ord">
          <ac:chgData name="Joseph KEMOUN" userId="0b06f245-0909-42d3-bad5-b3a07c8ffd21" providerId="ADAL" clId="{11BCE0D8-1F33-4057-A775-07C3F688388F}" dt="2021-05-24T09:39:37.491" v="1842" actId="465"/>
          <ac:spMkLst>
            <pc:docMk/>
            <pc:sldMk cId="3968368318" sldId="10448"/>
            <ac:spMk id="71" creationId="{DB0DEF92-6473-4E49-922E-2E9179832804}"/>
          </ac:spMkLst>
        </pc:spChg>
        <pc:spChg chg="mod ord">
          <ac:chgData name="Joseph KEMOUN" userId="0b06f245-0909-42d3-bad5-b3a07c8ffd21" providerId="ADAL" clId="{11BCE0D8-1F33-4057-A775-07C3F688388F}" dt="2021-05-24T09:39:17.938" v="1840" actId="1076"/>
          <ac:spMkLst>
            <pc:docMk/>
            <pc:sldMk cId="3968368318" sldId="10448"/>
            <ac:spMk id="74" creationId="{79AF8252-2A93-4F69-955B-9B76FDCC3FB8}"/>
          </ac:spMkLst>
        </pc:spChg>
        <pc:spChg chg="mod ord">
          <ac:chgData name="Joseph KEMOUN" userId="0b06f245-0909-42d3-bad5-b3a07c8ffd21" providerId="ADAL" clId="{11BCE0D8-1F33-4057-A775-07C3F688388F}" dt="2021-05-24T09:39:11.533" v="1839" actId="1076"/>
          <ac:spMkLst>
            <pc:docMk/>
            <pc:sldMk cId="3968368318" sldId="10448"/>
            <ac:spMk id="77" creationId="{10F7DCE8-AA8B-4757-B7AF-E90D9003445A}"/>
          </ac:spMkLst>
        </pc:spChg>
        <pc:spChg chg="mod ord">
          <ac:chgData name="Joseph KEMOUN" userId="0b06f245-0909-42d3-bad5-b3a07c8ffd21" providerId="ADAL" clId="{11BCE0D8-1F33-4057-A775-07C3F688388F}" dt="2021-05-24T09:39:37.491" v="1842" actId="465"/>
          <ac:spMkLst>
            <pc:docMk/>
            <pc:sldMk cId="3968368318" sldId="10448"/>
            <ac:spMk id="94" creationId="{BF59A564-3768-4FD0-BB89-C2C9D89D7D6F}"/>
          </ac:spMkLst>
        </pc:spChg>
        <pc:spChg chg="mod ord">
          <ac:chgData name="Joseph KEMOUN" userId="0b06f245-0909-42d3-bad5-b3a07c8ffd21" providerId="ADAL" clId="{11BCE0D8-1F33-4057-A775-07C3F688388F}" dt="2021-05-24T09:38:11.031" v="1766"/>
          <ac:spMkLst>
            <pc:docMk/>
            <pc:sldMk cId="3968368318" sldId="10448"/>
            <ac:spMk id="97" creationId="{8FC70572-4538-4FAA-BEC9-F74E3EC477C1}"/>
          </ac:spMkLst>
        </pc:spChg>
        <pc:spChg chg="mod ord">
          <ac:chgData name="Joseph KEMOUN" userId="0b06f245-0909-42d3-bad5-b3a07c8ffd21" providerId="ADAL" clId="{11BCE0D8-1F33-4057-A775-07C3F688388F}" dt="2021-05-24T09:38:11.031" v="1768"/>
          <ac:spMkLst>
            <pc:docMk/>
            <pc:sldMk cId="3968368318" sldId="10448"/>
            <ac:spMk id="98" creationId="{FC1F4A9D-DB6A-4376-88B8-66395C2A5202}"/>
          </ac:spMkLst>
        </pc:spChg>
        <pc:grpChg chg="mod ord">
          <ac:chgData name="Joseph KEMOUN" userId="0b06f245-0909-42d3-bad5-b3a07c8ffd21" providerId="ADAL" clId="{11BCE0D8-1F33-4057-A775-07C3F688388F}" dt="2021-05-24T09:38:10.999" v="1684"/>
          <ac:grpSpMkLst>
            <pc:docMk/>
            <pc:sldMk cId="3968368318" sldId="10448"/>
            <ac:grpSpMk id="14" creationId="{38F6F087-9913-44CA-8929-CCCB784498AE}"/>
          </ac:grpSpMkLst>
        </pc:grpChg>
        <pc:grpChg chg="del">
          <ac:chgData name="Joseph KEMOUN" userId="0b06f245-0909-42d3-bad5-b3a07c8ffd21" providerId="ADAL" clId="{11BCE0D8-1F33-4057-A775-07C3F688388F}" dt="2021-05-25T11:15:55.305" v="15327" actId="478"/>
          <ac:grpSpMkLst>
            <pc:docMk/>
            <pc:sldMk cId="3968368318" sldId="10448"/>
            <ac:grpSpMk id="79" creationId="{C404B009-86CB-427A-B7F8-655CEC77C55B}"/>
          </ac:grpSpMkLst>
        </pc:grpChg>
        <pc:graphicFrameChg chg="mod">
          <ac:chgData name="Joseph KEMOUN" userId="0b06f245-0909-42d3-bad5-b3a07c8ffd21" providerId="ADAL" clId="{11BCE0D8-1F33-4057-A775-07C3F688388F}" dt="2021-05-24T09:38:11.031" v="1788"/>
          <ac:graphicFrameMkLst>
            <pc:docMk/>
            <pc:sldMk cId="3968368318" sldId="10448"/>
            <ac:graphicFrameMk id="3" creationId="{44A8661F-A698-4B3A-8522-3EA11ED55901}"/>
          </ac:graphicFrameMkLst>
        </pc:graphicFrameChg>
        <pc:picChg chg="mod ord">
          <ac:chgData name="Joseph KEMOUN" userId="0b06f245-0909-42d3-bad5-b3a07c8ffd21" providerId="ADAL" clId="{11BCE0D8-1F33-4057-A775-07C3F688388F}" dt="2021-05-24T09:38:10.999" v="1682"/>
          <ac:picMkLst>
            <pc:docMk/>
            <pc:sldMk cId="3968368318" sldId="10448"/>
            <ac:picMk id="5" creationId="{D2F1D639-27C1-48E1-A2DC-A3E4628C0CBD}"/>
          </ac:picMkLst>
        </pc:picChg>
        <pc:picChg chg="del">
          <ac:chgData name="Joseph KEMOUN" userId="0b06f245-0909-42d3-bad5-b3a07c8ffd21" providerId="ADAL" clId="{11BCE0D8-1F33-4057-A775-07C3F688388F}" dt="2021-05-24T08:48:06.235" v="189" actId="478"/>
          <ac:picMkLst>
            <pc:docMk/>
            <pc:sldMk cId="3968368318" sldId="10448"/>
            <ac:picMk id="37" creationId="{F285D89F-AA55-4B2C-BD7B-20EE2D5D339E}"/>
          </ac:picMkLst>
        </pc:picChg>
        <pc:picChg chg="mod ord">
          <ac:chgData name="Joseph KEMOUN" userId="0b06f245-0909-42d3-bad5-b3a07c8ffd21" providerId="ADAL" clId="{11BCE0D8-1F33-4057-A775-07C3F688388F}" dt="2021-05-24T09:39:37.491" v="1842" actId="465"/>
          <ac:picMkLst>
            <pc:docMk/>
            <pc:sldMk cId="3968368318" sldId="10448"/>
            <ac:picMk id="43" creationId="{0581F7B7-2060-46C8-8A4E-3CA430EA55BF}"/>
          </ac:picMkLst>
        </pc:picChg>
        <pc:picChg chg="mod ord">
          <ac:chgData name="Joseph KEMOUN" userId="0b06f245-0909-42d3-bad5-b3a07c8ffd21" providerId="ADAL" clId="{11BCE0D8-1F33-4057-A775-07C3F688388F}" dt="2021-05-24T09:38:22.189" v="1813" actId="1038"/>
          <ac:picMkLst>
            <pc:docMk/>
            <pc:sldMk cId="3968368318" sldId="10448"/>
            <ac:picMk id="54" creationId="{59A14BDB-B1A6-4486-9B90-B044F141A9A7}"/>
          </ac:picMkLst>
        </pc:picChg>
        <pc:picChg chg="mod ord">
          <ac:chgData name="Joseph KEMOUN" userId="0b06f245-0909-42d3-bad5-b3a07c8ffd21" providerId="ADAL" clId="{11BCE0D8-1F33-4057-A775-07C3F688388F}" dt="2021-05-24T09:39:11.533" v="1839" actId="1076"/>
          <ac:picMkLst>
            <pc:docMk/>
            <pc:sldMk cId="3968368318" sldId="10448"/>
            <ac:picMk id="60" creationId="{89570A62-3876-4F5C-8001-59F7F68A8582}"/>
          </ac:picMkLst>
        </pc:picChg>
        <pc:picChg chg="mod ord">
          <ac:chgData name="Joseph KEMOUN" userId="0b06f245-0909-42d3-bad5-b3a07c8ffd21" providerId="ADAL" clId="{11BCE0D8-1F33-4057-A775-07C3F688388F}" dt="2021-05-24T09:39:17.938" v="1840" actId="1076"/>
          <ac:picMkLst>
            <pc:docMk/>
            <pc:sldMk cId="3968368318" sldId="10448"/>
            <ac:picMk id="1024" creationId="{3DBDD6D3-592B-41B4-BB2A-CD25085483A2}"/>
          </ac:picMkLst>
        </pc:picChg>
        <pc:picChg chg="mod ord">
          <ac:chgData name="Joseph KEMOUN" userId="0b06f245-0909-42d3-bad5-b3a07c8ffd21" providerId="ADAL" clId="{11BCE0D8-1F33-4057-A775-07C3F688388F}" dt="2021-05-24T09:39:37.491" v="1842" actId="465"/>
          <ac:picMkLst>
            <pc:docMk/>
            <pc:sldMk cId="3968368318" sldId="10448"/>
            <ac:picMk id="1026" creationId="{D7CFE2EB-ABED-4516-9E4E-851665E3F28B}"/>
          </ac:picMkLst>
        </pc:picChg>
        <pc:picChg chg="mod ord">
          <ac:chgData name="Joseph KEMOUN" userId="0b06f245-0909-42d3-bad5-b3a07c8ffd21" providerId="ADAL" clId="{11BCE0D8-1F33-4057-A775-07C3F688388F}" dt="2021-05-24T09:39:17.938" v="1840" actId="1076"/>
          <ac:picMkLst>
            <pc:docMk/>
            <pc:sldMk cId="3968368318" sldId="10448"/>
            <ac:picMk id="1029" creationId="{CDC34624-35B4-4A8F-A88D-63CBB70EC502}"/>
          </ac:picMkLst>
        </pc:picChg>
        <pc:picChg chg="mod ord">
          <ac:chgData name="Joseph KEMOUN" userId="0b06f245-0909-42d3-bad5-b3a07c8ffd21" providerId="ADAL" clId="{11BCE0D8-1F33-4057-A775-07C3F688388F}" dt="2021-05-24T09:39:11.533" v="1839" actId="1076"/>
          <ac:picMkLst>
            <pc:docMk/>
            <pc:sldMk cId="3968368318" sldId="10448"/>
            <ac:picMk id="1031" creationId="{AFCC9A41-2772-4AF8-A6B2-899ABAB27131}"/>
          </ac:picMkLst>
        </pc:picChg>
        <pc:picChg chg="mod ord">
          <ac:chgData name="Joseph KEMOUN" userId="0b06f245-0909-42d3-bad5-b3a07c8ffd21" providerId="ADAL" clId="{11BCE0D8-1F33-4057-A775-07C3F688388F}" dt="2021-05-24T09:39:02.151" v="1836" actId="12788"/>
          <ac:picMkLst>
            <pc:docMk/>
            <pc:sldMk cId="3968368318" sldId="10448"/>
            <ac:picMk id="1047" creationId="{7C57E807-8480-4449-95A6-F9293D6E3669}"/>
          </ac:picMkLst>
        </pc:picChg>
        <pc:picChg chg="mod ord">
          <ac:chgData name="Joseph KEMOUN" userId="0b06f245-0909-42d3-bad5-b3a07c8ffd21" providerId="ADAL" clId="{11BCE0D8-1F33-4057-A775-07C3F688388F}" dt="2021-05-24T09:39:37.491" v="1842" actId="465"/>
          <ac:picMkLst>
            <pc:docMk/>
            <pc:sldMk cId="3968368318" sldId="10448"/>
            <ac:picMk id="1049" creationId="{B62FF67A-0317-4C03-8BAE-DCF23D0F186B}"/>
          </ac:picMkLst>
        </pc:picChg>
        <pc:cxnChg chg="mod ord">
          <ac:chgData name="Joseph KEMOUN" userId="0b06f245-0909-42d3-bad5-b3a07c8ffd21" providerId="ADAL" clId="{11BCE0D8-1F33-4057-A775-07C3F688388F}" dt="2021-05-24T09:38:10.999" v="1686"/>
          <ac:cxnSpMkLst>
            <pc:docMk/>
            <pc:sldMk cId="3968368318" sldId="10448"/>
            <ac:cxnSpMk id="21" creationId="{B1A639F8-5359-4D66-AB82-E0FEB65FEEE7}"/>
          </ac:cxnSpMkLst>
        </pc:cxnChg>
        <pc:cxnChg chg="mod ord">
          <ac:chgData name="Joseph KEMOUN" userId="0b06f245-0909-42d3-bad5-b3a07c8ffd21" providerId="ADAL" clId="{11BCE0D8-1F33-4057-A775-07C3F688388F}" dt="2021-05-24T09:38:10.999" v="1688"/>
          <ac:cxnSpMkLst>
            <pc:docMk/>
            <pc:sldMk cId="3968368318" sldId="10448"/>
            <ac:cxnSpMk id="22" creationId="{9B929B12-AFBA-450E-9525-BA9E595B4D56}"/>
          </ac:cxnSpMkLst>
        </pc:cxnChg>
        <pc:cxnChg chg="mod ord">
          <ac:chgData name="Joseph KEMOUN" userId="0b06f245-0909-42d3-bad5-b3a07c8ffd21" providerId="ADAL" clId="{11BCE0D8-1F33-4057-A775-07C3F688388F}" dt="2021-05-24T09:38:10.999" v="1704"/>
          <ac:cxnSpMkLst>
            <pc:docMk/>
            <pc:sldMk cId="3968368318" sldId="10448"/>
            <ac:cxnSpMk id="28" creationId="{B3CE31BC-34D4-4E73-A2F9-1ECCA4A3CF50}"/>
          </ac:cxnSpMkLst>
        </pc:cxnChg>
        <pc:cxnChg chg="mod ord">
          <ac:chgData name="Joseph KEMOUN" userId="0b06f245-0909-42d3-bad5-b3a07c8ffd21" providerId="ADAL" clId="{11BCE0D8-1F33-4057-A775-07C3F688388F}" dt="2021-05-24T09:38:10.999" v="1706"/>
          <ac:cxnSpMkLst>
            <pc:docMk/>
            <pc:sldMk cId="3968368318" sldId="10448"/>
            <ac:cxnSpMk id="35" creationId="{C53EA0FF-6AC0-4C1C-BF35-72009DE55036}"/>
          </ac:cxnSpMkLst>
        </pc:cxnChg>
        <pc:cxnChg chg="mod ord">
          <ac:chgData name="Joseph KEMOUN" userId="0b06f245-0909-42d3-bad5-b3a07c8ffd21" providerId="ADAL" clId="{11BCE0D8-1F33-4057-A775-07C3F688388F}" dt="2021-05-24T09:38:10.999" v="1708"/>
          <ac:cxnSpMkLst>
            <pc:docMk/>
            <pc:sldMk cId="3968368318" sldId="10448"/>
            <ac:cxnSpMk id="38" creationId="{39BD55F9-6A97-42C2-93FE-FDED86807A94}"/>
          </ac:cxnSpMkLst>
        </pc:cxnChg>
        <pc:cxnChg chg="mod ord">
          <ac:chgData name="Joseph KEMOUN" userId="0b06f245-0909-42d3-bad5-b3a07c8ffd21" providerId="ADAL" clId="{11BCE0D8-1F33-4057-A775-07C3F688388F}" dt="2021-05-24T09:38:10.999" v="1710"/>
          <ac:cxnSpMkLst>
            <pc:docMk/>
            <pc:sldMk cId="3968368318" sldId="10448"/>
            <ac:cxnSpMk id="40" creationId="{27B309F8-220B-46A7-9D33-E986C5BD862B}"/>
          </ac:cxnSpMkLst>
        </pc:cxnChg>
        <pc:cxnChg chg="mod ord">
          <ac:chgData name="Joseph KEMOUN" userId="0b06f245-0909-42d3-bad5-b3a07c8ffd21" providerId="ADAL" clId="{11BCE0D8-1F33-4057-A775-07C3F688388F}" dt="2021-05-24T09:38:10.999" v="1712"/>
          <ac:cxnSpMkLst>
            <pc:docMk/>
            <pc:sldMk cId="3968368318" sldId="10448"/>
            <ac:cxnSpMk id="42" creationId="{9D02EFEF-CAD6-47B0-9CDC-B01BC87D4886}"/>
          </ac:cxnSpMkLst>
        </pc:cxnChg>
        <pc:cxnChg chg="mod ord">
          <ac:chgData name="Joseph KEMOUN" userId="0b06f245-0909-42d3-bad5-b3a07c8ffd21" providerId="ADAL" clId="{11BCE0D8-1F33-4057-A775-07C3F688388F}" dt="2021-05-24T09:38:11.015" v="1732"/>
          <ac:cxnSpMkLst>
            <pc:docMk/>
            <pc:sldMk cId="3968368318" sldId="10448"/>
            <ac:cxnSpMk id="58" creationId="{7D5D11B0-EE80-4972-AB9B-FE160081EFC9}"/>
          </ac:cxnSpMkLst>
        </pc:cxnChg>
      </pc:sldChg>
      <pc:sldChg chg="addSp delSp modSp mod">
        <pc:chgData name="Joseph KEMOUN" userId="0b06f245-0909-42d3-bad5-b3a07c8ffd21" providerId="ADAL" clId="{11BCE0D8-1F33-4057-A775-07C3F688388F}" dt="2021-05-25T09:18:52.805" v="13722" actId="20577"/>
        <pc:sldMkLst>
          <pc:docMk/>
          <pc:sldMk cId="3405907677" sldId="10449"/>
        </pc:sldMkLst>
        <pc:spChg chg="mod">
          <ac:chgData name="Joseph KEMOUN" userId="0b06f245-0909-42d3-bad5-b3a07c8ffd21" providerId="ADAL" clId="{11BCE0D8-1F33-4057-A775-07C3F688388F}" dt="2021-05-24T14:13:34.352" v="7991" actId="948"/>
          <ac:spMkLst>
            <pc:docMk/>
            <pc:sldMk cId="3405907677" sldId="10449"/>
            <ac:spMk id="2" creationId="{531041C5-E8A2-412F-8DD7-D013B496B687}"/>
          </ac:spMkLst>
        </pc:spChg>
        <pc:spChg chg="add del mod modVis">
          <ac:chgData name="Joseph KEMOUN" userId="0b06f245-0909-42d3-bad5-b3a07c8ffd21" providerId="ADAL" clId="{11BCE0D8-1F33-4057-A775-07C3F688388F}" dt="2021-05-24T14:13:34.459" v="8031"/>
          <ac:spMkLst>
            <pc:docMk/>
            <pc:sldMk cId="3405907677" sldId="10449"/>
            <ac:spMk id="57" creationId="{5A4AB094-911C-4042-91AB-880A73BB3BDB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25" creationId="{4E6AECE0-82F5-4742-8B27-C41B464D5F46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26" creationId="{9AA2375E-FEB4-43D7-9BAD-C38F873D462F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27" creationId="{9DBE474A-A6D3-493B-BB35-120108A4E18E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28" creationId="{F15FC71B-6C28-4CC3-8598-0A139E55A05D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29" creationId="{32627CF8-B622-4AAA-AE03-6048E0B8303C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0" creationId="{57C671EC-20E0-4224-973B-A6EC7E8CD2E4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1" creationId="{09216104-547C-4253-9332-4EC751C57662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2" creationId="{21A43C4B-373D-4504-AAEB-CE99519FC3BE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3" creationId="{F02014BC-3C7F-47E0-9AD6-C980351A1840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4" creationId="{87AEF91D-1D65-408A-B2FE-53547F50EEF2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5" creationId="{874C529B-B960-44C2-98E8-FF344BA3C973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6" creationId="{8375EDE3-C5E8-4926-958C-DC5F5A58590C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7" creationId="{2135EE18-563F-41F0-85E3-902F74E035D6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8" creationId="{2F3DE0D8-2B22-4DFF-943D-1203ACA68CE4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39" creationId="{BB4854E4-F457-45CB-89CE-F2BC622AB709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0" creationId="{753CD52C-9A91-4BE0-BD60-9B3BAD74CC08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1" creationId="{B66D9A34-EEB8-4B93-ACD4-23915D7B3F43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2" creationId="{71AA9DDD-4F96-41E7-89EC-9E84C59FA061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3" creationId="{F47724AF-7491-4243-A8B0-4F80B8634E68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4" creationId="{4F052271-CB15-4B2B-868C-D22AA2E4C0CF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5" creationId="{CE2098C8-3D61-42BC-8C7F-632DE4C71333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6" creationId="{40A805A3-1A0D-4F3D-A4AE-34B15924E262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7" creationId="{384CEBA9-FC1F-4C0A-B24E-2EDC10A4E6EA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8" creationId="{5A60E55B-319F-48C8-A7AA-4CC999171E9B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49" creationId="{7A9B5CBB-648F-4D4B-A28E-09F3CB6469B7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0" creationId="{918424DF-977E-4BCA-AFB2-14F3C54F29ED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1" creationId="{7E432B09-3563-44F4-9574-AE65F3B6E72D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2" creationId="{E99726C0-FA11-47A7-AFD1-6361087FCD2B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3" creationId="{C1EABC36-4692-4B8C-A31D-178F92DEF37C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4" creationId="{58991407-37FB-4FD0-86F2-E32114DA95B9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5" creationId="{D0AE7733-EC96-470A-A7FC-0BC6C5C639B9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6" creationId="{94E3A02C-BF60-44AC-A348-8C5DAB4BD323}"/>
          </ac:spMkLst>
        </pc:spChg>
        <pc:spChg chg="del">
          <ac:chgData name="Joseph KEMOUN" userId="0b06f245-0909-42d3-bad5-b3a07c8ffd21" providerId="ADAL" clId="{11BCE0D8-1F33-4057-A775-07C3F688388F}" dt="2021-05-24T14:13:50.845" v="8034" actId="478"/>
          <ac:spMkLst>
            <pc:docMk/>
            <pc:sldMk cId="3405907677" sldId="10449"/>
            <ac:spMk id="157" creationId="{D0F81906-7C7C-4DCF-BAB0-4E432E711BF2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1" creationId="{D26B3B4C-0BA0-4D63-A701-E6813D2A2CB7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2" creationId="{A2C768F4-921F-4586-B208-7929D4DA612C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3" creationId="{E87AD10A-D735-4F6B-AA41-CAC17745E1D2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4" creationId="{31E39860-0B15-41C4-8774-CB0D42A3A627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5" creationId="{169F8ACE-D7CA-4C6B-B3BD-76940BA975EC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6" creationId="{B9232747-256D-4ED7-904C-504D591EDEFE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7" creationId="{BD2828F0-E9A7-454D-81DA-C1F436B73DF8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8" creationId="{EC09FA5D-F5CA-4B00-98C1-976AD0618777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09" creationId="{50C120A6-3912-4D52-83F1-1DD591F70F5E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1" creationId="{AB90ABE1-3FDE-4D46-974D-EEF2687DED98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2" creationId="{739C0BDD-1894-40EE-B1B6-2934BB98CDA1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3" creationId="{D0049957-A378-4A6C-9E79-A218F194C2E7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4" creationId="{413EE005-5A6B-4498-AE1F-CA2ABE25FD34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5" creationId="{08D57129-A388-40E1-A874-9092584331DD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6" creationId="{C639BDB4-13C0-42FD-AFA9-D6A708E3CEFB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7" creationId="{93A5E402-16BB-4E2E-A6F2-9333AB0897DE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8" creationId="{2C8715A3-B3E7-4D7F-B6AF-E85406F13BFF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19" creationId="{16EB0C99-5FCC-4573-A37D-C7DA066D9731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0" creationId="{AC1C3CB8-AED1-4AA3-946D-3355BA9C2028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1" creationId="{64B05499-729A-4C89-A5ED-50425F0A6360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2" creationId="{66D4B481-D0C7-40E3-A2E1-059D76C21C85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3" creationId="{FD293E5D-E8EC-423F-9371-50103D6B4EDF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4" creationId="{4023FB59-AC13-4634-9B89-620378138416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6" creationId="{006427FE-133D-43CC-953C-5D7A685CC63E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7" creationId="{4233FBE7-3F6A-44B3-BD89-11C1D5CD073B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8" creationId="{5C0D4316-6D54-4F3B-B7D9-CC26C7CEF0F2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29" creationId="{3CF06064-0B70-4A45-959E-7BF84D09E0E6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31" creationId="{A39EC382-D681-4C30-A507-DF7692AF6347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33" creationId="{76B94755-3590-4E96-A2F6-5D260B8F0956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34" creationId="{01D88719-4A8C-4154-8308-596EFC6042A8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35" creationId="{1DEF0C76-F522-4178-926F-3DE9E487F9F0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36" creationId="{E628476B-2CF0-4C1F-ABBC-88FACE0A49E3}"/>
          </ac:spMkLst>
        </pc:spChg>
        <pc:spChg chg="add del mod">
          <ac:chgData name="Joseph KEMOUN" userId="0b06f245-0909-42d3-bad5-b3a07c8ffd21" providerId="ADAL" clId="{11BCE0D8-1F33-4057-A775-07C3F688388F}" dt="2021-05-24T14:14:24.251" v="8040" actId="478"/>
          <ac:spMkLst>
            <pc:docMk/>
            <pc:sldMk cId="3405907677" sldId="10449"/>
            <ac:spMk id="238" creationId="{5C93B18C-CEB7-4693-8598-A31997AAEABA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39" creationId="{4F02B17A-8312-4B62-988C-BEB3EB7580B4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40" creationId="{140A5ECC-59E7-4A8F-8AAA-188375FB7A58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41" creationId="{8A0D1443-E572-4F8C-992F-B94B18BD1E4F}"/>
          </ac:spMkLst>
        </pc:spChg>
        <pc:spChg chg="add mod">
          <ac:chgData name="Joseph KEMOUN" userId="0b06f245-0909-42d3-bad5-b3a07c8ffd21" providerId="ADAL" clId="{11BCE0D8-1F33-4057-A775-07C3F688388F}" dt="2021-05-24T15:04:09.082" v="8405" actId="465"/>
          <ac:spMkLst>
            <pc:docMk/>
            <pc:sldMk cId="3405907677" sldId="10449"/>
            <ac:spMk id="242" creationId="{78D5196F-1640-4EF1-B9AF-8BDEDC5A0403}"/>
          </ac:spMkLst>
        </pc:spChg>
        <pc:spChg chg="add mod">
          <ac:chgData name="Joseph KEMOUN" userId="0b06f245-0909-42d3-bad5-b3a07c8ffd21" providerId="ADAL" clId="{11BCE0D8-1F33-4057-A775-07C3F688388F}" dt="2021-05-24T15:04:09.082" v="8405" actId="465"/>
          <ac:spMkLst>
            <pc:docMk/>
            <pc:sldMk cId="3405907677" sldId="10449"/>
            <ac:spMk id="243" creationId="{10A460B4-BD08-47E3-9A8C-D65D510D36D0}"/>
          </ac:spMkLst>
        </pc:spChg>
        <pc:spChg chg="add mod">
          <ac:chgData name="Joseph KEMOUN" userId="0b06f245-0909-42d3-bad5-b3a07c8ffd21" providerId="ADAL" clId="{11BCE0D8-1F33-4057-A775-07C3F688388F}" dt="2021-05-24T15:04:09.082" v="8405" actId="465"/>
          <ac:spMkLst>
            <pc:docMk/>
            <pc:sldMk cId="3405907677" sldId="10449"/>
            <ac:spMk id="244" creationId="{813205A3-2F26-4707-BDD6-F05C30CC0265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45" creationId="{B7F07B0D-CDB2-4A1E-8ECB-48CB7A464556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48" creationId="{877630E0-6749-4105-9DEF-3F53A7D7C123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49" creationId="{46F4DB19-4F2B-4B61-BD17-FC2DFAA2FA1C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50" creationId="{5A9A6392-FC3C-4337-9B83-45362AEC62DA}"/>
          </ac:spMkLst>
        </pc:spChg>
        <pc:spChg chg="add mod">
          <ac:chgData name="Joseph KEMOUN" userId="0b06f245-0909-42d3-bad5-b3a07c8ffd21" providerId="ADAL" clId="{11BCE0D8-1F33-4057-A775-07C3F688388F}" dt="2021-05-24T15:03:44.218" v="8401" actId="14100"/>
          <ac:spMkLst>
            <pc:docMk/>
            <pc:sldMk cId="3405907677" sldId="10449"/>
            <ac:spMk id="251" creationId="{384D57D2-2E4A-4619-9DCA-32276997CBE7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65" creationId="{B01E651D-29D8-458D-9846-BBB17EBDBB5A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67" creationId="{A530B267-B046-4BBA-8EF5-FD0E0828C497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68" creationId="{8685786A-CA22-4DB0-8D7F-6481F4425A62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69" creationId="{31A9CA3A-DDFC-46C6-A7FC-D9BBE435E2EB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0" creationId="{DC8B482B-4D88-4447-B4DE-DDB4D4F1A338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1" creationId="{62831129-55F7-40C5-AC04-164F509DA8A7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3" creationId="{041A4FA2-3636-434E-86F3-C87D3FB17B7D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4" creationId="{B785EA7D-9D34-460C-BD94-A86CCAB15E11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5" creationId="{B85657CA-238C-4622-9010-E096EEB09D05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6" creationId="{945690DA-9C53-4F37-A9CC-38C533297AE9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7" creationId="{29A82E92-D2F5-428D-9182-460A2B8E27C3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79" creationId="{E729ADE8-6313-435A-9351-E6D78D52080F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80" creationId="{20D67F30-7BDF-43CB-B234-B922EFE2BC4C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288" creationId="{C876106F-6AA9-41BF-B417-328016532DFA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03" creationId="{39F148EA-4A80-4229-A365-10C0B966451A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05" creationId="{20DE95CC-BDA4-494A-ADFD-6C41CA6D835C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06" creationId="{829EC29E-FDD9-4623-BAD2-53716B007704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08" creationId="{82FFD2AB-FAA1-4FF3-AE15-5D83432F3F47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13" creationId="{5AFED507-3962-4E30-9626-587754FD972D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14" creationId="{95056B63-DFF5-4F9C-9A19-4524DB0B663F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25" creationId="{BF126D74-5C8D-42DD-86B4-10C27C741F1E}"/>
          </ac:spMkLst>
        </pc:spChg>
        <pc:spChg chg="add mod">
          <ac:chgData name="Joseph KEMOUN" userId="0b06f245-0909-42d3-bad5-b3a07c8ffd21" providerId="ADAL" clId="{11BCE0D8-1F33-4057-A775-07C3F688388F}" dt="2021-05-24T14:14:28.196" v="8046" actId="1038"/>
          <ac:spMkLst>
            <pc:docMk/>
            <pc:sldMk cId="3405907677" sldId="10449"/>
            <ac:spMk id="326" creationId="{919EEE06-0C44-4F8F-8E35-AA4842899679}"/>
          </ac:spMkLst>
        </pc:spChg>
        <pc:spChg chg="mod">
          <ac:chgData name="Joseph KEMOUN" userId="0b06f245-0909-42d3-bad5-b3a07c8ffd21" providerId="ADAL" clId="{11BCE0D8-1F33-4057-A775-07C3F688388F}" dt="2021-05-25T09:18:52.805" v="13722" actId="20577"/>
          <ac:spMkLst>
            <pc:docMk/>
            <pc:sldMk cId="3405907677" sldId="10449"/>
            <ac:spMk id="365" creationId="{022F56B6-6CA0-428C-A1FD-15AD176ACAB3}"/>
          </ac:spMkLst>
        </pc:spChg>
        <pc:graphicFrameChg chg="mod">
          <ac:chgData name="Joseph KEMOUN" userId="0b06f245-0909-42d3-bad5-b3a07c8ffd21" providerId="ADAL" clId="{11BCE0D8-1F33-4057-A775-07C3F688388F}" dt="2021-05-24T14:13:34.459" v="8033"/>
          <ac:graphicFrameMkLst>
            <pc:docMk/>
            <pc:sldMk cId="3405907677" sldId="10449"/>
            <ac:graphicFrameMk id="7" creationId="{85240F7D-9497-471F-89C9-677377D2D53A}"/>
          </ac:graphicFrameMkLst>
        </pc:graphicFrameChg>
      </pc:sldChg>
      <pc:sldChg chg="modSp mod">
        <pc:chgData name="Joseph KEMOUN" userId="0b06f245-0909-42d3-bad5-b3a07c8ffd21" providerId="ADAL" clId="{11BCE0D8-1F33-4057-A775-07C3F688388F}" dt="2021-05-25T09:13:32.135" v="13670" actId="207"/>
        <pc:sldMkLst>
          <pc:docMk/>
          <pc:sldMk cId="3177853375" sldId="10454"/>
        </pc:sldMkLst>
        <pc:spChg chg="mod">
          <ac:chgData name="Joseph KEMOUN" userId="0b06f245-0909-42d3-bad5-b3a07c8ffd21" providerId="ADAL" clId="{11BCE0D8-1F33-4057-A775-07C3F688388F}" dt="2021-05-25T09:13:32.135" v="13670" actId="207"/>
          <ac:spMkLst>
            <pc:docMk/>
            <pc:sldMk cId="3177853375" sldId="10454"/>
            <ac:spMk id="49" creationId="{5B79BA09-24AF-4DD4-A40D-1BA5E697B06D}"/>
          </ac:spMkLst>
        </pc:spChg>
      </pc:sldChg>
      <pc:sldChg chg="addSp delSp modSp new add mod ord">
        <pc:chgData name="Joseph KEMOUN" userId="0b06f245-0909-42d3-bad5-b3a07c8ffd21" providerId="ADAL" clId="{11BCE0D8-1F33-4057-A775-07C3F688388F}" dt="2021-05-25T11:19:27.175" v="15431" actId="1076"/>
        <pc:sldMkLst>
          <pc:docMk/>
          <pc:sldMk cId="2117336307" sldId="10458"/>
        </pc:sldMkLst>
        <pc:spChg chg="mod">
          <ac:chgData name="Joseph KEMOUN" userId="0b06f245-0909-42d3-bad5-b3a07c8ffd21" providerId="ADAL" clId="{11BCE0D8-1F33-4057-A775-07C3F688388F}" dt="2021-05-24T09:54:01.175" v="3457" actId="948"/>
          <ac:spMkLst>
            <pc:docMk/>
            <pc:sldMk cId="2117336307" sldId="10458"/>
            <ac:spMk id="2" creationId="{97E194A7-6D37-418C-9122-DDE304798BEF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3" creationId="{8CF4F83C-DF06-481B-B47A-FD3FB9938753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4" creationId="{9A211B58-FC94-42D9-B8A5-6D5DF998B3F7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5" creationId="{C25708FA-3E9E-4816-9525-DFB86044AD07}"/>
          </ac:spMkLst>
        </pc:spChg>
        <pc:spChg chg="add mod">
          <ac:chgData name="Joseph KEMOUN" userId="0b06f245-0909-42d3-bad5-b3a07c8ffd21" providerId="ADAL" clId="{11BCE0D8-1F33-4057-A775-07C3F688388F}" dt="2021-05-24T09:28:22.724" v="1196" actId="554"/>
          <ac:spMkLst>
            <pc:docMk/>
            <pc:sldMk cId="2117336307" sldId="10458"/>
            <ac:spMk id="6" creationId="{A4BC731C-26C0-4283-BB4E-50D5B1717FE8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7" creationId="{5FF043EB-3601-4C22-9167-48A1A3AE1F94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8" creationId="{FFBB7020-4421-4CFB-9AD5-1893BFC8D2F0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9" creationId="{F751E742-ACE5-4311-BEC7-8D8A10732879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0" creationId="{4DF43315-8157-40B9-831B-B3F41D276556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1" creationId="{C6B0A0A6-7DC1-446E-A970-1C78FE7B05E7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2" creationId="{67693F63-D872-4044-ADB2-C400E44ED05F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3" creationId="{FFD2313E-5B14-4DD1-BDBA-9C5889D66C73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4" creationId="{329454EA-414E-4AC5-80E0-57789AEC3CB6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5" creationId="{74475D91-FAA9-4481-BB90-C143AB2CF6AD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6" creationId="{C3B5A392-C953-443D-83BE-3BA88F87E568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7" creationId="{08602E73-CEE9-4D0A-8C3F-5D734DA21856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18" creationId="{D961A7BD-272D-4FEC-9E2B-02B8F98DF182}"/>
          </ac:spMkLst>
        </pc:spChg>
        <pc:spChg chg="add mod">
          <ac:chgData name="Joseph KEMOUN" userId="0b06f245-0909-42d3-bad5-b3a07c8ffd21" providerId="ADAL" clId="{11BCE0D8-1F33-4057-A775-07C3F688388F}" dt="2021-05-25T11:19:27.175" v="15431" actId="1076"/>
          <ac:spMkLst>
            <pc:docMk/>
            <pc:sldMk cId="2117336307" sldId="10458"/>
            <ac:spMk id="18" creationId="{FA61C699-1B14-4A7D-97EA-A0DCD26A8613}"/>
          </ac:spMkLst>
        </pc:spChg>
        <pc:spChg chg="add mod">
          <ac:chgData name="Joseph KEMOUN" userId="0b06f245-0909-42d3-bad5-b3a07c8ffd21" providerId="ADAL" clId="{11BCE0D8-1F33-4057-A775-07C3F688388F}" dt="2021-05-24T08:39:27.244" v="5"/>
          <ac:spMkLst>
            <pc:docMk/>
            <pc:sldMk cId="2117336307" sldId="10458"/>
            <ac:spMk id="22" creationId="{98DD4FBD-6686-4401-96ED-A36BAAE66F7C}"/>
          </ac:spMkLst>
        </pc:spChg>
        <pc:spChg chg="add mod">
          <ac:chgData name="Joseph KEMOUN" userId="0b06f245-0909-42d3-bad5-b3a07c8ffd21" providerId="ADAL" clId="{11BCE0D8-1F33-4057-A775-07C3F688388F}" dt="2021-05-24T08:39:57.495" v="70" actId="20577"/>
          <ac:spMkLst>
            <pc:docMk/>
            <pc:sldMk cId="2117336307" sldId="10458"/>
            <ac:spMk id="23" creationId="{B17B5902-BDE5-4C91-98D6-624AA4BD047A}"/>
          </ac:spMkLst>
        </pc:spChg>
        <pc:spChg chg="add del mod">
          <ac:chgData name="Joseph KEMOUN" userId="0b06f245-0909-42d3-bad5-b3a07c8ffd21" providerId="ADAL" clId="{11BCE0D8-1F33-4057-A775-07C3F688388F}" dt="2021-05-24T09:03:03.990" v="1099" actId="478"/>
          <ac:spMkLst>
            <pc:docMk/>
            <pc:sldMk cId="2117336307" sldId="10458"/>
            <ac:spMk id="25" creationId="{3007B0E1-FE97-4552-AD80-0688A8F72518}"/>
          </ac:spMkLst>
        </pc:spChg>
        <pc:spChg chg="add del mod">
          <ac:chgData name="Joseph KEMOUN" userId="0b06f245-0909-42d3-bad5-b3a07c8ffd21" providerId="ADAL" clId="{11BCE0D8-1F33-4057-A775-07C3F688388F}" dt="2021-05-24T08:40:55.732" v="107" actId="22"/>
          <ac:spMkLst>
            <pc:docMk/>
            <pc:sldMk cId="2117336307" sldId="10458"/>
            <ac:spMk id="27" creationId="{F1D5F977-07A9-430A-93F1-3F96CF82B670}"/>
          </ac:spMkLst>
        </pc:spChg>
        <pc:spChg chg="add del mod">
          <ac:chgData name="Joseph KEMOUN" userId="0b06f245-0909-42d3-bad5-b3a07c8ffd21" providerId="ADAL" clId="{11BCE0D8-1F33-4057-A775-07C3F688388F}" dt="2021-05-24T12:19:33.647" v="5384" actId="478"/>
          <ac:spMkLst>
            <pc:docMk/>
            <pc:sldMk cId="2117336307" sldId="10458"/>
            <ac:spMk id="28" creationId="{E7902283-A8C0-439F-A999-A7EC7F49935D}"/>
          </ac:spMkLst>
        </pc:spChg>
        <pc:spChg chg="add del">
          <ac:chgData name="Joseph KEMOUN" userId="0b06f245-0909-42d3-bad5-b3a07c8ffd21" providerId="ADAL" clId="{11BCE0D8-1F33-4057-A775-07C3F688388F}" dt="2021-05-24T08:53:33.573" v="193" actId="478"/>
          <ac:spMkLst>
            <pc:docMk/>
            <pc:sldMk cId="2117336307" sldId="10458"/>
            <ac:spMk id="29" creationId="{88E38429-695F-4EAC-8868-158A26A801D1}"/>
          </ac:spMkLst>
        </pc:spChg>
        <pc:spChg chg="add mod">
          <ac:chgData name="Joseph KEMOUN" userId="0b06f245-0909-42d3-bad5-b3a07c8ffd21" providerId="ADAL" clId="{11BCE0D8-1F33-4057-A775-07C3F688388F}" dt="2021-05-24T14:00:15.529" v="7929" actId="465"/>
          <ac:spMkLst>
            <pc:docMk/>
            <pc:sldMk cId="2117336307" sldId="10458"/>
            <ac:spMk id="30" creationId="{8781E301-2829-4212-BC5D-10A3652130A7}"/>
          </ac:spMkLst>
        </pc:spChg>
        <pc:spChg chg="add mod">
          <ac:chgData name="Joseph KEMOUN" userId="0b06f245-0909-42d3-bad5-b3a07c8ffd21" providerId="ADAL" clId="{11BCE0D8-1F33-4057-A775-07C3F688388F}" dt="2021-05-24T14:00:15.529" v="7929" actId="465"/>
          <ac:spMkLst>
            <pc:docMk/>
            <pc:sldMk cId="2117336307" sldId="10458"/>
            <ac:spMk id="31" creationId="{FC5D5549-3024-4706-A1D3-2EC5B6005011}"/>
          </ac:spMkLst>
        </pc:spChg>
        <pc:spChg chg="add mod">
          <ac:chgData name="Joseph KEMOUN" userId="0b06f245-0909-42d3-bad5-b3a07c8ffd21" providerId="ADAL" clId="{11BCE0D8-1F33-4057-A775-07C3F688388F}" dt="2021-05-24T13:59:45.047" v="7924" actId="3064"/>
          <ac:spMkLst>
            <pc:docMk/>
            <pc:sldMk cId="2117336307" sldId="10458"/>
            <ac:spMk id="32" creationId="{95C2A0B0-3C59-417F-A7AF-CB055F5691A9}"/>
          </ac:spMkLst>
        </pc:spChg>
        <pc:spChg chg="add mod">
          <ac:chgData name="Joseph KEMOUN" userId="0b06f245-0909-42d3-bad5-b3a07c8ffd21" providerId="ADAL" clId="{11BCE0D8-1F33-4057-A775-07C3F688388F}" dt="2021-05-24T14:00:15.529" v="7929" actId="465"/>
          <ac:spMkLst>
            <pc:docMk/>
            <pc:sldMk cId="2117336307" sldId="10458"/>
            <ac:spMk id="33" creationId="{9A17175B-3D0E-49D1-9772-511BEABBDF40}"/>
          </ac:spMkLst>
        </pc:spChg>
        <pc:spChg chg="add mod">
          <ac:chgData name="Joseph KEMOUN" userId="0b06f245-0909-42d3-bad5-b3a07c8ffd21" providerId="ADAL" clId="{11BCE0D8-1F33-4057-A775-07C3F688388F}" dt="2021-05-24T13:59:45.047" v="7924" actId="3064"/>
          <ac:spMkLst>
            <pc:docMk/>
            <pc:sldMk cId="2117336307" sldId="10458"/>
            <ac:spMk id="34" creationId="{0D26BFCF-8441-4D95-B0FE-AB36CB9BE014}"/>
          </ac:spMkLst>
        </pc:spChg>
        <pc:spChg chg="del mod">
          <ac:chgData name="Joseph KEMOUN" userId="0b06f245-0909-42d3-bad5-b3a07c8ffd21" providerId="ADAL" clId="{11BCE0D8-1F33-4057-A775-07C3F688388F}" dt="2021-05-24T09:31:54.902" v="1534" actId="478"/>
          <ac:spMkLst>
            <pc:docMk/>
            <pc:sldMk cId="2117336307" sldId="10458"/>
            <ac:spMk id="35" creationId="{473DB0E9-E2D6-4E40-B1C1-EDF49102C82B}"/>
          </ac:spMkLst>
        </pc:spChg>
        <pc:spChg chg="add mod">
          <ac:chgData name="Joseph KEMOUN" userId="0b06f245-0909-42d3-bad5-b3a07c8ffd21" providerId="ADAL" clId="{11BCE0D8-1F33-4057-A775-07C3F688388F}" dt="2021-05-24T13:59:21.479" v="7920" actId="14100"/>
          <ac:spMkLst>
            <pc:docMk/>
            <pc:sldMk cId="2117336307" sldId="10458"/>
            <ac:spMk id="36" creationId="{BBA214AC-0EE9-424B-BD2E-A4BE8AEC5800}"/>
          </ac:spMkLst>
        </pc:spChg>
        <pc:spChg chg="add mod">
          <ac:chgData name="Joseph KEMOUN" userId="0b06f245-0909-42d3-bad5-b3a07c8ffd21" providerId="ADAL" clId="{11BCE0D8-1F33-4057-A775-07C3F688388F}" dt="2021-05-24T13:59:16.553" v="7919" actId="14100"/>
          <ac:spMkLst>
            <pc:docMk/>
            <pc:sldMk cId="2117336307" sldId="10458"/>
            <ac:spMk id="37" creationId="{357BF76E-F609-4ABB-AF14-CA5912FE2D08}"/>
          </ac:spMkLst>
        </pc:spChg>
        <pc:spChg chg="add mod">
          <ac:chgData name="Joseph KEMOUN" userId="0b06f245-0909-42d3-bad5-b3a07c8ffd21" providerId="ADAL" clId="{11BCE0D8-1F33-4057-A775-07C3F688388F}" dt="2021-05-24T13:59:24.656" v="7921" actId="14100"/>
          <ac:spMkLst>
            <pc:docMk/>
            <pc:sldMk cId="2117336307" sldId="10458"/>
            <ac:spMk id="38" creationId="{3D91B623-E5CB-4481-8380-8F078F4ED175}"/>
          </ac:spMkLst>
        </pc:spChg>
        <pc:spChg chg="add del mod">
          <ac:chgData name="Joseph KEMOUN" userId="0b06f245-0909-42d3-bad5-b3a07c8ffd21" providerId="ADAL" clId="{11BCE0D8-1F33-4057-A775-07C3F688388F}" dt="2021-05-24T09:51:18.553" v="2261" actId="478"/>
          <ac:spMkLst>
            <pc:docMk/>
            <pc:sldMk cId="2117336307" sldId="10458"/>
            <ac:spMk id="43" creationId="{5EBF0DCE-585E-4041-941B-26FB9DD873E0}"/>
          </ac:spMkLst>
        </pc:spChg>
        <pc:spChg chg="add del mod modVis">
          <ac:chgData name="Joseph KEMOUN" userId="0b06f245-0909-42d3-bad5-b3a07c8ffd21" providerId="ADAL" clId="{11BCE0D8-1F33-4057-A775-07C3F688388F}" dt="2021-05-24T09:52:04.837" v="2319"/>
          <ac:spMkLst>
            <pc:docMk/>
            <pc:sldMk cId="2117336307" sldId="10458"/>
            <ac:spMk id="44" creationId="{6D6E2705-D6B9-43E5-BD85-43C066D9A553}"/>
          </ac:spMkLst>
        </pc:spChg>
        <pc:spChg chg="add del mod modVis">
          <ac:chgData name="Joseph KEMOUN" userId="0b06f245-0909-42d3-bad5-b3a07c8ffd21" providerId="ADAL" clId="{11BCE0D8-1F33-4057-A775-07C3F688388F}" dt="2021-05-24T09:52:05.454" v="2376"/>
          <ac:spMkLst>
            <pc:docMk/>
            <pc:sldMk cId="2117336307" sldId="10458"/>
            <ac:spMk id="46" creationId="{B2E1EB4D-F451-4BD5-8AE7-E448AF9192A1}"/>
          </ac:spMkLst>
        </pc:spChg>
        <pc:spChg chg="add del mod modVis">
          <ac:chgData name="Joseph KEMOUN" userId="0b06f245-0909-42d3-bad5-b3a07c8ffd21" providerId="ADAL" clId="{11BCE0D8-1F33-4057-A775-07C3F688388F}" dt="2021-05-24T09:52:09.699" v="2422"/>
          <ac:spMkLst>
            <pc:docMk/>
            <pc:sldMk cId="2117336307" sldId="10458"/>
            <ac:spMk id="47" creationId="{BFB402F4-513C-4AEF-BD5D-977B272A4034}"/>
          </ac:spMkLst>
        </pc:spChg>
        <pc:spChg chg="add del mod modVis">
          <ac:chgData name="Joseph KEMOUN" userId="0b06f245-0909-42d3-bad5-b3a07c8ffd21" providerId="ADAL" clId="{11BCE0D8-1F33-4057-A775-07C3F688388F}" dt="2021-05-24T09:52:13.174" v="2471"/>
          <ac:spMkLst>
            <pc:docMk/>
            <pc:sldMk cId="2117336307" sldId="10458"/>
            <ac:spMk id="48" creationId="{D5DB5B13-3C62-495C-BE8C-A34EEB905D15}"/>
          </ac:spMkLst>
        </pc:spChg>
        <pc:spChg chg="add del mod modVis">
          <ac:chgData name="Joseph KEMOUN" userId="0b06f245-0909-42d3-bad5-b3a07c8ffd21" providerId="ADAL" clId="{11BCE0D8-1F33-4057-A775-07C3F688388F}" dt="2021-05-24T09:52:15.873" v="2518"/>
          <ac:spMkLst>
            <pc:docMk/>
            <pc:sldMk cId="2117336307" sldId="10458"/>
            <ac:spMk id="49" creationId="{67412489-EF5B-44B7-9A4C-FBBD4034FAFA}"/>
          </ac:spMkLst>
        </pc:spChg>
        <pc:spChg chg="add del mod modVis">
          <ac:chgData name="Joseph KEMOUN" userId="0b06f245-0909-42d3-bad5-b3a07c8ffd21" providerId="ADAL" clId="{11BCE0D8-1F33-4057-A775-07C3F688388F}" dt="2021-05-24T09:52:22.868" v="2591"/>
          <ac:spMkLst>
            <pc:docMk/>
            <pc:sldMk cId="2117336307" sldId="10458"/>
            <ac:spMk id="50" creationId="{95551E2D-7C6F-4D7A-93F2-A1A1891806E5}"/>
          </ac:spMkLst>
        </pc:spChg>
        <pc:spChg chg="add del mod modVis">
          <ac:chgData name="Joseph KEMOUN" userId="0b06f245-0909-42d3-bad5-b3a07c8ffd21" providerId="ADAL" clId="{11BCE0D8-1F33-4057-A775-07C3F688388F}" dt="2021-05-24T09:52:57.269" v="2704"/>
          <ac:spMkLst>
            <pc:docMk/>
            <pc:sldMk cId="2117336307" sldId="10458"/>
            <ac:spMk id="51" creationId="{36464C28-9B96-41D9-BC97-7F2D678F1C45}"/>
          </ac:spMkLst>
        </pc:spChg>
        <pc:spChg chg="mod">
          <ac:chgData name="Joseph KEMOUN" userId="0b06f245-0909-42d3-bad5-b3a07c8ffd21" providerId="ADAL" clId="{11BCE0D8-1F33-4057-A775-07C3F688388F}" dt="2021-05-24T12:47:56.570" v="6962" actId="1076"/>
          <ac:spMkLst>
            <pc:docMk/>
            <pc:sldMk cId="2117336307" sldId="10458"/>
            <ac:spMk id="51" creationId="{C518067F-36AA-4233-91AF-1B75DE764C1D}"/>
          </ac:spMkLst>
        </pc:spChg>
        <pc:spChg chg="add del mod modVis">
          <ac:chgData name="Joseph KEMOUN" userId="0b06f245-0909-42d3-bad5-b3a07c8ffd21" providerId="ADAL" clId="{11BCE0D8-1F33-4057-A775-07C3F688388F}" dt="2021-05-24T09:52:59.619" v="2748"/>
          <ac:spMkLst>
            <pc:docMk/>
            <pc:sldMk cId="2117336307" sldId="10458"/>
            <ac:spMk id="52" creationId="{74DD6B02-DBD4-4606-B774-D8F119B757CC}"/>
          </ac:spMkLst>
        </pc:spChg>
        <pc:spChg chg="add del mod modVis">
          <ac:chgData name="Joseph KEMOUN" userId="0b06f245-0909-42d3-bad5-b3a07c8ffd21" providerId="ADAL" clId="{11BCE0D8-1F33-4057-A775-07C3F688388F}" dt="2021-05-24T09:53:01.637" v="2799"/>
          <ac:spMkLst>
            <pc:docMk/>
            <pc:sldMk cId="2117336307" sldId="10458"/>
            <ac:spMk id="53" creationId="{DA485F88-0BBF-4B7F-A03C-F28104FC6615}"/>
          </ac:spMkLst>
        </pc:spChg>
        <pc:spChg chg="add del mod modVis">
          <ac:chgData name="Joseph KEMOUN" userId="0b06f245-0909-42d3-bad5-b3a07c8ffd21" providerId="ADAL" clId="{11BCE0D8-1F33-4057-A775-07C3F688388F}" dt="2021-05-24T09:53:03.859" v="2846"/>
          <ac:spMkLst>
            <pc:docMk/>
            <pc:sldMk cId="2117336307" sldId="10458"/>
            <ac:spMk id="54" creationId="{0B1441DC-08C2-4D65-A98F-1404C6F494C4}"/>
          </ac:spMkLst>
        </pc:spChg>
        <pc:spChg chg="add del mod modVis">
          <ac:chgData name="Joseph KEMOUN" userId="0b06f245-0909-42d3-bad5-b3a07c8ffd21" providerId="ADAL" clId="{11BCE0D8-1F33-4057-A775-07C3F688388F}" dt="2021-05-24T09:53:06.306" v="2902"/>
          <ac:spMkLst>
            <pc:docMk/>
            <pc:sldMk cId="2117336307" sldId="10458"/>
            <ac:spMk id="55" creationId="{6D21A5B0-51D6-4F80-8064-25D336ABB5FA}"/>
          </ac:spMkLst>
        </pc:spChg>
        <pc:spChg chg="add del mod modVis">
          <ac:chgData name="Joseph KEMOUN" userId="0b06f245-0909-42d3-bad5-b3a07c8ffd21" providerId="ADAL" clId="{11BCE0D8-1F33-4057-A775-07C3F688388F}" dt="2021-05-24T09:53:11.979" v="2950"/>
          <ac:spMkLst>
            <pc:docMk/>
            <pc:sldMk cId="2117336307" sldId="10458"/>
            <ac:spMk id="56" creationId="{20A16C6A-5C20-474F-8A28-DEC5EA4B7057}"/>
          </ac:spMkLst>
        </pc:spChg>
        <pc:spChg chg="add del mod modVis">
          <ac:chgData name="Joseph KEMOUN" userId="0b06f245-0909-42d3-bad5-b3a07c8ffd21" providerId="ADAL" clId="{11BCE0D8-1F33-4057-A775-07C3F688388F}" dt="2021-05-24T09:53:13.550" v="2998"/>
          <ac:spMkLst>
            <pc:docMk/>
            <pc:sldMk cId="2117336307" sldId="10458"/>
            <ac:spMk id="57" creationId="{2DCBFA5A-60D9-4E58-BD63-8BC0DCBE5D85}"/>
          </ac:spMkLst>
        </pc:spChg>
        <pc:spChg chg="add del mod modVis">
          <ac:chgData name="Joseph KEMOUN" userId="0b06f245-0909-42d3-bad5-b3a07c8ffd21" providerId="ADAL" clId="{11BCE0D8-1F33-4057-A775-07C3F688388F}" dt="2021-05-24T09:53:20.326" v="3049"/>
          <ac:spMkLst>
            <pc:docMk/>
            <pc:sldMk cId="2117336307" sldId="10458"/>
            <ac:spMk id="58" creationId="{15A9E043-CE1A-4435-8343-C3A4E90A2F6C}"/>
          </ac:spMkLst>
        </pc:spChg>
        <pc:spChg chg="add del mod modVis">
          <ac:chgData name="Joseph KEMOUN" userId="0b06f245-0909-42d3-bad5-b3a07c8ffd21" providerId="ADAL" clId="{11BCE0D8-1F33-4057-A775-07C3F688388F}" dt="2021-05-24T09:53:21.228" v="3096"/>
          <ac:spMkLst>
            <pc:docMk/>
            <pc:sldMk cId="2117336307" sldId="10458"/>
            <ac:spMk id="59" creationId="{C7470001-AE22-4A48-B2DE-F93AE5451560}"/>
          </ac:spMkLst>
        </pc:spChg>
        <pc:spChg chg="add del mod modVis">
          <ac:chgData name="Joseph KEMOUN" userId="0b06f245-0909-42d3-bad5-b3a07c8ffd21" providerId="ADAL" clId="{11BCE0D8-1F33-4057-A775-07C3F688388F}" dt="2021-05-24T09:53:24.032" v="3140"/>
          <ac:spMkLst>
            <pc:docMk/>
            <pc:sldMk cId="2117336307" sldId="10458"/>
            <ac:spMk id="60" creationId="{189BF543-2133-4F63-8306-8679782497BD}"/>
          </ac:spMkLst>
        </pc:spChg>
        <pc:spChg chg="add del mod modVis">
          <ac:chgData name="Joseph KEMOUN" userId="0b06f245-0909-42d3-bad5-b3a07c8ffd21" providerId="ADAL" clId="{11BCE0D8-1F33-4057-A775-07C3F688388F}" dt="2021-05-24T09:53:26.723" v="3187"/>
          <ac:spMkLst>
            <pc:docMk/>
            <pc:sldMk cId="2117336307" sldId="10458"/>
            <ac:spMk id="61" creationId="{7EC00127-330B-4469-B9CD-B365C899CFBD}"/>
          </ac:spMkLst>
        </pc:spChg>
        <pc:spChg chg="add del mod modVis">
          <ac:chgData name="Joseph KEMOUN" userId="0b06f245-0909-42d3-bad5-b3a07c8ffd21" providerId="ADAL" clId="{11BCE0D8-1F33-4057-A775-07C3F688388F}" dt="2021-05-24T09:53:31.494" v="3234"/>
          <ac:spMkLst>
            <pc:docMk/>
            <pc:sldMk cId="2117336307" sldId="10458"/>
            <ac:spMk id="62" creationId="{32962247-ECAA-49D4-BE34-CEBC40D8817F}"/>
          </ac:spMkLst>
        </pc:spChg>
        <pc:spChg chg="add del mod modVis">
          <ac:chgData name="Joseph KEMOUN" userId="0b06f245-0909-42d3-bad5-b3a07c8ffd21" providerId="ADAL" clId="{11BCE0D8-1F33-4057-A775-07C3F688388F}" dt="2021-05-24T09:53:38.296" v="3315"/>
          <ac:spMkLst>
            <pc:docMk/>
            <pc:sldMk cId="2117336307" sldId="10458"/>
            <ac:spMk id="63" creationId="{55F2234B-1A9C-46D3-A642-B1F9F61730DE}"/>
          </ac:spMkLst>
        </pc:spChg>
        <pc:spChg chg="add mod">
          <ac:chgData name="Joseph KEMOUN" userId="0b06f245-0909-42d3-bad5-b3a07c8ffd21" providerId="ADAL" clId="{11BCE0D8-1F33-4057-A775-07C3F688388F}" dt="2021-05-25T11:19:13.730" v="15425" actId="20577"/>
          <ac:spMkLst>
            <pc:docMk/>
            <pc:sldMk cId="2117336307" sldId="10458"/>
            <ac:spMk id="63" creationId="{B30BB911-AB18-464D-9C82-EC0D38A7511C}"/>
          </ac:spMkLst>
        </pc:spChg>
        <pc:spChg chg="add del mod modVis">
          <ac:chgData name="Joseph KEMOUN" userId="0b06f245-0909-42d3-bad5-b3a07c8ffd21" providerId="ADAL" clId="{11BCE0D8-1F33-4057-A775-07C3F688388F}" dt="2021-05-24T09:53:57.309" v="3363"/>
          <ac:spMkLst>
            <pc:docMk/>
            <pc:sldMk cId="2117336307" sldId="10458"/>
            <ac:spMk id="64" creationId="{321E6731-C301-45A9-8F68-890F11CE10BA}"/>
          </ac:spMkLst>
        </pc:spChg>
        <pc:spChg chg="add del mod modVis">
          <ac:chgData name="Joseph KEMOUN" userId="0b06f245-0909-42d3-bad5-b3a07c8ffd21" providerId="ADAL" clId="{11BCE0D8-1F33-4057-A775-07C3F688388F}" dt="2021-05-24T09:53:58.396" v="3408"/>
          <ac:spMkLst>
            <pc:docMk/>
            <pc:sldMk cId="2117336307" sldId="10458"/>
            <ac:spMk id="65" creationId="{9497D894-25F9-430A-9A33-1870CA950DF7}"/>
          </ac:spMkLst>
        </pc:spChg>
        <pc:spChg chg="add del mod modVis">
          <ac:chgData name="Joseph KEMOUN" userId="0b06f245-0909-42d3-bad5-b3a07c8ffd21" providerId="ADAL" clId="{11BCE0D8-1F33-4057-A775-07C3F688388F}" dt="2021-05-24T09:53:59.610" v="3453"/>
          <ac:spMkLst>
            <pc:docMk/>
            <pc:sldMk cId="2117336307" sldId="10458"/>
            <ac:spMk id="66" creationId="{8371CB56-2D0F-47F2-BA66-B6D3E96D78B5}"/>
          </ac:spMkLst>
        </pc:spChg>
        <pc:spChg chg="add del mod modVis">
          <ac:chgData name="Joseph KEMOUN" userId="0b06f245-0909-42d3-bad5-b3a07c8ffd21" providerId="ADAL" clId="{11BCE0D8-1F33-4057-A775-07C3F688388F}" dt="2021-05-24T09:54:01.244" v="3497"/>
          <ac:spMkLst>
            <pc:docMk/>
            <pc:sldMk cId="2117336307" sldId="10458"/>
            <ac:spMk id="67" creationId="{C4436490-6A0D-4478-8855-7A36129379C9}"/>
          </ac:spMkLst>
        </pc:spChg>
        <pc:spChg chg="add mod">
          <ac:chgData name="Joseph KEMOUN" userId="0b06f245-0909-42d3-bad5-b3a07c8ffd21" providerId="ADAL" clId="{11BCE0D8-1F33-4057-A775-07C3F688388F}" dt="2021-05-24T14:00:15.529" v="7929" actId="465"/>
          <ac:spMkLst>
            <pc:docMk/>
            <pc:sldMk cId="2117336307" sldId="10458"/>
            <ac:spMk id="93" creationId="{1ABC16EC-E4C7-4FDB-91C6-850186F5860B}"/>
          </ac:spMkLst>
        </pc:spChg>
        <pc:spChg chg="del mod">
          <ac:chgData name="Joseph KEMOUN" userId="0b06f245-0909-42d3-bad5-b3a07c8ffd21" providerId="ADAL" clId="{11BCE0D8-1F33-4057-A775-07C3F688388F}" dt="2021-05-25T11:19:16.627" v="15427" actId="478"/>
          <ac:spMkLst>
            <pc:docMk/>
            <pc:sldMk cId="2117336307" sldId="10458"/>
            <ac:spMk id="96" creationId="{000662F8-B306-4AED-B621-609FBB04A6B2}"/>
          </ac:spMkLst>
        </pc:spChg>
        <pc:spChg chg="add mod">
          <ac:chgData name="Joseph KEMOUN" userId="0b06f245-0909-42d3-bad5-b3a07c8ffd21" providerId="ADAL" clId="{11BCE0D8-1F33-4057-A775-07C3F688388F}" dt="2021-05-25T11:15:32.316" v="15318"/>
          <ac:spMkLst>
            <pc:docMk/>
            <pc:sldMk cId="2117336307" sldId="10458"/>
            <ac:spMk id="97" creationId="{4EC5556A-DABE-4193-9B57-E797898C0620}"/>
          </ac:spMkLst>
        </pc:spChg>
        <pc:spChg chg="add mod">
          <ac:chgData name="Joseph KEMOUN" userId="0b06f245-0909-42d3-bad5-b3a07c8ffd21" providerId="ADAL" clId="{11BCE0D8-1F33-4057-A775-07C3F688388F}" dt="2021-05-25T11:15:32.316" v="15318"/>
          <ac:spMkLst>
            <pc:docMk/>
            <pc:sldMk cId="2117336307" sldId="10458"/>
            <ac:spMk id="98" creationId="{506C1797-7D6B-44BE-BC07-93C21922C4B5}"/>
          </ac:spMkLst>
        </pc:spChg>
        <pc:spChg chg="add mod">
          <ac:chgData name="Joseph KEMOUN" userId="0b06f245-0909-42d3-bad5-b3a07c8ffd21" providerId="ADAL" clId="{11BCE0D8-1F33-4057-A775-07C3F688388F}" dt="2021-05-25T11:15:32.316" v="15318"/>
          <ac:spMkLst>
            <pc:docMk/>
            <pc:sldMk cId="2117336307" sldId="10458"/>
            <ac:spMk id="99" creationId="{ADD59E09-F1BF-44A4-8A14-51EC3B527E84}"/>
          </ac:spMkLst>
        </pc:spChg>
        <pc:grpChg chg="del">
          <ac:chgData name="Joseph KEMOUN" userId="0b06f245-0909-42d3-bad5-b3a07c8ffd21" providerId="ADAL" clId="{11BCE0D8-1F33-4057-A775-07C3F688388F}" dt="2021-05-25T11:15:31.863" v="15317" actId="478"/>
          <ac:grpSpMkLst>
            <pc:docMk/>
            <pc:sldMk cId="2117336307" sldId="10458"/>
            <ac:grpSpMk id="86" creationId="{929B89A0-DE25-46D1-8E0D-139E9CFFA7C8}"/>
          </ac:grpSpMkLst>
        </pc:grpChg>
        <pc:graphicFrameChg chg="add mod ord modVis">
          <ac:chgData name="Joseph KEMOUN" userId="0b06f245-0909-42d3-bad5-b3a07c8ffd21" providerId="ADAL" clId="{11BCE0D8-1F33-4057-A775-07C3F688388F}" dt="2021-05-24T09:54:01.261" v="3499"/>
          <ac:graphicFrameMkLst>
            <pc:docMk/>
            <pc:sldMk cId="2117336307" sldId="10458"/>
            <ac:graphicFrameMk id="45" creationId="{D1AE76A2-14AC-488B-A886-218279B8D550}"/>
          </ac:graphicFrameMkLst>
        </pc:graphicFrameChg>
        <pc:picChg chg="add mod">
          <ac:chgData name="Joseph KEMOUN" userId="0b06f245-0909-42d3-bad5-b3a07c8ffd21" providerId="ADAL" clId="{11BCE0D8-1F33-4057-A775-07C3F688388F}" dt="2021-05-24T08:39:27.244" v="5"/>
          <ac:picMkLst>
            <pc:docMk/>
            <pc:sldMk cId="2117336307" sldId="10458"/>
            <ac:picMk id="19" creationId="{6977233C-DB92-442C-BBB8-99408DD907EA}"/>
          </ac:picMkLst>
        </pc:picChg>
        <pc:picChg chg="add mod">
          <ac:chgData name="Joseph KEMOUN" userId="0b06f245-0909-42d3-bad5-b3a07c8ffd21" providerId="ADAL" clId="{11BCE0D8-1F33-4057-A775-07C3F688388F}" dt="2021-05-24T08:39:27.244" v="5"/>
          <ac:picMkLst>
            <pc:docMk/>
            <pc:sldMk cId="2117336307" sldId="10458"/>
            <ac:picMk id="20" creationId="{B7E541F4-3848-42B3-B882-7EB097454D20}"/>
          </ac:picMkLst>
        </pc:picChg>
        <pc:picChg chg="add mod">
          <ac:chgData name="Joseph KEMOUN" userId="0b06f245-0909-42d3-bad5-b3a07c8ffd21" providerId="ADAL" clId="{11BCE0D8-1F33-4057-A775-07C3F688388F}" dt="2021-05-24T08:39:27.244" v="5"/>
          <ac:picMkLst>
            <pc:docMk/>
            <pc:sldMk cId="2117336307" sldId="10458"/>
            <ac:picMk id="21" creationId="{B131A9E4-9923-4B3A-9AD5-737A8D516105}"/>
          </ac:picMkLst>
        </pc:picChg>
        <pc:picChg chg="mod">
          <ac:chgData name="Joseph KEMOUN" userId="0b06f245-0909-42d3-bad5-b3a07c8ffd21" providerId="ADAL" clId="{11BCE0D8-1F33-4057-A775-07C3F688388F}" dt="2021-05-24T12:47:52.060" v="6961" actId="1076"/>
          <ac:picMkLst>
            <pc:docMk/>
            <pc:sldMk cId="2117336307" sldId="10458"/>
            <ac:picMk id="22" creationId="{EF3B59DF-7E34-4F93-8BA1-3E055CC8AF77}"/>
          </ac:picMkLst>
        </pc:picChg>
        <pc:picChg chg="mod">
          <ac:chgData name="Joseph KEMOUN" userId="0b06f245-0909-42d3-bad5-b3a07c8ffd21" providerId="ADAL" clId="{11BCE0D8-1F33-4057-A775-07C3F688388F}" dt="2021-05-24T12:47:31.501" v="6900"/>
          <ac:picMkLst>
            <pc:docMk/>
            <pc:sldMk cId="2117336307" sldId="10458"/>
            <ac:picMk id="26" creationId="{3A4E0416-FA98-4768-BCE5-C89DFE935E85}"/>
          </ac:picMkLst>
        </pc:picChg>
        <pc:picChg chg="mod">
          <ac:chgData name="Joseph KEMOUN" userId="0b06f245-0909-42d3-bad5-b3a07c8ffd21" providerId="ADAL" clId="{11BCE0D8-1F33-4057-A775-07C3F688388F}" dt="2021-05-24T12:47:52.060" v="6961" actId="1076"/>
          <ac:picMkLst>
            <pc:docMk/>
            <pc:sldMk cId="2117336307" sldId="10458"/>
            <ac:picMk id="47" creationId="{E55B1282-30F9-41A4-972C-A153DADDD094}"/>
          </ac:picMkLst>
        </pc:picChg>
        <pc:picChg chg="mod">
          <ac:chgData name="Joseph KEMOUN" userId="0b06f245-0909-42d3-bad5-b3a07c8ffd21" providerId="ADAL" clId="{11BCE0D8-1F33-4057-A775-07C3F688388F}" dt="2021-05-24T12:47:52.060" v="6961" actId="1076"/>
          <ac:picMkLst>
            <pc:docMk/>
            <pc:sldMk cId="2117336307" sldId="10458"/>
            <ac:picMk id="48" creationId="{4DC343D9-BB71-4420-AD62-C5846D091B04}"/>
          </ac:picMkLst>
        </pc:picChg>
        <pc:picChg chg="mod">
          <ac:chgData name="Joseph KEMOUN" userId="0b06f245-0909-42d3-bad5-b3a07c8ffd21" providerId="ADAL" clId="{11BCE0D8-1F33-4057-A775-07C3F688388F}" dt="2021-05-24T12:47:52.060" v="6961" actId="1076"/>
          <ac:picMkLst>
            <pc:docMk/>
            <pc:sldMk cId="2117336307" sldId="10458"/>
            <ac:picMk id="53" creationId="{068ACBE1-66FB-4EAF-8AE9-572D6E66289B}"/>
          </ac:picMkLst>
        </pc:picChg>
        <pc:picChg chg="mod">
          <ac:chgData name="Joseph KEMOUN" userId="0b06f245-0909-42d3-bad5-b3a07c8ffd21" providerId="ADAL" clId="{11BCE0D8-1F33-4057-A775-07C3F688388F}" dt="2021-05-24T12:47:52.060" v="6961" actId="1076"/>
          <ac:picMkLst>
            <pc:docMk/>
            <pc:sldMk cId="2117336307" sldId="10458"/>
            <ac:picMk id="54" creationId="{079044B3-855B-40B7-93CA-F97DCE5F15B5}"/>
          </ac:picMkLst>
        </pc:picChg>
        <pc:picChg chg="mod">
          <ac:chgData name="Joseph KEMOUN" userId="0b06f245-0909-42d3-bad5-b3a07c8ffd21" providerId="ADAL" clId="{11BCE0D8-1F33-4057-A775-07C3F688388F}" dt="2021-05-24T12:47:52.060" v="6961" actId="1076"/>
          <ac:picMkLst>
            <pc:docMk/>
            <pc:sldMk cId="2117336307" sldId="10458"/>
            <ac:picMk id="55" creationId="{9ECAF7B9-A9BC-47AB-ABE4-D0BF891393C0}"/>
          </ac:picMkLst>
        </pc:picChg>
        <pc:picChg chg="mod">
          <ac:chgData name="Joseph KEMOUN" userId="0b06f245-0909-42d3-bad5-b3a07c8ffd21" providerId="ADAL" clId="{11BCE0D8-1F33-4057-A775-07C3F688388F}" dt="2021-05-24T12:47:52.060" v="6961" actId="1076"/>
          <ac:picMkLst>
            <pc:docMk/>
            <pc:sldMk cId="2117336307" sldId="10458"/>
            <ac:picMk id="56" creationId="{C1A52AE9-F1F7-4EF5-9F3F-07D0E04ED44A}"/>
          </ac:picMkLst>
        </pc:picChg>
        <pc:picChg chg="add mod">
          <ac:chgData name="Joseph KEMOUN" userId="0b06f245-0909-42d3-bad5-b3a07c8ffd21" providerId="ADAL" clId="{11BCE0D8-1F33-4057-A775-07C3F688388F}" dt="2021-05-24T12:47:41.048" v="6904"/>
          <ac:picMkLst>
            <pc:docMk/>
            <pc:sldMk cId="2117336307" sldId="10458"/>
            <ac:picMk id="69" creationId="{B399C283-25FC-4629-B137-6E6F2BDEEEC0}"/>
          </ac:picMkLst>
        </pc:picChg>
        <pc:picChg chg="add mod">
          <ac:chgData name="Joseph KEMOUN" userId="0b06f245-0909-42d3-bad5-b3a07c8ffd21" providerId="ADAL" clId="{11BCE0D8-1F33-4057-A775-07C3F688388F}" dt="2021-05-24T12:47:41.064" v="6912"/>
          <ac:picMkLst>
            <pc:docMk/>
            <pc:sldMk cId="2117336307" sldId="10458"/>
            <ac:picMk id="70" creationId="{650AB172-88E6-4A5A-A01C-D8FC658784E7}"/>
          </ac:picMkLst>
        </pc:picChg>
        <pc:picChg chg="add mod">
          <ac:chgData name="Joseph KEMOUN" userId="0b06f245-0909-42d3-bad5-b3a07c8ffd21" providerId="ADAL" clId="{11BCE0D8-1F33-4057-A775-07C3F688388F}" dt="2021-05-24T12:47:41.064" v="6916"/>
          <ac:picMkLst>
            <pc:docMk/>
            <pc:sldMk cId="2117336307" sldId="10458"/>
            <ac:picMk id="71" creationId="{39782FAF-A37F-4F8B-BC30-43FB128AE65D}"/>
          </ac:picMkLst>
        </pc:picChg>
        <pc:picChg chg="add mod">
          <ac:chgData name="Joseph KEMOUN" userId="0b06f245-0909-42d3-bad5-b3a07c8ffd21" providerId="ADAL" clId="{11BCE0D8-1F33-4057-A775-07C3F688388F}" dt="2021-05-24T12:47:41.064" v="6920"/>
          <ac:picMkLst>
            <pc:docMk/>
            <pc:sldMk cId="2117336307" sldId="10458"/>
            <ac:picMk id="72" creationId="{8D44E403-9938-4E3B-A5B8-15D400BDDA52}"/>
          </ac:picMkLst>
        </pc:picChg>
        <pc:picChg chg="add mod">
          <ac:chgData name="Joseph KEMOUN" userId="0b06f245-0909-42d3-bad5-b3a07c8ffd21" providerId="ADAL" clId="{11BCE0D8-1F33-4057-A775-07C3F688388F}" dt="2021-05-24T12:47:41.079" v="6948"/>
          <ac:picMkLst>
            <pc:docMk/>
            <pc:sldMk cId="2117336307" sldId="10458"/>
            <ac:picMk id="73" creationId="{5E636AC5-10DC-4BFA-B3E0-28F86C6B3AD2}"/>
          </ac:picMkLst>
        </pc:picChg>
        <pc:picChg chg="add mod">
          <ac:chgData name="Joseph KEMOUN" userId="0b06f245-0909-42d3-bad5-b3a07c8ffd21" providerId="ADAL" clId="{11BCE0D8-1F33-4057-A775-07C3F688388F}" dt="2021-05-24T12:47:41.079" v="6952"/>
          <ac:picMkLst>
            <pc:docMk/>
            <pc:sldMk cId="2117336307" sldId="10458"/>
            <ac:picMk id="74" creationId="{3856B892-33CE-4C3B-849D-CAB589121402}"/>
          </ac:picMkLst>
        </pc:picChg>
        <pc:picChg chg="add mod">
          <ac:chgData name="Joseph KEMOUN" userId="0b06f245-0909-42d3-bad5-b3a07c8ffd21" providerId="ADAL" clId="{11BCE0D8-1F33-4057-A775-07C3F688388F}" dt="2021-05-24T12:47:41.079" v="6956"/>
          <ac:picMkLst>
            <pc:docMk/>
            <pc:sldMk cId="2117336307" sldId="10458"/>
            <ac:picMk id="75" creationId="{13BBFCE2-23FC-42FC-9675-4EB722233278}"/>
          </ac:picMkLst>
        </pc:picChg>
        <pc:picChg chg="add mod">
          <ac:chgData name="Joseph KEMOUN" userId="0b06f245-0909-42d3-bad5-b3a07c8ffd21" providerId="ADAL" clId="{11BCE0D8-1F33-4057-A775-07C3F688388F}" dt="2021-05-24T12:47:41.079" v="6960"/>
          <ac:picMkLst>
            <pc:docMk/>
            <pc:sldMk cId="2117336307" sldId="10458"/>
            <ac:picMk id="76" creationId="{ECA7F18C-56CA-4DA2-B224-D3EB95AA1B7D}"/>
          </ac:picMkLst>
        </pc:picChg>
      </pc:sldChg>
      <pc:sldChg chg="addSp delSp modSp mod">
        <pc:chgData name="Joseph KEMOUN" userId="0b06f245-0909-42d3-bad5-b3a07c8ffd21" providerId="ADAL" clId="{11BCE0D8-1F33-4057-A775-07C3F688388F}" dt="2021-05-25T11:18:04.353" v="15392" actId="1076"/>
        <pc:sldMkLst>
          <pc:docMk/>
          <pc:sldMk cId="2622219198" sldId="10459"/>
        </pc:sldMkLst>
        <pc:spChg chg="add del mod">
          <ac:chgData name="Joseph KEMOUN" userId="0b06f245-0909-42d3-bad5-b3a07c8ffd21" providerId="ADAL" clId="{11BCE0D8-1F33-4057-A775-07C3F688388F}" dt="2021-05-25T11:13:30.872" v="15203" actId="478"/>
          <ac:spMkLst>
            <pc:docMk/>
            <pc:sldMk cId="2622219198" sldId="10459"/>
            <ac:spMk id="99" creationId="{01341F99-A9C7-4AC6-BE8E-650D47F2EF29}"/>
          </ac:spMkLst>
        </pc:spChg>
        <pc:spChg chg="mod">
          <ac:chgData name="Joseph KEMOUN" userId="0b06f245-0909-42d3-bad5-b3a07c8ffd21" providerId="ADAL" clId="{11BCE0D8-1F33-4057-A775-07C3F688388F}" dt="2021-05-25T11:12:45.964" v="15164" actId="1076"/>
          <ac:spMkLst>
            <pc:docMk/>
            <pc:sldMk cId="2622219198" sldId="10459"/>
            <ac:spMk id="101" creationId="{BEE69406-F245-4940-A3D8-6BB2373960DE}"/>
          </ac:spMkLst>
        </pc:spChg>
        <pc:spChg chg="add mod">
          <ac:chgData name="Joseph KEMOUN" userId="0b06f245-0909-42d3-bad5-b3a07c8ffd21" providerId="ADAL" clId="{11BCE0D8-1F33-4057-A775-07C3F688388F}" dt="2021-05-25T11:16:59.026" v="15361"/>
          <ac:spMkLst>
            <pc:docMk/>
            <pc:sldMk cId="2622219198" sldId="10459"/>
            <ac:spMk id="159" creationId="{C738BC13-203C-4BF4-82FF-4D2C10035A5C}"/>
          </ac:spMkLst>
        </pc:spChg>
        <pc:spChg chg="add mod">
          <ac:chgData name="Joseph KEMOUN" userId="0b06f245-0909-42d3-bad5-b3a07c8ffd21" providerId="ADAL" clId="{11BCE0D8-1F33-4057-A775-07C3F688388F}" dt="2021-05-25T11:16:59.026" v="15361"/>
          <ac:spMkLst>
            <pc:docMk/>
            <pc:sldMk cId="2622219198" sldId="10459"/>
            <ac:spMk id="160" creationId="{A09D7047-775D-4F3D-B3B7-C5E20C171DEF}"/>
          </ac:spMkLst>
        </pc:spChg>
        <pc:spChg chg="add mod">
          <ac:chgData name="Joseph KEMOUN" userId="0b06f245-0909-42d3-bad5-b3a07c8ffd21" providerId="ADAL" clId="{11BCE0D8-1F33-4057-A775-07C3F688388F}" dt="2021-05-25T11:16:59.026" v="15361"/>
          <ac:spMkLst>
            <pc:docMk/>
            <pc:sldMk cId="2622219198" sldId="10459"/>
            <ac:spMk id="161" creationId="{A424EA34-517A-45B0-87EF-2A8537BA5936}"/>
          </ac:spMkLst>
        </pc:spChg>
        <pc:spChg chg="mod">
          <ac:chgData name="Joseph KEMOUN" userId="0b06f245-0909-42d3-bad5-b3a07c8ffd21" providerId="ADAL" clId="{11BCE0D8-1F33-4057-A775-07C3F688388F}" dt="2021-05-25T11:18:04.353" v="15392" actId="1076"/>
          <ac:spMkLst>
            <pc:docMk/>
            <pc:sldMk cId="2622219198" sldId="10459"/>
            <ac:spMk id="191" creationId="{8ADF53D2-8D13-4D07-BFEF-B74E24AA0F74}"/>
          </ac:spMkLst>
        </pc:spChg>
        <pc:spChg chg="del">
          <ac:chgData name="Joseph KEMOUN" userId="0b06f245-0909-42d3-bad5-b3a07c8ffd21" providerId="ADAL" clId="{11BCE0D8-1F33-4057-A775-07C3F688388F}" dt="2021-05-25T11:16:58.989" v="15360" actId="478"/>
          <ac:spMkLst>
            <pc:docMk/>
            <pc:sldMk cId="2622219198" sldId="10459"/>
            <ac:spMk id="192" creationId="{80934016-69B3-4C95-B81A-6EBE37BE361F}"/>
          </ac:spMkLst>
        </pc:spChg>
        <pc:spChg chg="del">
          <ac:chgData name="Joseph KEMOUN" userId="0b06f245-0909-42d3-bad5-b3a07c8ffd21" providerId="ADAL" clId="{11BCE0D8-1F33-4057-A775-07C3F688388F}" dt="2021-05-25T11:16:58.989" v="15360" actId="478"/>
          <ac:spMkLst>
            <pc:docMk/>
            <pc:sldMk cId="2622219198" sldId="10459"/>
            <ac:spMk id="193" creationId="{7AFB5043-8B3B-4546-8B4A-F7431AA952A9}"/>
          </ac:spMkLst>
        </pc:spChg>
        <pc:spChg chg="del">
          <ac:chgData name="Joseph KEMOUN" userId="0b06f245-0909-42d3-bad5-b3a07c8ffd21" providerId="ADAL" clId="{11BCE0D8-1F33-4057-A775-07C3F688388F}" dt="2021-05-25T11:16:58.989" v="15360" actId="478"/>
          <ac:spMkLst>
            <pc:docMk/>
            <pc:sldMk cId="2622219198" sldId="10459"/>
            <ac:spMk id="194" creationId="{DAC83DCD-85BC-49D1-A938-A4B5ED5E09AE}"/>
          </ac:spMkLst>
        </pc:spChg>
        <pc:spChg chg="del">
          <ac:chgData name="Joseph KEMOUN" userId="0b06f245-0909-42d3-bad5-b3a07c8ffd21" providerId="ADAL" clId="{11BCE0D8-1F33-4057-A775-07C3F688388F}" dt="2021-05-25T11:16:58.989" v="15360" actId="478"/>
          <ac:spMkLst>
            <pc:docMk/>
            <pc:sldMk cId="2622219198" sldId="10459"/>
            <ac:spMk id="195" creationId="{534F1907-F2A1-47BF-823C-D463F4E365D2}"/>
          </ac:spMkLst>
        </pc:spChg>
        <pc:spChg chg="del">
          <ac:chgData name="Joseph KEMOUN" userId="0b06f245-0909-42d3-bad5-b3a07c8ffd21" providerId="ADAL" clId="{11BCE0D8-1F33-4057-A775-07C3F688388F}" dt="2021-05-25T11:16:58.989" v="15360" actId="478"/>
          <ac:spMkLst>
            <pc:docMk/>
            <pc:sldMk cId="2622219198" sldId="10459"/>
            <ac:spMk id="196" creationId="{6C145554-67D3-47CA-B623-9457BDCCFA5C}"/>
          </ac:spMkLst>
        </pc:spChg>
        <pc:spChg chg="del">
          <ac:chgData name="Joseph KEMOUN" userId="0b06f245-0909-42d3-bad5-b3a07c8ffd21" providerId="ADAL" clId="{11BCE0D8-1F33-4057-A775-07C3F688388F}" dt="2021-05-25T11:16:58.989" v="15360" actId="478"/>
          <ac:spMkLst>
            <pc:docMk/>
            <pc:sldMk cId="2622219198" sldId="10459"/>
            <ac:spMk id="197" creationId="{8D69E602-432B-4FF2-A5E5-1E475B8F08FC}"/>
          </ac:spMkLst>
        </pc:spChg>
      </pc:sldChg>
      <pc:sldChg chg="add del">
        <pc:chgData name="Joseph KEMOUN" userId="0b06f245-0909-42d3-bad5-b3a07c8ffd21" providerId="ADAL" clId="{11BCE0D8-1F33-4057-A775-07C3F688388F}" dt="2021-05-24T08:42:42.873" v="125" actId="47"/>
        <pc:sldMkLst>
          <pc:docMk/>
          <pc:sldMk cId="3753757568" sldId="10460"/>
        </pc:sldMkLst>
      </pc:sldChg>
      <pc:sldChg chg="addSp modSp add modNotesTx">
        <pc:chgData name="Joseph KEMOUN" userId="0b06f245-0909-42d3-bad5-b3a07c8ffd21" providerId="ADAL" clId="{11BCE0D8-1F33-4057-A775-07C3F688388F}" dt="2021-05-24T09:59:52.357" v="3506"/>
        <pc:sldMkLst>
          <pc:docMk/>
          <pc:sldMk cId="2034003107" sldId="10462"/>
        </pc:sldMkLst>
        <pc:spChg chg="add mod">
          <ac:chgData name="Joseph KEMOUN" userId="0b06f245-0909-42d3-bad5-b3a07c8ffd21" providerId="ADAL" clId="{11BCE0D8-1F33-4057-A775-07C3F688388F}" dt="2021-05-24T09:59:46.086" v="3505"/>
          <ac:spMkLst>
            <pc:docMk/>
            <pc:sldMk cId="2034003107" sldId="10462"/>
            <ac:spMk id="62" creationId="{84FE20BC-A2BB-47EA-9C1D-6E41881E9085}"/>
          </ac:spMkLst>
        </pc:spChg>
        <pc:spChg chg="add mod">
          <ac:chgData name="Joseph KEMOUN" userId="0b06f245-0909-42d3-bad5-b3a07c8ffd21" providerId="ADAL" clId="{11BCE0D8-1F33-4057-A775-07C3F688388F}" dt="2021-05-24T09:59:46.086" v="3505"/>
          <ac:spMkLst>
            <pc:docMk/>
            <pc:sldMk cId="2034003107" sldId="10462"/>
            <ac:spMk id="64" creationId="{B664D2AB-2AFF-49FD-9451-2B8CD7778A36}"/>
          </ac:spMkLst>
        </pc:spChg>
        <pc:spChg chg="add mod">
          <ac:chgData name="Joseph KEMOUN" userId="0b06f245-0909-42d3-bad5-b3a07c8ffd21" providerId="ADAL" clId="{11BCE0D8-1F33-4057-A775-07C3F688388F}" dt="2021-05-24T09:59:46.086" v="3505"/>
          <ac:spMkLst>
            <pc:docMk/>
            <pc:sldMk cId="2034003107" sldId="10462"/>
            <ac:spMk id="78" creationId="{814F1901-9634-471C-8A85-7F965B285B38}"/>
          </ac:spMkLst>
        </pc:spChg>
        <pc:spChg chg="add mod">
          <ac:chgData name="Joseph KEMOUN" userId="0b06f245-0909-42d3-bad5-b3a07c8ffd21" providerId="ADAL" clId="{11BCE0D8-1F33-4057-A775-07C3F688388F}" dt="2021-05-24T09:59:46.086" v="3505"/>
          <ac:spMkLst>
            <pc:docMk/>
            <pc:sldMk cId="2034003107" sldId="10462"/>
            <ac:spMk id="79" creationId="{96B6E209-361F-4F45-8F0C-0616C213BD86}"/>
          </ac:spMkLst>
        </pc:spChg>
        <pc:spChg chg="add mod">
          <ac:chgData name="Joseph KEMOUN" userId="0b06f245-0909-42d3-bad5-b3a07c8ffd21" providerId="ADAL" clId="{11BCE0D8-1F33-4057-A775-07C3F688388F}" dt="2021-05-24T09:59:46.086" v="3505"/>
          <ac:spMkLst>
            <pc:docMk/>
            <pc:sldMk cId="2034003107" sldId="10462"/>
            <ac:spMk id="81" creationId="{25A007E2-29C4-4A5A-B9F8-DB6827D6B8D0}"/>
          </ac:spMkLst>
        </pc:spChg>
        <pc:picChg chg="add mod">
          <ac:chgData name="Joseph KEMOUN" userId="0b06f245-0909-42d3-bad5-b3a07c8ffd21" providerId="ADAL" clId="{11BCE0D8-1F33-4057-A775-07C3F688388F}" dt="2021-05-24T09:59:46.086" v="3505"/>
          <ac:picMkLst>
            <pc:docMk/>
            <pc:sldMk cId="2034003107" sldId="10462"/>
            <ac:picMk id="57" creationId="{C0BADDA5-A1C2-4206-9FAE-3147A51459A2}"/>
          </ac:picMkLst>
        </pc:picChg>
        <pc:picChg chg="add mod">
          <ac:chgData name="Joseph KEMOUN" userId="0b06f245-0909-42d3-bad5-b3a07c8ffd21" providerId="ADAL" clId="{11BCE0D8-1F33-4057-A775-07C3F688388F}" dt="2021-05-24T09:59:46.086" v="3505"/>
          <ac:picMkLst>
            <pc:docMk/>
            <pc:sldMk cId="2034003107" sldId="10462"/>
            <ac:picMk id="75" creationId="{41580FD9-B21E-4A43-AE29-DCB69C5CA868}"/>
          </ac:picMkLst>
        </pc:picChg>
        <pc:picChg chg="add mod">
          <ac:chgData name="Joseph KEMOUN" userId="0b06f245-0909-42d3-bad5-b3a07c8ffd21" providerId="ADAL" clId="{11BCE0D8-1F33-4057-A775-07C3F688388F}" dt="2021-05-24T09:59:46.086" v="3505"/>
          <ac:picMkLst>
            <pc:docMk/>
            <pc:sldMk cId="2034003107" sldId="10462"/>
            <ac:picMk id="76" creationId="{30F7618E-1C02-48AF-9B7C-4AFC539CD0DC}"/>
          </ac:picMkLst>
        </pc:picChg>
        <pc:picChg chg="add mod">
          <ac:chgData name="Joseph KEMOUN" userId="0b06f245-0909-42d3-bad5-b3a07c8ffd21" providerId="ADAL" clId="{11BCE0D8-1F33-4057-A775-07C3F688388F}" dt="2021-05-24T09:59:46.086" v="3505"/>
          <ac:picMkLst>
            <pc:docMk/>
            <pc:sldMk cId="2034003107" sldId="10462"/>
            <ac:picMk id="80" creationId="{D6C71D15-4427-4820-8189-B505739F7D82}"/>
          </ac:picMkLst>
        </pc:picChg>
        <pc:picChg chg="add mod">
          <ac:chgData name="Joseph KEMOUN" userId="0b06f245-0909-42d3-bad5-b3a07c8ffd21" providerId="ADAL" clId="{11BCE0D8-1F33-4057-A775-07C3F688388F}" dt="2021-05-24T09:59:46.086" v="3505"/>
          <ac:picMkLst>
            <pc:docMk/>
            <pc:sldMk cId="2034003107" sldId="10462"/>
            <ac:picMk id="82" creationId="{B4F1815F-AB91-465C-B603-7C1DFCD762E8}"/>
          </ac:picMkLst>
        </pc:picChg>
        <pc:cxnChg chg="add mod">
          <ac:chgData name="Joseph KEMOUN" userId="0b06f245-0909-42d3-bad5-b3a07c8ffd21" providerId="ADAL" clId="{11BCE0D8-1F33-4057-A775-07C3F688388F}" dt="2021-05-24T09:59:46.086" v="3505"/>
          <ac:cxnSpMkLst>
            <pc:docMk/>
            <pc:sldMk cId="2034003107" sldId="10462"/>
            <ac:cxnSpMk id="61" creationId="{86DB2C38-722A-4C4D-8B07-828E78C1F2AE}"/>
          </ac:cxnSpMkLst>
        </pc:cxnChg>
      </pc:sldChg>
      <pc:sldChg chg="modSp mod">
        <pc:chgData name="Joseph KEMOUN" userId="0b06f245-0909-42d3-bad5-b3a07c8ffd21" providerId="ADAL" clId="{11BCE0D8-1F33-4057-A775-07C3F688388F}" dt="2021-05-24T15:40:21.460" v="10969" actId="20577"/>
        <pc:sldMkLst>
          <pc:docMk/>
          <pc:sldMk cId="994864461" sldId="10463"/>
        </pc:sldMkLst>
        <pc:spChg chg="mod">
          <ac:chgData name="Joseph KEMOUN" userId="0b06f245-0909-42d3-bad5-b3a07c8ffd21" providerId="ADAL" clId="{11BCE0D8-1F33-4057-A775-07C3F688388F}" dt="2021-05-24T15:05:03.134" v="8409"/>
          <ac:spMkLst>
            <pc:docMk/>
            <pc:sldMk cId="994864461" sldId="10463"/>
            <ac:spMk id="43" creationId="{E84EA5FA-08E9-40F6-A71F-8BA8F3E3ED99}"/>
          </ac:spMkLst>
        </pc:spChg>
        <pc:spChg chg="mod">
          <ac:chgData name="Joseph KEMOUN" userId="0b06f245-0909-42d3-bad5-b3a07c8ffd21" providerId="ADAL" clId="{11BCE0D8-1F33-4057-A775-07C3F688388F}" dt="2021-05-24T12:33:52.751" v="6595" actId="20577"/>
          <ac:spMkLst>
            <pc:docMk/>
            <pc:sldMk cId="994864461" sldId="10463"/>
            <ac:spMk id="70" creationId="{AFE4887D-245E-4A5E-8885-8AF19040C140}"/>
          </ac:spMkLst>
        </pc:spChg>
        <pc:spChg chg="mod">
          <ac:chgData name="Joseph KEMOUN" userId="0b06f245-0909-42d3-bad5-b3a07c8ffd21" providerId="ADAL" clId="{11BCE0D8-1F33-4057-A775-07C3F688388F}" dt="2021-05-24T12:34:44.651" v="6775" actId="20577"/>
          <ac:spMkLst>
            <pc:docMk/>
            <pc:sldMk cId="994864461" sldId="10463"/>
            <ac:spMk id="71" creationId="{F0F2AF39-5991-495C-A600-6A657673BFB6}"/>
          </ac:spMkLst>
        </pc:spChg>
        <pc:spChg chg="mod">
          <ac:chgData name="Joseph KEMOUN" userId="0b06f245-0909-42d3-bad5-b3a07c8ffd21" providerId="ADAL" clId="{11BCE0D8-1F33-4057-A775-07C3F688388F}" dt="2021-05-24T12:26:31.635" v="5516" actId="20577"/>
          <ac:spMkLst>
            <pc:docMk/>
            <pc:sldMk cId="994864461" sldId="10463"/>
            <ac:spMk id="75" creationId="{7B0FFDE9-FFD9-4A73-8832-170F98D17244}"/>
          </ac:spMkLst>
        </pc:spChg>
        <pc:spChg chg="mod">
          <ac:chgData name="Joseph KEMOUN" userId="0b06f245-0909-42d3-bad5-b3a07c8ffd21" providerId="ADAL" clId="{11BCE0D8-1F33-4057-A775-07C3F688388F}" dt="2021-05-24T12:27:06.188" v="5644" actId="20577"/>
          <ac:spMkLst>
            <pc:docMk/>
            <pc:sldMk cId="994864461" sldId="10463"/>
            <ac:spMk id="76" creationId="{04AB1183-48A5-4AAB-AFC7-EE17CBA30D1F}"/>
          </ac:spMkLst>
        </pc:spChg>
        <pc:spChg chg="mod">
          <ac:chgData name="Joseph KEMOUN" userId="0b06f245-0909-42d3-bad5-b3a07c8ffd21" providerId="ADAL" clId="{11BCE0D8-1F33-4057-A775-07C3F688388F}" dt="2021-05-24T12:28:49.511" v="5901" actId="20577"/>
          <ac:spMkLst>
            <pc:docMk/>
            <pc:sldMk cId="994864461" sldId="10463"/>
            <ac:spMk id="77" creationId="{953DC0E8-B9BA-4272-838D-47500A00630B}"/>
          </ac:spMkLst>
        </pc:spChg>
        <pc:spChg chg="mod">
          <ac:chgData name="Joseph KEMOUN" userId="0b06f245-0909-42d3-bad5-b3a07c8ffd21" providerId="ADAL" clId="{11BCE0D8-1F33-4057-A775-07C3F688388F}" dt="2021-05-24T12:33:11.485" v="6479" actId="20577"/>
          <ac:spMkLst>
            <pc:docMk/>
            <pc:sldMk cId="994864461" sldId="10463"/>
            <ac:spMk id="78" creationId="{6E94A301-188D-411F-840A-724B132E6629}"/>
          </ac:spMkLst>
        </pc:spChg>
        <pc:spChg chg="mod">
          <ac:chgData name="Joseph KEMOUN" userId="0b06f245-0909-42d3-bad5-b3a07c8ffd21" providerId="ADAL" clId="{11BCE0D8-1F33-4057-A775-07C3F688388F}" dt="2021-05-24T15:40:21.460" v="10969" actId="20577"/>
          <ac:spMkLst>
            <pc:docMk/>
            <pc:sldMk cId="994864461" sldId="10463"/>
            <ac:spMk id="79" creationId="{7F2E29EF-CCA5-49C7-B921-5468D45F7D5D}"/>
          </ac:spMkLst>
        </pc:spChg>
        <pc:spChg chg="mod">
          <ac:chgData name="Joseph KEMOUN" userId="0b06f245-0909-42d3-bad5-b3a07c8ffd21" providerId="ADAL" clId="{11BCE0D8-1F33-4057-A775-07C3F688388F}" dt="2021-05-24T12:28:56.400" v="5902" actId="313"/>
          <ac:spMkLst>
            <pc:docMk/>
            <pc:sldMk cId="994864461" sldId="10463"/>
            <ac:spMk id="80" creationId="{F2B59353-E19F-4D93-9E7E-E095010072BD}"/>
          </ac:spMkLst>
        </pc:spChg>
        <pc:spChg chg="mod">
          <ac:chgData name="Joseph KEMOUN" userId="0b06f245-0909-42d3-bad5-b3a07c8ffd21" providerId="ADAL" clId="{11BCE0D8-1F33-4057-A775-07C3F688388F}" dt="2021-05-24T12:30:28.713" v="6094" actId="313"/>
          <ac:spMkLst>
            <pc:docMk/>
            <pc:sldMk cId="994864461" sldId="10463"/>
            <ac:spMk id="81" creationId="{CC201E51-AC66-4CA9-A83C-D0C9C8FFE8BE}"/>
          </ac:spMkLst>
        </pc:spChg>
        <pc:spChg chg="mod">
          <ac:chgData name="Joseph KEMOUN" userId="0b06f245-0909-42d3-bad5-b3a07c8ffd21" providerId="ADAL" clId="{11BCE0D8-1F33-4057-A775-07C3F688388F}" dt="2021-05-24T12:32:16.415" v="6337" actId="20577"/>
          <ac:spMkLst>
            <pc:docMk/>
            <pc:sldMk cId="994864461" sldId="10463"/>
            <ac:spMk id="82" creationId="{89D680A3-5621-4E69-8DC5-AAE03504131D}"/>
          </ac:spMkLst>
        </pc:spChg>
      </pc:sldChg>
      <pc:sldChg chg="modSp del mod">
        <pc:chgData name="Joseph KEMOUN" userId="0b06f245-0909-42d3-bad5-b3a07c8ffd21" providerId="ADAL" clId="{11BCE0D8-1F33-4057-A775-07C3F688388F}" dt="2021-05-25T08:10:23.859" v="12658" actId="47"/>
        <pc:sldMkLst>
          <pc:docMk/>
          <pc:sldMk cId="4123958613" sldId="10464"/>
        </pc:sldMkLst>
        <pc:spChg chg="mod">
          <ac:chgData name="Joseph KEMOUN" userId="0b06f245-0909-42d3-bad5-b3a07c8ffd21" providerId="ADAL" clId="{11BCE0D8-1F33-4057-A775-07C3F688388F}" dt="2021-05-24T15:04:59.198" v="8408"/>
          <ac:spMkLst>
            <pc:docMk/>
            <pc:sldMk cId="4123958613" sldId="10464"/>
            <ac:spMk id="43" creationId="{E84EA5FA-08E9-40F6-A71F-8BA8F3E3ED99}"/>
          </ac:spMkLst>
        </pc:spChg>
      </pc:sldChg>
      <pc:sldChg chg="addSp delSp modSp mod">
        <pc:chgData name="Joseph KEMOUN" userId="0b06f245-0909-42d3-bad5-b3a07c8ffd21" providerId="ADAL" clId="{11BCE0D8-1F33-4057-A775-07C3F688388F}" dt="2021-05-25T15:02:39.621" v="17324"/>
        <pc:sldMkLst>
          <pc:docMk/>
          <pc:sldMk cId="1519874409" sldId="10465"/>
        </pc:sldMkLst>
        <pc:spChg chg="mod">
          <ac:chgData name="Joseph KEMOUN" userId="0b06f245-0909-42d3-bad5-b3a07c8ffd21" providerId="ADAL" clId="{11BCE0D8-1F33-4057-A775-07C3F688388F}" dt="2021-05-25T15:02:39.536" v="17267" actId="948"/>
          <ac:spMkLst>
            <pc:docMk/>
            <pc:sldMk cId="1519874409" sldId="10465"/>
            <ac:spMk id="2" creationId="{22CE637A-08CD-4B57-9E43-4D794A97D425}"/>
          </ac:spMkLst>
        </pc:spChg>
        <pc:spChg chg="add del mod modVis">
          <ac:chgData name="Joseph KEMOUN" userId="0b06f245-0909-42d3-bad5-b3a07c8ffd21" providerId="ADAL" clId="{11BCE0D8-1F33-4057-A775-07C3F688388F}" dt="2021-05-25T15:02:34.055" v="17263"/>
          <ac:spMkLst>
            <pc:docMk/>
            <pc:sldMk cId="1519874409" sldId="10465"/>
            <ac:spMk id="4" creationId="{283BAC50-BCE6-4AD8-8DE8-69887550B59D}"/>
          </ac:spMkLst>
        </pc:spChg>
        <pc:spChg chg="add del mod modVis">
          <ac:chgData name="Joseph KEMOUN" userId="0b06f245-0909-42d3-bad5-b3a07c8ffd21" providerId="ADAL" clId="{11BCE0D8-1F33-4057-A775-07C3F688388F}" dt="2021-05-25T15:02:39.621" v="17322"/>
          <ac:spMkLst>
            <pc:docMk/>
            <pc:sldMk cId="1519874409" sldId="10465"/>
            <ac:spMk id="6" creationId="{82192F50-2C21-4EAC-A7D5-2335D76FF43D}"/>
          </ac:spMkLst>
        </pc:spChg>
        <pc:spChg chg="del">
          <ac:chgData name="Joseph KEMOUN" userId="0b06f245-0909-42d3-bad5-b3a07c8ffd21" providerId="ADAL" clId="{11BCE0D8-1F33-4057-A775-07C3F688388F}" dt="2021-05-24T14:14:54.719" v="8052" actId="478"/>
          <ac:spMkLst>
            <pc:docMk/>
            <pc:sldMk cId="1519874409" sldId="10465"/>
            <ac:spMk id="65" creationId="{14DBDE30-5E3A-4F1E-9FBC-F7821E12A88B}"/>
          </ac:spMkLst>
        </pc:spChg>
        <pc:graphicFrameChg chg="mod">
          <ac:chgData name="Joseph KEMOUN" userId="0b06f245-0909-42d3-bad5-b3a07c8ffd21" providerId="ADAL" clId="{11BCE0D8-1F33-4057-A775-07C3F688388F}" dt="2021-05-25T15:02:39.621" v="17324"/>
          <ac:graphicFrameMkLst>
            <pc:docMk/>
            <pc:sldMk cId="1519874409" sldId="10465"/>
            <ac:graphicFrameMk id="3" creationId="{44A8661F-A698-4B3A-8522-3EA11ED55901}"/>
          </ac:graphicFrameMkLst>
        </pc:graphicFrameChg>
      </pc:sldChg>
      <pc:sldChg chg="addSp delSp modSp add del mod">
        <pc:chgData name="Joseph KEMOUN" userId="0b06f245-0909-42d3-bad5-b3a07c8ffd21" providerId="ADAL" clId="{11BCE0D8-1F33-4057-A775-07C3F688388F}" dt="2021-05-25T08:12:03.207" v="12709" actId="47"/>
        <pc:sldMkLst>
          <pc:docMk/>
          <pc:sldMk cId="3286602149" sldId="10466"/>
        </pc:sldMkLst>
        <pc:spChg chg="mod">
          <ac:chgData name="Joseph KEMOUN" userId="0b06f245-0909-42d3-bad5-b3a07c8ffd21" providerId="ADAL" clId="{11BCE0D8-1F33-4057-A775-07C3F688388F}" dt="2021-05-24T11:47:48.171" v="3865" actId="948"/>
          <ac:spMkLst>
            <pc:docMk/>
            <pc:sldMk cId="3286602149" sldId="10466"/>
            <ac:spMk id="2" creationId="{873006D4-BF82-4F00-B534-5D28B2DDCEF5}"/>
          </ac:spMkLst>
        </pc:spChg>
        <pc:spChg chg="add del mod modVis">
          <ac:chgData name="Joseph KEMOUN" userId="0b06f245-0909-42d3-bad5-b3a07c8ffd21" providerId="ADAL" clId="{11BCE0D8-1F33-4057-A775-07C3F688388F}" dt="2021-05-24T11:47:48.271" v="3905"/>
          <ac:spMkLst>
            <pc:docMk/>
            <pc:sldMk cId="3286602149" sldId="10466"/>
            <ac:spMk id="8" creationId="{F8A6666C-154E-458B-BEF9-824B232901B5}"/>
          </ac:spMkLst>
        </pc:spChg>
        <pc:spChg chg="del">
          <ac:chgData name="Joseph KEMOUN" userId="0b06f245-0909-42d3-bad5-b3a07c8ffd21" providerId="ADAL" clId="{11BCE0D8-1F33-4057-A775-07C3F688388F}" dt="2021-05-24T11:47:42.120" v="3863" actId="478"/>
          <ac:spMkLst>
            <pc:docMk/>
            <pc:sldMk cId="3286602149" sldId="10466"/>
            <ac:spMk id="59" creationId="{7D3CB576-6910-4580-8B93-61400A776F0F}"/>
          </ac:spMkLst>
        </pc:spChg>
        <pc:spChg chg="del">
          <ac:chgData name="Joseph KEMOUN" userId="0b06f245-0909-42d3-bad5-b3a07c8ffd21" providerId="ADAL" clId="{11BCE0D8-1F33-4057-A775-07C3F688388F}" dt="2021-05-24T11:47:42.120" v="3863" actId="478"/>
          <ac:spMkLst>
            <pc:docMk/>
            <pc:sldMk cId="3286602149" sldId="10466"/>
            <ac:spMk id="60" creationId="{C1AC785B-60D5-4A61-9BD4-9BD82AA91B30}"/>
          </ac:spMkLst>
        </pc:spChg>
        <pc:spChg chg="del">
          <ac:chgData name="Joseph KEMOUN" userId="0b06f245-0909-42d3-bad5-b3a07c8ffd21" providerId="ADAL" clId="{11BCE0D8-1F33-4057-A775-07C3F688388F}" dt="2021-05-24T11:47:42.120" v="3863" actId="478"/>
          <ac:spMkLst>
            <pc:docMk/>
            <pc:sldMk cId="3286602149" sldId="10466"/>
            <ac:spMk id="62" creationId="{A89E7587-7226-4BC7-930E-8B93D0CCB38A}"/>
          </ac:spMkLst>
        </pc:spChg>
        <pc:spChg chg="del">
          <ac:chgData name="Joseph KEMOUN" userId="0b06f245-0909-42d3-bad5-b3a07c8ffd21" providerId="ADAL" clId="{11BCE0D8-1F33-4057-A775-07C3F688388F}" dt="2021-05-24T11:47:42.120" v="3863" actId="478"/>
          <ac:spMkLst>
            <pc:docMk/>
            <pc:sldMk cId="3286602149" sldId="10466"/>
            <ac:spMk id="63" creationId="{5B17D98B-6F04-4371-AEFA-07E41640F217}"/>
          </ac:spMkLst>
        </pc:spChg>
        <pc:spChg chg="del">
          <ac:chgData name="Joseph KEMOUN" userId="0b06f245-0909-42d3-bad5-b3a07c8ffd21" providerId="ADAL" clId="{11BCE0D8-1F33-4057-A775-07C3F688388F}" dt="2021-05-24T11:47:42.120" v="3863" actId="478"/>
          <ac:spMkLst>
            <pc:docMk/>
            <pc:sldMk cId="3286602149" sldId="10466"/>
            <ac:spMk id="64" creationId="{A29A1AD4-C7A5-4949-93EB-D47986116E10}"/>
          </ac:spMkLst>
        </pc:spChg>
        <pc:spChg chg="del">
          <ac:chgData name="Joseph KEMOUN" userId="0b06f245-0909-42d3-bad5-b3a07c8ffd21" providerId="ADAL" clId="{11BCE0D8-1F33-4057-A775-07C3F688388F}" dt="2021-05-24T11:47:42.120" v="3863" actId="478"/>
          <ac:spMkLst>
            <pc:docMk/>
            <pc:sldMk cId="3286602149" sldId="10466"/>
            <ac:spMk id="65" creationId="{8CE43CC9-42A1-44F9-B49B-D523A60E224B}"/>
          </ac:spMkLst>
        </pc:spChg>
        <pc:spChg chg="del">
          <ac:chgData name="Joseph KEMOUN" userId="0b06f245-0909-42d3-bad5-b3a07c8ffd21" providerId="ADAL" clId="{11BCE0D8-1F33-4057-A775-07C3F688388F}" dt="2021-05-24T11:47:42.120" v="3863" actId="478"/>
          <ac:spMkLst>
            <pc:docMk/>
            <pc:sldMk cId="3286602149" sldId="10466"/>
            <ac:spMk id="68" creationId="{2A9EDC9E-A4BB-4383-A3B0-88EFE282711B}"/>
          </ac:spMkLst>
        </pc:spChg>
        <pc:graphicFrameChg chg="mod">
          <ac:chgData name="Joseph KEMOUN" userId="0b06f245-0909-42d3-bad5-b3a07c8ffd21" providerId="ADAL" clId="{11BCE0D8-1F33-4057-A775-07C3F688388F}" dt="2021-05-24T11:47:48.271" v="3907"/>
          <ac:graphicFrameMkLst>
            <pc:docMk/>
            <pc:sldMk cId="3286602149" sldId="10466"/>
            <ac:graphicFrameMk id="18" creationId="{CF7417D0-0B74-4D85-B813-1CC9F37E5F04}"/>
          </ac:graphicFrameMkLst>
        </pc:graphicFrameChg>
      </pc:sldChg>
      <pc:sldChg chg="modSp mod">
        <pc:chgData name="Joseph KEMOUN" userId="0b06f245-0909-42d3-bad5-b3a07c8ffd21" providerId="ADAL" clId="{11BCE0D8-1F33-4057-A775-07C3F688388F}" dt="2021-05-25T09:25:24.585" v="13751" actId="1076"/>
        <pc:sldMkLst>
          <pc:docMk/>
          <pc:sldMk cId="588134585" sldId="10479"/>
        </pc:sldMkLst>
        <pc:spChg chg="mod">
          <ac:chgData name="Joseph KEMOUN" userId="0b06f245-0909-42d3-bad5-b3a07c8ffd21" providerId="ADAL" clId="{11BCE0D8-1F33-4057-A775-07C3F688388F}" dt="2021-05-25T09:25:00.900" v="13750" actId="20577"/>
          <ac:spMkLst>
            <pc:docMk/>
            <pc:sldMk cId="588134585" sldId="10479"/>
            <ac:spMk id="52" creationId="{269DE5CB-BABB-4CE5-BFC8-CA5EE268E23C}"/>
          </ac:spMkLst>
        </pc:spChg>
        <pc:spChg chg="mod">
          <ac:chgData name="Joseph KEMOUN" userId="0b06f245-0909-42d3-bad5-b3a07c8ffd21" providerId="ADAL" clId="{11BCE0D8-1F33-4057-A775-07C3F688388F}" dt="2021-05-25T09:20:26.733" v="13723" actId="20577"/>
          <ac:spMkLst>
            <pc:docMk/>
            <pc:sldMk cId="588134585" sldId="10479"/>
            <ac:spMk id="78" creationId="{5112757C-9BF4-4BA1-9498-541BF2906FB2}"/>
          </ac:spMkLst>
        </pc:spChg>
        <pc:spChg chg="mod">
          <ac:chgData name="Joseph KEMOUN" userId="0b06f245-0909-42d3-bad5-b3a07c8ffd21" providerId="ADAL" clId="{11BCE0D8-1F33-4057-A775-07C3F688388F}" dt="2021-05-25T09:20:59.078" v="13724" actId="20577"/>
          <ac:spMkLst>
            <pc:docMk/>
            <pc:sldMk cId="588134585" sldId="10479"/>
            <ac:spMk id="80" creationId="{E399A358-1215-4FA3-8339-9689B70175BF}"/>
          </ac:spMkLst>
        </pc:spChg>
        <pc:spChg chg="mod">
          <ac:chgData name="Joseph KEMOUN" userId="0b06f245-0909-42d3-bad5-b3a07c8ffd21" providerId="ADAL" clId="{11BCE0D8-1F33-4057-A775-07C3F688388F}" dt="2021-05-25T09:25:24.585" v="13751" actId="1076"/>
          <ac:spMkLst>
            <pc:docMk/>
            <pc:sldMk cId="588134585" sldId="10479"/>
            <ac:spMk id="152" creationId="{FD7ED2BD-3A04-423A-8563-A638727F3B40}"/>
          </ac:spMkLst>
        </pc:spChg>
      </pc:sldChg>
      <pc:sldChg chg="addSp delSp modSp add mod modNotesTx">
        <pc:chgData name="Joseph KEMOUN" userId="0b06f245-0909-42d3-bad5-b3a07c8ffd21" providerId="ADAL" clId="{11BCE0D8-1F33-4057-A775-07C3F688388F}" dt="2021-05-25T15:25:43.821" v="17384" actId="12788"/>
        <pc:sldMkLst>
          <pc:docMk/>
          <pc:sldMk cId="1314566602" sldId="10481"/>
        </pc:sldMkLst>
        <pc:spChg chg="mod">
          <ac:chgData name="Joseph KEMOUN" userId="0b06f245-0909-42d3-bad5-b3a07c8ffd21" providerId="ADAL" clId="{11BCE0D8-1F33-4057-A775-07C3F688388F}" dt="2021-05-25T14:58:18.789" v="16235" actId="948"/>
          <ac:spMkLst>
            <pc:docMk/>
            <pc:sldMk cId="1314566602" sldId="10481"/>
            <ac:spMk id="2" creationId="{6141F854-3009-40D7-9038-56590105A49E}"/>
          </ac:spMkLst>
        </pc:spChg>
        <pc:spChg chg="add del mod modVis">
          <ac:chgData name="Joseph KEMOUN" userId="0b06f245-0909-42d3-bad5-b3a07c8ffd21" providerId="ADAL" clId="{11BCE0D8-1F33-4057-A775-07C3F688388F}" dt="2021-05-25T14:57:50.398" v="16231"/>
          <ac:spMkLst>
            <pc:docMk/>
            <pc:sldMk cId="1314566602" sldId="10481"/>
            <ac:spMk id="3" creationId="{FE9F93BB-4F35-40A7-83C9-3091F6A6DCA5}"/>
          </ac:spMkLst>
        </pc:spChg>
        <pc:spChg chg="add del mod modVis">
          <ac:chgData name="Joseph KEMOUN" userId="0b06f245-0909-42d3-bad5-b3a07c8ffd21" providerId="ADAL" clId="{11BCE0D8-1F33-4057-A775-07C3F688388F}" dt="2021-05-25T14:58:18.862" v="16275"/>
          <ac:spMkLst>
            <pc:docMk/>
            <pc:sldMk cId="1314566602" sldId="10481"/>
            <ac:spMk id="4" creationId="{7EF005C5-1FF3-438E-875A-071D33775F4B}"/>
          </ac:spMkLst>
        </pc:spChg>
        <pc:spChg chg="add del mod modVis">
          <ac:chgData name="Joseph KEMOUN" userId="0b06f245-0909-42d3-bad5-b3a07c8ffd21" providerId="ADAL" clId="{11BCE0D8-1F33-4057-A775-07C3F688388F}" dt="2021-05-25T08:09:50.825" v="12611"/>
          <ac:spMkLst>
            <pc:docMk/>
            <pc:sldMk cId="1314566602" sldId="10481"/>
            <ac:spMk id="4" creationId="{A5932C22-768A-4CCE-B9D9-78789B8593E9}"/>
          </ac:spMkLst>
        </pc:spChg>
        <pc:spChg chg="add del mod modVis">
          <ac:chgData name="Joseph KEMOUN" userId="0b06f245-0909-42d3-bad5-b3a07c8ffd21" providerId="ADAL" clId="{11BCE0D8-1F33-4057-A775-07C3F688388F}" dt="2021-05-25T08:10:09.660" v="12655"/>
          <ac:spMkLst>
            <pc:docMk/>
            <pc:sldMk cId="1314566602" sldId="10481"/>
            <ac:spMk id="6" creationId="{43CBF0C8-4ED5-46D0-8496-C0F77A36483B}"/>
          </ac:spMkLst>
        </pc:spChg>
        <pc:spChg chg="del">
          <ac:chgData name="Joseph KEMOUN" userId="0b06f245-0909-42d3-bad5-b3a07c8ffd21" providerId="ADAL" clId="{11BCE0D8-1F33-4057-A775-07C3F688388F}" dt="2021-05-25T08:10:31.485" v="12661" actId="478"/>
          <ac:spMkLst>
            <pc:docMk/>
            <pc:sldMk cId="1314566602" sldId="10481"/>
            <ac:spMk id="56" creationId="{2FB57385-9778-4E16-88A7-927D307E97B3}"/>
          </ac:spMkLst>
        </pc:spChg>
        <pc:spChg chg="del">
          <ac:chgData name="Joseph KEMOUN" userId="0b06f245-0909-42d3-bad5-b3a07c8ffd21" providerId="ADAL" clId="{11BCE0D8-1F33-4057-A775-07C3F688388F}" dt="2021-05-25T08:10:25.931" v="12659" actId="478"/>
          <ac:spMkLst>
            <pc:docMk/>
            <pc:sldMk cId="1314566602" sldId="10481"/>
            <ac:spMk id="61" creationId="{D8946D35-831B-4FB2-9D8B-4DC903BFA94D}"/>
          </ac:spMkLst>
        </pc:spChg>
        <pc:spChg chg="del">
          <ac:chgData name="Joseph KEMOUN" userId="0b06f245-0909-42d3-bad5-b3a07c8ffd21" providerId="ADAL" clId="{11BCE0D8-1F33-4057-A775-07C3F688388F}" dt="2021-05-25T08:10:31.485" v="12661" actId="478"/>
          <ac:spMkLst>
            <pc:docMk/>
            <pc:sldMk cId="1314566602" sldId="10481"/>
            <ac:spMk id="62" creationId="{B272D2A6-27B4-4CCB-9AAB-635DCFACB418}"/>
          </ac:spMkLst>
        </pc:spChg>
        <pc:spChg chg="del">
          <ac:chgData name="Joseph KEMOUN" userId="0b06f245-0909-42d3-bad5-b3a07c8ffd21" providerId="ADAL" clId="{11BCE0D8-1F33-4057-A775-07C3F688388F}" dt="2021-05-25T08:09:46.503" v="12569" actId="478"/>
          <ac:spMkLst>
            <pc:docMk/>
            <pc:sldMk cId="1314566602" sldId="10481"/>
            <ac:spMk id="116" creationId="{E9EB210A-3C43-464B-B1D9-552CCCE3C790}"/>
          </ac:spMkLst>
        </pc:spChg>
        <pc:spChg chg="mod">
          <ac:chgData name="Joseph KEMOUN" userId="0b06f245-0909-42d3-bad5-b3a07c8ffd21" providerId="ADAL" clId="{11BCE0D8-1F33-4057-A775-07C3F688388F}" dt="2021-05-25T08:09:24.220" v="12543"/>
          <ac:spMkLst>
            <pc:docMk/>
            <pc:sldMk cId="1314566602" sldId="10481"/>
            <ac:spMk id="166" creationId="{3983A3A0-475B-4224-87DD-86EAC7AC3B64}"/>
          </ac:spMkLst>
        </pc:spChg>
        <pc:spChg chg="mod">
          <ac:chgData name="Joseph KEMOUN" userId="0b06f245-0909-42d3-bad5-b3a07c8ffd21" providerId="ADAL" clId="{11BCE0D8-1F33-4057-A775-07C3F688388F}" dt="2021-05-25T08:09:24.220" v="12543"/>
          <ac:spMkLst>
            <pc:docMk/>
            <pc:sldMk cId="1314566602" sldId="10481"/>
            <ac:spMk id="167" creationId="{38A95F5B-BA93-4A61-99AF-646C4A0AB297}"/>
          </ac:spMkLst>
        </pc:spChg>
        <pc:spChg chg="mod">
          <ac:chgData name="Joseph KEMOUN" userId="0b06f245-0909-42d3-bad5-b3a07c8ffd21" providerId="ADAL" clId="{11BCE0D8-1F33-4057-A775-07C3F688388F}" dt="2021-05-25T08:09:24.220" v="12543"/>
          <ac:spMkLst>
            <pc:docMk/>
            <pc:sldMk cId="1314566602" sldId="10481"/>
            <ac:spMk id="169" creationId="{9617D603-2C82-47E4-90FB-0CCAFB73CE72}"/>
          </ac:spMkLst>
        </pc:spChg>
        <pc:spChg chg="mod">
          <ac:chgData name="Joseph KEMOUN" userId="0b06f245-0909-42d3-bad5-b3a07c8ffd21" providerId="ADAL" clId="{11BCE0D8-1F33-4057-A775-07C3F688388F}" dt="2021-05-25T08:09:24.220" v="12543"/>
          <ac:spMkLst>
            <pc:docMk/>
            <pc:sldMk cId="1314566602" sldId="10481"/>
            <ac:spMk id="170" creationId="{7B4D41B8-0226-47DC-8283-BA5A27B6490C}"/>
          </ac:spMkLst>
        </pc:spChg>
        <pc:spChg chg="mod">
          <ac:chgData name="Joseph KEMOUN" userId="0b06f245-0909-42d3-bad5-b3a07c8ffd21" providerId="ADAL" clId="{11BCE0D8-1F33-4057-A775-07C3F688388F}" dt="2021-05-25T08:09:24.220" v="12543"/>
          <ac:spMkLst>
            <pc:docMk/>
            <pc:sldMk cId="1314566602" sldId="10481"/>
            <ac:spMk id="172" creationId="{E0C90389-1EB7-4BC3-962D-D35FC896FC36}"/>
          </ac:spMkLst>
        </pc:spChg>
        <pc:spChg chg="mod">
          <ac:chgData name="Joseph KEMOUN" userId="0b06f245-0909-42d3-bad5-b3a07c8ffd21" providerId="ADAL" clId="{11BCE0D8-1F33-4057-A775-07C3F688388F}" dt="2021-05-25T08:09:24.220" v="12543"/>
          <ac:spMkLst>
            <pc:docMk/>
            <pc:sldMk cId="1314566602" sldId="10481"/>
            <ac:spMk id="173" creationId="{BFD7AEB6-CAA4-4821-B866-873B1FB5A1E0}"/>
          </ac:spMkLst>
        </pc:spChg>
        <pc:spChg chg="mod">
          <ac:chgData name="Joseph KEMOUN" userId="0b06f245-0909-42d3-bad5-b3a07c8ffd21" providerId="ADAL" clId="{11BCE0D8-1F33-4057-A775-07C3F688388F}" dt="2021-05-25T08:09:37.615" v="12567" actId="1037"/>
          <ac:spMkLst>
            <pc:docMk/>
            <pc:sldMk cId="1314566602" sldId="10481"/>
            <ac:spMk id="179" creationId="{79CC69B0-46D5-49E4-83C5-43F61E9F1CE2}"/>
          </ac:spMkLst>
        </pc:spChg>
        <pc:spChg chg="mod">
          <ac:chgData name="Joseph KEMOUN" userId="0b06f245-0909-42d3-bad5-b3a07c8ffd21" providerId="ADAL" clId="{11BCE0D8-1F33-4057-A775-07C3F688388F}" dt="2021-05-25T08:09:37.615" v="12567" actId="1037"/>
          <ac:spMkLst>
            <pc:docMk/>
            <pc:sldMk cId="1314566602" sldId="10481"/>
            <ac:spMk id="180" creationId="{3CD3B0DE-7022-447F-8D65-210D17522B5A}"/>
          </ac:spMkLst>
        </pc:spChg>
        <pc:spChg chg="mod">
          <ac:chgData name="Joseph KEMOUN" userId="0b06f245-0909-42d3-bad5-b3a07c8ffd21" providerId="ADAL" clId="{11BCE0D8-1F33-4057-A775-07C3F688388F}" dt="2021-05-25T08:09:37.615" v="12567" actId="1037"/>
          <ac:spMkLst>
            <pc:docMk/>
            <pc:sldMk cId="1314566602" sldId="10481"/>
            <ac:spMk id="182" creationId="{EA963E94-54E7-4940-85AF-70EE05687A60}"/>
          </ac:spMkLst>
        </pc:spChg>
        <pc:spChg chg="mod">
          <ac:chgData name="Joseph KEMOUN" userId="0b06f245-0909-42d3-bad5-b3a07c8ffd21" providerId="ADAL" clId="{11BCE0D8-1F33-4057-A775-07C3F688388F}" dt="2021-05-25T08:09:37.615" v="12567" actId="1037"/>
          <ac:spMkLst>
            <pc:docMk/>
            <pc:sldMk cId="1314566602" sldId="10481"/>
            <ac:spMk id="183" creationId="{AD5ACEAA-4775-4048-AFA5-DE74C28B6000}"/>
          </ac:spMkLst>
        </pc:spChg>
        <pc:spChg chg="mod">
          <ac:chgData name="Joseph KEMOUN" userId="0b06f245-0909-42d3-bad5-b3a07c8ffd21" providerId="ADAL" clId="{11BCE0D8-1F33-4057-A775-07C3F688388F}" dt="2021-05-25T08:09:37.615" v="12567" actId="1037"/>
          <ac:spMkLst>
            <pc:docMk/>
            <pc:sldMk cId="1314566602" sldId="10481"/>
            <ac:spMk id="185" creationId="{6F25F2BB-2FDF-43CE-BC50-E1296B1B280C}"/>
          </ac:spMkLst>
        </pc:spChg>
        <pc:spChg chg="mod">
          <ac:chgData name="Joseph KEMOUN" userId="0b06f245-0909-42d3-bad5-b3a07c8ffd21" providerId="ADAL" clId="{11BCE0D8-1F33-4057-A775-07C3F688388F}" dt="2021-05-25T08:09:37.615" v="12567" actId="1037"/>
          <ac:spMkLst>
            <pc:docMk/>
            <pc:sldMk cId="1314566602" sldId="10481"/>
            <ac:spMk id="186" creationId="{DF4CE9DF-289E-4A17-B09D-3FA5A5FA474F}"/>
          </ac:spMkLst>
        </pc:spChg>
        <pc:grpChg chg="del">
          <ac:chgData name="Joseph KEMOUN" userId="0b06f245-0909-42d3-bad5-b3a07c8ffd21" providerId="ADAL" clId="{11BCE0D8-1F33-4057-A775-07C3F688388F}" dt="2021-05-25T08:09:46.503" v="12569" actId="478"/>
          <ac:grpSpMkLst>
            <pc:docMk/>
            <pc:sldMk cId="1314566602" sldId="10481"/>
            <ac:grpSpMk id="117" creationId="{E1F74118-DC1A-4E12-8A53-785ED4A3156A}"/>
          </ac:grpSpMkLst>
        </pc:grpChg>
        <pc:grpChg chg="add del mod">
          <ac:chgData name="Joseph KEMOUN" userId="0b06f245-0909-42d3-bad5-b3a07c8ffd21" providerId="ADAL" clId="{11BCE0D8-1F33-4057-A775-07C3F688388F}" dt="2021-05-25T08:09:31.470" v="12544"/>
          <ac:grpSpMkLst>
            <pc:docMk/>
            <pc:sldMk cId="1314566602" sldId="10481"/>
            <ac:grpSpMk id="165" creationId="{FA68EA7D-92D5-4086-8A91-6FBD222D04F3}"/>
          </ac:grpSpMkLst>
        </pc:grpChg>
        <pc:grpChg chg="add del mod">
          <ac:chgData name="Joseph KEMOUN" userId="0b06f245-0909-42d3-bad5-b3a07c8ffd21" providerId="ADAL" clId="{11BCE0D8-1F33-4057-A775-07C3F688388F}" dt="2021-05-25T08:09:31.470" v="12544"/>
          <ac:grpSpMkLst>
            <pc:docMk/>
            <pc:sldMk cId="1314566602" sldId="10481"/>
            <ac:grpSpMk id="168" creationId="{8FFF6B8E-B555-4796-AF35-0CE56E67A506}"/>
          </ac:grpSpMkLst>
        </pc:grpChg>
        <pc:grpChg chg="add del mod">
          <ac:chgData name="Joseph KEMOUN" userId="0b06f245-0909-42d3-bad5-b3a07c8ffd21" providerId="ADAL" clId="{11BCE0D8-1F33-4057-A775-07C3F688388F}" dt="2021-05-25T08:09:31.470" v="12544"/>
          <ac:grpSpMkLst>
            <pc:docMk/>
            <pc:sldMk cId="1314566602" sldId="10481"/>
            <ac:grpSpMk id="171" creationId="{4C4F4B3A-278F-400B-81F8-E0E12769FC5E}"/>
          </ac:grpSpMkLst>
        </pc:grpChg>
        <pc:grpChg chg="add mod">
          <ac:chgData name="Joseph KEMOUN" userId="0b06f245-0909-42d3-bad5-b3a07c8ffd21" providerId="ADAL" clId="{11BCE0D8-1F33-4057-A775-07C3F688388F}" dt="2021-05-25T08:09:37.615" v="12567" actId="1037"/>
          <ac:grpSpMkLst>
            <pc:docMk/>
            <pc:sldMk cId="1314566602" sldId="10481"/>
            <ac:grpSpMk id="178" creationId="{0B741655-DC83-4BC8-9993-788D8196C12A}"/>
          </ac:grpSpMkLst>
        </pc:grpChg>
        <pc:grpChg chg="add mod">
          <ac:chgData name="Joseph KEMOUN" userId="0b06f245-0909-42d3-bad5-b3a07c8ffd21" providerId="ADAL" clId="{11BCE0D8-1F33-4057-A775-07C3F688388F}" dt="2021-05-25T08:09:37.615" v="12567" actId="1037"/>
          <ac:grpSpMkLst>
            <pc:docMk/>
            <pc:sldMk cId="1314566602" sldId="10481"/>
            <ac:grpSpMk id="181" creationId="{DE368F07-60A4-4B01-8809-990CAFB202A4}"/>
          </ac:grpSpMkLst>
        </pc:grpChg>
        <pc:grpChg chg="add mod">
          <ac:chgData name="Joseph KEMOUN" userId="0b06f245-0909-42d3-bad5-b3a07c8ffd21" providerId="ADAL" clId="{11BCE0D8-1F33-4057-A775-07C3F688388F}" dt="2021-05-25T08:09:37.615" v="12567" actId="1037"/>
          <ac:grpSpMkLst>
            <pc:docMk/>
            <pc:sldMk cId="1314566602" sldId="10481"/>
            <ac:grpSpMk id="184" creationId="{EF67C566-396D-40DD-9DF0-EA1A6FE656FE}"/>
          </ac:grpSpMkLst>
        </pc:grpChg>
        <pc:graphicFrameChg chg="mod">
          <ac:chgData name="Joseph KEMOUN" userId="0b06f245-0909-42d3-bad5-b3a07c8ffd21" providerId="ADAL" clId="{11BCE0D8-1F33-4057-A775-07C3F688388F}" dt="2021-05-25T14:58:18.862" v="16277"/>
          <ac:graphicFrameMkLst>
            <pc:docMk/>
            <pc:sldMk cId="1314566602" sldId="10481"/>
            <ac:graphicFrameMk id="5" creationId="{58F89C0C-E0E8-4876-A98A-438F18CAD392}"/>
          </ac:graphicFrameMkLst>
        </pc:graphicFrameChg>
        <pc:picChg chg="add del mod">
          <ac:chgData name="Joseph KEMOUN" userId="0b06f245-0909-42d3-bad5-b3a07c8ffd21" providerId="ADAL" clId="{11BCE0D8-1F33-4057-A775-07C3F688388F}" dt="2021-05-25T08:09:31.470" v="12544"/>
          <ac:picMkLst>
            <pc:docMk/>
            <pc:sldMk cId="1314566602" sldId="10481"/>
            <ac:picMk id="161" creationId="{26FE042C-AF4D-4A39-B8CE-9A6513C9D171}"/>
          </ac:picMkLst>
        </pc:picChg>
        <pc:picChg chg="add del mod">
          <ac:chgData name="Joseph KEMOUN" userId="0b06f245-0909-42d3-bad5-b3a07c8ffd21" providerId="ADAL" clId="{11BCE0D8-1F33-4057-A775-07C3F688388F}" dt="2021-05-25T08:09:31.470" v="12544"/>
          <ac:picMkLst>
            <pc:docMk/>
            <pc:sldMk cId="1314566602" sldId="10481"/>
            <ac:picMk id="162" creationId="{70A83697-113C-4BF1-92C9-17E2A88A99A7}"/>
          </ac:picMkLst>
        </pc:picChg>
        <pc:picChg chg="add del mod">
          <ac:chgData name="Joseph KEMOUN" userId="0b06f245-0909-42d3-bad5-b3a07c8ffd21" providerId="ADAL" clId="{11BCE0D8-1F33-4057-A775-07C3F688388F}" dt="2021-05-25T08:09:31.470" v="12544"/>
          <ac:picMkLst>
            <pc:docMk/>
            <pc:sldMk cId="1314566602" sldId="10481"/>
            <ac:picMk id="163" creationId="{8DE862A6-F6D5-4E0B-969C-36785403AF32}"/>
          </ac:picMkLst>
        </pc:picChg>
        <pc:picChg chg="add del mod">
          <ac:chgData name="Joseph KEMOUN" userId="0b06f245-0909-42d3-bad5-b3a07c8ffd21" providerId="ADAL" clId="{11BCE0D8-1F33-4057-A775-07C3F688388F}" dt="2021-05-25T08:09:31.470" v="12544"/>
          <ac:picMkLst>
            <pc:docMk/>
            <pc:sldMk cId="1314566602" sldId="10481"/>
            <ac:picMk id="164" creationId="{DD9F3400-3085-45DA-9469-412625CB649B}"/>
          </ac:picMkLst>
        </pc:picChg>
        <pc:picChg chg="add mod">
          <ac:chgData name="Joseph KEMOUN" userId="0b06f245-0909-42d3-bad5-b3a07c8ffd21" providerId="ADAL" clId="{11BCE0D8-1F33-4057-A775-07C3F688388F}" dt="2021-05-25T08:09:43.918" v="12568" actId="1076"/>
          <ac:picMkLst>
            <pc:docMk/>
            <pc:sldMk cId="1314566602" sldId="10481"/>
            <ac:picMk id="174" creationId="{A4CB206B-54F4-40B2-BE43-A51056154E53}"/>
          </ac:picMkLst>
        </pc:picChg>
        <pc:picChg chg="add mod">
          <ac:chgData name="Joseph KEMOUN" userId="0b06f245-0909-42d3-bad5-b3a07c8ffd21" providerId="ADAL" clId="{11BCE0D8-1F33-4057-A775-07C3F688388F}" dt="2021-05-25T08:11:00.142" v="12662" actId="1076"/>
          <ac:picMkLst>
            <pc:docMk/>
            <pc:sldMk cId="1314566602" sldId="10481"/>
            <ac:picMk id="175" creationId="{B08800B7-07EC-42F8-8F1C-FFF64DCADD66}"/>
          </ac:picMkLst>
        </pc:picChg>
        <pc:picChg chg="add mod">
          <ac:chgData name="Joseph KEMOUN" userId="0b06f245-0909-42d3-bad5-b3a07c8ffd21" providerId="ADAL" clId="{11BCE0D8-1F33-4057-A775-07C3F688388F}" dt="2021-05-25T08:09:37.615" v="12567" actId="1037"/>
          <ac:picMkLst>
            <pc:docMk/>
            <pc:sldMk cId="1314566602" sldId="10481"/>
            <ac:picMk id="176" creationId="{4D4A7EB1-1788-47E0-8FD5-03989A6A64E6}"/>
          </ac:picMkLst>
        </pc:picChg>
        <pc:picChg chg="add mod">
          <ac:chgData name="Joseph KEMOUN" userId="0b06f245-0909-42d3-bad5-b3a07c8ffd21" providerId="ADAL" clId="{11BCE0D8-1F33-4057-A775-07C3F688388F}" dt="2021-05-25T08:09:37.615" v="12567" actId="1037"/>
          <ac:picMkLst>
            <pc:docMk/>
            <pc:sldMk cId="1314566602" sldId="10481"/>
            <ac:picMk id="177" creationId="{0DDF5916-C4FD-4AD0-B043-6FB8360718EC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49" creationId="{E628CDE4-5EF1-480E-A278-32AD2BA588F7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0" creationId="{4949B477-6974-4347-8D30-999681075858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1" creationId="{5202F6A2-66D0-4CC5-B5EB-B59848C1B0A0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2" creationId="{D51DD03C-E334-4C28-B007-870E6ED881AA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3" creationId="{7AEE7183-40AE-411E-A385-BE2FA55F102E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4" creationId="{0EC12D18-C299-400D-8A0F-BA6B82C53E01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5" creationId="{799380CB-45EC-4148-984D-B0D27B51CEB3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6" creationId="{449699CF-80D2-46DC-A24B-A678AFB8CBCD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7" creationId="{85C2CB4A-8BB8-4F8D-9C04-35648DD9BC61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8" creationId="{3DBD5BF1-1A6A-423B-9B2B-23306674D4CB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59" creationId="{2708F4EF-8A11-45C1-BDE2-99D680A75275}"/>
          </ac:picMkLst>
        </pc:picChg>
        <pc:picChg chg="mod">
          <ac:chgData name="Joseph KEMOUN" userId="0b06f245-0909-42d3-bad5-b3a07c8ffd21" providerId="ADAL" clId="{11BCE0D8-1F33-4057-A775-07C3F688388F}" dt="2021-05-25T15:25:43.821" v="17384" actId="12788"/>
          <ac:picMkLst>
            <pc:docMk/>
            <pc:sldMk cId="1314566602" sldId="10481"/>
            <ac:picMk id="360" creationId="{8FD1A577-EB31-4515-B865-96CBD59A48E1}"/>
          </ac:picMkLst>
        </pc:picChg>
      </pc:sldChg>
      <pc:sldChg chg="addSp delSp modSp add mod">
        <pc:chgData name="Joseph KEMOUN" userId="0b06f245-0909-42d3-bad5-b3a07c8ffd21" providerId="ADAL" clId="{11BCE0D8-1F33-4057-A775-07C3F688388F}" dt="2021-05-25T15:02:21.032" v="17206"/>
        <pc:sldMkLst>
          <pc:docMk/>
          <pc:sldMk cId="1763597230" sldId="10482"/>
        </pc:sldMkLst>
        <pc:spChg chg="mod">
          <ac:chgData name="Joseph KEMOUN" userId="0b06f245-0909-42d3-bad5-b3a07c8ffd21" providerId="ADAL" clId="{11BCE0D8-1F33-4057-A775-07C3F688388F}" dt="2021-05-25T15:02:20.969" v="17164" actId="948"/>
          <ac:spMkLst>
            <pc:docMk/>
            <pc:sldMk cId="1763597230" sldId="10482"/>
            <ac:spMk id="2" creationId="{873006D4-BF82-4F00-B534-5D28B2DDCEF5}"/>
          </ac:spMkLst>
        </pc:spChg>
        <pc:spChg chg="add del mod modVis">
          <ac:chgData name="Joseph KEMOUN" userId="0b06f245-0909-42d3-bad5-b3a07c8ffd21" providerId="ADAL" clId="{11BCE0D8-1F33-4057-A775-07C3F688388F}" dt="2021-05-25T08:11:51.091" v="12706"/>
          <ac:spMkLst>
            <pc:docMk/>
            <pc:sldMk cId="1763597230" sldId="10482"/>
            <ac:spMk id="8" creationId="{A73F4296-432E-4128-9586-CB5195283C40}"/>
          </ac:spMkLst>
        </pc:spChg>
        <pc:spChg chg="add del mod modVis">
          <ac:chgData name="Joseph KEMOUN" userId="0b06f245-0909-42d3-bad5-b3a07c8ffd21" providerId="ADAL" clId="{11BCE0D8-1F33-4057-A775-07C3F688388F}" dt="2021-05-25T15:02:12.212" v="17116"/>
          <ac:spMkLst>
            <pc:docMk/>
            <pc:sldMk cId="1763597230" sldId="10482"/>
            <ac:spMk id="22" creationId="{FBFD8C4F-B240-4790-9A48-EF448EE935EB}"/>
          </ac:spMkLst>
        </pc:spChg>
        <pc:spChg chg="add del mod modVis">
          <ac:chgData name="Joseph KEMOUN" userId="0b06f245-0909-42d3-bad5-b3a07c8ffd21" providerId="ADAL" clId="{11BCE0D8-1F33-4057-A775-07C3F688388F}" dt="2021-05-25T15:02:15.049" v="17160"/>
          <ac:spMkLst>
            <pc:docMk/>
            <pc:sldMk cId="1763597230" sldId="10482"/>
            <ac:spMk id="23" creationId="{998BFB84-3057-4232-9384-D211FD584D02}"/>
          </ac:spMkLst>
        </pc:spChg>
        <pc:spChg chg="add del mod modVis">
          <ac:chgData name="Joseph KEMOUN" userId="0b06f245-0909-42d3-bad5-b3a07c8ffd21" providerId="ADAL" clId="{11BCE0D8-1F33-4057-A775-07C3F688388F}" dt="2021-05-25T15:02:21.016" v="17204"/>
          <ac:spMkLst>
            <pc:docMk/>
            <pc:sldMk cId="1763597230" sldId="10482"/>
            <ac:spMk id="24" creationId="{25FBD46C-3227-48FF-93D0-7A7F0552246B}"/>
          </ac:spMkLst>
        </pc:spChg>
        <pc:spChg chg="del">
          <ac:chgData name="Joseph KEMOUN" userId="0b06f245-0909-42d3-bad5-b3a07c8ffd21" providerId="ADAL" clId="{11BCE0D8-1F33-4057-A775-07C3F688388F}" dt="2021-05-25T08:11:44.759" v="12664" actId="478"/>
          <ac:spMkLst>
            <pc:docMk/>
            <pc:sldMk cId="1763597230" sldId="10482"/>
            <ac:spMk id="71" creationId="{1110DCA5-C0ED-4E32-B622-D42F7E75F087}"/>
          </ac:spMkLst>
        </pc:spChg>
        <pc:grpChg chg="del">
          <ac:chgData name="Joseph KEMOUN" userId="0b06f245-0909-42d3-bad5-b3a07c8ffd21" providerId="ADAL" clId="{11BCE0D8-1F33-4057-A775-07C3F688388F}" dt="2021-05-25T08:11:44.759" v="12664" actId="478"/>
          <ac:grpSpMkLst>
            <pc:docMk/>
            <pc:sldMk cId="1763597230" sldId="10482"/>
            <ac:grpSpMk id="72" creationId="{C401F5AE-9161-4ED8-9A26-4E27F9303F54}"/>
          </ac:grpSpMkLst>
        </pc:grpChg>
        <pc:graphicFrameChg chg="mod">
          <ac:chgData name="Joseph KEMOUN" userId="0b06f245-0909-42d3-bad5-b3a07c8ffd21" providerId="ADAL" clId="{11BCE0D8-1F33-4057-A775-07C3F688388F}" dt="2021-05-25T15:02:21.032" v="17206"/>
          <ac:graphicFrameMkLst>
            <pc:docMk/>
            <pc:sldMk cId="1763597230" sldId="10482"/>
            <ac:graphicFrameMk id="18" creationId="{CF7417D0-0B74-4D85-B813-1CC9F37E5F04}"/>
          </ac:graphicFrameMkLst>
        </pc:graphicFrameChg>
      </pc:sldChg>
      <pc:sldChg chg="addSp delSp modSp add mod">
        <pc:chgData name="Joseph KEMOUN" userId="0b06f245-0909-42d3-bad5-b3a07c8ffd21" providerId="ADAL" clId="{11BCE0D8-1F33-4057-A775-07C3F688388F}" dt="2021-05-25T11:15:59.763" v="15330"/>
        <pc:sldMkLst>
          <pc:docMk/>
          <pc:sldMk cId="787967275" sldId="10483"/>
        </pc:sldMkLst>
        <pc:spChg chg="add mod">
          <ac:chgData name="Joseph KEMOUN" userId="0b06f245-0909-42d3-bad5-b3a07c8ffd21" providerId="ADAL" clId="{11BCE0D8-1F33-4057-A775-07C3F688388F}" dt="2021-05-25T08:14:44.623" v="12784"/>
          <ac:spMkLst>
            <pc:docMk/>
            <pc:sldMk cId="787967275" sldId="10483"/>
            <ac:spMk id="45" creationId="{B755D15D-2E07-447A-958B-8658277D8637}"/>
          </ac:spMkLst>
        </pc:spChg>
        <pc:spChg chg="mod">
          <ac:chgData name="Joseph KEMOUN" userId="0b06f245-0909-42d3-bad5-b3a07c8ffd21" providerId="ADAL" clId="{11BCE0D8-1F33-4057-A775-07C3F688388F}" dt="2021-05-25T08:14:44.623" v="12784"/>
          <ac:spMkLst>
            <pc:docMk/>
            <pc:sldMk cId="787967275" sldId="10483"/>
            <ac:spMk id="48" creationId="{C5046202-468D-4A5E-8386-F18704E924F2}"/>
          </ac:spMkLst>
        </pc:spChg>
        <pc:spChg chg="mod">
          <ac:chgData name="Joseph KEMOUN" userId="0b06f245-0909-42d3-bad5-b3a07c8ffd21" providerId="ADAL" clId="{11BCE0D8-1F33-4057-A775-07C3F688388F}" dt="2021-05-25T08:14:44.623" v="12784"/>
          <ac:spMkLst>
            <pc:docMk/>
            <pc:sldMk cId="787967275" sldId="10483"/>
            <ac:spMk id="49" creationId="{AF31B007-2163-4BED-966C-AA5479949C7D}"/>
          </ac:spMkLst>
        </pc:spChg>
        <pc:spChg chg="mod">
          <ac:chgData name="Joseph KEMOUN" userId="0b06f245-0909-42d3-bad5-b3a07c8ffd21" providerId="ADAL" clId="{11BCE0D8-1F33-4057-A775-07C3F688388F}" dt="2021-05-25T08:14:44.623" v="12784"/>
          <ac:spMkLst>
            <pc:docMk/>
            <pc:sldMk cId="787967275" sldId="10483"/>
            <ac:spMk id="50" creationId="{4AEBB900-C5D7-4CF3-B1E0-1BF89FF22471}"/>
          </ac:spMkLst>
        </pc:spChg>
        <pc:spChg chg="mod">
          <ac:chgData name="Joseph KEMOUN" userId="0b06f245-0909-42d3-bad5-b3a07c8ffd21" providerId="ADAL" clId="{11BCE0D8-1F33-4057-A775-07C3F688388F}" dt="2021-05-25T08:14:44.623" v="12784"/>
          <ac:spMkLst>
            <pc:docMk/>
            <pc:sldMk cId="787967275" sldId="10483"/>
            <ac:spMk id="53" creationId="{8D1520FD-965A-438E-9421-63AB7EBB6DD7}"/>
          </ac:spMkLst>
        </pc:spChg>
        <pc:spChg chg="mod">
          <ac:chgData name="Joseph KEMOUN" userId="0b06f245-0909-42d3-bad5-b3a07c8ffd21" providerId="ADAL" clId="{11BCE0D8-1F33-4057-A775-07C3F688388F}" dt="2021-05-25T08:14:44.623" v="12784"/>
          <ac:spMkLst>
            <pc:docMk/>
            <pc:sldMk cId="787967275" sldId="10483"/>
            <ac:spMk id="56" creationId="{73F7607F-0010-446B-8BA1-37BD53DFF565}"/>
          </ac:spMkLst>
        </pc:spChg>
        <pc:spChg chg="mod">
          <ac:chgData name="Joseph KEMOUN" userId="0b06f245-0909-42d3-bad5-b3a07c8ffd21" providerId="ADAL" clId="{11BCE0D8-1F33-4057-A775-07C3F688388F}" dt="2021-05-25T08:14:44.623" v="12784"/>
          <ac:spMkLst>
            <pc:docMk/>
            <pc:sldMk cId="787967275" sldId="10483"/>
            <ac:spMk id="57" creationId="{79D8CCC9-4DBA-41A1-B5B4-D1E29A612314}"/>
          </ac:spMkLst>
        </pc:spChg>
        <pc:spChg chg="add mod">
          <ac:chgData name="Joseph KEMOUN" userId="0b06f245-0909-42d3-bad5-b3a07c8ffd21" providerId="ADAL" clId="{11BCE0D8-1F33-4057-A775-07C3F688388F}" dt="2021-05-25T11:15:59.763" v="15330"/>
          <ac:spMkLst>
            <pc:docMk/>
            <pc:sldMk cId="787967275" sldId="10483"/>
            <ac:spMk id="59" creationId="{920D7B0A-7E23-4237-9E9D-A6715DEB7288}"/>
          </ac:spMkLst>
        </pc:spChg>
        <pc:spChg chg="add mod">
          <ac:chgData name="Joseph KEMOUN" userId="0b06f245-0909-42d3-bad5-b3a07c8ffd21" providerId="ADAL" clId="{11BCE0D8-1F33-4057-A775-07C3F688388F}" dt="2021-05-25T11:15:59.763" v="15330"/>
          <ac:spMkLst>
            <pc:docMk/>
            <pc:sldMk cId="787967275" sldId="10483"/>
            <ac:spMk id="61" creationId="{5AB5BCB0-E886-44CB-8E18-F97060661843}"/>
          </ac:spMkLst>
        </pc:spChg>
        <pc:spChg chg="add mod">
          <ac:chgData name="Joseph KEMOUN" userId="0b06f245-0909-42d3-bad5-b3a07c8ffd21" providerId="ADAL" clId="{11BCE0D8-1F33-4057-A775-07C3F688388F}" dt="2021-05-25T11:15:59.763" v="15330"/>
          <ac:spMkLst>
            <pc:docMk/>
            <pc:sldMk cId="787967275" sldId="10483"/>
            <ac:spMk id="62" creationId="{9C67B2AF-E78A-4D15-B5A0-ACE957480B8F}"/>
          </ac:spMkLst>
        </pc:spChg>
        <pc:grpChg chg="add del mod">
          <ac:chgData name="Joseph KEMOUN" userId="0b06f245-0909-42d3-bad5-b3a07c8ffd21" providerId="ADAL" clId="{11BCE0D8-1F33-4057-A775-07C3F688388F}" dt="2021-05-25T11:15:59.420" v="15329" actId="478"/>
          <ac:grpSpMkLst>
            <pc:docMk/>
            <pc:sldMk cId="787967275" sldId="10483"/>
            <ac:grpSpMk id="47" creationId="{EAC270FA-0E2A-4E75-8175-41BBE2751DC7}"/>
          </ac:grpSpMkLst>
        </pc:grpChg>
      </pc:sldChg>
      <pc:sldChg chg="add del">
        <pc:chgData name="Joseph KEMOUN" userId="0b06f245-0909-42d3-bad5-b3a07c8ffd21" providerId="ADAL" clId="{11BCE0D8-1F33-4057-A775-07C3F688388F}" dt="2021-05-25T08:12:31.639" v="12711" actId="47"/>
        <pc:sldMkLst>
          <pc:docMk/>
          <pc:sldMk cId="2436390771" sldId="10483"/>
        </pc:sldMkLst>
      </pc:sldChg>
      <pc:sldChg chg="addSp delSp modSp add del mod">
        <pc:chgData name="Joseph KEMOUN" userId="0b06f245-0909-42d3-bad5-b3a07c8ffd21" providerId="ADAL" clId="{11BCE0D8-1F33-4057-A775-07C3F688388F}" dt="2021-05-25T08:14:22.040" v="12782" actId="47"/>
        <pc:sldMkLst>
          <pc:docMk/>
          <pc:sldMk cId="273935580" sldId="10484"/>
        </pc:sldMkLst>
        <pc:spChg chg="mod">
          <ac:chgData name="Joseph KEMOUN" userId="0b06f245-0909-42d3-bad5-b3a07c8ffd21" providerId="ADAL" clId="{11BCE0D8-1F33-4057-A775-07C3F688388F}" dt="2021-05-25T08:13:20.793" v="12732" actId="948"/>
          <ac:spMkLst>
            <pc:docMk/>
            <pc:sldMk cId="273935580" sldId="10484"/>
            <ac:spMk id="2" creationId="{F603210B-1675-4AF7-9A14-5F2A22C81270}"/>
          </ac:spMkLst>
        </pc:spChg>
        <pc:spChg chg="add del mod modVis">
          <ac:chgData name="Joseph KEMOUN" userId="0b06f245-0909-42d3-bad5-b3a07c8ffd21" providerId="ADAL" clId="{11BCE0D8-1F33-4057-A775-07C3F688388F}" dt="2021-05-25T08:13:20.855" v="12772"/>
          <ac:spMkLst>
            <pc:docMk/>
            <pc:sldMk cId="273935580" sldId="10484"/>
            <ac:spMk id="3" creationId="{8EA35E8B-B4FB-4DCA-B877-6754282E2D22}"/>
          </ac:spMkLst>
        </pc:spChg>
        <pc:spChg chg="mod">
          <ac:chgData name="Joseph KEMOUN" userId="0b06f245-0909-42d3-bad5-b3a07c8ffd21" providerId="ADAL" clId="{11BCE0D8-1F33-4057-A775-07C3F688388F}" dt="2021-05-25T08:12:57.621" v="12716" actId="554"/>
          <ac:spMkLst>
            <pc:docMk/>
            <pc:sldMk cId="273935580" sldId="10484"/>
            <ac:spMk id="4" creationId="{74ADDBE6-49E4-4049-B7BF-EE415633C5F5}"/>
          </ac:spMkLst>
        </pc:spChg>
        <pc:spChg chg="mod">
          <ac:chgData name="Joseph KEMOUN" userId="0b06f245-0909-42d3-bad5-b3a07c8ffd21" providerId="ADAL" clId="{11BCE0D8-1F33-4057-A775-07C3F688388F}" dt="2021-05-25T08:12:57.621" v="12716" actId="554"/>
          <ac:spMkLst>
            <pc:docMk/>
            <pc:sldMk cId="273935580" sldId="10484"/>
            <ac:spMk id="5" creationId="{B0DA252B-E0E1-4EDA-AD43-C3699C200482}"/>
          </ac:spMkLst>
        </pc:spChg>
        <pc:spChg chg="mod">
          <ac:chgData name="Joseph KEMOUN" userId="0b06f245-0909-42d3-bad5-b3a07c8ffd21" providerId="ADAL" clId="{11BCE0D8-1F33-4057-A775-07C3F688388F}" dt="2021-05-25T08:13:09.812" v="12729" actId="14100"/>
          <ac:spMkLst>
            <pc:docMk/>
            <pc:sldMk cId="273935580" sldId="10484"/>
            <ac:spMk id="6" creationId="{459DE8FF-F3A0-454B-89BD-EA7D3F0085F4}"/>
          </ac:spMkLst>
        </pc:spChg>
        <pc:spChg chg="del">
          <ac:chgData name="Joseph KEMOUN" userId="0b06f245-0909-42d3-bad5-b3a07c8ffd21" providerId="ADAL" clId="{11BCE0D8-1F33-4057-A775-07C3F688388F}" dt="2021-05-25T08:13:15.705" v="12730" actId="478"/>
          <ac:spMkLst>
            <pc:docMk/>
            <pc:sldMk cId="273935580" sldId="10484"/>
            <ac:spMk id="63" creationId="{DD475C1B-7B9D-4AB6-9E66-325A4BD40A8F}"/>
          </ac:spMkLst>
        </pc:spChg>
        <pc:grpChg chg="del">
          <ac:chgData name="Joseph KEMOUN" userId="0b06f245-0909-42d3-bad5-b3a07c8ffd21" providerId="ADAL" clId="{11BCE0D8-1F33-4057-A775-07C3F688388F}" dt="2021-05-25T08:13:15.705" v="12730" actId="478"/>
          <ac:grpSpMkLst>
            <pc:docMk/>
            <pc:sldMk cId="273935580" sldId="10484"/>
            <ac:grpSpMk id="64" creationId="{486FE19E-A7E2-4669-B73B-F95602886B08}"/>
          </ac:grpSpMkLst>
        </pc:grpChg>
        <pc:graphicFrameChg chg="mod">
          <ac:chgData name="Joseph KEMOUN" userId="0b06f245-0909-42d3-bad5-b3a07c8ffd21" providerId="ADAL" clId="{11BCE0D8-1F33-4057-A775-07C3F688388F}" dt="2021-05-25T08:13:20.855" v="12774"/>
          <ac:graphicFrameMkLst>
            <pc:docMk/>
            <pc:sldMk cId="273935580" sldId="10484"/>
            <ac:graphicFrameMk id="13" creationId="{9407379A-9B01-4AE4-98E8-CA428D86DF00}"/>
          </ac:graphicFrameMkLst>
        </pc:graphicFrameChg>
      </pc:sldChg>
      <pc:sldChg chg="addSp delSp modSp mod">
        <pc:chgData name="Joseph KEMOUN" userId="0b06f245-0909-42d3-bad5-b3a07c8ffd21" providerId="ADAL" clId="{11BCE0D8-1F33-4057-A775-07C3F688388F}" dt="2021-05-25T11:17:53.761" v="15390" actId="1076"/>
        <pc:sldMkLst>
          <pc:docMk/>
          <pc:sldMk cId="759424876" sldId="10484"/>
        </pc:sldMkLst>
        <pc:spChg chg="del mod">
          <ac:chgData name="Joseph KEMOUN" userId="0b06f245-0909-42d3-bad5-b3a07c8ffd21" providerId="ADAL" clId="{11BCE0D8-1F33-4057-A775-07C3F688388F}" dt="2021-05-25T11:17:27.922" v="15377" actId="478"/>
          <ac:spMkLst>
            <pc:docMk/>
            <pc:sldMk cId="759424876" sldId="10484"/>
            <ac:spMk id="3" creationId="{95C964A7-591B-4F80-98F8-DC752B6C0B53}"/>
          </ac:spMkLst>
        </pc:spChg>
        <pc:spChg chg="mod">
          <ac:chgData name="Joseph KEMOUN" userId="0b06f245-0909-42d3-bad5-b3a07c8ffd21" providerId="ADAL" clId="{11BCE0D8-1F33-4057-A775-07C3F688388F}" dt="2021-05-25T11:17:53.761" v="15390" actId="1076"/>
          <ac:spMkLst>
            <pc:docMk/>
            <pc:sldMk cId="759424876" sldId="10484"/>
            <ac:spMk id="43" creationId="{BB9586A4-6BCE-4366-AD57-C5F6C122677B}"/>
          </ac:spMkLst>
        </pc:spChg>
        <pc:spChg chg="del mod">
          <ac:chgData name="Joseph KEMOUN" userId="0b06f245-0909-42d3-bad5-b3a07c8ffd21" providerId="ADAL" clId="{11BCE0D8-1F33-4057-A775-07C3F688388F}" dt="2021-05-25T11:17:33.343" v="15386" actId="478"/>
          <ac:spMkLst>
            <pc:docMk/>
            <pc:sldMk cId="759424876" sldId="10484"/>
            <ac:spMk id="44" creationId="{F38886BD-3EA8-4C8C-B8A7-A3EE27C99E95}"/>
          </ac:spMkLst>
        </pc:spChg>
        <pc:spChg chg="del mod">
          <ac:chgData name="Joseph KEMOUN" userId="0b06f245-0909-42d3-bad5-b3a07c8ffd21" providerId="ADAL" clId="{11BCE0D8-1F33-4057-A775-07C3F688388F}" dt="2021-05-25T11:17:33.343" v="15386" actId="478"/>
          <ac:spMkLst>
            <pc:docMk/>
            <pc:sldMk cId="759424876" sldId="10484"/>
            <ac:spMk id="46" creationId="{613854C0-41FB-4793-A926-013116906F74}"/>
          </ac:spMkLst>
        </pc:spChg>
        <pc:spChg chg="del mod">
          <ac:chgData name="Joseph KEMOUN" userId="0b06f245-0909-42d3-bad5-b3a07c8ffd21" providerId="ADAL" clId="{11BCE0D8-1F33-4057-A775-07C3F688388F}" dt="2021-05-25T11:17:33.343" v="15386" actId="478"/>
          <ac:spMkLst>
            <pc:docMk/>
            <pc:sldMk cId="759424876" sldId="10484"/>
            <ac:spMk id="48" creationId="{861DED23-BE9B-46D1-9533-3FCD9429D651}"/>
          </ac:spMkLst>
        </pc:spChg>
        <pc:spChg chg="del mod">
          <ac:chgData name="Joseph KEMOUN" userId="0b06f245-0909-42d3-bad5-b3a07c8ffd21" providerId="ADAL" clId="{11BCE0D8-1F33-4057-A775-07C3F688388F}" dt="2021-05-25T11:17:33.343" v="15386" actId="478"/>
          <ac:spMkLst>
            <pc:docMk/>
            <pc:sldMk cId="759424876" sldId="10484"/>
            <ac:spMk id="49" creationId="{928EFC8E-B0F8-4EF7-9019-657647200466}"/>
          </ac:spMkLst>
        </pc:spChg>
        <pc:spChg chg="del mod">
          <ac:chgData name="Joseph KEMOUN" userId="0b06f245-0909-42d3-bad5-b3a07c8ffd21" providerId="ADAL" clId="{11BCE0D8-1F33-4057-A775-07C3F688388F}" dt="2021-05-25T11:17:33.343" v="15386" actId="478"/>
          <ac:spMkLst>
            <pc:docMk/>
            <pc:sldMk cId="759424876" sldId="10484"/>
            <ac:spMk id="55" creationId="{454FD832-86EA-4FB5-BCE0-40BE6035FBB7}"/>
          </ac:spMkLst>
        </pc:spChg>
        <pc:spChg chg="mod">
          <ac:chgData name="Joseph KEMOUN" userId="0b06f245-0909-42d3-bad5-b3a07c8ffd21" providerId="ADAL" clId="{11BCE0D8-1F33-4057-A775-07C3F688388F}" dt="2021-05-25T11:17:30.890" v="15385"/>
          <ac:spMkLst>
            <pc:docMk/>
            <pc:sldMk cId="759424876" sldId="10484"/>
            <ac:spMk id="56" creationId="{AE85852A-DB47-48AD-B7A5-3CBDC3B312F9}"/>
          </ac:spMkLst>
        </pc:spChg>
        <pc:spChg chg="add mod">
          <ac:chgData name="Joseph KEMOUN" userId="0b06f245-0909-42d3-bad5-b3a07c8ffd21" providerId="ADAL" clId="{11BCE0D8-1F33-4057-A775-07C3F688388F}" dt="2021-05-25T11:17:09.743" v="15365"/>
          <ac:spMkLst>
            <pc:docMk/>
            <pc:sldMk cId="759424876" sldId="10484"/>
            <ac:spMk id="57" creationId="{95C964A7-591B-4F80-98F8-DC752B6C0B53}"/>
          </ac:spMkLst>
        </pc:spChg>
        <pc:spChg chg="add del mod">
          <ac:chgData name="Joseph KEMOUN" userId="0b06f245-0909-42d3-bad5-b3a07c8ffd21" providerId="ADAL" clId="{11BCE0D8-1F33-4057-A775-07C3F688388F}" dt="2021-05-25T11:17:33.343" v="15386" actId="478"/>
          <ac:spMkLst>
            <pc:docMk/>
            <pc:sldMk cId="759424876" sldId="10484"/>
            <ac:spMk id="58" creationId="{879C4107-A039-4C94-BC90-9183DD7549E4}"/>
          </ac:spMkLst>
        </pc:spChg>
        <pc:spChg chg="add mod">
          <ac:chgData name="Joseph KEMOUN" userId="0b06f245-0909-42d3-bad5-b3a07c8ffd21" providerId="ADAL" clId="{11BCE0D8-1F33-4057-A775-07C3F688388F}" dt="2021-05-25T11:17:09.743" v="15365"/>
          <ac:spMkLst>
            <pc:docMk/>
            <pc:sldMk cId="759424876" sldId="10484"/>
            <ac:spMk id="59" creationId="{3FF372DA-3A4F-4D30-9647-F68EBA31134B}"/>
          </ac:spMkLst>
        </pc:spChg>
        <pc:spChg chg="add mod">
          <ac:chgData name="Joseph KEMOUN" userId="0b06f245-0909-42d3-bad5-b3a07c8ffd21" providerId="ADAL" clId="{11BCE0D8-1F33-4057-A775-07C3F688388F}" dt="2021-05-25T11:17:24.287" v="15372"/>
          <ac:spMkLst>
            <pc:docMk/>
            <pc:sldMk cId="759424876" sldId="10484"/>
            <ac:spMk id="60" creationId="{8C771C11-3CE4-467E-A789-0F72C6CF98E2}"/>
          </ac:spMkLst>
        </pc:spChg>
      </pc:sldChg>
      <pc:sldChg chg="addSp delSp modSp mod">
        <pc:chgData name="Joseph KEMOUN" userId="0b06f245-0909-42d3-bad5-b3a07c8ffd21" providerId="ADAL" clId="{11BCE0D8-1F33-4057-A775-07C3F688388F}" dt="2021-05-25T11:17:49.051" v="15389" actId="1076"/>
        <pc:sldMkLst>
          <pc:docMk/>
          <pc:sldMk cId="85178067" sldId="10485"/>
        </pc:sldMkLst>
        <pc:spChg chg="mod">
          <ac:chgData name="Joseph KEMOUN" userId="0b06f245-0909-42d3-bad5-b3a07c8ffd21" providerId="ADAL" clId="{11BCE0D8-1F33-4057-A775-07C3F688388F}" dt="2021-05-25T11:17:49.051" v="15389" actId="1076"/>
          <ac:spMkLst>
            <pc:docMk/>
            <pc:sldMk cId="85178067" sldId="10485"/>
            <ac:spMk id="81" creationId="{402ED435-7EA5-48C5-BB45-E998D1C41E83}"/>
          </ac:spMkLst>
        </pc:spChg>
        <pc:spChg chg="del">
          <ac:chgData name="Joseph KEMOUN" userId="0b06f245-0909-42d3-bad5-b3a07c8ffd21" providerId="ADAL" clId="{11BCE0D8-1F33-4057-A775-07C3F688388F}" dt="2021-05-25T11:17:43.893" v="15387" actId="478"/>
          <ac:spMkLst>
            <pc:docMk/>
            <pc:sldMk cId="85178067" sldId="10485"/>
            <ac:spMk id="82" creationId="{CC03B4D3-1E52-4828-9407-4E1E87EF1D08}"/>
          </ac:spMkLst>
        </pc:spChg>
        <pc:spChg chg="del">
          <ac:chgData name="Joseph KEMOUN" userId="0b06f245-0909-42d3-bad5-b3a07c8ffd21" providerId="ADAL" clId="{11BCE0D8-1F33-4057-A775-07C3F688388F}" dt="2021-05-25T11:17:43.893" v="15387" actId="478"/>
          <ac:spMkLst>
            <pc:docMk/>
            <pc:sldMk cId="85178067" sldId="10485"/>
            <ac:spMk id="84" creationId="{DDFECD8E-E45B-453B-B5E0-CB24177D2C2A}"/>
          </ac:spMkLst>
        </pc:spChg>
        <pc:spChg chg="del">
          <ac:chgData name="Joseph KEMOUN" userId="0b06f245-0909-42d3-bad5-b3a07c8ffd21" providerId="ADAL" clId="{11BCE0D8-1F33-4057-A775-07C3F688388F}" dt="2021-05-25T11:17:43.893" v="15387" actId="478"/>
          <ac:spMkLst>
            <pc:docMk/>
            <pc:sldMk cId="85178067" sldId="10485"/>
            <ac:spMk id="85" creationId="{7DDFC2EC-36D5-4C0D-BB42-C3EF228F0949}"/>
          </ac:spMkLst>
        </pc:spChg>
        <pc:spChg chg="del">
          <ac:chgData name="Joseph KEMOUN" userId="0b06f245-0909-42d3-bad5-b3a07c8ffd21" providerId="ADAL" clId="{11BCE0D8-1F33-4057-A775-07C3F688388F}" dt="2021-05-25T11:17:43.893" v="15387" actId="478"/>
          <ac:spMkLst>
            <pc:docMk/>
            <pc:sldMk cId="85178067" sldId="10485"/>
            <ac:spMk id="90" creationId="{0A6E21C6-B617-458A-BF66-828B0ECB90B1}"/>
          </ac:spMkLst>
        </pc:spChg>
        <pc:spChg chg="del">
          <ac:chgData name="Joseph KEMOUN" userId="0b06f245-0909-42d3-bad5-b3a07c8ffd21" providerId="ADAL" clId="{11BCE0D8-1F33-4057-A775-07C3F688388F}" dt="2021-05-25T11:17:43.893" v="15387" actId="478"/>
          <ac:spMkLst>
            <pc:docMk/>
            <pc:sldMk cId="85178067" sldId="10485"/>
            <ac:spMk id="91" creationId="{65C5E412-690D-41FE-B97E-7FE32AD2022E}"/>
          </ac:spMkLst>
        </pc:spChg>
        <pc:spChg chg="del">
          <ac:chgData name="Joseph KEMOUN" userId="0b06f245-0909-42d3-bad5-b3a07c8ffd21" providerId="ADAL" clId="{11BCE0D8-1F33-4057-A775-07C3F688388F}" dt="2021-05-25T11:17:43.893" v="15387" actId="478"/>
          <ac:spMkLst>
            <pc:docMk/>
            <pc:sldMk cId="85178067" sldId="10485"/>
            <ac:spMk id="93" creationId="{13040E49-45B6-4F8F-B262-BD291F0C3CEF}"/>
          </ac:spMkLst>
        </pc:spChg>
        <pc:spChg chg="add mod">
          <ac:chgData name="Joseph KEMOUN" userId="0b06f245-0909-42d3-bad5-b3a07c8ffd21" providerId="ADAL" clId="{11BCE0D8-1F33-4057-A775-07C3F688388F}" dt="2021-05-25T11:17:44.242" v="15388"/>
          <ac:spMkLst>
            <pc:docMk/>
            <pc:sldMk cId="85178067" sldId="10485"/>
            <ac:spMk id="95" creationId="{1D12A4B1-C526-4ABC-9EBE-F18A9499546F}"/>
          </ac:spMkLst>
        </pc:spChg>
        <pc:spChg chg="add mod">
          <ac:chgData name="Joseph KEMOUN" userId="0b06f245-0909-42d3-bad5-b3a07c8ffd21" providerId="ADAL" clId="{11BCE0D8-1F33-4057-A775-07C3F688388F}" dt="2021-05-25T11:17:44.242" v="15388"/>
          <ac:spMkLst>
            <pc:docMk/>
            <pc:sldMk cId="85178067" sldId="10485"/>
            <ac:spMk id="96" creationId="{4489A216-621D-46B4-A741-BFDE4F480185}"/>
          </ac:spMkLst>
        </pc:spChg>
        <pc:spChg chg="add mod">
          <ac:chgData name="Joseph KEMOUN" userId="0b06f245-0909-42d3-bad5-b3a07c8ffd21" providerId="ADAL" clId="{11BCE0D8-1F33-4057-A775-07C3F688388F}" dt="2021-05-25T11:17:44.242" v="15388"/>
          <ac:spMkLst>
            <pc:docMk/>
            <pc:sldMk cId="85178067" sldId="10485"/>
            <ac:spMk id="97" creationId="{B5347C34-5BE6-46FD-89AF-BBA2F72C5D9E}"/>
          </ac:spMkLst>
        </pc:spChg>
      </pc:sldChg>
    </pc:docChg>
  </pc:docChgLst>
  <pc:docChgLst>
    <pc:chgData name="Maxime CARO" userId="7006948a-ce74-4c14-b6cc-11c5a151a7fb" providerId="ADAL" clId="{674EC1EC-9279-428D-A3A8-9C20E6354D37}"/>
    <pc:docChg chg="undo custSel modSld modNotesMaster modHandout">
      <pc:chgData name="Maxime CARO" userId="7006948a-ce74-4c14-b6cc-11c5a151a7fb" providerId="ADAL" clId="{674EC1EC-9279-428D-A3A8-9C20E6354D37}" dt="2021-05-25T15:25:13.135" v="615" actId="20577"/>
      <pc:docMkLst>
        <pc:docMk/>
      </pc:docMkLst>
      <pc:sldChg chg="modSp mod">
        <pc:chgData name="Maxime CARO" userId="7006948a-ce74-4c14-b6cc-11c5a151a7fb" providerId="ADAL" clId="{674EC1EC-9279-428D-A3A8-9C20E6354D37}" dt="2021-05-25T15:25:13.135" v="615" actId="20577"/>
        <pc:sldMkLst>
          <pc:docMk/>
          <pc:sldMk cId="407516052" sldId="10409"/>
        </pc:sldMkLst>
        <pc:spChg chg="mod">
          <ac:chgData name="Maxime CARO" userId="7006948a-ce74-4c14-b6cc-11c5a151a7fb" providerId="ADAL" clId="{674EC1EC-9279-428D-A3A8-9C20E6354D37}" dt="2021-05-25T15:25:13.135" v="615" actId="20577"/>
          <ac:spMkLst>
            <pc:docMk/>
            <pc:sldMk cId="407516052" sldId="10409"/>
            <ac:spMk id="117" creationId="{FB5E74AA-473E-4A0F-97C6-4BAE2E9C9474}"/>
          </ac:spMkLst>
        </pc:spChg>
      </pc:sldChg>
      <pc:sldChg chg="modSp mod">
        <pc:chgData name="Maxime CARO" userId="7006948a-ce74-4c14-b6cc-11c5a151a7fb" providerId="ADAL" clId="{674EC1EC-9279-428D-A3A8-9C20E6354D37}" dt="2021-05-25T15:22:44.520" v="614" actId="14100"/>
        <pc:sldMkLst>
          <pc:docMk/>
          <pc:sldMk cId="4003625964" sldId="10410"/>
        </pc:sldMkLst>
        <pc:spChg chg="mod">
          <ac:chgData name="Maxime CARO" userId="7006948a-ce74-4c14-b6cc-11c5a151a7fb" providerId="ADAL" clId="{674EC1EC-9279-428D-A3A8-9C20E6354D37}" dt="2021-05-25T15:22:44.520" v="614" actId="14100"/>
          <ac:spMkLst>
            <pc:docMk/>
            <pc:sldMk cId="4003625964" sldId="10410"/>
            <ac:spMk id="173" creationId="{BE452BF0-402D-4BCD-91A6-3CEC4D05BAD1}"/>
          </ac:spMkLst>
        </pc:spChg>
      </pc:sldChg>
      <pc:sldChg chg="addSp delSp modSp mod">
        <pc:chgData name="Maxime CARO" userId="7006948a-ce74-4c14-b6cc-11c5a151a7fb" providerId="ADAL" clId="{674EC1EC-9279-428D-A3A8-9C20E6354D37}" dt="2021-05-25T15:19:29.637" v="470"/>
        <pc:sldMkLst>
          <pc:docMk/>
          <pc:sldMk cId="759424876" sldId="10484"/>
        </pc:sldMkLst>
        <pc:spChg chg="del">
          <ac:chgData name="Maxime CARO" userId="7006948a-ce74-4c14-b6cc-11c5a151a7fb" providerId="ADAL" clId="{674EC1EC-9279-428D-A3A8-9C20E6354D37}" dt="2021-05-25T15:19:29.237" v="469" actId="478"/>
          <ac:spMkLst>
            <pc:docMk/>
            <pc:sldMk cId="759424876" sldId="10484"/>
            <ac:spMk id="64" creationId="{C95674C3-8BB6-44D2-98D4-0AF094FC0371}"/>
          </ac:spMkLst>
        </pc:spChg>
        <pc:spChg chg="del">
          <ac:chgData name="Maxime CARO" userId="7006948a-ce74-4c14-b6cc-11c5a151a7fb" providerId="ADAL" clId="{674EC1EC-9279-428D-A3A8-9C20E6354D37}" dt="2021-05-25T15:19:29.237" v="469" actId="478"/>
          <ac:spMkLst>
            <pc:docMk/>
            <pc:sldMk cId="759424876" sldId="10484"/>
            <ac:spMk id="65" creationId="{D2A60E99-738E-48FF-B6C6-2F6E2F2271DE}"/>
          </ac:spMkLst>
        </pc:spChg>
        <pc:spChg chg="del">
          <ac:chgData name="Maxime CARO" userId="7006948a-ce74-4c14-b6cc-11c5a151a7fb" providerId="ADAL" clId="{674EC1EC-9279-428D-A3A8-9C20E6354D37}" dt="2021-05-25T15:19:29.237" v="469" actId="478"/>
          <ac:spMkLst>
            <pc:docMk/>
            <pc:sldMk cId="759424876" sldId="10484"/>
            <ac:spMk id="66" creationId="{EA497D45-3836-486D-AC95-55683BED412E}"/>
          </ac:spMkLst>
        </pc:spChg>
        <pc:spChg chg="mod">
          <ac:chgData name="Maxime CARO" userId="7006948a-ce74-4c14-b6cc-11c5a151a7fb" providerId="ADAL" clId="{674EC1EC-9279-428D-A3A8-9C20E6354D37}" dt="2021-05-25T15:19:11.860" v="468" actId="20577"/>
          <ac:spMkLst>
            <pc:docMk/>
            <pc:sldMk cId="759424876" sldId="10484"/>
            <ac:spMk id="68" creationId="{A5346155-53F6-4492-8069-514F081C33B9}"/>
          </ac:spMkLst>
        </pc:spChg>
        <pc:spChg chg="add mod">
          <ac:chgData name="Maxime CARO" userId="7006948a-ce74-4c14-b6cc-11c5a151a7fb" providerId="ADAL" clId="{674EC1EC-9279-428D-A3A8-9C20E6354D37}" dt="2021-05-25T15:19:29.637" v="470"/>
          <ac:spMkLst>
            <pc:docMk/>
            <pc:sldMk cId="759424876" sldId="10484"/>
            <ac:spMk id="71" creationId="{408C3DB5-9643-4EF2-9297-39A77BB428AD}"/>
          </ac:spMkLst>
        </pc:spChg>
        <pc:spChg chg="add mod">
          <ac:chgData name="Maxime CARO" userId="7006948a-ce74-4c14-b6cc-11c5a151a7fb" providerId="ADAL" clId="{674EC1EC-9279-428D-A3A8-9C20E6354D37}" dt="2021-05-25T15:19:29.637" v="470"/>
          <ac:spMkLst>
            <pc:docMk/>
            <pc:sldMk cId="759424876" sldId="10484"/>
            <ac:spMk id="72" creationId="{1D3E07ED-D2DB-469B-9645-C9D9E0B95707}"/>
          </ac:spMkLst>
        </pc:spChg>
        <pc:spChg chg="add mod">
          <ac:chgData name="Maxime CARO" userId="7006948a-ce74-4c14-b6cc-11c5a151a7fb" providerId="ADAL" clId="{674EC1EC-9279-428D-A3A8-9C20E6354D37}" dt="2021-05-25T15:19:29.637" v="470"/>
          <ac:spMkLst>
            <pc:docMk/>
            <pc:sldMk cId="759424876" sldId="10484"/>
            <ac:spMk id="75" creationId="{CED0F2A6-0167-4C4F-9776-558AE372B72B}"/>
          </ac:spMkLst>
        </pc:spChg>
        <pc:spChg chg="add mod">
          <ac:chgData name="Maxime CARO" userId="7006948a-ce74-4c14-b6cc-11c5a151a7fb" providerId="ADAL" clId="{674EC1EC-9279-428D-A3A8-9C20E6354D37}" dt="2021-05-25T15:19:29.637" v="470"/>
          <ac:spMkLst>
            <pc:docMk/>
            <pc:sldMk cId="759424876" sldId="10484"/>
            <ac:spMk id="76" creationId="{1978AEEE-CBFA-41EF-A1A8-6072A81C2A28}"/>
          </ac:spMkLst>
        </pc:spChg>
        <pc:spChg chg="add mod">
          <ac:chgData name="Maxime CARO" userId="7006948a-ce74-4c14-b6cc-11c5a151a7fb" providerId="ADAL" clId="{674EC1EC-9279-428D-A3A8-9C20E6354D37}" dt="2021-05-25T15:19:29.637" v="470"/>
          <ac:spMkLst>
            <pc:docMk/>
            <pc:sldMk cId="759424876" sldId="10484"/>
            <ac:spMk id="77" creationId="{C99B4B44-5D8D-49F9-B01E-B2C8600E519F}"/>
          </ac:spMkLst>
        </pc:spChg>
        <pc:spChg chg="del">
          <ac:chgData name="Maxime CARO" userId="7006948a-ce74-4c14-b6cc-11c5a151a7fb" providerId="ADAL" clId="{674EC1EC-9279-428D-A3A8-9C20E6354D37}" dt="2021-05-25T15:19:29.237" v="469" actId="478"/>
          <ac:spMkLst>
            <pc:docMk/>
            <pc:sldMk cId="759424876" sldId="10484"/>
            <ac:spMk id="104" creationId="{84D904D1-6FD7-411F-9055-7BDDD6F8D510}"/>
          </ac:spMkLst>
        </pc:spChg>
        <pc:spChg chg="del">
          <ac:chgData name="Maxime CARO" userId="7006948a-ce74-4c14-b6cc-11c5a151a7fb" providerId="ADAL" clId="{674EC1EC-9279-428D-A3A8-9C20E6354D37}" dt="2021-05-25T15:19:29.237" v="469" actId="478"/>
          <ac:spMkLst>
            <pc:docMk/>
            <pc:sldMk cId="759424876" sldId="10484"/>
            <ac:spMk id="107" creationId="{E4B14101-5119-4FB2-BCD9-4C0E7BEAF957}"/>
          </ac:spMkLst>
        </pc:spChg>
      </pc:sldChg>
      <pc:sldChg chg="addSp delSp modSp mod">
        <pc:chgData name="Maxime CARO" userId="7006948a-ce74-4c14-b6cc-11c5a151a7fb" providerId="ADAL" clId="{674EC1EC-9279-428D-A3A8-9C20E6354D37}" dt="2021-05-25T15:19:00.196" v="464" actId="20577"/>
        <pc:sldMkLst>
          <pc:docMk/>
          <pc:sldMk cId="85178067" sldId="10485"/>
        </pc:sldMkLst>
        <pc:spChg chg="mod">
          <ac:chgData name="Maxime CARO" userId="7006948a-ce74-4c14-b6cc-11c5a151a7fb" providerId="ADAL" clId="{674EC1EC-9279-428D-A3A8-9C20E6354D37}" dt="2021-05-25T15:06:24.940" v="187" actId="20577"/>
          <ac:spMkLst>
            <pc:docMk/>
            <pc:sldMk cId="85178067" sldId="10485"/>
            <ac:spMk id="72" creationId="{C5BAE9F3-F0CE-4E5D-A59F-809FDD7B37E5}"/>
          </ac:spMkLst>
        </pc:spChg>
        <pc:spChg chg="mod">
          <ac:chgData name="Maxime CARO" userId="7006948a-ce74-4c14-b6cc-11c5a151a7fb" providerId="ADAL" clId="{674EC1EC-9279-428D-A3A8-9C20E6354D37}" dt="2021-05-25T15:06:43.036" v="199" actId="20577"/>
          <ac:spMkLst>
            <pc:docMk/>
            <pc:sldMk cId="85178067" sldId="10485"/>
            <ac:spMk id="74" creationId="{E5DAF6B5-73B5-4F99-AC68-3AF9C1E72B1A}"/>
          </ac:spMkLst>
        </pc:spChg>
        <pc:spChg chg="mod">
          <ac:chgData name="Maxime CARO" userId="7006948a-ce74-4c14-b6cc-11c5a151a7fb" providerId="ADAL" clId="{674EC1EC-9279-428D-A3A8-9C20E6354D37}" dt="2021-05-25T15:09:58.937" v="288" actId="108"/>
          <ac:spMkLst>
            <pc:docMk/>
            <pc:sldMk cId="85178067" sldId="10485"/>
            <ac:spMk id="154" creationId="{11F0F952-C845-4C87-85C1-A79CE4CC86A8}"/>
          </ac:spMkLst>
        </pc:spChg>
        <pc:spChg chg="mod">
          <ac:chgData name="Maxime CARO" userId="7006948a-ce74-4c14-b6cc-11c5a151a7fb" providerId="ADAL" clId="{674EC1EC-9279-428D-A3A8-9C20E6354D37}" dt="2021-05-25T15:17:43.749" v="454" actId="20577"/>
          <ac:spMkLst>
            <pc:docMk/>
            <pc:sldMk cId="85178067" sldId="10485"/>
            <ac:spMk id="155" creationId="{BFF0C264-EA7C-40EF-9800-6EBCBBD38827}"/>
          </ac:spMkLst>
        </pc:spChg>
        <pc:spChg chg="mod">
          <ac:chgData name="Maxime CARO" userId="7006948a-ce74-4c14-b6cc-11c5a151a7fb" providerId="ADAL" clId="{674EC1EC-9279-428D-A3A8-9C20E6354D37}" dt="2021-05-25T15:10:40.542" v="330" actId="948"/>
          <ac:spMkLst>
            <pc:docMk/>
            <pc:sldMk cId="85178067" sldId="10485"/>
            <ac:spMk id="160" creationId="{062AAC79-5C4A-4D39-8AB2-33268E5F0369}"/>
          </ac:spMkLst>
        </pc:spChg>
        <pc:spChg chg="mod">
          <ac:chgData name="Maxime CARO" userId="7006948a-ce74-4c14-b6cc-11c5a151a7fb" providerId="ADAL" clId="{674EC1EC-9279-428D-A3A8-9C20E6354D37}" dt="2021-05-25T15:19:00.196" v="464" actId="20577"/>
          <ac:spMkLst>
            <pc:docMk/>
            <pc:sldMk cId="85178067" sldId="10485"/>
            <ac:spMk id="184" creationId="{6B69893E-36F2-47E0-AE32-6A4236006FD0}"/>
          </ac:spMkLst>
        </pc:spChg>
        <pc:spChg chg="mod">
          <ac:chgData name="Maxime CARO" userId="7006948a-ce74-4c14-b6cc-11c5a151a7fb" providerId="ADAL" clId="{674EC1EC-9279-428D-A3A8-9C20E6354D37}" dt="2021-05-25T15:18:29.583" v="460" actId="1038"/>
          <ac:spMkLst>
            <pc:docMk/>
            <pc:sldMk cId="85178067" sldId="10485"/>
            <ac:spMk id="186" creationId="{4F70A64C-D54F-4D4F-947B-E1D9F2C3FAD5}"/>
          </ac:spMkLst>
        </pc:spChg>
        <pc:spChg chg="mod">
          <ac:chgData name="Maxime CARO" userId="7006948a-ce74-4c14-b6cc-11c5a151a7fb" providerId="ADAL" clId="{674EC1EC-9279-428D-A3A8-9C20E6354D37}" dt="2021-05-25T15:18:29.583" v="460" actId="1038"/>
          <ac:spMkLst>
            <pc:docMk/>
            <pc:sldMk cId="85178067" sldId="10485"/>
            <ac:spMk id="187" creationId="{AA5AE0C7-0A95-425C-A721-482BD3CCD46C}"/>
          </ac:spMkLst>
        </pc:spChg>
        <pc:spChg chg="mod">
          <ac:chgData name="Maxime CARO" userId="7006948a-ce74-4c14-b6cc-11c5a151a7fb" providerId="ADAL" clId="{674EC1EC-9279-428D-A3A8-9C20E6354D37}" dt="2021-05-25T15:18:22.437" v="457" actId="1038"/>
          <ac:spMkLst>
            <pc:docMk/>
            <pc:sldMk cId="85178067" sldId="10485"/>
            <ac:spMk id="190" creationId="{1CF0CFB0-0DDB-4C47-839E-B617A8CC8E43}"/>
          </ac:spMkLst>
        </pc:spChg>
        <pc:picChg chg="add del mod">
          <ac:chgData name="Maxime CARO" userId="7006948a-ce74-4c14-b6cc-11c5a151a7fb" providerId="ADAL" clId="{674EC1EC-9279-428D-A3A8-9C20E6354D37}" dt="2021-05-25T15:07:38.731" v="200" actId="478"/>
          <ac:picMkLst>
            <pc:docMk/>
            <pc:sldMk cId="85178067" sldId="10485"/>
            <ac:picMk id="142" creationId="{71AA052F-74DA-4128-8BBC-62C5E18B8DC2}"/>
          </ac:picMkLst>
        </pc:picChg>
      </pc:sldChg>
      <pc:sldChg chg="addSp modSp mod">
        <pc:chgData name="Maxime CARO" userId="7006948a-ce74-4c14-b6cc-11c5a151a7fb" providerId="ADAL" clId="{674EC1EC-9279-428D-A3A8-9C20E6354D37}" dt="2021-05-25T14:58:06.958" v="76" actId="20577"/>
        <pc:sldMkLst>
          <pc:docMk/>
          <pc:sldMk cId="1662158175" sldId="10487"/>
        </pc:sldMkLst>
        <pc:spChg chg="mod">
          <ac:chgData name="Maxime CARO" userId="7006948a-ce74-4c14-b6cc-11c5a151a7fb" providerId="ADAL" clId="{674EC1EC-9279-428D-A3A8-9C20E6354D37}" dt="2021-05-25T14:57:26.314" v="2" actId="13926"/>
          <ac:spMkLst>
            <pc:docMk/>
            <pc:sldMk cId="1662158175" sldId="10487"/>
            <ac:spMk id="17" creationId="{93C43DF0-5B80-4873-976E-9DCC9459DEE9}"/>
          </ac:spMkLst>
        </pc:spChg>
        <pc:spChg chg="add mod">
          <ac:chgData name="Maxime CARO" userId="7006948a-ce74-4c14-b6cc-11c5a151a7fb" providerId="ADAL" clId="{674EC1EC-9279-428D-A3A8-9C20E6354D37}" dt="2021-05-25T14:58:06.958" v="76" actId="20577"/>
          <ac:spMkLst>
            <pc:docMk/>
            <pc:sldMk cId="1662158175" sldId="10487"/>
            <ac:spMk id="62" creationId="{E56347B6-CFEB-4AC9-9902-AB2BBFD29777}"/>
          </ac:spMkLst>
        </pc:spChg>
      </pc:sldChg>
    </pc:docChg>
  </pc:docChgLst>
  <pc:docChgLst>
    <pc:chgData name="Sarah GAUVARD" userId="4c03e191-e154-482a-88b2-11de19eac96c" providerId="ADAL" clId="{8245CC27-65FB-483E-B8E7-D04039DBA80D}"/>
    <pc:docChg chg="undo custSel addSld delSld modSld sldOrd modSection">
      <pc:chgData name="Sarah GAUVARD" userId="4c03e191-e154-482a-88b2-11de19eac96c" providerId="ADAL" clId="{8245CC27-65FB-483E-B8E7-D04039DBA80D}" dt="2021-05-25T15:28:09.529" v="27837" actId="1076"/>
      <pc:docMkLst>
        <pc:docMk/>
      </pc:docMkLst>
      <pc:sldChg chg="modSp mod">
        <pc:chgData name="Sarah GAUVARD" userId="4c03e191-e154-482a-88b2-11de19eac96c" providerId="ADAL" clId="{8245CC27-65FB-483E-B8E7-D04039DBA80D}" dt="2021-05-24T16:09:26.421" v="14483" actId="790"/>
        <pc:sldMkLst>
          <pc:docMk/>
          <pc:sldMk cId="317280987" sldId="1655"/>
        </pc:sldMkLst>
        <pc:spChg chg="mod">
          <ac:chgData name="Sarah GAUVARD" userId="4c03e191-e154-482a-88b2-11de19eac96c" providerId="ADAL" clId="{8245CC27-65FB-483E-B8E7-D04039DBA80D}" dt="2021-05-24T16:09:26.401" v="14482" actId="790"/>
          <ac:spMkLst>
            <pc:docMk/>
            <pc:sldMk cId="317280987" sldId="1655"/>
            <ac:spMk id="9" creationId="{A8D01A7F-CF9D-41E2-A69B-C4B89B777060}"/>
          </ac:spMkLst>
        </pc:spChg>
        <pc:spChg chg="mod">
          <ac:chgData name="Sarah GAUVARD" userId="4c03e191-e154-482a-88b2-11de19eac96c" providerId="ADAL" clId="{8245CC27-65FB-483E-B8E7-D04039DBA80D}" dt="2021-05-24T16:09:26.421" v="14483" actId="790"/>
          <ac:spMkLst>
            <pc:docMk/>
            <pc:sldMk cId="317280987" sldId="1655"/>
            <ac:spMk id="10" creationId="{6E5DA166-B3B1-4EFB-8A60-B5F05F64A940}"/>
          </ac:spMkLst>
        </pc:spChg>
        <pc:graphicFrameChg chg="mod">
          <ac:chgData name="Sarah GAUVARD" userId="4c03e191-e154-482a-88b2-11de19eac96c" providerId="ADAL" clId="{8245CC27-65FB-483E-B8E7-D04039DBA80D}" dt="2021-05-24T15:34:46.116" v="11902"/>
          <ac:graphicFrameMkLst>
            <pc:docMk/>
            <pc:sldMk cId="317280987" sldId="1655"/>
            <ac:graphicFrameMk id="2" creationId="{5A566F19-94B9-455F-A3E7-595F58A5F2DF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4T16:09:26.401" v="14481" actId="790"/>
        <pc:sldMkLst>
          <pc:docMk/>
          <pc:sldMk cId="1833404173" sldId="2531"/>
        </pc:sldMkLst>
        <pc:spChg chg="mod">
          <ac:chgData name="Sarah GAUVARD" userId="4c03e191-e154-482a-88b2-11de19eac96c" providerId="ADAL" clId="{8245CC27-65FB-483E-B8E7-D04039DBA80D}" dt="2021-05-24T16:09:26.359" v="14432" actId="790"/>
          <ac:spMkLst>
            <pc:docMk/>
            <pc:sldMk cId="1833404173" sldId="2531"/>
            <ac:spMk id="2" creationId="{485D8258-C799-4DEB-8426-A87B09E12535}"/>
          </ac:spMkLst>
        </pc:spChg>
        <pc:spChg chg="mod">
          <ac:chgData name="Sarah GAUVARD" userId="4c03e191-e154-482a-88b2-11de19eac96c" providerId="ADAL" clId="{8245CC27-65FB-483E-B8E7-D04039DBA80D}" dt="2021-05-24T16:09:26.399" v="14478" actId="790"/>
          <ac:spMkLst>
            <pc:docMk/>
            <pc:sldMk cId="1833404173" sldId="2531"/>
            <ac:spMk id="3" creationId="{5A298B37-CEE8-4A6B-A535-516B4E1DBC89}"/>
          </ac:spMkLst>
        </pc:spChg>
        <pc:spChg chg="mod">
          <ac:chgData name="Sarah GAUVARD" userId="4c03e191-e154-482a-88b2-11de19eac96c" providerId="ADAL" clId="{8245CC27-65FB-483E-B8E7-D04039DBA80D}" dt="2021-05-24T16:09:26.361" v="14433" actId="790"/>
          <ac:spMkLst>
            <pc:docMk/>
            <pc:sldMk cId="1833404173" sldId="2531"/>
            <ac:spMk id="6" creationId="{FD961D00-BB87-4820-B54D-EC87367CB5D8}"/>
          </ac:spMkLst>
        </pc:spChg>
        <pc:spChg chg="mod">
          <ac:chgData name="Sarah GAUVARD" userId="4c03e191-e154-482a-88b2-11de19eac96c" providerId="ADAL" clId="{8245CC27-65FB-483E-B8E7-D04039DBA80D}" dt="2021-05-24T16:09:26.369" v="14434" actId="790"/>
          <ac:spMkLst>
            <pc:docMk/>
            <pc:sldMk cId="1833404173" sldId="2531"/>
            <ac:spMk id="8" creationId="{CBFABE72-6131-464D-BAFB-D76422C2A4AB}"/>
          </ac:spMkLst>
        </pc:spChg>
        <pc:spChg chg="mod">
          <ac:chgData name="Sarah GAUVARD" userId="4c03e191-e154-482a-88b2-11de19eac96c" providerId="ADAL" clId="{8245CC27-65FB-483E-B8E7-D04039DBA80D}" dt="2021-05-24T16:09:26.369" v="14435" actId="790"/>
          <ac:spMkLst>
            <pc:docMk/>
            <pc:sldMk cId="1833404173" sldId="2531"/>
            <ac:spMk id="9" creationId="{AA892EF1-BA93-4257-8E96-FCE386827377}"/>
          </ac:spMkLst>
        </pc:spChg>
        <pc:spChg chg="mod">
          <ac:chgData name="Sarah GAUVARD" userId="4c03e191-e154-482a-88b2-11de19eac96c" providerId="ADAL" clId="{8245CC27-65FB-483E-B8E7-D04039DBA80D}" dt="2021-05-24T16:09:26.369" v="14436" actId="790"/>
          <ac:spMkLst>
            <pc:docMk/>
            <pc:sldMk cId="1833404173" sldId="2531"/>
            <ac:spMk id="10" creationId="{D1385551-0DEE-495D-8846-99041144B7D6}"/>
          </ac:spMkLst>
        </pc:spChg>
        <pc:spChg chg="mod">
          <ac:chgData name="Sarah GAUVARD" userId="4c03e191-e154-482a-88b2-11de19eac96c" providerId="ADAL" clId="{8245CC27-65FB-483E-B8E7-D04039DBA80D}" dt="2021-05-24T16:09:26.371" v="14437" actId="790"/>
          <ac:spMkLst>
            <pc:docMk/>
            <pc:sldMk cId="1833404173" sldId="2531"/>
            <ac:spMk id="11" creationId="{95F74EDD-FC62-4AE0-B009-91BD1F0F42CD}"/>
          </ac:spMkLst>
        </pc:spChg>
        <pc:spChg chg="mod">
          <ac:chgData name="Sarah GAUVARD" userId="4c03e191-e154-482a-88b2-11de19eac96c" providerId="ADAL" clId="{8245CC27-65FB-483E-B8E7-D04039DBA80D}" dt="2021-05-24T16:09:26.371" v="14438" actId="790"/>
          <ac:spMkLst>
            <pc:docMk/>
            <pc:sldMk cId="1833404173" sldId="2531"/>
            <ac:spMk id="12" creationId="{D1785210-4F58-4DEA-A9E2-D867169A909C}"/>
          </ac:spMkLst>
        </pc:spChg>
        <pc:spChg chg="mod">
          <ac:chgData name="Sarah GAUVARD" userId="4c03e191-e154-482a-88b2-11de19eac96c" providerId="ADAL" clId="{8245CC27-65FB-483E-B8E7-D04039DBA80D}" dt="2021-05-24T16:09:26.371" v="14439" actId="790"/>
          <ac:spMkLst>
            <pc:docMk/>
            <pc:sldMk cId="1833404173" sldId="2531"/>
            <ac:spMk id="13" creationId="{F68747A9-0286-423B-B19B-BDD80CFD99AA}"/>
          </ac:spMkLst>
        </pc:spChg>
        <pc:spChg chg="mod">
          <ac:chgData name="Sarah GAUVARD" userId="4c03e191-e154-482a-88b2-11de19eac96c" providerId="ADAL" clId="{8245CC27-65FB-483E-B8E7-D04039DBA80D}" dt="2021-05-24T16:09:26.371" v="14440" actId="790"/>
          <ac:spMkLst>
            <pc:docMk/>
            <pc:sldMk cId="1833404173" sldId="2531"/>
            <ac:spMk id="14" creationId="{1B668D90-1CA6-4BF2-A28C-A37ADF4CEC55}"/>
          </ac:spMkLst>
        </pc:spChg>
        <pc:spChg chg="mod">
          <ac:chgData name="Sarah GAUVARD" userId="4c03e191-e154-482a-88b2-11de19eac96c" providerId="ADAL" clId="{8245CC27-65FB-483E-B8E7-D04039DBA80D}" dt="2021-05-24T16:09:26.371" v="14441" actId="790"/>
          <ac:spMkLst>
            <pc:docMk/>
            <pc:sldMk cId="1833404173" sldId="2531"/>
            <ac:spMk id="15" creationId="{DC368EB4-4DDD-4407-BE94-38F23DA27B16}"/>
          </ac:spMkLst>
        </pc:spChg>
        <pc:spChg chg="mod">
          <ac:chgData name="Sarah GAUVARD" userId="4c03e191-e154-482a-88b2-11de19eac96c" providerId="ADAL" clId="{8245CC27-65FB-483E-B8E7-D04039DBA80D}" dt="2021-05-24T16:09:26.371" v="14442" actId="790"/>
          <ac:spMkLst>
            <pc:docMk/>
            <pc:sldMk cId="1833404173" sldId="2531"/>
            <ac:spMk id="16" creationId="{80F851B1-0B14-48BE-A51C-7881B7C8FE41}"/>
          </ac:spMkLst>
        </pc:spChg>
        <pc:spChg chg="mod">
          <ac:chgData name="Sarah GAUVARD" userId="4c03e191-e154-482a-88b2-11de19eac96c" providerId="ADAL" clId="{8245CC27-65FB-483E-B8E7-D04039DBA80D}" dt="2021-05-24T16:09:26.371" v="14443" actId="790"/>
          <ac:spMkLst>
            <pc:docMk/>
            <pc:sldMk cId="1833404173" sldId="2531"/>
            <ac:spMk id="17" creationId="{7CE1AF65-B94A-4628-80BC-0D290E998B7C}"/>
          </ac:spMkLst>
        </pc:spChg>
        <pc:spChg chg="mod">
          <ac:chgData name="Sarah GAUVARD" userId="4c03e191-e154-482a-88b2-11de19eac96c" providerId="ADAL" clId="{8245CC27-65FB-483E-B8E7-D04039DBA80D}" dt="2021-05-24T16:09:26.371" v="14444" actId="790"/>
          <ac:spMkLst>
            <pc:docMk/>
            <pc:sldMk cId="1833404173" sldId="2531"/>
            <ac:spMk id="18" creationId="{4D52F71B-746D-44F2-85EB-546A9C67D415}"/>
          </ac:spMkLst>
        </pc:spChg>
        <pc:spChg chg="mod">
          <ac:chgData name="Sarah GAUVARD" userId="4c03e191-e154-482a-88b2-11de19eac96c" providerId="ADAL" clId="{8245CC27-65FB-483E-B8E7-D04039DBA80D}" dt="2021-05-24T16:09:26.371" v="14445" actId="790"/>
          <ac:spMkLst>
            <pc:docMk/>
            <pc:sldMk cId="1833404173" sldId="2531"/>
            <ac:spMk id="19" creationId="{7BFC3453-D5E5-4B80-95E1-53BCDB119B16}"/>
          </ac:spMkLst>
        </pc:spChg>
        <pc:spChg chg="mod">
          <ac:chgData name="Sarah GAUVARD" userId="4c03e191-e154-482a-88b2-11de19eac96c" providerId="ADAL" clId="{8245CC27-65FB-483E-B8E7-D04039DBA80D}" dt="2021-05-24T16:09:26.371" v="14446" actId="790"/>
          <ac:spMkLst>
            <pc:docMk/>
            <pc:sldMk cId="1833404173" sldId="2531"/>
            <ac:spMk id="20" creationId="{ABEEDC27-82A8-46CB-8CE2-2D10293A50C9}"/>
          </ac:spMkLst>
        </pc:spChg>
        <pc:spChg chg="mod">
          <ac:chgData name="Sarah GAUVARD" userId="4c03e191-e154-482a-88b2-11de19eac96c" providerId="ADAL" clId="{8245CC27-65FB-483E-B8E7-D04039DBA80D}" dt="2021-05-24T16:09:26.371" v="14447" actId="790"/>
          <ac:spMkLst>
            <pc:docMk/>
            <pc:sldMk cId="1833404173" sldId="2531"/>
            <ac:spMk id="21" creationId="{79263F93-BD89-481F-813A-6C0F901C9C08}"/>
          </ac:spMkLst>
        </pc:spChg>
        <pc:spChg chg="mod">
          <ac:chgData name="Sarah GAUVARD" userId="4c03e191-e154-482a-88b2-11de19eac96c" providerId="ADAL" clId="{8245CC27-65FB-483E-B8E7-D04039DBA80D}" dt="2021-05-24T16:09:26.371" v="14448" actId="790"/>
          <ac:spMkLst>
            <pc:docMk/>
            <pc:sldMk cId="1833404173" sldId="2531"/>
            <ac:spMk id="22" creationId="{A17328B4-1579-4E16-8289-48E49F417694}"/>
          </ac:spMkLst>
        </pc:spChg>
        <pc:spChg chg="mod">
          <ac:chgData name="Sarah GAUVARD" userId="4c03e191-e154-482a-88b2-11de19eac96c" providerId="ADAL" clId="{8245CC27-65FB-483E-B8E7-D04039DBA80D}" dt="2021-05-24T16:09:26.379" v="14449" actId="790"/>
          <ac:spMkLst>
            <pc:docMk/>
            <pc:sldMk cId="1833404173" sldId="2531"/>
            <ac:spMk id="23" creationId="{9FFABFA5-D560-4B57-A403-E79C1BD6BD3D}"/>
          </ac:spMkLst>
        </pc:spChg>
        <pc:spChg chg="mod">
          <ac:chgData name="Sarah GAUVARD" userId="4c03e191-e154-482a-88b2-11de19eac96c" providerId="ADAL" clId="{8245CC27-65FB-483E-B8E7-D04039DBA80D}" dt="2021-05-24T16:09:26.379" v="14450" actId="790"/>
          <ac:spMkLst>
            <pc:docMk/>
            <pc:sldMk cId="1833404173" sldId="2531"/>
            <ac:spMk id="24" creationId="{C6DE36B4-63F9-49BF-9393-6D814DCD3ADB}"/>
          </ac:spMkLst>
        </pc:spChg>
        <pc:spChg chg="mod">
          <ac:chgData name="Sarah GAUVARD" userId="4c03e191-e154-482a-88b2-11de19eac96c" providerId="ADAL" clId="{8245CC27-65FB-483E-B8E7-D04039DBA80D}" dt="2021-05-24T16:09:26.379" v="14451" actId="790"/>
          <ac:spMkLst>
            <pc:docMk/>
            <pc:sldMk cId="1833404173" sldId="2531"/>
            <ac:spMk id="25" creationId="{87636E38-C9EE-47F8-83D6-6504B63CFEC1}"/>
          </ac:spMkLst>
        </pc:spChg>
        <pc:spChg chg="mod">
          <ac:chgData name="Sarah GAUVARD" userId="4c03e191-e154-482a-88b2-11de19eac96c" providerId="ADAL" clId="{8245CC27-65FB-483E-B8E7-D04039DBA80D}" dt="2021-05-24T16:09:26.381" v="14452" actId="790"/>
          <ac:spMkLst>
            <pc:docMk/>
            <pc:sldMk cId="1833404173" sldId="2531"/>
            <ac:spMk id="26" creationId="{5E993EC9-B819-46BE-808C-6BF87D7C6173}"/>
          </ac:spMkLst>
        </pc:spChg>
        <pc:spChg chg="mod">
          <ac:chgData name="Sarah GAUVARD" userId="4c03e191-e154-482a-88b2-11de19eac96c" providerId="ADAL" clId="{8245CC27-65FB-483E-B8E7-D04039DBA80D}" dt="2021-05-24T16:09:26.381" v="14453" actId="790"/>
          <ac:spMkLst>
            <pc:docMk/>
            <pc:sldMk cId="1833404173" sldId="2531"/>
            <ac:spMk id="27" creationId="{8C4589F2-B7BC-4572-BB11-469A62A1B6C6}"/>
          </ac:spMkLst>
        </pc:spChg>
        <pc:spChg chg="mod">
          <ac:chgData name="Sarah GAUVARD" userId="4c03e191-e154-482a-88b2-11de19eac96c" providerId="ADAL" clId="{8245CC27-65FB-483E-B8E7-D04039DBA80D}" dt="2021-05-24T16:09:26.381" v="14454" actId="790"/>
          <ac:spMkLst>
            <pc:docMk/>
            <pc:sldMk cId="1833404173" sldId="2531"/>
            <ac:spMk id="28" creationId="{77771E76-DFA4-4D19-B2E3-74B7FBF71D1E}"/>
          </ac:spMkLst>
        </pc:spChg>
        <pc:spChg chg="mod">
          <ac:chgData name="Sarah GAUVARD" userId="4c03e191-e154-482a-88b2-11de19eac96c" providerId="ADAL" clId="{8245CC27-65FB-483E-B8E7-D04039DBA80D}" dt="2021-05-24T16:09:26.381" v="14455" actId="790"/>
          <ac:spMkLst>
            <pc:docMk/>
            <pc:sldMk cId="1833404173" sldId="2531"/>
            <ac:spMk id="29" creationId="{5E08754A-8970-4715-8A7A-F623D767FAB9}"/>
          </ac:spMkLst>
        </pc:spChg>
        <pc:spChg chg="mod">
          <ac:chgData name="Sarah GAUVARD" userId="4c03e191-e154-482a-88b2-11de19eac96c" providerId="ADAL" clId="{8245CC27-65FB-483E-B8E7-D04039DBA80D}" dt="2021-05-24T16:09:26.381" v="14456" actId="790"/>
          <ac:spMkLst>
            <pc:docMk/>
            <pc:sldMk cId="1833404173" sldId="2531"/>
            <ac:spMk id="30" creationId="{16C0C029-6359-44F4-B7C0-B040B0D8942B}"/>
          </ac:spMkLst>
        </pc:spChg>
        <pc:spChg chg="mod">
          <ac:chgData name="Sarah GAUVARD" userId="4c03e191-e154-482a-88b2-11de19eac96c" providerId="ADAL" clId="{8245CC27-65FB-483E-B8E7-D04039DBA80D}" dt="2021-05-24T16:09:26.381" v="14457" actId="790"/>
          <ac:spMkLst>
            <pc:docMk/>
            <pc:sldMk cId="1833404173" sldId="2531"/>
            <ac:spMk id="31" creationId="{AC0EA32D-54FE-4F9B-9CF8-4DAFEBC29666}"/>
          </ac:spMkLst>
        </pc:spChg>
        <pc:spChg chg="mod">
          <ac:chgData name="Sarah GAUVARD" userId="4c03e191-e154-482a-88b2-11de19eac96c" providerId="ADAL" clId="{8245CC27-65FB-483E-B8E7-D04039DBA80D}" dt="2021-05-24T16:09:26.381" v="14458" actId="790"/>
          <ac:spMkLst>
            <pc:docMk/>
            <pc:sldMk cId="1833404173" sldId="2531"/>
            <ac:spMk id="32" creationId="{8CE27222-24DA-4462-BF94-A8D5736BB7B7}"/>
          </ac:spMkLst>
        </pc:spChg>
        <pc:spChg chg="mod">
          <ac:chgData name="Sarah GAUVARD" userId="4c03e191-e154-482a-88b2-11de19eac96c" providerId="ADAL" clId="{8245CC27-65FB-483E-B8E7-D04039DBA80D}" dt="2021-05-24T16:09:26.381" v="14459" actId="790"/>
          <ac:spMkLst>
            <pc:docMk/>
            <pc:sldMk cId="1833404173" sldId="2531"/>
            <ac:spMk id="33" creationId="{7B850491-5D22-4445-B8DD-2E7DA22A1582}"/>
          </ac:spMkLst>
        </pc:spChg>
        <pc:spChg chg="mod">
          <ac:chgData name="Sarah GAUVARD" userId="4c03e191-e154-482a-88b2-11de19eac96c" providerId="ADAL" clId="{8245CC27-65FB-483E-B8E7-D04039DBA80D}" dt="2021-05-24T16:09:26.381" v="14460" actId="790"/>
          <ac:spMkLst>
            <pc:docMk/>
            <pc:sldMk cId="1833404173" sldId="2531"/>
            <ac:spMk id="34" creationId="{87B245AE-748D-4766-AAA8-E79644D27CF2}"/>
          </ac:spMkLst>
        </pc:spChg>
        <pc:spChg chg="mod">
          <ac:chgData name="Sarah GAUVARD" userId="4c03e191-e154-482a-88b2-11de19eac96c" providerId="ADAL" clId="{8245CC27-65FB-483E-B8E7-D04039DBA80D}" dt="2021-05-24T16:09:26.381" v="14461" actId="790"/>
          <ac:spMkLst>
            <pc:docMk/>
            <pc:sldMk cId="1833404173" sldId="2531"/>
            <ac:spMk id="35" creationId="{3B6324BE-5137-4BFE-8DA4-799A77B8D45E}"/>
          </ac:spMkLst>
        </pc:spChg>
        <pc:spChg chg="mod">
          <ac:chgData name="Sarah GAUVARD" userId="4c03e191-e154-482a-88b2-11de19eac96c" providerId="ADAL" clId="{8245CC27-65FB-483E-B8E7-D04039DBA80D}" dt="2021-05-24T16:09:26.381" v="14462" actId="790"/>
          <ac:spMkLst>
            <pc:docMk/>
            <pc:sldMk cId="1833404173" sldId="2531"/>
            <ac:spMk id="36" creationId="{E6D54B53-5D24-489F-9B67-95A762E58289}"/>
          </ac:spMkLst>
        </pc:spChg>
        <pc:spChg chg="mod">
          <ac:chgData name="Sarah GAUVARD" userId="4c03e191-e154-482a-88b2-11de19eac96c" providerId="ADAL" clId="{8245CC27-65FB-483E-B8E7-D04039DBA80D}" dt="2021-05-24T16:09:26.381" v="14463" actId="790"/>
          <ac:spMkLst>
            <pc:docMk/>
            <pc:sldMk cId="1833404173" sldId="2531"/>
            <ac:spMk id="37" creationId="{B1B3F98D-4D9B-442E-8C7B-A1756F2C34E5}"/>
          </ac:spMkLst>
        </pc:spChg>
        <pc:spChg chg="mod">
          <ac:chgData name="Sarah GAUVARD" userId="4c03e191-e154-482a-88b2-11de19eac96c" providerId="ADAL" clId="{8245CC27-65FB-483E-B8E7-D04039DBA80D}" dt="2021-05-24T16:09:26.381" v="14464" actId="790"/>
          <ac:spMkLst>
            <pc:docMk/>
            <pc:sldMk cId="1833404173" sldId="2531"/>
            <ac:spMk id="38" creationId="{1136920C-BA8F-43C0-8C16-F1AAC39166BF}"/>
          </ac:spMkLst>
        </pc:spChg>
        <pc:spChg chg="mod">
          <ac:chgData name="Sarah GAUVARD" userId="4c03e191-e154-482a-88b2-11de19eac96c" providerId="ADAL" clId="{8245CC27-65FB-483E-B8E7-D04039DBA80D}" dt="2021-05-24T16:09:26.389" v="14465" actId="790"/>
          <ac:spMkLst>
            <pc:docMk/>
            <pc:sldMk cId="1833404173" sldId="2531"/>
            <ac:spMk id="39" creationId="{EFF788FD-AC32-46E7-9D4E-4BC36F5959B9}"/>
          </ac:spMkLst>
        </pc:spChg>
        <pc:spChg chg="mod">
          <ac:chgData name="Sarah GAUVARD" userId="4c03e191-e154-482a-88b2-11de19eac96c" providerId="ADAL" clId="{8245CC27-65FB-483E-B8E7-D04039DBA80D}" dt="2021-05-24T16:09:26.389" v="14466" actId="790"/>
          <ac:spMkLst>
            <pc:docMk/>
            <pc:sldMk cId="1833404173" sldId="2531"/>
            <ac:spMk id="40" creationId="{A3E8FC77-79BA-4BF6-9229-A50D8390B0B0}"/>
          </ac:spMkLst>
        </pc:spChg>
        <pc:spChg chg="mod">
          <ac:chgData name="Sarah GAUVARD" userId="4c03e191-e154-482a-88b2-11de19eac96c" providerId="ADAL" clId="{8245CC27-65FB-483E-B8E7-D04039DBA80D}" dt="2021-05-24T16:09:26.389" v="14467" actId="790"/>
          <ac:spMkLst>
            <pc:docMk/>
            <pc:sldMk cId="1833404173" sldId="2531"/>
            <ac:spMk id="41" creationId="{0576C5B5-205F-4700-BDBA-CB236CF202E5}"/>
          </ac:spMkLst>
        </pc:spChg>
        <pc:spChg chg="mod">
          <ac:chgData name="Sarah GAUVARD" userId="4c03e191-e154-482a-88b2-11de19eac96c" providerId="ADAL" clId="{8245CC27-65FB-483E-B8E7-D04039DBA80D}" dt="2021-05-24T16:09:26.391" v="14468" actId="790"/>
          <ac:spMkLst>
            <pc:docMk/>
            <pc:sldMk cId="1833404173" sldId="2531"/>
            <ac:spMk id="42" creationId="{10178595-DB31-448D-B26C-282499D9E2AB}"/>
          </ac:spMkLst>
        </pc:spChg>
        <pc:spChg chg="mod">
          <ac:chgData name="Sarah GAUVARD" userId="4c03e191-e154-482a-88b2-11de19eac96c" providerId="ADAL" clId="{8245CC27-65FB-483E-B8E7-D04039DBA80D}" dt="2021-05-24T16:09:26.391" v="14469" actId="790"/>
          <ac:spMkLst>
            <pc:docMk/>
            <pc:sldMk cId="1833404173" sldId="2531"/>
            <ac:spMk id="43" creationId="{7A99688D-221A-4009-B9DD-DA6C7D20F69E}"/>
          </ac:spMkLst>
        </pc:spChg>
        <pc:spChg chg="mod">
          <ac:chgData name="Sarah GAUVARD" userId="4c03e191-e154-482a-88b2-11de19eac96c" providerId="ADAL" clId="{8245CC27-65FB-483E-B8E7-D04039DBA80D}" dt="2021-05-24T16:09:26.391" v="14470" actId="790"/>
          <ac:spMkLst>
            <pc:docMk/>
            <pc:sldMk cId="1833404173" sldId="2531"/>
            <ac:spMk id="44" creationId="{A821D0F1-6745-4FB4-960B-A65CD44A148F}"/>
          </ac:spMkLst>
        </pc:spChg>
        <pc:spChg chg="mod">
          <ac:chgData name="Sarah GAUVARD" userId="4c03e191-e154-482a-88b2-11de19eac96c" providerId="ADAL" clId="{8245CC27-65FB-483E-B8E7-D04039DBA80D}" dt="2021-05-24T16:09:26.391" v="14471" actId="790"/>
          <ac:spMkLst>
            <pc:docMk/>
            <pc:sldMk cId="1833404173" sldId="2531"/>
            <ac:spMk id="45" creationId="{94585B0F-E803-4576-9DB3-FAF173D08F43}"/>
          </ac:spMkLst>
        </pc:spChg>
        <pc:spChg chg="mod">
          <ac:chgData name="Sarah GAUVARD" userId="4c03e191-e154-482a-88b2-11de19eac96c" providerId="ADAL" clId="{8245CC27-65FB-483E-B8E7-D04039DBA80D}" dt="2021-05-24T16:09:26.391" v="14472" actId="790"/>
          <ac:spMkLst>
            <pc:docMk/>
            <pc:sldMk cId="1833404173" sldId="2531"/>
            <ac:spMk id="46" creationId="{60B47F91-9ED1-4064-B0F1-0F150436DBA4}"/>
          </ac:spMkLst>
        </pc:spChg>
        <pc:spChg chg="mod">
          <ac:chgData name="Sarah GAUVARD" userId="4c03e191-e154-482a-88b2-11de19eac96c" providerId="ADAL" clId="{8245CC27-65FB-483E-B8E7-D04039DBA80D}" dt="2021-05-24T16:09:26.391" v="14473" actId="790"/>
          <ac:spMkLst>
            <pc:docMk/>
            <pc:sldMk cId="1833404173" sldId="2531"/>
            <ac:spMk id="47" creationId="{17468E73-86AE-459C-946F-AFFBB7E789DD}"/>
          </ac:spMkLst>
        </pc:spChg>
        <pc:spChg chg="mod">
          <ac:chgData name="Sarah GAUVARD" userId="4c03e191-e154-482a-88b2-11de19eac96c" providerId="ADAL" clId="{8245CC27-65FB-483E-B8E7-D04039DBA80D}" dt="2021-05-24T16:09:26.391" v="14474" actId="790"/>
          <ac:spMkLst>
            <pc:docMk/>
            <pc:sldMk cId="1833404173" sldId="2531"/>
            <ac:spMk id="48" creationId="{44B8897D-6B27-465B-A723-BF615C31D100}"/>
          </ac:spMkLst>
        </pc:spChg>
        <pc:spChg chg="mod">
          <ac:chgData name="Sarah GAUVARD" userId="4c03e191-e154-482a-88b2-11de19eac96c" providerId="ADAL" clId="{8245CC27-65FB-483E-B8E7-D04039DBA80D}" dt="2021-05-24T16:09:26.391" v="14475" actId="790"/>
          <ac:spMkLst>
            <pc:docMk/>
            <pc:sldMk cId="1833404173" sldId="2531"/>
            <ac:spMk id="49" creationId="{3CAB94CE-464D-4A6D-BF0D-B9E076D55E68}"/>
          </ac:spMkLst>
        </pc:spChg>
        <pc:spChg chg="mod">
          <ac:chgData name="Sarah GAUVARD" userId="4c03e191-e154-482a-88b2-11de19eac96c" providerId="ADAL" clId="{8245CC27-65FB-483E-B8E7-D04039DBA80D}" dt="2021-05-24T16:09:26.391" v="14476" actId="790"/>
          <ac:spMkLst>
            <pc:docMk/>
            <pc:sldMk cId="1833404173" sldId="2531"/>
            <ac:spMk id="50" creationId="{DB23E4EA-8CC3-4D51-8B49-7C52B0496041}"/>
          </ac:spMkLst>
        </pc:spChg>
        <pc:spChg chg="mod">
          <ac:chgData name="Sarah GAUVARD" userId="4c03e191-e154-482a-88b2-11de19eac96c" providerId="ADAL" clId="{8245CC27-65FB-483E-B8E7-D04039DBA80D}" dt="2021-05-24T16:09:26.391" v="14477" actId="790"/>
          <ac:spMkLst>
            <pc:docMk/>
            <pc:sldMk cId="1833404173" sldId="2531"/>
            <ac:spMk id="51" creationId="{6EAF2701-A2C6-4614-9A6E-C85168C5E062}"/>
          </ac:spMkLst>
        </pc:spChg>
        <pc:spChg chg="mod">
          <ac:chgData name="Sarah GAUVARD" userId="4c03e191-e154-482a-88b2-11de19eac96c" providerId="ADAL" clId="{8245CC27-65FB-483E-B8E7-D04039DBA80D}" dt="2021-05-24T16:09:26.401" v="14479" actId="790"/>
          <ac:spMkLst>
            <pc:docMk/>
            <pc:sldMk cId="1833404173" sldId="2531"/>
            <ac:spMk id="58" creationId="{0147DA22-0F0F-404A-84C1-B039C381264A}"/>
          </ac:spMkLst>
        </pc:spChg>
        <pc:spChg chg="mod">
          <ac:chgData name="Sarah GAUVARD" userId="4c03e191-e154-482a-88b2-11de19eac96c" providerId="ADAL" clId="{8245CC27-65FB-483E-B8E7-D04039DBA80D}" dt="2021-05-24T16:09:26.401" v="14480" actId="790"/>
          <ac:spMkLst>
            <pc:docMk/>
            <pc:sldMk cId="1833404173" sldId="2531"/>
            <ac:spMk id="59" creationId="{0BCAB353-EF6C-4F66-AEB2-5076353D589F}"/>
          </ac:spMkLst>
        </pc:spChg>
        <pc:spChg chg="mod">
          <ac:chgData name="Sarah GAUVARD" userId="4c03e191-e154-482a-88b2-11de19eac96c" providerId="ADAL" clId="{8245CC27-65FB-483E-B8E7-D04039DBA80D}" dt="2021-05-24T16:09:26.401" v="14481" actId="790"/>
          <ac:spMkLst>
            <pc:docMk/>
            <pc:sldMk cId="1833404173" sldId="2531"/>
            <ac:spMk id="60" creationId="{39F3CF3D-BE03-498B-B2BB-7B25506F7E05}"/>
          </ac:spMkLst>
        </pc:spChg>
      </pc:sldChg>
      <pc:sldChg chg="modSp mod">
        <pc:chgData name="Sarah GAUVARD" userId="4c03e191-e154-482a-88b2-11de19eac96c" providerId="ADAL" clId="{8245CC27-65FB-483E-B8E7-D04039DBA80D}" dt="2021-05-25T07:49:40.862" v="17631" actId="20577"/>
        <pc:sldMkLst>
          <pc:docMk/>
          <pc:sldMk cId="1145535110" sldId="3258"/>
        </pc:sldMkLst>
        <pc:spChg chg="mod">
          <ac:chgData name="Sarah GAUVARD" userId="4c03e191-e154-482a-88b2-11de19eac96c" providerId="ADAL" clId="{8245CC27-65FB-483E-B8E7-D04039DBA80D}" dt="2021-05-24T15:34:40.679" v="8832" actId="790"/>
          <ac:spMkLst>
            <pc:docMk/>
            <pc:sldMk cId="1145535110" sldId="3258"/>
            <ac:spMk id="16" creationId="{813FA499-2F2B-4237-A1F4-E1EC89ABF141}"/>
          </ac:spMkLst>
        </pc:spChg>
        <pc:spChg chg="mod">
          <ac:chgData name="Sarah GAUVARD" userId="4c03e191-e154-482a-88b2-11de19eac96c" providerId="ADAL" clId="{8245CC27-65FB-483E-B8E7-D04039DBA80D}" dt="2021-05-24T16:09:29.219" v="17171" actId="790"/>
          <ac:spMkLst>
            <pc:docMk/>
            <pc:sldMk cId="1145535110" sldId="3258"/>
            <ac:spMk id="18" creationId="{05A43005-14D1-49C5-B286-0CBF49EF4C9A}"/>
          </ac:spMkLst>
        </pc:spChg>
        <pc:spChg chg="mod">
          <ac:chgData name="Sarah GAUVARD" userId="4c03e191-e154-482a-88b2-11de19eac96c" providerId="ADAL" clId="{8245CC27-65FB-483E-B8E7-D04039DBA80D}" dt="2021-05-25T07:49:40.862" v="17631" actId="20577"/>
          <ac:spMkLst>
            <pc:docMk/>
            <pc:sldMk cId="1145535110" sldId="3258"/>
            <ac:spMk id="19" creationId="{E5B76E7A-5B0F-4C72-9E90-D6674A382910}"/>
          </ac:spMkLst>
        </pc:spChg>
        <pc:spChg chg="mod">
          <ac:chgData name="Sarah GAUVARD" userId="4c03e191-e154-482a-88b2-11de19eac96c" providerId="ADAL" clId="{8245CC27-65FB-483E-B8E7-D04039DBA80D}" dt="2021-05-24T16:09:29.221" v="17177" actId="790"/>
          <ac:spMkLst>
            <pc:docMk/>
            <pc:sldMk cId="1145535110" sldId="3258"/>
            <ac:spMk id="22" creationId="{220AD9ED-7433-4122-B1D5-4276A01119DD}"/>
          </ac:spMkLst>
        </pc:spChg>
        <pc:spChg chg="mod">
          <ac:chgData name="Sarah GAUVARD" userId="4c03e191-e154-482a-88b2-11de19eac96c" providerId="ADAL" clId="{8245CC27-65FB-483E-B8E7-D04039DBA80D}" dt="2021-05-24T16:09:29.221" v="17178" actId="790"/>
          <ac:spMkLst>
            <pc:docMk/>
            <pc:sldMk cId="1145535110" sldId="3258"/>
            <ac:spMk id="23" creationId="{7C8E2774-0785-49E3-A0EB-78CE89573309}"/>
          </ac:spMkLst>
        </pc:spChg>
        <pc:spChg chg="mod">
          <ac:chgData name="Sarah GAUVARD" userId="4c03e191-e154-482a-88b2-11de19eac96c" providerId="ADAL" clId="{8245CC27-65FB-483E-B8E7-D04039DBA80D}" dt="2021-05-24T16:09:29.211" v="17168" actId="790"/>
          <ac:spMkLst>
            <pc:docMk/>
            <pc:sldMk cId="1145535110" sldId="3258"/>
            <ac:spMk id="32" creationId="{D28F6C03-B18D-4E9E-86A3-41D1A65809FB}"/>
          </ac:spMkLst>
        </pc:spChg>
        <pc:spChg chg="mod">
          <ac:chgData name="Sarah GAUVARD" userId="4c03e191-e154-482a-88b2-11de19eac96c" providerId="ADAL" clId="{8245CC27-65FB-483E-B8E7-D04039DBA80D}" dt="2021-05-24T16:09:29.219" v="17172" actId="790"/>
          <ac:spMkLst>
            <pc:docMk/>
            <pc:sldMk cId="1145535110" sldId="3258"/>
            <ac:spMk id="33" creationId="{35AC15E6-C7C2-4CF2-A1B8-A8E49DF23339}"/>
          </ac:spMkLst>
        </pc:spChg>
        <pc:spChg chg="mod">
          <ac:chgData name="Sarah GAUVARD" userId="4c03e191-e154-482a-88b2-11de19eac96c" providerId="ADAL" clId="{8245CC27-65FB-483E-B8E7-D04039DBA80D}" dt="2021-05-24T16:09:29.221" v="17173" actId="790"/>
          <ac:spMkLst>
            <pc:docMk/>
            <pc:sldMk cId="1145535110" sldId="3258"/>
            <ac:spMk id="34" creationId="{70795E82-5EEA-4DFB-A8D1-D6552FDE0A10}"/>
          </ac:spMkLst>
        </pc:spChg>
        <pc:spChg chg="mod">
          <ac:chgData name="Sarah GAUVARD" userId="4c03e191-e154-482a-88b2-11de19eac96c" providerId="ADAL" clId="{8245CC27-65FB-483E-B8E7-D04039DBA80D}" dt="2021-05-24T16:09:29.221" v="17174" actId="790"/>
          <ac:spMkLst>
            <pc:docMk/>
            <pc:sldMk cId="1145535110" sldId="3258"/>
            <ac:spMk id="35" creationId="{5D0765C0-1EFD-4AF1-BC9F-AB9F7015C9A6}"/>
          </ac:spMkLst>
        </pc:spChg>
        <pc:spChg chg="mod">
          <ac:chgData name="Sarah GAUVARD" userId="4c03e191-e154-482a-88b2-11de19eac96c" providerId="ADAL" clId="{8245CC27-65FB-483E-B8E7-D04039DBA80D}" dt="2021-05-24T16:09:29.211" v="17169" actId="790"/>
          <ac:spMkLst>
            <pc:docMk/>
            <pc:sldMk cId="1145535110" sldId="3258"/>
            <ac:spMk id="36" creationId="{941C059C-05F2-4579-8A10-7E2BEF493678}"/>
          </ac:spMkLst>
        </pc:spChg>
        <pc:spChg chg="mod">
          <ac:chgData name="Sarah GAUVARD" userId="4c03e191-e154-482a-88b2-11de19eac96c" providerId="ADAL" clId="{8245CC27-65FB-483E-B8E7-D04039DBA80D}" dt="2021-05-24T16:09:29.221" v="17175" actId="790"/>
          <ac:spMkLst>
            <pc:docMk/>
            <pc:sldMk cId="1145535110" sldId="3258"/>
            <ac:spMk id="37" creationId="{BD0ECFF5-0F14-4767-AF81-94BD1CC69CDF}"/>
          </ac:spMkLst>
        </pc:spChg>
        <pc:spChg chg="mod">
          <ac:chgData name="Sarah GAUVARD" userId="4c03e191-e154-482a-88b2-11de19eac96c" providerId="ADAL" clId="{8245CC27-65FB-483E-B8E7-D04039DBA80D}" dt="2021-05-24T16:09:29.211" v="17170" actId="790"/>
          <ac:spMkLst>
            <pc:docMk/>
            <pc:sldMk cId="1145535110" sldId="3258"/>
            <ac:spMk id="39" creationId="{3A88A2FA-FD49-4AEB-8EDF-9D840E609CC9}"/>
          </ac:spMkLst>
        </pc:spChg>
        <pc:spChg chg="mod">
          <ac:chgData name="Sarah GAUVARD" userId="4c03e191-e154-482a-88b2-11de19eac96c" providerId="ADAL" clId="{8245CC27-65FB-483E-B8E7-D04039DBA80D}" dt="2021-05-24T15:34:40.664" v="8826" actId="790"/>
          <ac:spMkLst>
            <pc:docMk/>
            <pc:sldMk cId="1145535110" sldId="3258"/>
            <ac:spMk id="40" creationId="{60EEC324-686F-4C2B-9A86-1FD757E7F20F}"/>
          </ac:spMkLst>
        </pc:spChg>
        <pc:spChg chg="mod">
          <ac:chgData name="Sarah GAUVARD" userId="4c03e191-e154-482a-88b2-11de19eac96c" providerId="ADAL" clId="{8245CC27-65FB-483E-B8E7-D04039DBA80D}" dt="2021-05-24T16:09:29.211" v="17167" actId="790"/>
          <ac:spMkLst>
            <pc:docMk/>
            <pc:sldMk cId="1145535110" sldId="3258"/>
            <ac:spMk id="47" creationId="{EBC4C7DB-908D-4F75-846A-4CC4964C350B}"/>
          </ac:spMkLst>
        </pc:spChg>
      </pc:sldChg>
      <pc:sldChg chg="addSp delSp modSp mod">
        <pc:chgData name="Sarah GAUVARD" userId="4c03e191-e154-482a-88b2-11de19eac96c" providerId="ADAL" clId="{8245CC27-65FB-483E-B8E7-D04039DBA80D}" dt="2021-05-25T07:49:38.182" v="17630" actId="20577"/>
        <pc:sldMkLst>
          <pc:docMk/>
          <pc:sldMk cId="3373602861" sldId="3299"/>
        </pc:sldMkLst>
        <pc:spChg chg="mod">
          <ac:chgData name="Sarah GAUVARD" userId="4c03e191-e154-482a-88b2-11de19eac96c" providerId="ADAL" clId="{8245CC27-65FB-483E-B8E7-D04039DBA80D}" dt="2021-05-24T16:09:29.878" v="17330" actId="948"/>
          <ac:spMkLst>
            <pc:docMk/>
            <pc:sldMk cId="3373602861" sldId="3299"/>
            <ac:spMk id="2" creationId="{19860918-02BB-4ABE-984B-2BA0F4561729}"/>
          </ac:spMkLst>
        </pc:spChg>
        <pc:spChg chg="mod">
          <ac:chgData name="Sarah GAUVARD" userId="4c03e191-e154-482a-88b2-11de19eac96c" providerId="ADAL" clId="{8245CC27-65FB-483E-B8E7-D04039DBA80D}" dt="2021-05-24T16:09:29.201" v="17159" actId="790"/>
          <ac:spMkLst>
            <pc:docMk/>
            <pc:sldMk cId="3373602861" sldId="3299"/>
            <ac:spMk id="3" creationId="{D89B1EA2-9A1E-46B5-9691-826CA66E7EB9}"/>
          </ac:spMkLst>
        </pc:spChg>
        <pc:spChg chg="add del mod modVis">
          <ac:chgData name="Sarah GAUVARD" userId="4c03e191-e154-482a-88b2-11de19eac96c" providerId="ADAL" clId="{8245CC27-65FB-483E-B8E7-D04039DBA80D}" dt="2021-05-24T15:34:45.998" v="11826"/>
          <ac:spMkLst>
            <pc:docMk/>
            <pc:sldMk cId="3373602861" sldId="3299"/>
            <ac:spMk id="4" creationId="{7DD5E355-37EE-42D7-AE46-E2932D87B242}"/>
          </ac:spMkLst>
        </pc:spChg>
        <pc:spChg chg="add del mod modVis">
          <ac:chgData name="Sarah GAUVARD" userId="4c03e191-e154-482a-88b2-11de19eac96c" providerId="ADAL" clId="{8245CC27-65FB-483E-B8E7-D04039DBA80D}" dt="2021-05-24T16:09:30.031" v="17467"/>
          <ac:spMkLst>
            <pc:docMk/>
            <pc:sldMk cId="3373602861" sldId="3299"/>
            <ac:spMk id="5" creationId="{9128D53B-024C-4F7F-80C1-5D9BF957F579}"/>
          </ac:spMkLst>
        </pc:spChg>
        <pc:spChg chg="mod">
          <ac:chgData name="Sarah GAUVARD" userId="4c03e191-e154-482a-88b2-11de19eac96c" providerId="ADAL" clId="{8245CC27-65FB-483E-B8E7-D04039DBA80D}" dt="2021-05-25T07:49:38.182" v="17630" actId="20577"/>
          <ac:spMkLst>
            <pc:docMk/>
            <pc:sldMk cId="3373602861" sldId="3299"/>
            <ac:spMk id="17" creationId="{3F4907E7-37BE-4491-B639-834E50ACF79E}"/>
          </ac:spMkLst>
        </pc:spChg>
        <pc:spChg chg="mod">
          <ac:chgData name="Sarah GAUVARD" userId="4c03e191-e154-482a-88b2-11de19eac96c" providerId="ADAL" clId="{8245CC27-65FB-483E-B8E7-D04039DBA80D}" dt="2021-05-24T16:09:29.199" v="17157" actId="790"/>
          <ac:spMkLst>
            <pc:docMk/>
            <pc:sldMk cId="3373602861" sldId="3299"/>
            <ac:spMk id="22" creationId="{9FE15905-4FBF-4911-B6E6-69CDE2379AC8}"/>
          </ac:spMkLst>
        </pc:spChg>
        <pc:spChg chg="mod">
          <ac:chgData name="Sarah GAUVARD" userId="4c03e191-e154-482a-88b2-11de19eac96c" providerId="ADAL" clId="{8245CC27-65FB-483E-B8E7-D04039DBA80D}" dt="2021-05-24T16:09:29.201" v="17160" actId="790"/>
          <ac:spMkLst>
            <pc:docMk/>
            <pc:sldMk cId="3373602861" sldId="3299"/>
            <ac:spMk id="24" creationId="{7D54FA88-D181-465E-A244-F9B65464DF26}"/>
          </ac:spMkLst>
        </pc:spChg>
        <pc:spChg chg="mod">
          <ac:chgData name="Sarah GAUVARD" userId="4c03e191-e154-482a-88b2-11de19eac96c" providerId="ADAL" clId="{8245CC27-65FB-483E-B8E7-D04039DBA80D}" dt="2021-05-24T16:09:29.201" v="17161" actId="790"/>
          <ac:spMkLst>
            <pc:docMk/>
            <pc:sldMk cId="3373602861" sldId="3299"/>
            <ac:spMk id="25" creationId="{C3A7A9B0-1BCD-46E4-912A-985D51725EB7}"/>
          </ac:spMkLst>
        </pc:spChg>
        <pc:spChg chg="mod">
          <ac:chgData name="Sarah GAUVARD" userId="4c03e191-e154-482a-88b2-11de19eac96c" providerId="ADAL" clId="{8245CC27-65FB-483E-B8E7-D04039DBA80D}" dt="2021-05-24T16:09:29.201" v="17162" actId="790"/>
          <ac:spMkLst>
            <pc:docMk/>
            <pc:sldMk cId="3373602861" sldId="3299"/>
            <ac:spMk id="26" creationId="{43D59B59-EF15-4D31-B688-6B9F8C2B903A}"/>
          </ac:spMkLst>
        </pc:spChg>
        <pc:spChg chg="mod">
          <ac:chgData name="Sarah GAUVARD" userId="4c03e191-e154-482a-88b2-11de19eac96c" providerId="ADAL" clId="{8245CC27-65FB-483E-B8E7-D04039DBA80D}" dt="2021-05-24T16:09:29.209" v="17163" actId="790"/>
          <ac:spMkLst>
            <pc:docMk/>
            <pc:sldMk cId="3373602861" sldId="3299"/>
            <ac:spMk id="27" creationId="{BF37DA15-3A13-4D49-834C-29A4068FD25C}"/>
          </ac:spMkLst>
        </pc:spChg>
        <pc:spChg chg="mod">
          <ac:chgData name="Sarah GAUVARD" userId="4c03e191-e154-482a-88b2-11de19eac96c" providerId="ADAL" clId="{8245CC27-65FB-483E-B8E7-D04039DBA80D}" dt="2021-05-24T16:09:29.209" v="17164" actId="790"/>
          <ac:spMkLst>
            <pc:docMk/>
            <pc:sldMk cId="3373602861" sldId="3299"/>
            <ac:spMk id="28" creationId="{332F554D-29A3-4032-A1DB-492350E20CB8}"/>
          </ac:spMkLst>
        </pc:spChg>
        <pc:spChg chg="mod">
          <ac:chgData name="Sarah GAUVARD" userId="4c03e191-e154-482a-88b2-11de19eac96c" providerId="ADAL" clId="{8245CC27-65FB-483E-B8E7-D04039DBA80D}" dt="2021-05-24T16:09:29.211" v="17165" actId="790"/>
          <ac:spMkLst>
            <pc:docMk/>
            <pc:sldMk cId="3373602861" sldId="3299"/>
            <ac:spMk id="29" creationId="{9F302533-68A2-42B3-8D0B-4DC3B13ED3A2}"/>
          </ac:spMkLst>
        </pc:spChg>
        <pc:spChg chg="mod">
          <ac:chgData name="Sarah GAUVARD" userId="4c03e191-e154-482a-88b2-11de19eac96c" providerId="ADAL" clId="{8245CC27-65FB-483E-B8E7-D04039DBA80D}" dt="2021-05-24T16:09:29.191" v="17156" actId="790"/>
          <ac:spMkLst>
            <pc:docMk/>
            <pc:sldMk cId="3373602861" sldId="3299"/>
            <ac:spMk id="47" creationId="{EBC4C7DB-908D-4F75-846A-4CC4964C350B}"/>
          </ac:spMkLst>
        </pc:spChg>
        <pc:spChg chg="mod">
          <ac:chgData name="Sarah GAUVARD" userId="4c03e191-e154-482a-88b2-11de19eac96c" providerId="ADAL" clId="{8245CC27-65FB-483E-B8E7-D04039DBA80D}" dt="2021-05-24T16:09:29.189" v="17155" actId="790"/>
          <ac:spMkLst>
            <pc:docMk/>
            <pc:sldMk cId="3373602861" sldId="3299"/>
            <ac:spMk id="117" creationId="{75A5BA58-45AB-4047-9BC1-E3390F6144BC}"/>
          </ac:spMkLst>
        </pc:spChg>
        <pc:graphicFrameChg chg="mod">
          <ac:chgData name="Sarah GAUVARD" userId="4c03e191-e154-482a-88b2-11de19eac96c" providerId="ADAL" clId="{8245CC27-65FB-483E-B8E7-D04039DBA80D}" dt="2021-05-24T16:09:30.031" v="17469"/>
          <ac:graphicFrameMkLst>
            <pc:docMk/>
            <pc:sldMk cId="3373602861" sldId="3299"/>
            <ac:graphicFrameMk id="74" creationId="{13F87AA8-9D06-4BBE-A4EF-68B245D429DA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471" v="15485" actId="790"/>
        <pc:sldMkLst>
          <pc:docMk/>
          <pc:sldMk cId="3054245272" sldId="3325"/>
        </pc:sldMkLst>
        <pc:spChg chg="mod">
          <ac:chgData name="Sarah GAUVARD" userId="4c03e191-e154-482a-88b2-11de19eac96c" providerId="ADAL" clId="{8245CC27-65FB-483E-B8E7-D04039DBA80D}" dt="2021-05-24T16:09:27.469" v="15482" actId="790"/>
          <ac:spMkLst>
            <pc:docMk/>
            <pc:sldMk cId="3054245272" sldId="3325"/>
            <ac:spMk id="3" creationId="{E18A7763-3DD3-4E54-8C3B-074DC3E19FE3}"/>
          </ac:spMkLst>
        </pc:spChg>
        <pc:spChg chg="add del mod modVis">
          <ac:chgData name="Sarah GAUVARD" userId="4c03e191-e154-482a-88b2-11de19eac96c" providerId="ADAL" clId="{8245CC27-65FB-483E-B8E7-D04039DBA80D}" dt="2021-05-24T15:34:46.423" v="12051"/>
          <ac:spMkLst>
            <pc:docMk/>
            <pc:sldMk cId="3054245272" sldId="3325"/>
            <ac:spMk id="4" creationId="{B97D1FF9-DAE2-4BCE-8C40-0813FF9C1837}"/>
          </ac:spMkLst>
        </pc:spChg>
        <pc:spChg chg="mod">
          <ac:chgData name="Sarah GAUVARD" userId="4c03e191-e154-482a-88b2-11de19eac96c" providerId="ADAL" clId="{8245CC27-65FB-483E-B8E7-D04039DBA80D}" dt="2021-05-24T16:09:27.461" v="15481" actId="790"/>
          <ac:spMkLst>
            <pc:docMk/>
            <pc:sldMk cId="3054245272" sldId="3325"/>
            <ac:spMk id="13" creationId="{749F130D-16E1-4876-A365-025D47DFF6A7}"/>
          </ac:spMkLst>
        </pc:spChg>
        <pc:spChg chg="mod">
          <ac:chgData name="Sarah GAUVARD" userId="4c03e191-e154-482a-88b2-11de19eac96c" providerId="ADAL" clId="{8245CC27-65FB-483E-B8E7-D04039DBA80D}" dt="2021-05-24T16:09:27.461" v="15476" actId="790"/>
          <ac:spMkLst>
            <pc:docMk/>
            <pc:sldMk cId="3054245272" sldId="3325"/>
            <ac:spMk id="15" creationId="{086B2770-5475-4364-AF85-9809947DC484}"/>
          </ac:spMkLst>
        </pc:spChg>
        <pc:spChg chg="mod">
          <ac:chgData name="Sarah GAUVARD" userId="4c03e191-e154-482a-88b2-11de19eac96c" providerId="ADAL" clId="{8245CC27-65FB-483E-B8E7-D04039DBA80D}" dt="2021-05-24T16:09:27.461" v="15477" actId="790"/>
          <ac:spMkLst>
            <pc:docMk/>
            <pc:sldMk cId="3054245272" sldId="3325"/>
            <ac:spMk id="19" creationId="{BDC2B084-592F-46E9-8246-39FD167B518A}"/>
          </ac:spMkLst>
        </pc:spChg>
        <pc:spChg chg="mod">
          <ac:chgData name="Sarah GAUVARD" userId="4c03e191-e154-482a-88b2-11de19eac96c" providerId="ADAL" clId="{8245CC27-65FB-483E-B8E7-D04039DBA80D}" dt="2021-05-24T16:09:27.461" v="15478" actId="790"/>
          <ac:spMkLst>
            <pc:docMk/>
            <pc:sldMk cId="3054245272" sldId="3325"/>
            <ac:spMk id="20" creationId="{1CD596D9-B723-4E7B-8916-56EF96EBB64B}"/>
          </ac:spMkLst>
        </pc:spChg>
        <pc:spChg chg="mod">
          <ac:chgData name="Sarah GAUVARD" userId="4c03e191-e154-482a-88b2-11de19eac96c" providerId="ADAL" clId="{8245CC27-65FB-483E-B8E7-D04039DBA80D}" dt="2021-05-24T16:09:27.461" v="15479" actId="790"/>
          <ac:spMkLst>
            <pc:docMk/>
            <pc:sldMk cId="3054245272" sldId="3325"/>
            <ac:spMk id="21" creationId="{C5AE8029-DDC7-41B7-A974-A7618CC7F26B}"/>
          </ac:spMkLst>
        </pc:spChg>
        <pc:spChg chg="mod">
          <ac:chgData name="Sarah GAUVARD" userId="4c03e191-e154-482a-88b2-11de19eac96c" providerId="ADAL" clId="{8245CC27-65FB-483E-B8E7-D04039DBA80D}" dt="2021-05-24T16:09:27.461" v="15480" actId="790"/>
          <ac:spMkLst>
            <pc:docMk/>
            <pc:sldMk cId="3054245272" sldId="3325"/>
            <ac:spMk id="22" creationId="{DF94097D-297A-4D7C-8B3C-E3C3A9C4366D}"/>
          </ac:spMkLst>
        </pc:spChg>
        <pc:spChg chg="mod">
          <ac:chgData name="Sarah GAUVARD" userId="4c03e191-e154-482a-88b2-11de19eac96c" providerId="ADAL" clId="{8245CC27-65FB-483E-B8E7-D04039DBA80D}" dt="2021-05-24T16:09:27.469" v="15483" actId="790"/>
          <ac:spMkLst>
            <pc:docMk/>
            <pc:sldMk cId="3054245272" sldId="3325"/>
            <ac:spMk id="24" creationId="{563E6E46-1F87-4BDB-8C6E-C5790B0A6EFD}"/>
          </ac:spMkLst>
        </pc:spChg>
        <pc:spChg chg="mod">
          <ac:chgData name="Sarah GAUVARD" userId="4c03e191-e154-482a-88b2-11de19eac96c" providerId="ADAL" clId="{8245CC27-65FB-483E-B8E7-D04039DBA80D}" dt="2021-05-24T16:09:27.461" v="15474" actId="790"/>
          <ac:spMkLst>
            <pc:docMk/>
            <pc:sldMk cId="3054245272" sldId="3325"/>
            <ac:spMk id="25" creationId="{E55CF477-BA9F-4C92-B72A-DBEBC94B279B}"/>
          </ac:spMkLst>
        </pc:spChg>
        <pc:spChg chg="mod">
          <ac:chgData name="Sarah GAUVARD" userId="4c03e191-e154-482a-88b2-11de19eac96c" providerId="ADAL" clId="{8245CC27-65FB-483E-B8E7-D04039DBA80D}" dt="2021-05-24T16:09:27.471" v="15484" actId="790"/>
          <ac:spMkLst>
            <pc:docMk/>
            <pc:sldMk cId="3054245272" sldId="3325"/>
            <ac:spMk id="26" creationId="{04CB1C86-27A0-4200-A026-49D98629F33A}"/>
          </ac:spMkLst>
        </pc:spChg>
        <pc:spChg chg="mod">
          <ac:chgData name="Sarah GAUVARD" userId="4c03e191-e154-482a-88b2-11de19eac96c" providerId="ADAL" clId="{8245CC27-65FB-483E-B8E7-D04039DBA80D}" dt="2021-05-24T16:09:27.471" v="15485" actId="790"/>
          <ac:spMkLst>
            <pc:docMk/>
            <pc:sldMk cId="3054245272" sldId="3325"/>
            <ac:spMk id="27" creationId="{7C19083B-2243-45AC-95E0-9D58191ECFC8}"/>
          </ac:spMkLst>
        </pc:spChg>
        <pc:spChg chg="mod">
          <ac:chgData name="Sarah GAUVARD" userId="4c03e191-e154-482a-88b2-11de19eac96c" providerId="ADAL" clId="{8245CC27-65FB-483E-B8E7-D04039DBA80D}" dt="2021-05-24T16:09:27.461" v="15475" actId="790"/>
          <ac:spMkLst>
            <pc:docMk/>
            <pc:sldMk cId="3054245272" sldId="3325"/>
            <ac:spMk id="28" creationId="{83610AF3-8C67-41E4-AD1B-36F5063C2F70}"/>
          </ac:spMkLst>
        </pc:spChg>
        <pc:graphicFrameChg chg="mod">
          <ac:chgData name="Sarah GAUVARD" userId="4c03e191-e154-482a-88b2-11de19eac96c" providerId="ADAL" clId="{8245CC27-65FB-483E-B8E7-D04039DBA80D}" dt="2021-05-24T15:34:46.427" v="12053"/>
          <ac:graphicFrameMkLst>
            <pc:docMk/>
            <pc:sldMk cId="3054245272" sldId="3325"/>
            <ac:graphicFrameMk id="74" creationId="{13F87AA8-9D06-4BBE-A4EF-68B245D429DA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4T15:34:40.750" v="8869" actId="790"/>
        <pc:sldMkLst>
          <pc:docMk/>
          <pc:sldMk cId="3032523239" sldId="3376"/>
        </pc:sldMkLst>
        <pc:spChg chg="mod">
          <ac:chgData name="Sarah GAUVARD" userId="4c03e191-e154-482a-88b2-11de19eac96c" providerId="ADAL" clId="{8245CC27-65FB-483E-B8E7-D04039DBA80D}" dt="2021-05-24T15:34:40.731" v="8862" actId="790"/>
          <ac:spMkLst>
            <pc:docMk/>
            <pc:sldMk cId="3032523239" sldId="3376"/>
            <ac:spMk id="7" creationId="{249ECC30-4091-4186-A7DB-11A971BDA541}"/>
          </ac:spMkLst>
        </pc:spChg>
        <pc:spChg chg="mod">
          <ac:chgData name="Sarah GAUVARD" userId="4c03e191-e154-482a-88b2-11de19eac96c" providerId="ADAL" clId="{8245CC27-65FB-483E-B8E7-D04039DBA80D}" dt="2021-05-24T15:34:40.750" v="8869" actId="790"/>
          <ac:spMkLst>
            <pc:docMk/>
            <pc:sldMk cId="3032523239" sldId="3376"/>
            <ac:spMk id="18" creationId="{EF564D1C-1969-4BF9-B9AA-B40A39E6C0AC}"/>
          </ac:spMkLst>
        </pc:spChg>
        <pc:spChg chg="mod">
          <ac:chgData name="Sarah GAUVARD" userId="4c03e191-e154-482a-88b2-11de19eac96c" providerId="ADAL" clId="{8245CC27-65FB-483E-B8E7-D04039DBA80D}" dt="2021-05-24T15:34:40.749" v="8868" actId="790"/>
          <ac:spMkLst>
            <pc:docMk/>
            <pc:sldMk cId="3032523239" sldId="3376"/>
            <ac:spMk id="22" creationId="{D6B29344-7F20-42A7-870F-A9F6648DBFFD}"/>
          </ac:spMkLst>
        </pc:spChg>
        <pc:spChg chg="mod">
          <ac:chgData name="Sarah GAUVARD" userId="4c03e191-e154-482a-88b2-11de19eac96c" providerId="ADAL" clId="{8245CC27-65FB-483E-B8E7-D04039DBA80D}" dt="2021-05-24T15:34:40.746" v="8866" actId="790"/>
          <ac:spMkLst>
            <pc:docMk/>
            <pc:sldMk cId="3032523239" sldId="3376"/>
            <ac:spMk id="35" creationId="{661824DB-9676-45AE-BC8E-0A68FC5DB894}"/>
          </ac:spMkLst>
        </pc:spChg>
        <pc:spChg chg="mod">
          <ac:chgData name="Sarah GAUVARD" userId="4c03e191-e154-482a-88b2-11de19eac96c" providerId="ADAL" clId="{8245CC27-65FB-483E-B8E7-D04039DBA80D}" dt="2021-05-24T15:34:40.747" v="8867" actId="790"/>
          <ac:spMkLst>
            <pc:docMk/>
            <pc:sldMk cId="3032523239" sldId="3376"/>
            <ac:spMk id="37" creationId="{2D47EA31-D80A-42B5-8052-28C0224A9C48}"/>
          </ac:spMkLst>
        </pc:spChg>
        <pc:spChg chg="mod">
          <ac:chgData name="Sarah GAUVARD" userId="4c03e191-e154-482a-88b2-11de19eac96c" providerId="ADAL" clId="{8245CC27-65FB-483E-B8E7-D04039DBA80D}" dt="2021-05-24T15:34:40.736" v="8863" actId="790"/>
          <ac:spMkLst>
            <pc:docMk/>
            <pc:sldMk cId="3032523239" sldId="3376"/>
            <ac:spMk id="39" creationId="{D1E92CC9-5E3D-498B-9A2A-EAD16D7E172E}"/>
          </ac:spMkLst>
        </pc:spChg>
        <pc:spChg chg="mod">
          <ac:chgData name="Sarah GAUVARD" userId="4c03e191-e154-482a-88b2-11de19eac96c" providerId="ADAL" clId="{8245CC27-65FB-483E-B8E7-D04039DBA80D}" dt="2021-05-24T15:34:40.727" v="8859" actId="790"/>
          <ac:spMkLst>
            <pc:docMk/>
            <pc:sldMk cId="3032523239" sldId="3376"/>
            <ac:spMk id="40" creationId="{60EEC324-686F-4C2B-9A86-1FD757E7F20F}"/>
          </ac:spMkLst>
        </pc:spChg>
        <pc:spChg chg="mod">
          <ac:chgData name="Sarah GAUVARD" userId="4c03e191-e154-482a-88b2-11de19eac96c" providerId="ADAL" clId="{8245CC27-65FB-483E-B8E7-D04039DBA80D}" dt="2021-05-24T15:34:40.728" v="8860" actId="790"/>
          <ac:spMkLst>
            <pc:docMk/>
            <pc:sldMk cId="3032523239" sldId="3376"/>
            <ac:spMk id="41" creationId="{6D8FCCD4-2F77-45E9-9A16-B87F84493FF2}"/>
          </ac:spMkLst>
        </pc:spChg>
        <pc:spChg chg="mod">
          <ac:chgData name="Sarah GAUVARD" userId="4c03e191-e154-482a-88b2-11de19eac96c" providerId="ADAL" clId="{8245CC27-65FB-483E-B8E7-D04039DBA80D}" dt="2021-05-24T15:34:40.737" v="8864" actId="790"/>
          <ac:spMkLst>
            <pc:docMk/>
            <pc:sldMk cId="3032523239" sldId="3376"/>
            <ac:spMk id="43" creationId="{314B51BA-FDF8-4439-A488-8445EF6BEFA8}"/>
          </ac:spMkLst>
        </pc:spChg>
        <pc:spChg chg="mod">
          <ac:chgData name="Sarah GAUVARD" userId="4c03e191-e154-482a-88b2-11de19eac96c" providerId="ADAL" clId="{8245CC27-65FB-483E-B8E7-D04039DBA80D}" dt="2021-05-24T15:34:40.741" v="8865" actId="790"/>
          <ac:spMkLst>
            <pc:docMk/>
            <pc:sldMk cId="3032523239" sldId="3376"/>
            <ac:spMk id="44" creationId="{1C1B52EE-AA7D-4AE9-82AE-4706CE867919}"/>
          </ac:spMkLst>
        </pc:spChg>
        <pc:spChg chg="mod">
          <ac:chgData name="Sarah GAUVARD" userId="4c03e191-e154-482a-88b2-11de19eac96c" providerId="ADAL" clId="{8245CC27-65FB-483E-B8E7-D04039DBA80D}" dt="2021-05-24T15:34:40.730" v="8861" actId="790"/>
          <ac:spMkLst>
            <pc:docMk/>
            <pc:sldMk cId="3032523239" sldId="3376"/>
            <ac:spMk id="47" creationId="{EBC4C7DB-908D-4F75-846A-4CC4964C350B}"/>
          </ac:spMkLst>
        </pc:spChg>
      </pc:sldChg>
      <pc:sldChg chg="addSp delSp modSp mod">
        <pc:chgData name="Sarah GAUVARD" userId="4c03e191-e154-482a-88b2-11de19eac96c" providerId="ADAL" clId="{8245CC27-65FB-483E-B8E7-D04039DBA80D}" dt="2021-05-24T16:09:27.421" v="15425" actId="790"/>
        <pc:sldMkLst>
          <pc:docMk/>
          <pc:sldMk cId="3048354914" sldId="3451"/>
        </pc:sldMkLst>
        <pc:spChg chg="mod">
          <ac:chgData name="Sarah GAUVARD" userId="4c03e191-e154-482a-88b2-11de19eac96c" providerId="ADAL" clId="{8245CC27-65FB-483E-B8E7-D04039DBA80D}" dt="2021-05-24T16:09:27.411" v="15412" actId="790"/>
          <ac:spMkLst>
            <pc:docMk/>
            <pc:sldMk cId="3048354914" sldId="3451"/>
            <ac:spMk id="2" creationId="{F3FE1D1C-DE9F-4520-BCCE-A563D9130FE3}"/>
          </ac:spMkLst>
        </pc:spChg>
        <pc:spChg chg="mod">
          <ac:chgData name="Sarah GAUVARD" userId="4c03e191-e154-482a-88b2-11de19eac96c" providerId="ADAL" clId="{8245CC27-65FB-483E-B8E7-D04039DBA80D}" dt="2021-05-24T16:09:27.411" v="15413" actId="790"/>
          <ac:spMkLst>
            <pc:docMk/>
            <pc:sldMk cId="3048354914" sldId="3451"/>
            <ac:spMk id="3" creationId="{9C0D73B0-FD73-4C93-AADD-0F48F14A97D5}"/>
          </ac:spMkLst>
        </pc:spChg>
        <pc:spChg chg="add del mod modVis">
          <ac:chgData name="Sarah GAUVARD" userId="4c03e191-e154-482a-88b2-11de19eac96c" providerId="ADAL" clId="{8245CC27-65FB-483E-B8E7-D04039DBA80D}" dt="2021-05-24T15:34:46.340" v="12016"/>
          <ac:spMkLst>
            <pc:docMk/>
            <pc:sldMk cId="3048354914" sldId="3451"/>
            <ac:spMk id="4" creationId="{A93AEF0D-0B20-4385-B291-C4BADD71FAC2}"/>
          </ac:spMkLst>
        </pc:spChg>
        <pc:spChg chg="mod">
          <ac:chgData name="Sarah GAUVARD" userId="4c03e191-e154-482a-88b2-11de19eac96c" providerId="ADAL" clId="{8245CC27-65FB-483E-B8E7-D04039DBA80D}" dt="2021-05-24T16:09:27.411" v="15414" actId="790"/>
          <ac:spMkLst>
            <pc:docMk/>
            <pc:sldMk cId="3048354914" sldId="3451"/>
            <ac:spMk id="5" creationId="{C2211D1B-D86D-4EF5-B202-69A0FA56B98B}"/>
          </ac:spMkLst>
        </pc:spChg>
        <pc:spChg chg="mod">
          <ac:chgData name="Sarah GAUVARD" userId="4c03e191-e154-482a-88b2-11de19eac96c" providerId="ADAL" clId="{8245CC27-65FB-483E-B8E7-D04039DBA80D}" dt="2021-05-24T16:09:27.419" v="15418" actId="790"/>
          <ac:spMkLst>
            <pc:docMk/>
            <pc:sldMk cId="3048354914" sldId="3451"/>
            <ac:spMk id="7" creationId="{F59BFDDC-63FF-4CDF-9FA9-5814668C648B}"/>
          </ac:spMkLst>
        </pc:spChg>
        <pc:spChg chg="mod">
          <ac:chgData name="Sarah GAUVARD" userId="4c03e191-e154-482a-88b2-11de19eac96c" providerId="ADAL" clId="{8245CC27-65FB-483E-B8E7-D04039DBA80D}" dt="2021-05-24T16:09:27.411" v="15417" actId="790"/>
          <ac:spMkLst>
            <pc:docMk/>
            <pc:sldMk cId="3048354914" sldId="3451"/>
            <ac:spMk id="22" creationId="{915D1B6E-612E-40C3-AAAD-AD7DCE1807AA}"/>
          </ac:spMkLst>
        </pc:spChg>
        <pc:spChg chg="mod">
          <ac:chgData name="Sarah GAUVARD" userId="4c03e191-e154-482a-88b2-11de19eac96c" providerId="ADAL" clId="{8245CC27-65FB-483E-B8E7-D04039DBA80D}" dt="2021-05-24T16:09:27.411" v="15410" actId="790"/>
          <ac:spMkLst>
            <pc:docMk/>
            <pc:sldMk cId="3048354914" sldId="3451"/>
            <ac:spMk id="32" creationId="{2C2D77D3-1465-4C84-99C0-1C33D079A79E}"/>
          </ac:spMkLst>
        </pc:spChg>
        <pc:spChg chg="mod">
          <ac:chgData name="Sarah GAUVARD" userId="4c03e191-e154-482a-88b2-11de19eac96c" providerId="ADAL" clId="{8245CC27-65FB-483E-B8E7-D04039DBA80D}" dt="2021-05-24T16:09:27.411" v="15411" actId="790"/>
          <ac:spMkLst>
            <pc:docMk/>
            <pc:sldMk cId="3048354914" sldId="3451"/>
            <ac:spMk id="36" creationId="{DA7D41F2-6061-46E4-AB6E-49B571044BC4}"/>
          </ac:spMkLst>
        </pc:spChg>
        <pc:spChg chg="mod">
          <ac:chgData name="Sarah GAUVARD" userId="4c03e191-e154-482a-88b2-11de19eac96c" providerId="ADAL" clId="{8245CC27-65FB-483E-B8E7-D04039DBA80D}" dt="2021-05-24T16:09:27.411" v="15415" actId="790"/>
          <ac:spMkLst>
            <pc:docMk/>
            <pc:sldMk cId="3048354914" sldId="3451"/>
            <ac:spMk id="37" creationId="{1B0F6DBA-9DDA-4219-ABBF-2A111A6DC023}"/>
          </ac:spMkLst>
        </pc:spChg>
        <pc:spChg chg="mod">
          <ac:chgData name="Sarah GAUVARD" userId="4c03e191-e154-482a-88b2-11de19eac96c" providerId="ADAL" clId="{8245CC27-65FB-483E-B8E7-D04039DBA80D}" dt="2021-05-24T16:09:27.411" v="15416" actId="790"/>
          <ac:spMkLst>
            <pc:docMk/>
            <pc:sldMk cId="3048354914" sldId="3451"/>
            <ac:spMk id="39" creationId="{47BC833D-E5A8-48E7-A049-6D7BD4B70788}"/>
          </ac:spMkLst>
        </pc:spChg>
        <pc:spChg chg="mod">
          <ac:chgData name="Sarah GAUVARD" userId="4c03e191-e154-482a-88b2-11de19eac96c" providerId="ADAL" clId="{8245CC27-65FB-483E-B8E7-D04039DBA80D}" dt="2021-05-24T16:09:27.419" v="15419" actId="790"/>
          <ac:spMkLst>
            <pc:docMk/>
            <pc:sldMk cId="3048354914" sldId="3451"/>
            <ac:spMk id="49" creationId="{DE97F974-0523-4C7D-870F-FDE6B73F9F62}"/>
          </ac:spMkLst>
        </pc:spChg>
        <pc:spChg chg="mod">
          <ac:chgData name="Sarah GAUVARD" userId="4c03e191-e154-482a-88b2-11de19eac96c" providerId="ADAL" clId="{8245CC27-65FB-483E-B8E7-D04039DBA80D}" dt="2021-05-24T16:09:27.411" v="15409" actId="790"/>
          <ac:spMkLst>
            <pc:docMk/>
            <pc:sldMk cId="3048354914" sldId="3451"/>
            <ac:spMk id="50" creationId="{D79806CD-0EE1-44AF-A4A4-8DE1548322B3}"/>
          </ac:spMkLst>
        </pc:spChg>
        <pc:spChg chg="mod">
          <ac:chgData name="Sarah GAUVARD" userId="4c03e191-e154-482a-88b2-11de19eac96c" providerId="ADAL" clId="{8245CC27-65FB-483E-B8E7-D04039DBA80D}" dt="2021-05-24T16:09:27.419" v="15420" actId="790"/>
          <ac:spMkLst>
            <pc:docMk/>
            <pc:sldMk cId="3048354914" sldId="3451"/>
            <ac:spMk id="51" creationId="{EB30D8DB-A511-42DE-B11D-108FFEA94D64}"/>
          </ac:spMkLst>
        </pc:spChg>
        <pc:spChg chg="mod">
          <ac:chgData name="Sarah GAUVARD" userId="4c03e191-e154-482a-88b2-11de19eac96c" providerId="ADAL" clId="{8245CC27-65FB-483E-B8E7-D04039DBA80D}" dt="2021-05-24T16:09:27.421" v="15421" actId="790"/>
          <ac:spMkLst>
            <pc:docMk/>
            <pc:sldMk cId="3048354914" sldId="3451"/>
            <ac:spMk id="52" creationId="{C9D93F91-2B2E-4AFA-BA96-25C45E0CA12C}"/>
          </ac:spMkLst>
        </pc:spChg>
        <pc:spChg chg="mod">
          <ac:chgData name="Sarah GAUVARD" userId="4c03e191-e154-482a-88b2-11de19eac96c" providerId="ADAL" clId="{8245CC27-65FB-483E-B8E7-D04039DBA80D}" dt="2021-05-24T16:09:27.421" v="15422" actId="790"/>
          <ac:spMkLst>
            <pc:docMk/>
            <pc:sldMk cId="3048354914" sldId="3451"/>
            <ac:spMk id="56" creationId="{7AF36850-3C58-49B6-8D1E-D4C8EEB35F7A}"/>
          </ac:spMkLst>
        </pc:spChg>
        <pc:spChg chg="mod">
          <ac:chgData name="Sarah GAUVARD" userId="4c03e191-e154-482a-88b2-11de19eac96c" providerId="ADAL" clId="{8245CC27-65FB-483E-B8E7-D04039DBA80D}" dt="2021-05-24T16:09:27.421" v="15423" actId="790"/>
          <ac:spMkLst>
            <pc:docMk/>
            <pc:sldMk cId="3048354914" sldId="3451"/>
            <ac:spMk id="57" creationId="{D48142E4-6A00-4A4D-AF32-7C1E77B4F66F}"/>
          </ac:spMkLst>
        </pc:spChg>
        <pc:spChg chg="mod">
          <ac:chgData name="Sarah GAUVARD" userId="4c03e191-e154-482a-88b2-11de19eac96c" providerId="ADAL" clId="{8245CC27-65FB-483E-B8E7-D04039DBA80D}" dt="2021-05-24T16:09:27.421" v="15424" actId="790"/>
          <ac:spMkLst>
            <pc:docMk/>
            <pc:sldMk cId="3048354914" sldId="3451"/>
            <ac:spMk id="58" creationId="{B8ACAE6E-CA04-407B-B7DC-AA81B7A21A60}"/>
          </ac:spMkLst>
        </pc:spChg>
        <pc:spChg chg="mod">
          <ac:chgData name="Sarah GAUVARD" userId="4c03e191-e154-482a-88b2-11de19eac96c" providerId="ADAL" clId="{8245CC27-65FB-483E-B8E7-D04039DBA80D}" dt="2021-05-24T16:09:27.421" v="15425" actId="790"/>
          <ac:spMkLst>
            <pc:docMk/>
            <pc:sldMk cId="3048354914" sldId="3451"/>
            <ac:spMk id="59" creationId="{120C1439-48AB-4529-951F-D14737C54CED}"/>
          </ac:spMkLst>
        </pc:spChg>
        <pc:graphicFrameChg chg="mod">
          <ac:chgData name="Sarah GAUVARD" userId="4c03e191-e154-482a-88b2-11de19eac96c" providerId="ADAL" clId="{8245CC27-65FB-483E-B8E7-D04039DBA80D}" dt="2021-05-24T15:34:46.345" v="12018"/>
          <ac:graphicFrameMkLst>
            <pc:docMk/>
            <pc:sldMk cId="3048354914" sldId="3451"/>
            <ac:graphicFrameMk id="74" creationId="{13F87AA8-9D06-4BBE-A4EF-68B245D429DA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439" v="15445" actId="790"/>
        <pc:sldMkLst>
          <pc:docMk/>
          <pc:sldMk cId="3243773378" sldId="3452"/>
        </pc:sldMkLst>
        <pc:spChg chg="add del mod modVis">
          <ac:chgData name="Sarah GAUVARD" userId="4c03e191-e154-482a-88b2-11de19eac96c" providerId="ADAL" clId="{8245CC27-65FB-483E-B8E7-D04039DBA80D}" dt="2021-05-24T15:34:46.333" v="12012"/>
          <ac:spMkLst>
            <pc:docMk/>
            <pc:sldMk cId="3243773378" sldId="3452"/>
            <ac:spMk id="2" creationId="{BCC13C34-3EC9-4D3D-90FA-9F15F18D2066}"/>
          </ac:spMkLst>
        </pc:spChg>
        <pc:spChg chg="mod">
          <ac:chgData name="Sarah GAUVARD" userId="4c03e191-e154-482a-88b2-11de19eac96c" providerId="ADAL" clId="{8245CC27-65FB-483E-B8E7-D04039DBA80D}" dt="2021-05-24T16:09:27.431" v="15432" actId="790"/>
          <ac:spMkLst>
            <pc:docMk/>
            <pc:sldMk cId="3243773378" sldId="3452"/>
            <ac:spMk id="6" creationId="{8A6BC016-DE7F-4249-8E53-A6AE69FC9649}"/>
          </ac:spMkLst>
        </pc:spChg>
        <pc:spChg chg="mod">
          <ac:chgData name="Sarah GAUVARD" userId="4c03e191-e154-482a-88b2-11de19eac96c" providerId="ADAL" clId="{8245CC27-65FB-483E-B8E7-D04039DBA80D}" dt="2021-05-24T16:09:27.421" v="15426" actId="790"/>
          <ac:spMkLst>
            <pc:docMk/>
            <pc:sldMk cId="3243773378" sldId="3452"/>
            <ac:spMk id="7" creationId="{43D53965-2190-4359-ADAA-D09D5859663D}"/>
          </ac:spMkLst>
        </pc:spChg>
        <pc:spChg chg="mod">
          <ac:chgData name="Sarah GAUVARD" userId="4c03e191-e154-482a-88b2-11de19eac96c" providerId="ADAL" clId="{8245CC27-65FB-483E-B8E7-D04039DBA80D}" dt="2021-05-24T16:09:27.431" v="15433" actId="790"/>
          <ac:spMkLst>
            <pc:docMk/>
            <pc:sldMk cId="3243773378" sldId="3452"/>
            <ac:spMk id="8" creationId="{87650252-CCEE-456B-B996-679062FC9081}"/>
          </ac:spMkLst>
        </pc:spChg>
        <pc:spChg chg="mod">
          <ac:chgData name="Sarah GAUVARD" userId="4c03e191-e154-482a-88b2-11de19eac96c" providerId="ADAL" clId="{8245CC27-65FB-483E-B8E7-D04039DBA80D}" dt="2021-05-24T16:09:27.431" v="15435" actId="790"/>
          <ac:spMkLst>
            <pc:docMk/>
            <pc:sldMk cId="3243773378" sldId="3452"/>
            <ac:spMk id="35" creationId="{A1C4625F-BE8A-4105-99AA-E997F31DE530}"/>
          </ac:spMkLst>
        </pc:spChg>
        <pc:spChg chg="mod">
          <ac:chgData name="Sarah GAUVARD" userId="4c03e191-e154-482a-88b2-11de19eac96c" providerId="ADAL" clId="{8245CC27-65FB-483E-B8E7-D04039DBA80D}" dt="2021-05-24T16:09:27.431" v="15436" actId="790"/>
          <ac:spMkLst>
            <pc:docMk/>
            <pc:sldMk cId="3243773378" sldId="3452"/>
            <ac:spMk id="36" creationId="{3F6A24E4-439D-4E89-B6E8-79BB4685424A}"/>
          </ac:spMkLst>
        </pc:spChg>
        <pc:spChg chg="mod">
          <ac:chgData name="Sarah GAUVARD" userId="4c03e191-e154-482a-88b2-11de19eac96c" providerId="ADAL" clId="{8245CC27-65FB-483E-B8E7-D04039DBA80D}" dt="2021-05-24T16:09:27.431" v="15437" actId="790"/>
          <ac:spMkLst>
            <pc:docMk/>
            <pc:sldMk cId="3243773378" sldId="3452"/>
            <ac:spMk id="37" creationId="{B73C09EE-9F03-40A2-9E17-7D12FA1F99BA}"/>
          </ac:spMkLst>
        </pc:spChg>
        <pc:spChg chg="mod">
          <ac:chgData name="Sarah GAUVARD" userId="4c03e191-e154-482a-88b2-11de19eac96c" providerId="ADAL" clId="{8245CC27-65FB-483E-B8E7-D04039DBA80D}" dt="2021-05-24T16:09:27.431" v="15438" actId="790"/>
          <ac:spMkLst>
            <pc:docMk/>
            <pc:sldMk cId="3243773378" sldId="3452"/>
            <ac:spMk id="39" creationId="{E9624854-BD55-4DE5-A50F-27DEFD9E74D2}"/>
          </ac:spMkLst>
        </pc:spChg>
        <pc:spChg chg="mod">
          <ac:chgData name="Sarah GAUVARD" userId="4c03e191-e154-482a-88b2-11de19eac96c" providerId="ADAL" clId="{8245CC27-65FB-483E-B8E7-D04039DBA80D}" dt="2021-05-24T16:09:27.421" v="15428" actId="790"/>
          <ac:spMkLst>
            <pc:docMk/>
            <pc:sldMk cId="3243773378" sldId="3452"/>
            <ac:spMk id="43" creationId="{C59098D9-0448-41A3-80B1-67607E3A176B}"/>
          </ac:spMkLst>
        </pc:spChg>
        <pc:spChg chg="mod">
          <ac:chgData name="Sarah GAUVARD" userId="4c03e191-e154-482a-88b2-11de19eac96c" providerId="ADAL" clId="{8245CC27-65FB-483E-B8E7-D04039DBA80D}" dt="2021-05-24T16:09:27.421" v="15429" actId="790"/>
          <ac:spMkLst>
            <pc:docMk/>
            <pc:sldMk cId="3243773378" sldId="3452"/>
            <ac:spMk id="44" creationId="{2352FE8A-CC5D-4BE5-BB4F-07C6B7B42F70}"/>
          </ac:spMkLst>
        </pc:spChg>
        <pc:spChg chg="mod">
          <ac:chgData name="Sarah GAUVARD" userId="4c03e191-e154-482a-88b2-11de19eac96c" providerId="ADAL" clId="{8245CC27-65FB-483E-B8E7-D04039DBA80D}" dt="2021-05-24T16:09:27.429" v="15430" actId="790"/>
          <ac:spMkLst>
            <pc:docMk/>
            <pc:sldMk cId="3243773378" sldId="3452"/>
            <ac:spMk id="46" creationId="{28847972-12BB-4216-89A4-DDE26B8AB081}"/>
          </ac:spMkLst>
        </pc:spChg>
        <pc:spChg chg="mod">
          <ac:chgData name="Sarah GAUVARD" userId="4c03e191-e154-482a-88b2-11de19eac96c" providerId="ADAL" clId="{8245CC27-65FB-483E-B8E7-D04039DBA80D}" dt="2021-05-24T16:09:27.421" v="15427" actId="790"/>
          <ac:spMkLst>
            <pc:docMk/>
            <pc:sldMk cId="3243773378" sldId="3452"/>
            <ac:spMk id="47" creationId="{EBC4C7DB-908D-4F75-846A-4CC4964C350B}"/>
          </ac:spMkLst>
        </pc:spChg>
        <pc:spChg chg="mod">
          <ac:chgData name="Sarah GAUVARD" userId="4c03e191-e154-482a-88b2-11de19eac96c" providerId="ADAL" clId="{8245CC27-65FB-483E-B8E7-D04039DBA80D}" dt="2021-05-24T16:09:27.431" v="15431" actId="790"/>
          <ac:spMkLst>
            <pc:docMk/>
            <pc:sldMk cId="3243773378" sldId="3452"/>
            <ac:spMk id="48" creationId="{E839022F-C32B-4443-BD2B-55548EDF662F}"/>
          </ac:spMkLst>
        </pc:spChg>
        <pc:spChg chg="mod">
          <ac:chgData name="Sarah GAUVARD" userId="4c03e191-e154-482a-88b2-11de19eac96c" providerId="ADAL" clId="{8245CC27-65FB-483E-B8E7-D04039DBA80D}" dt="2021-05-24T16:09:27.431" v="15434" actId="790"/>
          <ac:spMkLst>
            <pc:docMk/>
            <pc:sldMk cId="3243773378" sldId="3452"/>
            <ac:spMk id="49" creationId="{C1E3E739-DB6B-4A98-9759-447C8B64A7E5}"/>
          </ac:spMkLst>
        </pc:spChg>
        <pc:spChg chg="mod">
          <ac:chgData name="Sarah GAUVARD" userId="4c03e191-e154-482a-88b2-11de19eac96c" providerId="ADAL" clId="{8245CC27-65FB-483E-B8E7-D04039DBA80D}" dt="2021-05-24T16:09:27.431" v="15439" actId="790"/>
          <ac:spMkLst>
            <pc:docMk/>
            <pc:sldMk cId="3243773378" sldId="3452"/>
            <ac:spMk id="57" creationId="{00881F96-4237-4C1E-8B1A-46911928DA8D}"/>
          </ac:spMkLst>
        </pc:spChg>
        <pc:spChg chg="mod">
          <ac:chgData name="Sarah GAUVARD" userId="4c03e191-e154-482a-88b2-11de19eac96c" providerId="ADAL" clId="{8245CC27-65FB-483E-B8E7-D04039DBA80D}" dt="2021-05-24T16:09:27.431" v="15440" actId="790"/>
          <ac:spMkLst>
            <pc:docMk/>
            <pc:sldMk cId="3243773378" sldId="3452"/>
            <ac:spMk id="58" creationId="{6528C45A-EA07-418C-B242-38B1E9036F50}"/>
          </ac:spMkLst>
        </pc:spChg>
        <pc:spChg chg="mod">
          <ac:chgData name="Sarah GAUVARD" userId="4c03e191-e154-482a-88b2-11de19eac96c" providerId="ADAL" clId="{8245CC27-65FB-483E-B8E7-D04039DBA80D}" dt="2021-05-24T16:09:27.431" v="15441" actId="790"/>
          <ac:spMkLst>
            <pc:docMk/>
            <pc:sldMk cId="3243773378" sldId="3452"/>
            <ac:spMk id="63" creationId="{23127A4B-1990-472B-869F-5A6583F531B1}"/>
          </ac:spMkLst>
        </pc:spChg>
        <pc:spChg chg="mod">
          <ac:chgData name="Sarah GAUVARD" userId="4c03e191-e154-482a-88b2-11de19eac96c" providerId="ADAL" clId="{8245CC27-65FB-483E-B8E7-D04039DBA80D}" dt="2021-05-24T16:09:27.431" v="15442" actId="790"/>
          <ac:spMkLst>
            <pc:docMk/>
            <pc:sldMk cId="3243773378" sldId="3452"/>
            <ac:spMk id="64" creationId="{32CE2654-BC40-49A6-B953-2954D1B1DCF4}"/>
          </ac:spMkLst>
        </pc:spChg>
        <pc:spChg chg="mod">
          <ac:chgData name="Sarah GAUVARD" userId="4c03e191-e154-482a-88b2-11de19eac96c" providerId="ADAL" clId="{8245CC27-65FB-483E-B8E7-D04039DBA80D}" dt="2021-05-24T16:09:27.431" v="15443" actId="790"/>
          <ac:spMkLst>
            <pc:docMk/>
            <pc:sldMk cId="3243773378" sldId="3452"/>
            <ac:spMk id="65" creationId="{34C42977-AA92-4C72-BEEA-53050A527D3B}"/>
          </ac:spMkLst>
        </pc:spChg>
        <pc:spChg chg="mod">
          <ac:chgData name="Sarah GAUVARD" userId="4c03e191-e154-482a-88b2-11de19eac96c" providerId="ADAL" clId="{8245CC27-65FB-483E-B8E7-D04039DBA80D}" dt="2021-05-24T16:09:27.439" v="15444" actId="790"/>
          <ac:spMkLst>
            <pc:docMk/>
            <pc:sldMk cId="3243773378" sldId="3452"/>
            <ac:spMk id="66" creationId="{874B6B7D-D021-4EC7-B34E-8D1FCE04B9CE}"/>
          </ac:spMkLst>
        </pc:spChg>
        <pc:spChg chg="mod">
          <ac:chgData name="Sarah GAUVARD" userId="4c03e191-e154-482a-88b2-11de19eac96c" providerId="ADAL" clId="{8245CC27-65FB-483E-B8E7-D04039DBA80D}" dt="2021-05-24T16:09:27.439" v="15445" actId="790"/>
          <ac:spMkLst>
            <pc:docMk/>
            <pc:sldMk cId="3243773378" sldId="3452"/>
            <ac:spMk id="67" creationId="{3CE5370D-87D7-468D-8B16-46C32D066558}"/>
          </ac:spMkLst>
        </pc:spChg>
        <pc:graphicFrameChg chg="mod">
          <ac:chgData name="Sarah GAUVARD" userId="4c03e191-e154-482a-88b2-11de19eac96c" providerId="ADAL" clId="{8245CC27-65FB-483E-B8E7-D04039DBA80D}" dt="2021-05-24T15:34:46.337" v="12014"/>
          <ac:graphicFrameMkLst>
            <pc:docMk/>
            <pc:sldMk cId="3243773378" sldId="3452"/>
            <ac:graphicFrameMk id="74" creationId="{13F87AA8-9D06-4BBE-A4EF-68B245D429DA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5T07:49:44.692" v="17632" actId="20577"/>
        <pc:sldMkLst>
          <pc:docMk/>
          <pc:sldMk cId="3115212104" sldId="3453"/>
        </pc:sldMkLst>
        <pc:spChg chg="mod">
          <ac:chgData name="Sarah GAUVARD" userId="4c03e191-e154-482a-88b2-11de19eac96c" providerId="ADAL" clId="{8245CC27-65FB-483E-B8E7-D04039DBA80D}" dt="2021-05-24T16:09:29.231" v="17181" actId="790"/>
          <ac:spMkLst>
            <pc:docMk/>
            <pc:sldMk cId="3115212104" sldId="3453"/>
            <ac:spMk id="7" creationId="{249ECC30-4091-4186-A7DB-11A971BDA541}"/>
          </ac:spMkLst>
        </pc:spChg>
        <pc:spChg chg="mod">
          <ac:chgData name="Sarah GAUVARD" userId="4c03e191-e154-482a-88b2-11de19eac96c" providerId="ADAL" clId="{8245CC27-65FB-483E-B8E7-D04039DBA80D}" dt="2021-05-25T07:49:44.692" v="17632" actId="20577"/>
          <ac:spMkLst>
            <pc:docMk/>
            <pc:sldMk cId="3115212104" sldId="3453"/>
            <ac:spMk id="16" creationId="{B6A8ADCE-7C46-45C6-AB47-5B1FD46DEF1E}"/>
          </ac:spMkLst>
        </pc:spChg>
        <pc:spChg chg="mod">
          <ac:chgData name="Sarah GAUVARD" userId="4c03e191-e154-482a-88b2-11de19eac96c" providerId="ADAL" clId="{8245CC27-65FB-483E-B8E7-D04039DBA80D}" dt="2021-05-24T15:34:40.725" v="8857" actId="790"/>
          <ac:spMkLst>
            <pc:docMk/>
            <pc:sldMk cId="3115212104" sldId="3453"/>
            <ac:spMk id="20" creationId="{1289F68E-3AEA-4024-A2D5-0927D0E414BC}"/>
          </ac:spMkLst>
        </pc:spChg>
        <pc:spChg chg="mod">
          <ac:chgData name="Sarah GAUVARD" userId="4c03e191-e154-482a-88b2-11de19eac96c" providerId="ADAL" clId="{8245CC27-65FB-483E-B8E7-D04039DBA80D}" dt="2021-05-24T16:09:29.231" v="17184" actId="790"/>
          <ac:spMkLst>
            <pc:docMk/>
            <pc:sldMk cId="3115212104" sldId="3453"/>
            <ac:spMk id="21" creationId="{E4A8A4B2-0BC6-4BE9-BCAC-768C42F3F400}"/>
          </ac:spMkLst>
        </pc:spChg>
        <pc:spChg chg="mod">
          <ac:chgData name="Sarah GAUVARD" userId="4c03e191-e154-482a-88b2-11de19eac96c" providerId="ADAL" clId="{8245CC27-65FB-483E-B8E7-D04039DBA80D}" dt="2021-05-24T16:09:29.231" v="17185" actId="790"/>
          <ac:spMkLst>
            <pc:docMk/>
            <pc:sldMk cId="3115212104" sldId="3453"/>
            <ac:spMk id="23" creationId="{C1C57AEC-5D04-4707-991B-83BF7BEB6EC3}"/>
          </ac:spMkLst>
        </pc:spChg>
        <pc:spChg chg="mod">
          <ac:chgData name="Sarah GAUVARD" userId="4c03e191-e154-482a-88b2-11de19eac96c" providerId="ADAL" clId="{8245CC27-65FB-483E-B8E7-D04039DBA80D}" dt="2021-05-24T16:09:29.231" v="17186" actId="790"/>
          <ac:spMkLst>
            <pc:docMk/>
            <pc:sldMk cId="3115212104" sldId="3453"/>
            <ac:spMk id="24" creationId="{EEAE2819-0901-4BB9-AC58-DCC02FFBE4E0}"/>
          </ac:spMkLst>
        </pc:spChg>
        <pc:spChg chg="mod">
          <ac:chgData name="Sarah GAUVARD" userId="4c03e191-e154-482a-88b2-11de19eac96c" providerId="ADAL" clId="{8245CC27-65FB-483E-B8E7-D04039DBA80D}" dt="2021-05-24T16:09:29.240" v="17187" actId="790"/>
          <ac:spMkLst>
            <pc:docMk/>
            <pc:sldMk cId="3115212104" sldId="3453"/>
            <ac:spMk id="26" creationId="{AA844280-6FCF-4E05-AAE5-74682CF8EDAA}"/>
          </ac:spMkLst>
        </pc:spChg>
        <pc:spChg chg="mod">
          <ac:chgData name="Sarah GAUVARD" userId="4c03e191-e154-482a-88b2-11de19eac96c" providerId="ADAL" clId="{8245CC27-65FB-483E-B8E7-D04039DBA80D}" dt="2021-05-24T16:09:29.240" v="17188" actId="790"/>
          <ac:spMkLst>
            <pc:docMk/>
            <pc:sldMk cId="3115212104" sldId="3453"/>
            <ac:spMk id="28" creationId="{11345072-21BD-4708-A8A5-5018D9CAEAE4}"/>
          </ac:spMkLst>
        </pc:spChg>
        <pc:spChg chg="mod">
          <ac:chgData name="Sarah GAUVARD" userId="4c03e191-e154-482a-88b2-11de19eac96c" providerId="ADAL" clId="{8245CC27-65FB-483E-B8E7-D04039DBA80D}" dt="2021-05-24T16:09:29.242" v="17189" actId="790"/>
          <ac:spMkLst>
            <pc:docMk/>
            <pc:sldMk cId="3115212104" sldId="3453"/>
            <ac:spMk id="29" creationId="{4570823D-5116-4FD5-B247-628356BA0E12}"/>
          </ac:spMkLst>
        </pc:spChg>
        <pc:spChg chg="mod">
          <ac:chgData name="Sarah GAUVARD" userId="4c03e191-e154-482a-88b2-11de19eac96c" providerId="ADAL" clId="{8245CC27-65FB-483E-B8E7-D04039DBA80D}" dt="2021-05-24T16:09:29.242" v="17190" actId="790"/>
          <ac:spMkLst>
            <pc:docMk/>
            <pc:sldMk cId="3115212104" sldId="3453"/>
            <ac:spMk id="34" creationId="{E4D33251-6BC8-4410-ACEB-628D9821088A}"/>
          </ac:spMkLst>
        </pc:spChg>
        <pc:spChg chg="mod">
          <ac:chgData name="Sarah GAUVARD" userId="4c03e191-e154-482a-88b2-11de19eac96c" providerId="ADAL" clId="{8245CC27-65FB-483E-B8E7-D04039DBA80D}" dt="2021-05-24T16:09:29.242" v="17191" actId="790"/>
          <ac:spMkLst>
            <pc:docMk/>
            <pc:sldMk cId="3115212104" sldId="3453"/>
            <ac:spMk id="35" creationId="{C233882A-2860-4D82-8353-BEFC11AFD9F2}"/>
          </ac:spMkLst>
        </pc:spChg>
        <pc:spChg chg="mod">
          <ac:chgData name="Sarah GAUVARD" userId="4c03e191-e154-482a-88b2-11de19eac96c" providerId="ADAL" clId="{8245CC27-65FB-483E-B8E7-D04039DBA80D}" dt="2021-05-24T16:09:29.242" v="17192" actId="790"/>
          <ac:spMkLst>
            <pc:docMk/>
            <pc:sldMk cId="3115212104" sldId="3453"/>
            <ac:spMk id="36" creationId="{8C0CED51-10B2-4A3A-B007-473BC1F301CE}"/>
          </ac:spMkLst>
        </pc:spChg>
        <pc:spChg chg="mod">
          <ac:chgData name="Sarah GAUVARD" userId="4c03e191-e154-482a-88b2-11de19eac96c" providerId="ADAL" clId="{8245CC27-65FB-483E-B8E7-D04039DBA80D}" dt="2021-05-24T16:09:29.242" v="17193" actId="790"/>
          <ac:spMkLst>
            <pc:docMk/>
            <pc:sldMk cId="3115212104" sldId="3453"/>
            <ac:spMk id="37" creationId="{4F1A8BFB-A53A-40F2-A2DE-3899C0C22746}"/>
          </ac:spMkLst>
        </pc:spChg>
        <pc:spChg chg="mod">
          <ac:chgData name="Sarah GAUVARD" userId="4c03e191-e154-482a-88b2-11de19eac96c" providerId="ADAL" clId="{8245CC27-65FB-483E-B8E7-D04039DBA80D}" dt="2021-05-24T16:09:29.242" v="17194" actId="790"/>
          <ac:spMkLst>
            <pc:docMk/>
            <pc:sldMk cId="3115212104" sldId="3453"/>
            <ac:spMk id="38" creationId="{5A142BE1-C2DD-4C6A-9B8A-0E197171F49A}"/>
          </ac:spMkLst>
        </pc:spChg>
        <pc:spChg chg="mod">
          <ac:chgData name="Sarah GAUVARD" userId="4c03e191-e154-482a-88b2-11de19eac96c" providerId="ADAL" clId="{8245CC27-65FB-483E-B8E7-D04039DBA80D}" dt="2021-05-24T16:09:29.231" v="17180" actId="790"/>
          <ac:spMkLst>
            <pc:docMk/>
            <pc:sldMk cId="3115212104" sldId="3453"/>
            <ac:spMk id="39" creationId="{D1E92CC9-5E3D-498B-9A2A-EAD16D7E172E}"/>
          </ac:spMkLst>
        </pc:spChg>
        <pc:spChg chg="mod">
          <ac:chgData name="Sarah GAUVARD" userId="4c03e191-e154-482a-88b2-11de19eac96c" providerId="ADAL" clId="{8245CC27-65FB-483E-B8E7-D04039DBA80D}" dt="2021-05-24T15:34:40.706" v="8850" actId="790"/>
          <ac:spMkLst>
            <pc:docMk/>
            <pc:sldMk cId="3115212104" sldId="3453"/>
            <ac:spMk id="40" creationId="{60EEC324-686F-4C2B-9A86-1FD757E7F20F}"/>
          </ac:spMkLst>
        </pc:spChg>
        <pc:spChg chg="mod">
          <ac:chgData name="Sarah GAUVARD" userId="4c03e191-e154-482a-88b2-11de19eac96c" providerId="ADAL" clId="{8245CC27-65FB-483E-B8E7-D04039DBA80D}" dt="2021-05-24T15:34:40.707" v="8851" actId="790"/>
          <ac:spMkLst>
            <pc:docMk/>
            <pc:sldMk cId="3115212104" sldId="3453"/>
            <ac:spMk id="41" creationId="{6D8FCCD4-2F77-45E9-9A16-B87F84493FF2}"/>
          </ac:spMkLst>
        </pc:spChg>
        <pc:spChg chg="mod">
          <ac:chgData name="Sarah GAUVARD" userId="4c03e191-e154-482a-88b2-11de19eac96c" providerId="ADAL" clId="{8245CC27-65FB-483E-B8E7-D04039DBA80D}" dt="2021-05-24T16:09:29.250" v="17195" actId="790"/>
          <ac:spMkLst>
            <pc:docMk/>
            <pc:sldMk cId="3115212104" sldId="3453"/>
            <ac:spMk id="42" creationId="{5A92A72B-854C-4D05-875A-7DD0B1E32AD0}"/>
          </ac:spMkLst>
        </pc:spChg>
        <pc:spChg chg="mod">
          <ac:chgData name="Sarah GAUVARD" userId="4c03e191-e154-482a-88b2-11de19eac96c" providerId="ADAL" clId="{8245CC27-65FB-483E-B8E7-D04039DBA80D}" dt="2021-05-24T16:09:29.231" v="17182" actId="790"/>
          <ac:spMkLst>
            <pc:docMk/>
            <pc:sldMk cId="3115212104" sldId="3453"/>
            <ac:spMk id="46" creationId="{A8782A50-F7B1-478D-960D-B144BB7D57D7}"/>
          </ac:spMkLst>
        </pc:spChg>
        <pc:spChg chg="mod">
          <ac:chgData name="Sarah GAUVARD" userId="4c03e191-e154-482a-88b2-11de19eac96c" providerId="ADAL" clId="{8245CC27-65FB-483E-B8E7-D04039DBA80D}" dt="2021-05-24T16:09:29.221" v="17179" actId="790"/>
          <ac:spMkLst>
            <pc:docMk/>
            <pc:sldMk cId="3115212104" sldId="3453"/>
            <ac:spMk id="47" creationId="{EBC4C7DB-908D-4F75-846A-4CC4964C350B}"/>
          </ac:spMkLst>
        </pc:spChg>
        <pc:spChg chg="mod">
          <ac:chgData name="Sarah GAUVARD" userId="4c03e191-e154-482a-88b2-11de19eac96c" providerId="ADAL" clId="{8245CC27-65FB-483E-B8E7-D04039DBA80D}" dt="2021-05-24T15:34:40.723" v="8856" actId="790"/>
          <ac:spMkLst>
            <pc:docMk/>
            <pc:sldMk cId="3115212104" sldId="3453"/>
            <ac:spMk id="48" creationId="{C1504369-A904-4988-949E-39F5C19A7677}"/>
          </ac:spMkLst>
        </pc:spChg>
      </pc:sldChg>
      <pc:sldChg chg="addSp delSp modSp mod">
        <pc:chgData name="Sarah GAUVARD" userId="4c03e191-e154-482a-88b2-11de19eac96c" providerId="ADAL" clId="{8245CC27-65FB-483E-B8E7-D04039DBA80D}" dt="2021-05-24T16:09:27.409" v="15408" actId="790"/>
        <pc:sldMkLst>
          <pc:docMk/>
          <pc:sldMk cId="2227887028" sldId="3469"/>
        </pc:sldMkLst>
        <pc:spChg chg="add del mod modVis">
          <ac:chgData name="Sarah GAUVARD" userId="4c03e191-e154-482a-88b2-11de19eac96c" providerId="ADAL" clId="{8245CC27-65FB-483E-B8E7-D04039DBA80D}" dt="2021-05-24T15:34:46.325" v="12008"/>
          <ac:spMkLst>
            <pc:docMk/>
            <pc:sldMk cId="2227887028" sldId="3469"/>
            <ac:spMk id="2" creationId="{E26580EA-EE46-4166-9DEB-68E3B03F51FB}"/>
          </ac:spMkLst>
        </pc:spChg>
        <pc:spChg chg="mod">
          <ac:chgData name="Sarah GAUVARD" userId="4c03e191-e154-482a-88b2-11de19eac96c" providerId="ADAL" clId="{8245CC27-65FB-483E-B8E7-D04039DBA80D}" dt="2021-05-24T16:09:27.399" v="15399" actId="790"/>
          <ac:spMkLst>
            <pc:docMk/>
            <pc:sldMk cId="2227887028" sldId="3469"/>
            <ac:spMk id="3" creationId="{EEAF1987-D318-4165-8539-CE9944DDE20A}"/>
          </ac:spMkLst>
        </pc:spChg>
        <pc:spChg chg="mod">
          <ac:chgData name="Sarah GAUVARD" userId="4c03e191-e154-482a-88b2-11de19eac96c" providerId="ADAL" clId="{8245CC27-65FB-483E-B8E7-D04039DBA80D}" dt="2021-05-24T16:09:27.391" v="15393" actId="790"/>
          <ac:spMkLst>
            <pc:docMk/>
            <pc:sldMk cId="2227887028" sldId="3469"/>
            <ac:spMk id="5" creationId="{C2211D1B-D86D-4EF5-B202-69A0FA56B98B}"/>
          </ac:spMkLst>
        </pc:spChg>
        <pc:spChg chg="mod">
          <ac:chgData name="Sarah GAUVARD" userId="4c03e191-e154-482a-88b2-11de19eac96c" providerId="ADAL" clId="{8245CC27-65FB-483E-B8E7-D04039DBA80D}" dt="2021-05-24T16:09:27.391" v="15396" actId="790"/>
          <ac:spMkLst>
            <pc:docMk/>
            <pc:sldMk cId="2227887028" sldId="3469"/>
            <ac:spMk id="7" creationId="{F59BFDDC-63FF-4CDF-9FA9-5814668C648B}"/>
          </ac:spMkLst>
        </pc:spChg>
        <pc:spChg chg="mod">
          <ac:chgData name="Sarah GAUVARD" userId="4c03e191-e154-482a-88b2-11de19eac96c" providerId="ADAL" clId="{8245CC27-65FB-483E-B8E7-D04039DBA80D}" dt="2021-05-24T16:09:27.399" v="15398" actId="790"/>
          <ac:spMkLst>
            <pc:docMk/>
            <pc:sldMk cId="2227887028" sldId="3469"/>
            <ac:spMk id="20" creationId="{ED97A22C-8175-42D7-83B9-66285B255DD8}"/>
          </ac:spMkLst>
        </pc:spChg>
        <pc:spChg chg="mod">
          <ac:chgData name="Sarah GAUVARD" userId="4c03e191-e154-482a-88b2-11de19eac96c" providerId="ADAL" clId="{8245CC27-65FB-483E-B8E7-D04039DBA80D}" dt="2021-05-24T16:09:27.391" v="15395" actId="790"/>
          <ac:spMkLst>
            <pc:docMk/>
            <pc:sldMk cId="2227887028" sldId="3469"/>
            <ac:spMk id="22" creationId="{915D1B6E-612E-40C3-AAAD-AD7DCE1807AA}"/>
          </ac:spMkLst>
        </pc:spChg>
        <pc:spChg chg="mod">
          <ac:chgData name="Sarah GAUVARD" userId="4c03e191-e154-482a-88b2-11de19eac96c" providerId="ADAL" clId="{8245CC27-65FB-483E-B8E7-D04039DBA80D}" dt="2021-05-24T16:09:27.399" v="15397" actId="790"/>
          <ac:spMkLst>
            <pc:docMk/>
            <pc:sldMk cId="2227887028" sldId="3469"/>
            <ac:spMk id="28" creationId="{53C5A097-C478-4E2D-9FDD-BE9872004DFD}"/>
          </ac:spMkLst>
        </pc:spChg>
        <pc:spChg chg="mod">
          <ac:chgData name="Sarah GAUVARD" userId="4c03e191-e154-482a-88b2-11de19eac96c" providerId="ADAL" clId="{8245CC27-65FB-483E-B8E7-D04039DBA80D}" dt="2021-05-24T16:09:27.401" v="15405" actId="790"/>
          <ac:spMkLst>
            <pc:docMk/>
            <pc:sldMk cId="2227887028" sldId="3469"/>
            <ac:spMk id="33" creationId="{6E4BAFD0-DA14-463B-95C3-E2D999701212}"/>
          </ac:spMkLst>
        </pc:spChg>
        <pc:spChg chg="mod">
          <ac:chgData name="Sarah GAUVARD" userId="4c03e191-e154-482a-88b2-11de19eac96c" providerId="ADAL" clId="{8245CC27-65FB-483E-B8E7-D04039DBA80D}" dt="2021-05-24T16:09:27.401" v="15406" actId="790"/>
          <ac:spMkLst>
            <pc:docMk/>
            <pc:sldMk cId="2227887028" sldId="3469"/>
            <ac:spMk id="36" creationId="{B79706AE-F2C0-4E63-B63C-BA29DDDA2BCD}"/>
          </ac:spMkLst>
        </pc:spChg>
        <pc:spChg chg="mod">
          <ac:chgData name="Sarah GAUVARD" userId="4c03e191-e154-482a-88b2-11de19eac96c" providerId="ADAL" clId="{8245CC27-65FB-483E-B8E7-D04039DBA80D}" dt="2021-05-24T16:09:27.391" v="15394" actId="790"/>
          <ac:spMkLst>
            <pc:docMk/>
            <pc:sldMk cId="2227887028" sldId="3469"/>
            <ac:spMk id="37" creationId="{1B0F6DBA-9DDA-4219-ABBF-2A111A6DC023}"/>
          </ac:spMkLst>
        </pc:spChg>
        <pc:spChg chg="mod">
          <ac:chgData name="Sarah GAUVARD" userId="4c03e191-e154-482a-88b2-11de19eac96c" providerId="ADAL" clId="{8245CC27-65FB-483E-B8E7-D04039DBA80D}" dt="2021-05-24T16:09:27.409" v="15407" actId="790"/>
          <ac:spMkLst>
            <pc:docMk/>
            <pc:sldMk cId="2227887028" sldId="3469"/>
            <ac:spMk id="38" creationId="{C89B6050-BC3B-47BC-90EC-DFC610C688B0}"/>
          </ac:spMkLst>
        </pc:spChg>
        <pc:spChg chg="mod">
          <ac:chgData name="Sarah GAUVARD" userId="4c03e191-e154-482a-88b2-11de19eac96c" providerId="ADAL" clId="{8245CC27-65FB-483E-B8E7-D04039DBA80D}" dt="2021-05-24T16:09:27.401" v="15400" actId="790"/>
          <ac:spMkLst>
            <pc:docMk/>
            <pc:sldMk cId="2227887028" sldId="3469"/>
            <ac:spMk id="39" creationId="{E13A1A57-0854-4DD7-BDFE-7BC27BD1A81F}"/>
          </ac:spMkLst>
        </pc:spChg>
        <pc:spChg chg="mod">
          <ac:chgData name="Sarah GAUVARD" userId="4c03e191-e154-482a-88b2-11de19eac96c" providerId="ADAL" clId="{8245CC27-65FB-483E-B8E7-D04039DBA80D}" dt="2021-05-24T16:09:27.388" v="15390" actId="790"/>
          <ac:spMkLst>
            <pc:docMk/>
            <pc:sldMk cId="2227887028" sldId="3469"/>
            <ac:spMk id="40" creationId="{60EEC324-686F-4C2B-9A86-1FD757E7F20F}"/>
          </ac:spMkLst>
        </pc:spChg>
        <pc:spChg chg="mod">
          <ac:chgData name="Sarah GAUVARD" userId="4c03e191-e154-482a-88b2-11de19eac96c" providerId="ADAL" clId="{8245CC27-65FB-483E-B8E7-D04039DBA80D}" dt="2021-05-24T16:09:27.391" v="15391" actId="790"/>
          <ac:spMkLst>
            <pc:docMk/>
            <pc:sldMk cId="2227887028" sldId="3469"/>
            <ac:spMk id="41" creationId="{6D8FCCD4-2F77-45E9-9A16-B87F84493FF2}"/>
          </ac:spMkLst>
        </pc:spChg>
        <pc:spChg chg="mod">
          <ac:chgData name="Sarah GAUVARD" userId="4c03e191-e154-482a-88b2-11de19eac96c" providerId="ADAL" clId="{8245CC27-65FB-483E-B8E7-D04039DBA80D}" dt="2021-05-24T16:09:27.401" v="15401" actId="790"/>
          <ac:spMkLst>
            <pc:docMk/>
            <pc:sldMk cId="2227887028" sldId="3469"/>
            <ac:spMk id="42" creationId="{82D45FD6-332C-4185-B2F7-837B5822F3BD}"/>
          </ac:spMkLst>
        </pc:spChg>
        <pc:spChg chg="mod">
          <ac:chgData name="Sarah GAUVARD" userId="4c03e191-e154-482a-88b2-11de19eac96c" providerId="ADAL" clId="{8245CC27-65FB-483E-B8E7-D04039DBA80D}" dt="2021-05-24T16:09:27.401" v="15402" actId="790"/>
          <ac:spMkLst>
            <pc:docMk/>
            <pc:sldMk cId="2227887028" sldId="3469"/>
            <ac:spMk id="43" creationId="{B5DEA5C6-A53A-4FE1-ABB1-BCD9F609E8F6}"/>
          </ac:spMkLst>
        </pc:spChg>
        <pc:spChg chg="mod">
          <ac:chgData name="Sarah GAUVARD" userId="4c03e191-e154-482a-88b2-11de19eac96c" providerId="ADAL" clId="{8245CC27-65FB-483E-B8E7-D04039DBA80D}" dt="2021-05-24T16:09:27.401" v="15403" actId="790"/>
          <ac:spMkLst>
            <pc:docMk/>
            <pc:sldMk cId="2227887028" sldId="3469"/>
            <ac:spMk id="44" creationId="{022EB26C-4239-4DB8-81D3-CD5199BA05D7}"/>
          </ac:spMkLst>
        </pc:spChg>
        <pc:spChg chg="mod">
          <ac:chgData name="Sarah GAUVARD" userId="4c03e191-e154-482a-88b2-11de19eac96c" providerId="ADAL" clId="{8245CC27-65FB-483E-B8E7-D04039DBA80D}" dt="2021-05-24T16:09:27.401" v="15404" actId="790"/>
          <ac:spMkLst>
            <pc:docMk/>
            <pc:sldMk cId="2227887028" sldId="3469"/>
            <ac:spMk id="45" creationId="{26EC6358-FE91-4A17-BA46-6717559DBB79}"/>
          </ac:spMkLst>
        </pc:spChg>
        <pc:spChg chg="mod">
          <ac:chgData name="Sarah GAUVARD" userId="4c03e191-e154-482a-88b2-11de19eac96c" providerId="ADAL" clId="{8245CC27-65FB-483E-B8E7-D04039DBA80D}" dt="2021-05-24T16:09:27.409" v="15408" actId="790"/>
          <ac:spMkLst>
            <pc:docMk/>
            <pc:sldMk cId="2227887028" sldId="3469"/>
            <ac:spMk id="46" creationId="{F8596C5D-2F1F-4896-8874-B1819ED68662}"/>
          </ac:spMkLst>
        </pc:spChg>
        <pc:spChg chg="mod">
          <ac:chgData name="Sarah GAUVARD" userId="4c03e191-e154-482a-88b2-11de19eac96c" providerId="ADAL" clId="{8245CC27-65FB-483E-B8E7-D04039DBA80D}" dt="2021-05-24T16:09:27.391" v="15392" actId="790"/>
          <ac:spMkLst>
            <pc:docMk/>
            <pc:sldMk cId="2227887028" sldId="3469"/>
            <ac:spMk id="50" creationId="{D79806CD-0EE1-44AF-A4A4-8DE1548322B3}"/>
          </ac:spMkLst>
        </pc:spChg>
        <pc:graphicFrameChg chg="mod">
          <ac:chgData name="Sarah GAUVARD" userId="4c03e191-e154-482a-88b2-11de19eac96c" providerId="ADAL" clId="{8245CC27-65FB-483E-B8E7-D04039DBA80D}" dt="2021-05-24T15:34:46.330" v="12010"/>
          <ac:graphicFrameMkLst>
            <pc:docMk/>
            <pc:sldMk cId="2227887028" sldId="3469"/>
            <ac:graphicFrameMk id="74" creationId="{13F87AA8-9D06-4BBE-A4EF-68B245D429DA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6.441" v="14498" actId="790"/>
        <pc:sldMkLst>
          <pc:docMk/>
          <pc:sldMk cId="3502070692" sldId="5788"/>
        </pc:sldMkLst>
        <pc:spChg chg="mod">
          <ac:chgData name="Sarah GAUVARD" userId="4c03e191-e154-482a-88b2-11de19eac96c" providerId="ADAL" clId="{8245CC27-65FB-483E-B8E7-D04039DBA80D}" dt="2021-05-24T16:09:26.441" v="14491" actId="790"/>
          <ac:spMkLst>
            <pc:docMk/>
            <pc:sldMk cId="3502070692" sldId="5788"/>
            <ac:spMk id="2" creationId="{21A480E3-4FEE-438F-96CF-9DA211B8727A}"/>
          </ac:spMkLst>
        </pc:spChg>
        <pc:spChg chg="add del mod modVis">
          <ac:chgData name="Sarah GAUVARD" userId="4c03e191-e154-482a-88b2-11de19eac96c" providerId="ADAL" clId="{8245CC27-65FB-483E-B8E7-D04039DBA80D}" dt="2021-05-24T15:34:46.080" v="11885"/>
          <ac:spMkLst>
            <pc:docMk/>
            <pc:sldMk cId="3502070692" sldId="5788"/>
            <ac:spMk id="3" creationId="{D7AC3E07-2EA8-484B-BBEB-CCBD3EFCF02B}"/>
          </ac:spMkLst>
        </pc:spChg>
        <pc:spChg chg="mod">
          <ac:chgData name="Sarah GAUVARD" userId="4c03e191-e154-482a-88b2-11de19eac96c" providerId="ADAL" clId="{8245CC27-65FB-483E-B8E7-D04039DBA80D}" dt="2021-05-24T16:09:26.441" v="14494" actId="790"/>
          <ac:spMkLst>
            <pc:docMk/>
            <pc:sldMk cId="3502070692" sldId="5788"/>
            <ac:spMk id="4" creationId="{321D2B50-493B-4F6B-99A7-5BC785388858}"/>
          </ac:spMkLst>
        </pc:spChg>
        <pc:spChg chg="mod">
          <ac:chgData name="Sarah GAUVARD" userId="4c03e191-e154-482a-88b2-11de19eac96c" providerId="ADAL" clId="{8245CC27-65FB-483E-B8E7-D04039DBA80D}" dt="2021-05-24T16:09:26.429" v="14486" actId="790"/>
          <ac:spMkLst>
            <pc:docMk/>
            <pc:sldMk cId="3502070692" sldId="5788"/>
            <ac:spMk id="14" creationId="{A6A43F86-72DB-441A-9F0E-0CBA93B92167}"/>
          </ac:spMkLst>
        </pc:spChg>
        <pc:spChg chg="mod">
          <ac:chgData name="Sarah GAUVARD" userId="4c03e191-e154-482a-88b2-11de19eac96c" providerId="ADAL" clId="{8245CC27-65FB-483E-B8E7-D04039DBA80D}" dt="2021-05-24T16:09:26.421" v="14484" actId="790"/>
          <ac:spMkLst>
            <pc:docMk/>
            <pc:sldMk cId="3502070692" sldId="5788"/>
            <ac:spMk id="17" creationId="{79542B58-C0DE-407D-A96B-E1BDB505A35B}"/>
          </ac:spMkLst>
        </pc:spChg>
        <pc:spChg chg="mod">
          <ac:chgData name="Sarah GAUVARD" userId="4c03e191-e154-482a-88b2-11de19eac96c" providerId="ADAL" clId="{8245CC27-65FB-483E-B8E7-D04039DBA80D}" dt="2021-05-24T16:09:26.431" v="14487" actId="790"/>
          <ac:spMkLst>
            <pc:docMk/>
            <pc:sldMk cId="3502070692" sldId="5788"/>
            <ac:spMk id="26" creationId="{0614C3AD-C954-4D83-95AB-C29332F75FE7}"/>
          </ac:spMkLst>
        </pc:spChg>
        <pc:spChg chg="mod">
          <ac:chgData name="Sarah GAUVARD" userId="4c03e191-e154-482a-88b2-11de19eac96c" providerId="ADAL" clId="{8245CC27-65FB-483E-B8E7-D04039DBA80D}" dt="2021-05-24T16:09:26.431" v="14488" actId="790"/>
          <ac:spMkLst>
            <pc:docMk/>
            <pc:sldMk cId="3502070692" sldId="5788"/>
            <ac:spMk id="29" creationId="{CDC05D8C-D901-4233-8F68-F7A7ABE06031}"/>
          </ac:spMkLst>
        </pc:spChg>
        <pc:spChg chg="mod">
          <ac:chgData name="Sarah GAUVARD" userId="4c03e191-e154-482a-88b2-11de19eac96c" providerId="ADAL" clId="{8245CC27-65FB-483E-B8E7-D04039DBA80D}" dt="2021-05-24T16:09:26.431" v="14489" actId="790"/>
          <ac:spMkLst>
            <pc:docMk/>
            <pc:sldMk cId="3502070692" sldId="5788"/>
            <ac:spMk id="30" creationId="{ACBF13C7-2E3B-4833-93F2-486311645719}"/>
          </ac:spMkLst>
        </pc:spChg>
        <pc:spChg chg="mod">
          <ac:chgData name="Sarah GAUVARD" userId="4c03e191-e154-482a-88b2-11de19eac96c" providerId="ADAL" clId="{8245CC27-65FB-483E-B8E7-D04039DBA80D}" dt="2021-05-24T16:09:26.441" v="14495" actId="790"/>
          <ac:spMkLst>
            <pc:docMk/>
            <pc:sldMk cId="3502070692" sldId="5788"/>
            <ac:spMk id="33" creationId="{F8B23E47-A27C-47F9-930A-5F43DE9D7F88}"/>
          </ac:spMkLst>
        </pc:spChg>
        <pc:spChg chg="mod">
          <ac:chgData name="Sarah GAUVARD" userId="4c03e191-e154-482a-88b2-11de19eac96c" providerId="ADAL" clId="{8245CC27-65FB-483E-B8E7-D04039DBA80D}" dt="2021-05-24T16:09:26.441" v="14496" actId="790"/>
          <ac:spMkLst>
            <pc:docMk/>
            <pc:sldMk cId="3502070692" sldId="5788"/>
            <ac:spMk id="34" creationId="{796173B8-6D70-4210-A23B-B1AB01BC4E4E}"/>
          </ac:spMkLst>
        </pc:spChg>
        <pc:spChg chg="mod">
          <ac:chgData name="Sarah GAUVARD" userId="4c03e191-e154-482a-88b2-11de19eac96c" providerId="ADAL" clId="{8245CC27-65FB-483E-B8E7-D04039DBA80D}" dt="2021-05-24T16:09:26.441" v="14497" actId="790"/>
          <ac:spMkLst>
            <pc:docMk/>
            <pc:sldMk cId="3502070692" sldId="5788"/>
            <ac:spMk id="35" creationId="{F343B5A1-986B-491A-8A48-77787AC209AC}"/>
          </ac:spMkLst>
        </pc:spChg>
        <pc:spChg chg="mod">
          <ac:chgData name="Sarah GAUVARD" userId="4c03e191-e154-482a-88b2-11de19eac96c" providerId="ADAL" clId="{8245CC27-65FB-483E-B8E7-D04039DBA80D}" dt="2021-05-24T16:09:26.441" v="14498" actId="790"/>
          <ac:spMkLst>
            <pc:docMk/>
            <pc:sldMk cId="3502070692" sldId="5788"/>
            <ac:spMk id="36" creationId="{0B00B2A8-C72E-4524-AA66-141863EAC8B5}"/>
          </ac:spMkLst>
        </pc:spChg>
        <pc:spChg chg="mod">
          <ac:chgData name="Sarah GAUVARD" userId="4c03e191-e154-482a-88b2-11de19eac96c" providerId="ADAL" clId="{8245CC27-65FB-483E-B8E7-D04039DBA80D}" dt="2021-05-24T16:09:26.441" v="14490" actId="790"/>
          <ac:spMkLst>
            <pc:docMk/>
            <pc:sldMk cId="3502070692" sldId="5788"/>
            <ac:spMk id="43" creationId="{C0AF0BD1-EE99-4A93-881A-71BE4821E6F1}"/>
          </ac:spMkLst>
        </pc:spChg>
        <pc:spChg chg="mod">
          <ac:chgData name="Sarah GAUVARD" userId="4c03e191-e154-482a-88b2-11de19eac96c" providerId="ADAL" clId="{8245CC27-65FB-483E-B8E7-D04039DBA80D}" dt="2021-05-24T16:09:26.441" v="14492" actId="790"/>
          <ac:spMkLst>
            <pc:docMk/>
            <pc:sldMk cId="3502070692" sldId="5788"/>
            <ac:spMk id="56" creationId="{3F0B14AD-FFF0-49A6-A5B2-1148C84CB7AE}"/>
          </ac:spMkLst>
        </pc:spChg>
        <pc:spChg chg="mod">
          <ac:chgData name="Sarah GAUVARD" userId="4c03e191-e154-482a-88b2-11de19eac96c" providerId="ADAL" clId="{8245CC27-65FB-483E-B8E7-D04039DBA80D}" dt="2021-05-24T16:09:26.441" v="14493" actId="790"/>
          <ac:spMkLst>
            <pc:docMk/>
            <pc:sldMk cId="3502070692" sldId="5788"/>
            <ac:spMk id="58" creationId="{4F1BE529-356D-4892-8B28-CD5041A4FD8D}"/>
          </ac:spMkLst>
        </pc:spChg>
        <pc:spChg chg="mod">
          <ac:chgData name="Sarah GAUVARD" userId="4c03e191-e154-482a-88b2-11de19eac96c" providerId="ADAL" clId="{8245CC27-65FB-483E-B8E7-D04039DBA80D}" dt="2021-05-24T16:09:26.429" v="14485" actId="790"/>
          <ac:spMkLst>
            <pc:docMk/>
            <pc:sldMk cId="3502070692" sldId="5788"/>
            <ac:spMk id="66" creationId="{11AC2BF9-A8AA-4D9B-A774-9622B7E27451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113" v="11900"/>
          <ac:graphicFrameMkLst>
            <pc:docMk/>
            <pc:sldMk cId="3502070692" sldId="5788"/>
            <ac:graphicFrameMk id="5" creationId="{824C0830-1A94-47DC-98F2-27E35F5299CB}"/>
          </ac:graphicFrameMkLst>
        </pc:graphicFrameChg>
      </pc:sldChg>
      <pc:sldChg chg="addSp delSp modSp mod modClrScheme chgLayout">
        <pc:chgData name="Sarah GAUVARD" userId="4c03e191-e154-482a-88b2-11de19eac96c" providerId="ADAL" clId="{8245CC27-65FB-483E-B8E7-D04039DBA80D}" dt="2021-05-25T08:03:34.036" v="18558"/>
        <pc:sldMkLst>
          <pc:docMk/>
          <pc:sldMk cId="1385106391" sldId="6602"/>
        </pc:sldMkLst>
        <pc:spChg chg="mod ord">
          <ac:chgData name="Sarah GAUVARD" userId="4c03e191-e154-482a-88b2-11de19eac96c" providerId="ADAL" clId="{8245CC27-65FB-483E-B8E7-D04039DBA80D}" dt="2021-05-25T08:03:33.974" v="18516"/>
          <ac:spMkLst>
            <pc:docMk/>
            <pc:sldMk cId="1385106391" sldId="6602"/>
            <ac:spMk id="2" creationId="{EE2D2B38-049A-4F88-936E-8F374D681503}"/>
          </ac:spMkLst>
        </pc:spChg>
        <pc:spChg chg="del mod ord">
          <ac:chgData name="Sarah GAUVARD" userId="4c03e191-e154-482a-88b2-11de19eac96c" providerId="ADAL" clId="{8245CC27-65FB-483E-B8E7-D04039DBA80D}" dt="2021-05-25T07:50:16.461" v="17697" actId="478"/>
          <ac:spMkLst>
            <pc:docMk/>
            <pc:sldMk cId="1385106391" sldId="6602"/>
            <ac:spMk id="3" creationId="{D9767DBE-E4CA-4B39-8233-37B7AD3071AD}"/>
          </ac:spMkLst>
        </pc:spChg>
        <pc:spChg chg="mod">
          <ac:chgData name="Sarah GAUVARD" userId="4c03e191-e154-482a-88b2-11de19eac96c" providerId="ADAL" clId="{8245CC27-65FB-483E-B8E7-D04039DBA80D}" dt="2021-05-24T16:09:29.262" v="17209" actId="790"/>
          <ac:spMkLst>
            <pc:docMk/>
            <pc:sldMk cId="1385106391" sldId="6602"/>
            <ac:spMk id="5" creationId="{97D58350-3EF9-4D57-82C8-9D63297400D0}"/>
          </ac:spMkLst>
        </pc:spChg>
        <pc:spChg chg="add del mod modVis">
          <ac:chgData name="Sarah GAUVARD" userId="4c03e191-e154-482a-88b2-11de19eac96c" providerId="ADAL" clId="{8245CC27-65FB-483E-B8E7-D04039DBA80D}" dt="2021-05-25T07:50:14.425" v="17694"/>
          <ac:spMkLst>
            <pc:docMk/>
            <pc:sldMk cId="1385106391" sldId="6602"/>
            <ac:spMk id="7" creationId="{4B03D45F-5E21-4F9E-9ADF-09700E9EF047}"/>
          </ac:spMkLst>
        </pc:spChg>
        <pc:spChg chg="add del mod modVis">
          <ac:chgData name="Sarah GAUVARD" userId="4c03e191-e154-482a-88b2-11de19eac96c" providerId="ADAL" clId="{8245CC27-65FB-483E-B8E7-D04039DBA80D}" dt="2021-05-24T15:34:46.006" v="11834"/>
          <ac:spMkLst>
            <pc:docMk/>
            <pc:sldMk cId="1385106391" sldId="6602"/>
            <ac:spMk id="7" creationId="{B592E22B-BC11-46AA-AF7E-272E5EE5FC80}"/>
          </ac:spMkLst>
        </pc:spChg>
        <pc:spChg chg="add del mod modVis">
          <ac:chgData name="Sarah GAUVARD" userId="4c03e191-e154-482a-88b2-11de19eac96c" providerId="ADAL" clId="{8245CC27-65FB-483E-B8E7-D04039DBA80D}" dt="2021-05-24T16:09:30.031" v="17471"/>
          <ac:spMkLst>
            <pc:docMk/>
            <pc:sldMk cId="1385106391" sldId="6602"/>
            <ac:spMk id="8" creationId="{53AC3042-5C3A-47CE-95E0-19DB9C8D27AF}"/>
          </ac:spMkLst>
        </pc:spChg>
        <pc:spChg chg="add del mod modVis">
          <ac:chgData name="Sarah GAUVARD" userId="4c03e191-e154-482a-88b2-11de19eac96c" providerId="ADAL" clId="{8245CC27-65FB-483E-B8E7-D04039DBA80D}" dt="2021-05-25T08:02:41.065" v="18512"/>
          <ac:spMkLst>
            <pc:docMk/>
            <pc:sldMk cId="1385106391" sldId="6602"/>
            <ac:spMk id="8" creationId="{F49CEE94-3797-4CA0-BEDE-DCDBBDFC0844}"/>
          </ac:spMkLst>
        </pc:spChg>
        <pc:spChg chg="add del mod modVis">
          <ac:chgData name="Sarah GAUVARD" userId="4c03e191-e154-482a-88b2-11de19eac96c" providerId="ADAL" clId="{8245CC27-65FB-483E-B8E7-D04039DBA80D}" dt="2021-05-25T08:03:34.020" v="18556"/>
          <ac:spMkLst>
            <pc:docMk/>
            <pc:sldMk cId="1385106391" sldId="6602"/>
            <ac:spMk id="9" creationId="{7055751F-9C8D-4D27-8650-32C3173E8C72}"/>
          </ac:spMkLst>
        </pc:spChg>
        <pc:spChg chg="mod">
          <ac:chgData name="Sarah GAUVARD" userId="4c03e191-e154-482a-88b2-11de19eac96c" providerId="ADAL" clId="{8245CC27-65FB-483E-B8E7-D04039DBA80D}" dt="2021-05-24T16:09:29.262" v="17204" actId="790"/>
          <ac:spMkLst>
            <pc:docMk/>
            <pc:sldMk cId="1385106391" sldId="6602"/>
            <ac:spMk id="12" creationId="{FD1FE920-C1DA-4497-AB6C-B77B29B6E998}"/>
          </ac:spMkLst>
        </pc:spChg>
        <pc:spChg chg="mod">
          <ac:chgData name="Sarah GAUVARD" userId="4c03e191-e154-482a-88b2-11de19eac96c" providerId="ADAL" clId="{8245CC27-65FB-483E-B8E7-D04039DBA80D}" dt="2021-05-24T16:09:29.262" v="17202" actId="790"/>
          <ac:spMkLst>
            <pc:docMk/>
            <pc:sldMk cId="1385106391" sldId="6602"/>
            <ac:spMk id="15" creationId="{9688F0B3-2A9D-4236-9EE1-D71BBA8E0A25}"/>
          </ac:spMkLst>
        </pc:spChg>
        <pc:spChg chg="mod">
          <ac:chgData name="Sarah GAUVARD" userId="4c03e191-e154-482a-88b2-11de19eac96c" providerId="ADAL" clId="{8245CC27-65FB-483E-B8E7-D04039DBA80D}" dt="2021-05-24T16:09:29.250" v="17196" actId="790"/>
          <ac:spMkLst>
            <pc:docMk/>
            <pc:sldMk cId="1385106391" sldId="6602"/>
            <ac:spMk id="19" creationId="{30BDE3E0-96F9-4FE1-9CA3-CF56B7BB82C8}"/>
          </ac:spMkLst>
        </pc:spChg>
        <pc:spChg chg="mod">
          <ac:chgData name="Sarah GAUVARD" userId="4c03e191-e154-482a-88b2-11de19eac96c" providerId="ADAL" clId="{8245CC27-65FB-483E-B8E7-D04039DBA80D}" dt="2021-05-24T16:09:29.252" v="17198" actId="790"/>
          <ac:spMkLst>
            <pc:docMk/>
            <pc:sldMk cId="1385106391" sldId="6602"/>
            <ac:spMk id="21" creationId="{8257AC9F-6E1F-4FE5-BB13-23A55F6EB826}"/>
          </ac:spMkLst>
        </pc:spChg>
        <pc:spChg chg="mod">
          <ac:chgData name="Sarah GAUVARD" userId="4c03e191-e154-482a-88b2-11de19eac96c" providerId="ADAL" clId="{8245CC27-65FB-483E-B8E7-D04039DBA80D}" dt="2021-05-24T16:09:29.262" v="17203" actId="790"/>
          <ac:spMkLst>
            <pc:docMk/>
            <pc:sldMk cId="1385106391" sldId="6602"/>
            <ac:spMk id="25" creationId="{FB26883F-6581-44E3-87AB-C64E72449453}"/>
          </ac:spMkLst>
        </pc:spChg>
        <pc:spChg chg="mod">
          <ac:chgData name="Sarah GAUVARD" userId="4c03e191-e154-482a-88b2-11de19eac96c" providerId="ADAL" clId="{8245CC27-65FB-483E-B8E7-D04039DBA80D}" dt="2021-05-24T16:09:29.262" v="17205" actId="790"/>
          <ac:spMkLst>
            <pc:docMk/>
            <pc:sldMk cId="1385106391" sldId="6602"/>
            <ac:spMk id="26" creationId="{9BA96123-FF6E-4390-B626-0A70E8D1EFF1}"/>
          </ac:spMkLst>
        </pc:spChg>
        <pc:spChg chg="mod">
          <ac:chgData name="Sarah GAUVARD" userId="4c03e191-e154-482a-88b2-11de19eac96c" providerId="ADAL" clId="{8245CC27-65FB-483E-B8E7-D04039DBA80D}" dt="2021-05-24T16:09:29.270" v="17210" actId="790"/>
          <ac:spMkLst>
            <pc:docMk/>
            <pc:sldMk cId="1385106391" sldId="6602"/>
            <ac:spMk id="27" creationId="{82F19599-1F5F-4312-A784-62F0C2515FF7}"/>
          </ac:spMkLst>
        </pc:spChg>
        <pc:spChg chg="mod">
          <ac:chgData name="Sarah GAUVARD" userId="4c03e191-e154-482a-88b2-11de19eac96c" providerId="ADAL" clId="{8245CC27-65FB-483E-B8E7-D04039DBA80D}" dt="2021-05-24T16:09:29.272" v="17216" actId="790"/>
          <ac:spMkLst>
            <pc:docMk/>
            <pc:sldMk cId="1385106391" sldId="6602"/>
            <ac:spMk id="34" creationId="{593AD6C3-84DC-4EE0-880D-A55A33192114}"/>
          </ac:spMkLst>
        </pc:spChg>
        <pc:spChg chg="mod">
          <ac:chgData name="Sarah GAUVARD" userId="4c03e191-e154-482a-88b2-11de19eac96c" providerId="ADAL" clId="{8245CC27-65FB-483E-B8E7-D04039DBA80D}" dt="2021-05-25T07:49:49.207" v="17633" actId="20577"/>
          <ac:spMkLst>
            <pc:docMk/>
            <pc:sldMk cId="1385106391" sldId="6602"/>
            <ac:spMk id="35" creationId="{D051D8B5-8E3F-45CC-9A75-F8D04ECC01E0}"/>
          </ac:spMkLst>
        </pc:spChg>
        <pc:spChg chg="mod">
          <ac:chgData name="Sarah GAUVARD" userId="4c03e191-e154-482a-88b2-11de19eac96c" providerId="ADAL" clId="{8245CC27-65FB-483E-B8E7-D04039DBA80D}" dt="2021-05-24T16:09:29.270" v="17211" actId="790"/>
          <ac:spMkLst>
            <pc:docMk/>
            <pc:sldMk cId="1385106391" sldId="6602"/>
            <ac:spMk id="51" creationId="{A4290E9C-7A91-43C0-B3C4-64F3EB2596F9}"/>
          </ac:spMkLst>
        </pc:spChg>
        <pc:spChg chg="mod">
          <ac:chgData name="Sarah GAUVARD" userId="4c03e191-e154-482a-88b2-11de19eac96c" providerId="ADAL" clId="{8245CC27-65FB-483E-B8E7-D04039DBA80D}" dt="2021-05-24T16:09:29.272" v="17212" actId="790"/>
          <ac:spMkLst>
            <pc:docMk/>
            <pc:sldMk cId="1385106391" sldId="6602"/>
            <ac:spMk id="62" creationId="{46EA29FE-6EE2-426C-8560-3E5CD12771B6}"/>
          </ac:spMkLst>
        </pc:spChg>
        <pc:spChg chg="mod">
          <ac:chgData name="Sarah GAUVARD" userId="4c03e191-e154-482a-88b2-11de19eac96c" providerId="ADAL" clId="{8245CC27-65FB-483E-B8E7-D04039DBA80D}" dt="2021-05-24T16:09:29.272" v="17213" actId="790"/>
          <ac:spMkLst>
            <pc:docMk/>
            <pc:sldMk cId="1385106391" sldId="6602"/>
            <ac:spMk id="63" creationId="{513FF140-30F0-4237-A2EB-7DE66980D5E7}"/>
          </ac:spMkLst>
        </pc:spChg>
        <pc:spChg chg="mod">
          <ac:chgData name="Sarah GAUVARD" userId="4c03e191-e154-482a-88b2-11de19eac96c" providerId="ADAL" clId="{8245CC27-65FB-483E-B8E7-D04039DBA80D}" dt="2021-05-24T16:09:29.272" v="17214" actId="790"/>
          <ac:spMkLst>
            <pc:docMk/>
            <pc:sldMk cId="1385106391" sldId="6602"/>
            <ac:spMk id="64" creationId="{954DCB81-EFB1-4D9E-9CA1-DE7CC23CED6C}"/>
          </ac:spMkLst>
        </pc:spChg>
        <pc:spChg chg="mod">
          <ac:chgData name="Sarah GAUVARD" userId="4c03e191-e154-482a-88b2-11de19eac96c" providerId="ADAL" clId="{8245CC27-65FB-483E-B8E7-D04039DBA80D}" dt="2021-05-24T16:09:29.272" v="17215" actId="790"/>
          <ac:spMkLst>
            <pc:docMk/>
            <pc:sldMk cId="1385106391" sldId="6602"/>
            <ac:spMk id="65" creationId="{4E482DB8-D735-45EF-85FF-E68F08F246FE}"/>
          </ac:spMkLst>
        </pc:spChg>
        <pc:spChg chg="mod">
          <ac:chgData name="Sarah GAUVARD" userId="4c03e191-e154-482a-88b2-11de19eac96c" providerId="ADAL" clId="{8245CC27-65FB-483E-B8E7-D04039DBA80D}" dt="2021-05-24T16:09:29.260" v="17199" actId="790"/>
          <ac:spMkLst>
            <pc:docMk/>
            <pc:sldMk cId="1385106391" sldId="6602"/>
            <ac:spMk id="80" creationId="{5A3D08E6-BF53-4DAE-BD91-13CB1CC966A9}"/>
          </ac:spMkLst>
        </pc:spChg>
        <pc:spChg chg="mod">
          <ac:chgData name="Sarah GAUVARD" userId="4c03e191-e154-482a-88b2-11de19eac96c" providerId="ADAL" clId="{8245CC27-65FB-483E-B8E7-D04039DBA80D}" dt="2021-05-24T16:09:29.262" v="17206" actId="790"/>
          <ac:spMkLst>
            <pc:docMk/>
            <pc:sldMk cId="1385106391" sldId="6602"/>
            <ac:spMk id="81" creationId="{47B1124F-A81C-4C02-B2B0-4B385CE446C3}"/>
          </ac:spMkLst>
        </pc:spChg>
        <pc:spChg chg="mod">
          <ac:chgData name="Sarah GAUVARD" userId="4c03e191-e154-482a-88b2-11de19eac96c" providerId="ADAL" clId="{8245CC27-65FB-483E-B8E7-D04039DBA80D}" dt="2021-05-24T16:09:29.262" v="17207" actId="790"/>
          <ac:spMkLst>
            <pc:docMk/>
            <pc:sldMk cId="1385106391" sldId="6602"/>
            <ac:spMk id="82" creationId="{67A6441B-01A5-48CA-B3D3-9DC5596BA08F}"/>
          </ac:spMkLst>
        </pc:spChg>
        <pc:spChg chg="mod">
          <ac:chgData name="Sarah GAUVARD" userId="4c03e191-e154-482a-88b2-11de19eac96c" providerId="ADAL" clId="{8245CC27-65FB-483E-B8E7-D04039DBA80D}" dt="2021-05-24T16:09:29.262" v="17208" actId="790"/>
          <ac:spMkLst>
            <pc:docMk/>
            <pc:sldMk cId="1385106391" sldId="6602"/>
            <ac:spMk id="83" creationId="{E5812560-E835-4A8F-AFA8-8ADAF3536E85}"/>
          </ac:spMkLst>
        </pc:spChg>
        <pc:spChg chg="mod">
          <ac:chgData name="Sarah GAUVARD" userId="4c03e191-e154-482a-88b2-11de19eac96c" providerId="ADAL" clId="{8245CC27-65FB-483E-B8E7-D04039DBA80D}" dt="2021-05-24T16:09:29.262" v="17200" actId="790"/>
          <ac:spMkLst>
            <pc:docMk/>
            <pc:sldMk cId="1385106391" sldId="6602"/>
            <ac:spMk id="84" creationId="{11B48DDC-87FD-474C-BDDE-06CB62817A11}"/>
          </ac:spMkLst>
        </pc:spChg>
        <pc:spChg chg="mod">
          <ac:chgData name="Sarah GAUVARD" userId="4c03e191-e154-482a-88b2-11de19eac96c" providerId="ADAL" clId="{8245CC27-65FB-483E-B8E7-D04039DBA80D}" dt="2021-05-24T16:09:29.262" v="17201" actId="790"/>
          <ac:spMkLst>
            <pc:docMk/>
            <pc:sldMk cId="1385106391" sldId="6602"/>
            <ac:spMk id="87" creationId="{35825688-3C89-48FE-953E-C78DCC1D23F8}"/>
          </ac:spMkLst>
        </pc:spChg>
        <pc:graphicFrameChg chg="mod">
          <ac:chgData name="Sarah GAUVARD" userId="4c03e191-e154-482a-88b2-11de19eac96c" providerId="ADAL" clId="{8245CC27-65FB-483E-B8E7-D04039DBA80D}" dt="2021-05-25T08:03:34.036" v="18558"/>
          <ac:graphicFrameMkLst>
            <pc:docMk/>
            <pc:sldMk cId="1385106391" sldId="6602"/>
            <ac:graphicFrameMk id="18" creationId="{10823951-3139-4607-99B9-A185FCB53BD6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5T08:53:37.829" v="18907" actId="113"/>
        <pc:sldMkLst>
          <pc:docMk/>
          <pc:sldMk cId="990182598" sldId="6698"/>
        </pc:sldMkLst>
        <pc:spChg chg="mod">
          <ac:chgData name="Sarah GAUVARD" userId="4c03e191-e154-482a-88b2-11de19eac96c" providerId="ADAL" clId="{8245CC27-65FB-483E-B8E7-D04039DBA80D}" dt="2021-05-24T16:09:26.441" v="14499" actId="790"/>
          <ac:spMkLst>
            <pc:docMk/>
            <pc:sldMk cId="990182598" sldId="6698"/>
            <ac:spMk id="2" creationId="{EF2498F5-877C-446A-880E-E1B210E69525}"/>
          </ac:spMkLst>
        </pc:spChg>
        <pc:spChg chg="mod">
          <ac:chgData name="Sarah GAUVARD" userId="4c03e191-e154-482a-88b2-11de19eac96c" providerId="ADAL" clId="{8245CC27-65FB-483E-B8E7-D04039DBA80D}" dt="2021-05-24T16:09:26.441" v="14500" actId="790"/>
          <ac:spMkLst>
            <pc:docMk/>
            <pc:sldMk cId="990182598" sldId="6698"/>
            <ac:spMk id="4" creationId="{CB718DB5-5559-467F-A0DA-2CF7DE37F0D1}"/>
          </ac:spMkLst>
        </pc:spChg>
        <pc:spChg chg="mod">
          <ac:chgData name="Sarah GAUVARD" userId="4c03e191-e154-482a-88b2-11de19eac96c" providerId="ADAL" clId="{8245CC27-65FB-483E-B8E7-D04039DBA80D}" dt="2021-05-24T16:09:26.441" v="14501" actId="790"/>
          <ac:spMkLst>
            <pc:docMk/>
            <pc:sldMk cId="990182598" sldId="6698"/>
            <ac:spMk id="5" creationId="{66D7E5E2-F6D8-4CD1-9E4C-BA6E4832ECB1}"/>
          </ac:spMkLst>
        </pc:spChg>
        <pc:spChg chg="mod">
          <ac:chgData name="Sarah GAUVARD" userId="4c03e191-e154-482a-88b2-11de19eac96c" providerId="ADAL" clId="{8245CC27-65FB-483E-B8E7-D04039DBA80D}" dt="2021-05-24T16:09:26.449" v="14502" actId="790"/>
          <ac:spMkLst>
            <pc:docMk/>
            <pc:sldMk cId="990182598" sldId="6698"/>
            <ac:spMk id="6" creationId="{8409BC71-E09A-476D-8F8B-B9C1E7F3B761}"/>
          </ac:spMkLst>
        </pc:spChg>
        <pc:spChg chg="mod">
          <ac:chgData name="Sarah GAUVARD" userId="4c03e191-e154-482a-88b2-11de19eac96c" providerId="ADAL" clId="{8245CC27-65FB-483E-B8E7-D04039DBA80D}" dt="2021-05-25T08:53:37.829" v="18907" actId="113"/>
          <ac:spMkLst>
            <pc:docMk/>
            <pc:sldMk cId="990182598" sldId="6698"/>
            <ac:spMk id="8" creationId="{D66A6AF9-248B-41D6-940F-289AF3A39824}"/>
          </ac:spMkLst>
        </pc:spChg>
        <pc:spChg chg="mod">
          <ac:chgData name="Sarah GAUVARD" userId="4c03e191-e154-482a-88b2-11de19eac96c" providerId="ADAL" clId="{8245CC27-65FB-483E-B8E7-D04039DBA80D}" dt="2021-05-25T08:53:34.963" v="18906" actId="313"/>
          <ac:spMkLst>
            <pc:docMk/>
            <pc:sldMk cId="990182598" sldId="6698"/>
            <ac:spMk id="9" creationId="{E538F6C0-C1A1-4303-86AF-B22F07447549}"/>
          </ac:spMkLst>
        </pc:spChg>
        <pc:spChg chg="mod">
          <ac:chgData name="Sarah GAUVARD" userId="4c03e191-e154-482a-88b2-11de19eac96c" providerId="ADAL" clId="{8245CC27-65FB-483E-B8E7-D04039DBA80D}" dt="2021-05-24T16:09:26.449" v="14505" actId="790"/>
          <ac:spMkLst>
            <pc:docMk/>
            <pc:sldMk cId="990182598" sldId="6698"/>
            <ac:spMk id="10" creationId="{81259CFA-79AD-4D12-96A5-F00740341C71}"/>
          </ac:spMkLst>
        </pc:spChg>
        <pc:spChg chg="mod">
          <ac:chgData name="Sarah GAUVARD" userId="4c03e191-e154-482a-88b2-11de19eac96c" providerId="ADAL" clId="{8245CC27-65FB-483E-B8E7-D04039DBA80D}" dt="2021-05-24T16:09:26.451" v="14509" actId="790"/>
          <ac:spMkLst>
            <pc:docMk/>
            <pc:sldMk cId="990182598" sldId="6698"/>
            <ac:spMk id="28" creationId="{7777DC2C-56F7-4A75-B50C-72EFED78B76E}"/>
          </ac:spMkLst>
        </pc:spChg>
        <pc:spChg chg="mod">
          <ac:chgData name="Sarah GAUVARD" userId="4c03e191-e154-482a-88b2-11de19eac96c" providerId="ADAL" clId="{8245CC27-65FB-483E-B8E7-D04039DBA80D}" dt="2021-05-24T16:09:26.451" v="14510" actId="790"/>
          <ac:spMkLst>
            <pc:docMk/>
            <pc:sldMk cId="990182598" sldId="6698"/>
            <ac:spMk id="29" creationId="{15863018-612D-48F3-8E22-BBA8251E97A9}"/>
          </ac:spMkLst>
        </pc:spChg>
        <pc:spChg chg="mod">
          <ac:chgData name="Sarah GAUVARD" userId="4c03e191-e154-482a-88b2-11de19eac96c" providerId="ADAL" clId="{8245CC27-65FB-483E-B8E7-D04039DBA80D}" dt="2021-05-24T16:09:26.451" v="14511" actId="790"/>
          <ac:spMkLst>
            <pc:docMk/>
            <pc:sldMk cId="990182598" sldId="6698"/>
            <ac:spMk id="30" creationId="{F8930804-5FDC-4893-8E81-C3B6EC3A8C43}"/>
          </ac:spMkLst>
        </pc:spChg>
        <pc:spChg chg="mod">
          <ac:chgData name="Sarah GAUVARD" userId="4c03e191-e154-482a-88b2-11de19eac96c" providerId="ADAL" clId="{8245CC27-65FB-483E-B8E7-D04039DBA80D}" dt="2021-05-24T16:09:26.451" v="14512" actId="790"/>
          <ac:spMkLst>
            <pc:docMk/>
            <pc:sldMk cId="990182598" sldId="6698"/>
            <ac:spMk id="36" creationId="{8CB92FE7-E5D8-41A4-B988-EF32549C8205}"/>
          </ac:spMkLst>
        </pc:spChg>
        <pc:spChg chg="mod">
          <ac:chgData name="Sarah GAUVARD" userId="4c03e191-e154-482a-88b2-11de19eac96c" providerId="ADAL" clId="{8245CC27-65FB-483E-B8E7-D04039DBA80D}" dt="2021-05-24T16:09:26.451" v="14513" actId="790"/>
          <ac:spMkLst>
            <pc:docMk/>
            <pc:sldMk cId="990182598" sldId="6698"/>
            <ac:spMk id="37" creationId="{C6AEEC41-30BE-4E36-A252-6237D6B480CD}"/>
          </ac:spMkLst>
        </pc:spChg>
        <pc:spChg chg="mod">
          <ac:chgData name="Sarah GAUVARD" userId="4c03e191-e154-482a-88b2-11de19eac96c" providerId="ADAL" clId="{8245CC27-65FB-483E-B8E7-D04039DBA80D}" dt="2021-05-24T16:09:26.451" v="14514" actId="790"/>
          <ac:spMkLst>
            <pc:docMk/>
            <pc:sldMk cId="990182598" sldId="6698"/>
            <ac:spMk id="38" creationId="{DEC90A7F-F3A2-47A7-97E7-3E3DC1DD4FCF}"/>
          </ac:spMkLst>
        </pc:spChg>
        <pc:spChg chg="mod">
          <ac:chgData name="Sarah GAUVARD" userId="4c03e191-e154-482a-88b2-11de19eac96c" providerId="ADAL" clId="{8245CC27-65FB-483E-B8E7-D04039DBA80D}" dt="2021-05-24T16:09:26.451" v="14515" actId="790"/>
          <ac:spMkLst>
            <pc:docMk/>
            <pc:sldMk cId="990182598" sldId="6698"/>
            <ac:spMk id="42" creationId="{21A10AF6-89F4-4DA8-AC44-170C6C9E5856}"/>
          </ac:spMkLst>
        </pc:spChg>
        <pc:spChg chg="mod">
          <ac:chgData name="Sarah GAUVARD" userId="4c03e191-e154-482a-88b2-11de19eac96c" providerId="ADAL" clId="{8245CC27-65FB-483E-B8E7-D04039DBA80D}" dt="2021-05-24T16:09:26.451" v="14516" actId="790"/>
          <ac:spMkLst>
            <pc:docMk/>
            <pc:sldMk cId="990182598" sldId="6698"/>
            <ac:spMk id="43" creationId="{17EDA2E0-110B-442F-911F-B8D10AB63B2E}"/>
          </ac:spMkLst>
        </pc:spChg>
        <pc:spChg chg="mod">
          <ac:chgData name="Sarah GAUVARD" userId="4c03e191-e154-482a-88b2-11de19eac96c" providerId="ADAL" clId="{8245CC27-65FB-483E-B8E7-D04039DBA80D}" dt="2021-05-24T16:09:26.451" v="14517" actId="790"/>
          <ac:spMkLst>
            <pc:docMk/>
            <pc:sldMk cId="990182598" sldId="6698"/>
            <ac:spMk id="44" creationId="{10A4AF48-EF50-4F85-AE20-C3B66CF088C4}"/>
          </ac:spMkLst>
        </pc:spChg>
        <pc:spChg chg="mod">
          <ac:chgData name="Sarah GAUVARD" userId="4c03e191-e154-482a-88b2-11de19eac96c" providerId="ADAL" clId="{8245CC27-65FB-483E-B8E7-D04039DBA80D}" dt="2021-05-24T16:09:26.459" v="14518" actId="790"/>
          <ac:spMkLst>
            <pc:docMk/>
            <pc:sldMk cId="990182598" sldId="6698"/>
            <ac:spMk id="45" creationId="{C1D8EA0F-A684-445D-852B-345CD83FAF4A}"/>
          </ac:spMkLst>
        </pc:spChg>
        <pc:spChg chg="mod">
          <ac:chgData name="Sarah GAUVARD" userId="4c03e191-e154-482a-88b2-11de19eac96c" providerId="ADAL" clId="{8245CC27-65FB-483E-B8E7-D04039DBA80D}" dt="2021-05-24T16:09:26.459" v="14519" actId="790"/>
          <ac:spMkLst>
            <pc:docMk/>
            <pc:sldMk cId="990182598" sldId="6698"/>
            <ac:spMk id="46" creationId="{CABC735E-A0E5-44B7-81CA-4F351EF9F050}"/>
          </ac:spMkLst>
        </pc:spChg>
        <pc:spChg chg="mod">
          <ac:chgData name="Sarah GAUVARD" userId="4c03e191-e154-482a-88b2-11de19eac96c" providerId="ADAL" clId="{8245CC27-65FB-483E-B8E7-D04039DBA80D}" dt="2021-05-24T16:09:26.459" v="14520" actId="790"/>
          <ac:spMkLst>
            <pc:docMk/>
            <pc:sldMk cId="990182598" sldId="6698"/>
            <ac:spMk id="47" creationId="{803EE2E9-E271-4CD9-A494-FACE270F179E}"/>
          </ac:spMkLst>
        </pc:spChg>
        <pc:spChg chg="mod">
          <ac:chgData name="Sarah GAUVARD" userId="4c03e191-e154-482a-88b2-11de19eac96c" providerId="ADAL" clId="{8245CC27-65FB-483E-B8E7-D04039DBA80D}" dt="2021-05-24T16:09:26.462" v="14521" actId="790"/>
          <ac:spMkLst>
            <pc:docMk/>
            <pc:sldMk cId="990182598" sldId="6698"/>
            <ac:spMk id="48" creationId="{C7C3F071-26CB-4F08-9CED-97C7698D30BF}"/>
          </ac:spMkLst>
        </pc:spChg>
        <pc:spChg chg="mod">
          <ac:chgData name="Sarah GAUVARD" userId="4c03e191-e154-482a-88b2-11de19eac96c" providerId="ADAL" clId="{8245CC27-65FB-483E-B8E7-D04039DBA80D}" dt="2021-05-24T16:09:26.462" v="14522" actId="790"/>
          <ac:spMkLst>
            <pc:docMk/>
            <pc:sldMk cId="990182598" sldId="6698"/>
            <ac:spMk id="49" creationId="{073A6D66-B62C-4727-9AE2-691BDFAD7BA8}"/>
          </ac:spMkLst>
        </pc:spChg>
        <pc:spChg chg="mod">
          <ac:chgData name="Sarah GAUVARD" userId="4c03e191-e154-482a-88b2-11de19eac96c" providerId="ADAL" clId="{8245CC27-65FB-483E-B8E7-D04039DBA80D}" dt="2021-05-24T16:09:26.462" v="14523" actId="790"/>
          <ac:spMkLst>
            <pc:docMk/>
            <pc:sldMk cId="990182598" sldId="6698"/>
            <ac:spMk id="50" creationId="{22FD2612-8A28-4DFD-8887-ACAC783C1714}"/>
          </ac:spMkLst>
        </pc:spChg>
        <pc:spChg chg="mod">
          <ac:chgData name="Sarah GAUVARD" userId="4c03e191-e154-482a-88b2-11de19eac96c" providerId="ADAL" clId="{8245CC27-65FB-483E-B8E7-D04039DBA80D}" dt="2021-05-24T16:09:26.462" v="14524" actId="790"/>
          <ac:spMkLst>
            <pc:docMk/>
            <pc:sldMk cId="990182598" sldId="6698"/>
            <ac:spMk id="51" creationId="{20782AA8-B0B8-4114-BAE2-48FF78B565A4}"/>
          </ac:spMkLst>
        </pc:spChg>
        <pc:spChg chg="mod">
          <ac:chgData name="Sarah GAUVARD" userId="4c03e191-e154-482a-88b2-11de19eac96c" providerId="ADAL" clId="{8245CC27-65FB-483E-B8E7-D04039DBA80D}" dt="2021-05-24T16:09:26.462" v="14525" actId="790"/>
          <ac:spMkLst>
            <pc:docMk/>
            <pc:sldMk cId="990182598" sldId="6698"/>
            <ac:spMk id="52" creationId="{D11A7283-E4B1-418D-83B3-3F4FD0C037B4}"/>
          </ac:spMkLst>
        </pc:spChg>
        <pc:spChg chg="mod">
          <ac:chgData name="Sarah GAUVARD" userId="4c03e191-e154-482a-88b2-11de19eac96c" providerId="ADAL" clId="{8245CC27-65FB-483E-B8E7-D04039DBA80D}" dt="2021-05-24T16:09:26.462" v="14526" actId="790"/>
          <ac:spMkLst>
            <pc:docMk/>
            <pc:sldMk cId="990182598" sldId="6698"/>
            <ac:spMk id="53" creationId="{EDA30FC2-7439-417B-92CB-BD69D883C8BB}"/>
          </ac:spMkLst>
        </pc:spChg>
        <pc:spChg chg="mod">
          <ac:chgData name="Sarah GAUVARD" userId="4c03e191-e154-482a-88b2-11de19eac96c" providerId="ADAL" clId="{8245CC27-65FB-483E-B8E7-D04039DBA80D}" dt="2021-05-24T16:09:26.462" v="14527" actId="790"/>
          <ac:spMkLst>
            <pc:docMk/>
            <pc:sldMk cId="990182598" sldId="6698"/>
            <ac:spMk id="54" creationId="{79230EA9-8216-4C68-BB57-34D6DBAA8DAE}"/>
          </ac:spMkLst>
        </pc:spChg>
        <pc:spChg chg="mod">
          <ac:chgData name="Sarah GAUVARD" userId="4c03e191-e154-482a-88b2-11de19eac96c" providerId="ADAL" clId="{8245CC27-65FB-483E-B8E7-D04039DBA80D}" dt="2021-05-24T16:09:26.451" v="14506" actId="790"/>
          <ac:spMkLst>
            <pc:docMk/>
            <pc:sldMk cId="990182598" sldId="6698"/>
            <ac:spMk id="56" creationId="{27893590-1F59-43C2-9C0C-0120C309BA8A}"/>
          </ac:spMkLst>
        </pc:spChg>
        <pc:spChg chg="mod">
          <ac:chgData name="Sarah GAUVARD" userId="4c03e191-e154-482a-88b2-11de19eac96c" providerId="ADAL" clId="{8245CC27-65FB-483E-B8E7-D04039DBA80D}" dt="2021-05-24T16:09:26.451" v="14507" actId="790"/>
          <ac:spMkLst>
            <pc:docMk/>
            <pc:sldMk cId="990182598" sldId="6698"/>
            <ac:spMk id="57" creationId="{CE631BE4-AB26-45EF-8883-741069A2DDB6}"/>
          </ac:spMkLst>
        </pc:spChg>
        <pc:spChg chg="mod">
          <ac:chgData name="Sarah GAUVARD" userId="4c03e191-e154-482a-88b2-11de19eac96c" providerId="ADAL" clId="{8245CC27-65FB-483E-B8E7-D04039DBA80D}" dt="2021-05-24T16:09:26.451" v="14508" actId="790"/>
          <ac:spMkLst>
            <pc:docMk/>
            <pc:sldMk cId="990182598" sldId="6698"/>
            <ac:spMk id="58" creationId="{DDA40389-1778-47B0-A0F2-FC90D736D7D2}"/>
          </ac:spMkLst>
        </pc:spChg>
      </pc:sldChg>
      <pc:sldChg chg="addSp delSp modSp mod">
        <pc:chgData name="Sarah GAUVARD" userId="4c03e191-e154-482a-88b2-11de19eac96c" providerId="ADAL" clId="{8245CC27-65FB-483E-B8E7-D04039DBA80D}" dt="2021-05-25T07:49:35.430" v="17629" actId="20577"/>
        <pc:sldMkLst>
          <pc:docMk/>
          <pc:sldMk cId="740701424" sldId="6959"/>
        </pc:sldMkLst>
        <pc:spChg chg="add del mod modVis">
          <ac:chgData name="Sarah GAUVARD" userId="4c03e191-e154-482a-88b2-11de19eac96c" providerId="ADAL" clId="{8245CC27-65FB-483E-B8E7-D04039DBA80D}" dt="2021-05-24T15:34:45.966" v="11807"/>
          <ac:spMkLst>
            <pc:docMk/>
            <pc:sldMk cId="740701424" sldId="6959"/>
            <ac:spMk id="2" creationId="{96B524D9-89CE-4C39-BF6F-31E1C2E0D72B}"/>
          </ac:spMkLst>
        </pc:spChg>
        <pc:spChg chg="mod">
          <ac:chgData name="Sarah GAUVARD" userId="4c03e191-e154-482a-88b2-11de19eac96c" providerId="ADAL" clId="{8245CC27-65FB-483E-B8E7-D04039DBA80D}" dt="2021-05-24T16:09:29.161" v="17129" actId="790"/>
          <ac:spMkLst>
            <pc:docMk/>
            <pc:sldMk cId="740701424" sldId="6959"/>
            <ac:spMk id="7" creationId="{F59BFDDC-63FF-4CDF-9FA9-5814668C648B}"/>
          </ac:spMkLst>
        </pc:spChg>
        <pc:spChg chg="mod">
          <ac:chgData name="Sarah GAUVARD" userId="4c03e191-e154-482a-88b2-11de19eac96c" providerId="ADAL" clId="{8245CC27-65FB-483E-B8E7-D04039DBA80D}" dt="2021-05-24T16:09:29.169" v="17130" actId="790"/>
          <ac:spMkLst>
            <pc:docMk/>
            <pc:sldMk cId="740701424" sldId="6959"/>
            <ac:spMk id="9" creationId="{49F50324-8FE3-49D2-AC0C-64BB9668D89C}"/>
          </ac:spMkLst>
        </pc:spChg>
        <pc:spChg chg="mod">
          <ac:chgData name="Sarah GAUVARD" userId="4c03e191-e154-482a-88b2-11de19eac96c" providerId="ADAL" clId="{8245CC27-65FB-483E-B8E7-D04039DBA80D}" dt="2021-05-24T16:09:29.169" v="17131" actId="790"/>
          <ac:spMkLst>
            <pc:docMk/>
            <pc:sldMk cId="740701424" sldId="6959"/>
            <ac:spMk id="17" creationId="{18E4EC05-2AF6-4906-B53C-3312003D909B}"/>
          </ac:spMkLst>
        </pc:spChg>
        <pc:spChg chg="mod">
          <ac:chgData name="Sarah GAUVARD" userId="4c03e191-e154-482a-88b2-11de19eac96c" providerId="ADAL" clId="{8245CC27-65FB-483E-B8E7-D04039DBA80D}" dt="2021-05-24T16:09:29.171" v="17132" actId="790"/>
          <ac:spMkLst>
            <pc:docMk/>
            <pc:sldMk cId="740701424" sldId="6959"/>
            <ac:spMk id="20" creationId="{F4497158-D34C-4419-B3D0-F17C1F7D7709}"/>
          </ac:spMkLst>
        </pc:spChg>
        <pc:spChg chg="mod">
          <ac:chgData name="Sarah GAUVARD" userId="4c03e191-e154-482a-88b2-11de19eac96c" providerId="ADAL" clId="{8245CC27-65FB-483E-B8E7-D04039DBA80D}" dt="2021-05-24T16:09:29.171" v="17133" actId="790"/>
          <ac:spMkLst>
            <pc:docMk/>
            <pc:sldMk cId="740701424" sldId="6959"/>
            <ac:spMk id="21" creationId="{C08B3B04-74BD-4387-A846-860B933AEE15}"/>
          </ac:spMkLst>
        </pc:spChg>
        <pc:spChg chg="mod">
          <ac:chgData name="Sarah GAUVARD" userId="4c03e191-e154-482a-88b2-11de19eac96c" providerId="ADAL" clId="{8245CC27-65FB-483E-B8E7-D04039DBA80D}" dt="2021-05-24T16:09:29.171" v="17134" actId="790"/>
          <ac:spMkLst>
            <pc:docMk/>
            <pc:sldMk cId="740701424" sldId="6959"/>
            <ac:spMk id="26" creationId="{6CF5A286-62AE-4EAD-96EE-EA84E93052E2}"/>
          </ac:spMkLst>
        </pc:spChg>
        <pc:spChg chg="mod">
          <ac:chgData name="Sarah GAUVARD" userId="4c03e191-e154-482a-88b2-11de19eac96c" providerId="ADAL" clId="{8245CC27-65FB-483E-B8E7-D04039DBA80D}" dt="2021-05-24T16:09:29.171" v="17135" actId="790"/>
          <ac:spMkLst>
            <pc:docMk/>
            <pc:sldMk cId="740701424" sldId="6959"/>
            <ac:spMk id="29" creationId="{424718BD-FEEC-42C2-BA94-3948DB62C7BC}"/>
          </ac:spMkLst>
        </pc:spChg>
        <pc:spChg chg="mod">
          <ac:chgData name="Sarah GAUVARD" userId="4c03e191-e154-482a-88b2-11de19eac96c" providerId="ADAL" clId="{8245CC27-65FB-483E-B8E7-D04039DBA80D}" dt="2021-05-24T16:09:29.171" v="17136" actId="790"/>
          <ac:spMkLst>
            <pc:docMk/>
            <pc:sldMk cId="740701424" sldId="6959"/>
            <ac:spMk id="30" creationId="{F6963B07-4E20-4979-920A-F73372DEAA03}"/>
          </ac:spMkLst>
        </pc:spChg>
        <pc:spChg chg="mod">
          <ac:chgData name="Sarah GAUVARD" userId="4c03e191-e154-482a-88b2-11de19eac96c" providerId="ADAL" clId="{8245CC27-65FB-483E-B8E7-D04039DBA80D}" dt="2021-05-24T16:09:29.171" v="17137" actId="790"/>
          <ac:spMkLst>
            <pc:docMk/>
            <pc:sldMk cId="740701424" sldId="6959"/>
            <ac:spMk id="32" creationId="{C13EEF92-6C77-4133-9353-B4FBF57D95B4}"/>
          </ac:spMkLst>
        </pc:spChg>
        <pc:spChg chg="mod">
          <ac:chgData name="Sarah GAUVARD" userId="4c03e191-e154-482a-88b2-11de19eac96c" providerId="ADAL" clId="{8245CC27-65FB-483E-B8E7-D04039DBA80D}" dt="2021-05-24T16:09:29.171" v="17138" actId="790"/>
          <ac:spMkLst>
            <pc:docMk/>
            <pc:sldMk cId="740701424" sldId="6959"/>
            <ac:spMk id="33" creationId="{044C515C-AB92-4EFF-B0C5-B157114ACC30}"/>
          </ac:spMkLst>
        </pc:spChg>
        <pc:spChg chg="mod">
          <ac:chgData name="Sarah GAUVARD" userId="4c03e191-e154-482a-88b2-11de19eac96c" providerId="ADAL" clId="{8245CC27-65FB-483E-B8E7-D04039DBA80D}" dt="2021-05-24T16:09:29.171" v="17139" actId="790"/>
          <ac:spMkLst>
            <pc:docMk/>
            <pc:sldMk cId="740701424" sldId="6959"/>
            <ac:spMk id="34" creationId="{95747EA9-B0FD-4326-B394-D81C6A6378A6}"/>
          </ac:spMkLst>
        </pc:spChg>
        <pc:spChg chg="mod">
          <ac:chgData name="Sarah GAUVARD" userId="4c03e191-e154-482a-88b2-11de19eac96c" providerId="ADAL" clId="{8245CC27-65FB-483E-B8E7-D04039DBA80D}" dt="2021-05-24T16:09:29.179" v="17140" actId="790"/>
          <ac:spMkLst>
            <pc:docMk/>
            <pc:sldMk cId="740701424" sldId="6959"/>
            <ac:spMk id="36" creationId="{93A41892-9175-4003-9FFE-2BD4CC56AE96}"/>
          </ac:spMkLst>
        </pc:spChg>
        <pc:spChg chg="mod">
          <ac:chgData name="Sarah GAUVARD" userId="4c03e191-e154-482a-88b2-11de19eac96c" providerId="ADAL" clId="{8245CC27-65FB-483E-B8E7-D04039DBA80D}" dt="2021-05-24T16:09:29.179" v="17141" actId="790"/>
          <ac:spMkLst>
            <pc:docMk/>
            <pc:sldMk cId="740701424" sldId="6959"/>
            <ac:spMk id="38" creationId="{DED28D0A-D139-4A93-95E1-E1BD7899482F}"/>
          </ac:spMkLst>
        </pc:spChg>
        <pc:spChg chg="mod">
          <ac:chgData name="Sarah GAUVARD" userId="4c03e191-e154-482a-88b2-11de19eac96c" providerId="ADAL" clId="{8245CC27-65FB-483E-B8E7-D04039DBA80D}" dt="2021-05-25T07:49:35.430" v="17629" actId="20577"/>
          <ac:spMkLst>
            <pc:docMk/>
            <pc:sldMk cId="740701424" sldId="6959"/>
            <ac:spMk id="40" creationId="{8B78A48D-A92E-4D2A-B97F-61F5808A1067}"/>
          </ac:spMkLst>
        </pc:spChg>
        <pc:spChg chg="mod">
          <ac:chgData name="Sarah GAUVARD" userId="4c03e191-e154-482a-88b2-11de19eac96c" providerId="ADAL" clId="{8245CC27-65FB-483E-B8E7-D04039DBA80D}" dt="2021-05-24T16:09:29.181" v="17142" actId="790"/>
          <ac:spMkLst>
            <pc:docMk/>
            <pc:sldMk cId="740701424" sldId="6959"/>
            <ac:spMk id="42" creationId="{AA014D92-B2A7-4508-93BA-2C0134CC9621}"/>
          </ac:spMkLst>
        </pc:spChg>
        <pc:spChg chg="mod">
          <ac:chgData name="Sarah GAUVARD" userId="4c03e191-e154-482a-88b2-11de19eac96c" providerId="ADAL" clId="{8245CC27-65FB-483E-B8E7-D04039DBA80D}" dt="2021-05-24T16:09:29.181" v="17143" actId="790"/>
          <ac:spMkLst>
            <pc:docMk/>
            <pc:sldMk cId="740701424" sldId="6959"/>
            <ac:spMk id="43" creationId="{F14F51AA-0542-42F6-8057-9788E1A01863}"/>
          </ac:spMkLst>
        </pc:spChg>
        <pc:spChg chg="mod">
          <ac:chgData name="Sarah GAUVARD" userId="4c03e191-e154-482a-88b2-11de19eac96c" providerId="ADAL" clId="{8245CC27-65FB-483E-B8E7-D04039DBA80D}" dt="2021-05-24T16:09:29.181" v="17144" actId="790"/>
          <ac:spMkLst>
            <pc:docMk/>
            <pc:sldMk cId="740701424" sldId="6959"/>
            <ac:spMk id="54" creationId="{38B7306C-C51D-4644-865B-6AE19B24B543}"/>
          </ac:spMkLst>
        </pc:spChg>
        <pc:spChg chg="mod">
          <ac:chgData name="Sarah GAUVARD" userId="4c03e191-e154-482a-88b2-11de19eac96c" providerId="ADAL" clId="{8245CC27-65FB-483E-B8E7-D04039DBA80D}" dt="2021-05-24T16:09:29.181" v="17145" actId="790"/>
          <ac:spMkLst>
            <pc:docMk/>
            <pc:sldMk cId="740701424" sldId="6959"/>
            <ac:spMk id="55" creationId="{BB50F5C0-B75D-439C-9D59-F4F6D679A946}"/>
          </ac:spMkLst>
        </pc:spChg>
        <pc:spChg chg="mod">
          <ac:chgData name="Sarah GAUVARD" userId="4c03e191-e154-482a-88b2-11de19eac96c" providerId="ADAL" clId="{8245CC27-65FB-483E-B8E7-D04039DBA80D}" dt="2021-05-24T16:09:29.181" v="17146" actId="790"/>
          <ac:spMkLst>
            <pc:docMk/>
            <pc:sldMk cId="740701424" sldId="6959"/>
            <ac:spMk id="57" creationId="{E0F76770-D097-4940-99DE-18677AF56B89}"/>
          </ac:spMkLst>
        </pc:spChg>
        <pc:spChg chg="mod">
          <ac:chgData name="Sarah GAUVARD" userId="4c03e191-e154-482a-88b2-11de19eac96c" providerId="ADAL" clId="{8245CC27-65FB-483E-B8E7-D04039DBA80D}" dt="2021-05-24T16:09:29.181" v="17147" actId="790"/>
          <ac:spMkLst>
            <pc:docMk/>
            <pc:sldMk cId="740701424" sldId="6959"/>
            <ac:spMk id="58" creationId="{BA0537E7-3AFE-415D-B637-E3A80D9AB377}"/>
          </ac:spMkLst>
        </pc:spChg>
        <pc:spChg chg="mod">
          <ac:chgData name="Sarah GAUVARD" userId="4c03e191-e154-482a-88b2-11de19eac96c" providerId="ADAL" clId="{8245CC27-65FB-483E-B8E7-D04039DBA80D}" dt="2021-05-24T16:09:29.181" v="17148" actId="790"/>
          <ac:spMkLst>
            <pc:docMk/>
            <pc:sldMk cId="740701424" sldId="6959"/>
            <ac:spMk id="64" creationId="{FB0966A3-7BFB-4B97-B5BA-687C10B91E0A}"/>
          </ac:spMkLst>
        </pc:spChg>
        <pc:spChg chg="mod">
          <ac:chgData name="Sarah GAUVARD" userId="4c03e191-e154-482a-88b2-11de19eac96c" providerId="ADAL" clId="{8245CC27-65FB-483E-B8E7-D04039DBA80D}" dt="2021-05-24T16:09:29.181" v="17149" actId="790"/>
          <ac:spMkLst>
            <pc:docMk/>
            <pc:sldMk cId="740701424" sldId="6959"/>
            <ac:spMk id="65" creationId="{8DC4DF31-E991-4394-B4EA-1B6846F1017B}"/>
          </ac:spMkLst>
        </pc:spChg>
        <pc:spChg chg="mod">
          <ac:chgData name="Sarah GAUVARD" userId="4c03e191-e154-482a-88b2-11de19eac96c" providerId="ADAL" clId="{8245CC27-65FB-483E-B8E7-D04039DBA80D}" dt="2021-05-24T16:09:29.181" v="17150" actId="790"/>
          <ac:spMkLst>
            <pc:docMk/>
            <pc:sldMk cId="740701424" sldId="6959"/>
            <ac:spMk id="66" creationId="{033643DA-06F1-467E-94E0-6AFEDAD56E10}"/>
          </ac:spMkLst>
        </pc:spChg>
        <pc:spChg chg="mod">
          <ac:chgData name="Sarah GAUVARD" userId="4c03e191-e154-482a-88b2-11de19eac96c" providerId="ADAL" clId="{8245CC27-65FB-483E-B8E7-D04039DBA80D}" dt="2021-05-24T16:09:29.181" v="17151" actId="790"/>
          <ac:spMkLst>
            <pc:docMk/>
            <pc:sldMk cId="740701424" sldId="6959"/>
            <ac:spMk id="67" creationId="{E92DAD5B-79EE-48F6-9FEF-73E7D9DC575B}"/>
          </ac:spMkLst>
        </pc:spChg>
        <pc:spChg chg="mod">
          <ac:chgData name="Sarah GAUVARD" userId="4c03e191-e154-482a-88b2-11de19eac96c" providerId="ADAL" clId="{8245CC27-65FB-483E-B8E7-D04039DBA80D}" dt="2021-05-24T16:09:29.181" v="17152" actId="790"/>
          <ac:spMkLst>
            <pc:docMk/>
            <pc:sldMk cId="740701424" sldId="6959"/>
            <ac:spMk id="68" creationId="{DEE456DD-FFB7-4348-806E-D22284A10DB1}"/>
          </ac:spMkLst>
        </pc:spChg>
        <pc:spChg chg="mod">
          <ac:chgData name="Sarah GAUVARD" userId="4c03e191-e154-482a-88b2-11de19eac96c" providerId="ADAL" clId="{8245CC27-65FB-483E-B8E7-D04039DBA80D}" dt="2021-05-24T16:09:29.181" v="17153" actId="790"/>
          <ac:spMkLst>
            <pc:docMk/>
            <pc:sldMk cId="740701424" sldId="6959"/>
            <ac:spMk id="69" creationId="{67C22FF6-4756-4F0B-BC28-1A1B73AC89C8}"/>
          </ac:spMkLst>
        </pc:spChg>
        <pc:graphicFrameChg chg="mod">
          <ac:chgData name="Sarah GAUVARD" userId="4c03e191-e154-482a-88b2-11de19eac96c" providerId="ADAL" clId="{8245CC27-65FB-483E-B8E7-D04039DBA80D}" dt="2021-05-24T15:34:45.970" v="11809"/>
          <ac:graphicFrameMkLst>
            <pc:docMk/>
            <pc:sldMk cId="740701424" sldId="6959"/>
            <ac:graphicFrameMk id="74" creationId="{13F87AA8-9D06-4BBE-A4EF-68B245D429DA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461" v="15473" actId="790"/>
        <pc:sldMkLst>
          <pc:docMk/>
          <pc:sldMk cId="2808160924" sldId="6961"/>
        </pc:sldMkLst>
        <pc:spChg chg="add del mod modVis">
          <ac:chgData name="Sarah GAUVARD" userId="4c03e191-e154-482a-88b2-11de19eac96c" providerId="ADAL" clId="{8245CC27-65FB-483E-B8E7-D04039DBA80D}" dt="2021-05-24T15:34:46.348" v="12020"/>
          <ac:spMkLst>
            <pc:docMk/>
            <pc:sldMk cId="2808160924" sldId="6961"/>
            <ac:spMk id="2" creationId="{523BF0ED-1DC4-49B0-9919-FD487BEDE185}"/>
          </ac:spMkLst>
        </pc:spChg>
        <pc:spChg chg="mod">
          <ac:chgData name="Sarah GAUVARD" userId="4c03e191-e154-482a-88b2-11de19eac96c" providerId="ADAL" clId="{8245CC27-65FB-483E-B8E7-D04039DBA80D}" dt="2021-05-24T16:09:27.441" v="15448" actId="790"/>
          <ac:spMkLst>
            <pc:docMk/>
            <pc:sldMk cId="2808160924" sldId="6961"/>
            <ac:spMk id="3" creationId="{EEAF1987-D318-4165-8539-CE9944DDE20A}"/>
          </ac:spMkLst>
        </pc:spChg>
        <pc:spChg chg="mod">
          <ac:chgData name="Sarah GAUVARD" userId="4c03e191-e154-482a-88b2-11de19eac96c" providerId="ADAL" clId="{8245CC27-65FB-483E-B8E7-D04039DBA80D}" dt="2021-05-24T16:09:27.441" v="15447" actId="790"/>
          <ac:spMkLst>
            <pc:docMk/>
            <pc:sldMk cId="2808160924" sldId="6961"/>
            <ac:spMk id="7" creationId="{F59BFDDC-63FF-4CDF-9FA9-5814668C648B}"/>
          </ac:spMkLst>
        </pc:spChg>
        <pc:spChg chg="mod">
          <ac:chgData name="Sarah GAUVARD" userId="4c03e191-e154-482a-88b2-11de19eac96c" providerId="ADAL" clId="{8245CC27-65FB-483E-B8E7-D04039DBA80D}" dt="2021-05-24T16:09:27.441" v="15446" actId="790"/>
          <ac:spMkLst>
            <pc:docMk/>
            <pc:sldMk cId="2808160924" sldId="6961"/>
            <ac:spMk id="22" creationId="{915D1B6E-612E-40C3-AAAD-AD7DCE1807AA}"/>
          </ac:spMkLst>
        </pc:spChg>
        <pc:spChg chg="mod">
          <ac:chgData name="Sarah GAUVARD" userId="4c03e191-e154-482a-88b2-11de19eac96c" providerId="ADAL" clId="{8245CC27-65FB-483E-B8E7-D04039DBA80D}" dt="2021-05-24T16:09:27.441" v="15449" actId="790"/>
          <ac:spMkLst>
            <pc:docMk/>
            <pc:sldMk cId="2808160924" sldId="6961"/>
            <ac:spMk id="32" creationId="{F11BA718-5E1F-4D56-A080-7306BA71EC56}"/>
          </ac:spMkLst>
        </pc:spChg>
        <pc:spChg chg="mod">
          <ac:chgData name="Sarah GAUVARD" userId="4c03e191-e154-482a-88b2-11de19eac96c" providerId="ADAL" clId="{8245CC27-65FB-483E-B8E7-D04039DBA80D}" dt="2021-05-24T16:09:27.441" v="15450" actId="790"/>
          <ac:spMkLst>
            <pc:docMk/>
            <pc:sldMk cId="2808160924" sldId="6961"/>
            <ac:spMk id="33" creationId="{5A86DC5E-7562-4215-BCC6-159FD163B5F0}"/>
          </ac:spMkLst>
        </pc:spChg>
        <pc:spChg chg="mod">
          <ac:chgData name="Sarah GAUVARD" userId="4c03e191-e154-482a-88b2-11de19eac96c" providerId="ADAL" clId="{8245CC27-65FB-483E-B8E7-D04039DBA80D}" dt="2021-05-24T16:09:27.441" v="15451" actId="790"/>
          <ac:spMkLst>
            <pc:docMk/>
            <pc:sldMk cId="2808160924" sldId="6961"/>
            <ac:spMk id="34" creationId="{4541F8E9-9C1C-4528-A806-CF225757AA45}"/>
          </ac:spMkLst>
        </pc:spChg>
        <pc:spChg chg="mod">
          <ac:chgData name="Sarah GAUVARD" userId="4c03e191-e154-482a-88b2-11de19eac96c" providerId="ADAL" clId="{8245CC27-65FB-483E-B8E7-D04039DBA80D}" dt="2021-05-24T16:09:27.441" v="15452" actId="790"/>
          <ac:spMkLst>
            <pc:docMk/>
            <pc:sldMk cId="2808160924" sldId="6961"/>
            <ac:spMk id="35" creationId="{A32B9102-CB94-48AF-94DC-EBC6A8AD50B2}"/>
          </ac:spMkLst>
        </pc:spChg>
        <pc:spChg chg="mod">
          <ac:chgData name="Sarah GAUVARD" userId="4c03e191-e154-482a-88b2-11de19eac96c" providerId="ADAL" clId="{8245CC27-65FB-483E-B8E7-D04039DBA80D}" dt="2021-05-24T16:09:27.441" v="15453" actId="790"/>
          <ac:spMkLst>
            <pc:docMk/>
            <pc:sldMk cId="2808160924" sldId="6961"/>
            <ac:spMk id="36" creationId="{A3146F46-B983-45FC-984A-23D11CF92CF3}"/>
          </ac:spMkLst>
        </pc:spChg>
        <pc:spChg chg="mod">
          <ac:chgData name="Sarah GAUVARD" userId="4c03e191-e154-482a-88b2-11de19eac96c" providerId="ADAL" clId="{8245CC27-65FB-483E-B8E7-D04039DBA80D}" dt="2021-05-24T16:09:27.441" v="15454" actId="790"/>
          <ac:spMkLst>
            <pc:docMk/>
            <pc:sldMk cId="2808160924" sldId="6961"/>
            <ac:spMk id="38" creationId="{60E82FDA-D8F3-4F51-A70E-C2463A95644C}"/>
          </ac:spMkLst>
        </pc:spChg>
        <pc:spChg chg="mod">
          <ac:chgData name="Sarah GAUVARD" userId="4c03e191-e154-482a-88b2-11de19eac96c" providerId="ADAL" clId="{8245CC27-65FB-483E-B8E7-D04039DBA80D}" dt="2021-05-24T16:09:27.449" v="15455" actId="790"/>
          <ac:spMkLst>
            <pc:docMk/>
            <pc:sldMk cId="2808160924" sldId="6961"/>
            <ac:spMk id="39" creationId="{70CEDCAE-DD9E-4FEB-A03A-70A9B2A27108}"/>
          </ac:spMkLst>
        </pc:spChg>
        <pc:spChg chg="mod">
          <ac:chgData name="Sarah GAUVARD" userId="4c03e191-e154-482a-88b2-11de19eac96c" providerId="ADAL" clId="{8245CC27-65FB-483E-B8E7-D04039DBA80D}" dt="2021-05-24T16:09:27.451" v="15456" actId="790"/>
          <ac:spMkLst>
            <pc:docMk/>
            <pc:sldMk cId="2808160924" sldId="6961"/>
            <ac:spMk id="42" creationId="{C007AC2B-F031-4544-B0C5-B373DA55A59B}"/>
          </ac:spMkLst>
        </pc:spChg>
        <pc:spChg chg="mod">
          <ac:chgData name="Sarah GAUVARD" userId="4c03e191-e154-482a-88b2-11de19eac96c" providerId="ADAL" clId="{8245CC27-65FB-483E-B8E7-D04039DBA80D}" dt="2021-05-24T16:09:27.451" v="15457" actId="790"/>
          <ac:spMkLst>
            <pc:docMk/>
            <pc:sldMk cId="2808160924" sldId="6961"/>
            <ac:spMk id="43" creationId="{622D55B0-DD9C-4023-AB94-CE089994EC75}"/>
          </ac:spMkLst>
        </pc:spChg>
        <pc:spChg chg="mod">
          <ac:chgData name="Sarah GAUVARD" userId="4c03e191-e154-482a-88b2-11de19eac96c" providerId="ADAL" clId="{8245CC27-65FB-483E-B8E7-D04039DBA80D}" dt="2021-05-24T16:09:27.451" v="15458" actId="790"/>
          <ac:spMkLst>
            <pc:docMk/>
            <pc:sldMk cId="2808160924" sldId="6961"/>
            <ac:spMk id="45" creationId="{5CE85AE7-FEE1-44CA-80B3-D0DC0F17E39C}"/>
          </ac:spMkLst>
        </pc:spChg>
        <pc:spChg chg="mod">
          <ac:chgData name="Sarah GAUVARD" userId="4c03e191-e154-482a-88b2-11de19eac96c" providerId="ADAL" clId="{8245CC27-65FB-483E-B8E7-D04039DBA80D}" dt="2021-05-24T16:09:27.451" v="15459" actId="790"/>
          <ac:spMkLst>
            <pc:docMk/>
            <pc:sldMk cId="2808160924" sldId="6961"/>
            <ac:spMk id="53" creationId="{728C0255-F34F-4735-B701-0C6DB6A82697}"/>
          </ac:spMkLst>
        </pc:spChg>
        <pc:spChg chg="mod">
          <ac:chgData name="Sarah GAUVARD" userId="4c03e191-e154-482a-88b2-11de19eac96c" providerId="ADAL" clId="{8245CC27-65FB-483E-B8E7-D04039DBA80D}" dt="2021-05-24T16:09:27.451" v="15460" actId="790"/>
          <ac:spMkLst>
            <pc:docMk/>
            <pc:sldMk cId="2808160924" sldId="6961"/>
            <ac:spMk id="54" creationId="{85B1C81A-231D-48C8-84AE-5EE295244265}"/>
          </ac:spMkLst>
        </pc:spChg>
        <pc:spChg chg="mod">
          <ac:chgData name="Sarah GAUVARD" userId="4c03e191-e154-482a-88b2-11de19eac96c" providerId="ADAL" clId="{8245CC27-65FB-483E-B8E7-D04039DBA80D}" dt="2021-05-24T16:09:27.451" v="15461" actId="790"/>
          <ac:spMkLst>
            <pc:docMk/>
            <pc:sldMk cId="2808160924" sldId="6961"/>
            <ac:spMk id="55" creationId="{CB6B9718-F135-45F8-AEBA-74FA63710745}"/>
          </ac:spMkLst>
        </pc:spChg>
        <pc:spChg chg="mod">
          <ac:chgData name="Sarah GAUVARD" userId="4c03e191-e154-482a-88b2-11de19eac96c" providerId="ADAL" clId="{8245CC27-65FB-483E-B8E7-D04039DBA80D}" dt="2021-05-24T16:09:27.451" v="15462" actId="790"/>
          <ac:spMkLst>
            <pc:docMk/>
            <pc:sldMk cId="2808160924" sldId="6961"/>
            <ac:spMk id="56" creationId="{50EEAD72-D1CC-4940-A4B5-C62651B81DA1}"/>
          </ac:spMkLst>
        </pc:spChg>
        <pc:spChg chg="mod">
          <ac:chgData name="Sarah GAUVARD" userId="4c03e191-e154-482a-88b2-11de19eac96c" providerId="ADAL" clId="{8245CC27-65FB-483E-B8E7-D04039DBA80D}" dt="2021-05-24T16:09:27.451" v="15463" actId="790"/>
          <ac:spMkLst>
            <pc:docMk/>
            <pc:sldMk cId="2808160924" sldId="6961"/>
            <ac:spMk id="58" creationId="{A128AB00-1EA4-4DD2-B033-484B5E768D2A}"/>
          </ac:spMkLst>
        </pc:spChg>
        <pc:spChg chg="mod">
          <ac:chgData name="Sarah GAUVARD" userId="4c03e191-e154-482a-88b2-11de19eac96c" providerId="ADAL" clId="{8245CC27-65FB-483E-B8E7-D04039DBA80D}" dt="2021-05-24T16:09:27.451" v="15464" actId="790"/>
          <ac:spMkLst>
            <pc:docMk/>
            <pc:sldMk cId="2808160924" sldId="6961"/>
            <ac:spMk id="59" creationId="{C527F4D9-5F1F-4346-8985-91CF05F3AB01}"/>
          </ac:spMkLst>
        </pc:spChg>
        <pc:spChg chg="mod">
          <ac:chgData name="Sarah GAUVARD" userId="4c03e191-e154-482a-88b2-11de19eac96c" providerId="ADAL" clId="{8245CC27-65FB-483E-B8E7-D04039DBA80D}" dt="2021-05-24T16:09:27.451" v="15465" actId="790"/>
          <ac:spMkLst>
            <pc:docMk/>
            <pc:sldMk cId="2808160924" sldId="6961"/>
            <ac:spMk id="60" creationId="{4C6CAE5C-6B57-43FF-B10B-91C28E2AAA79}"/>
          </ac:spMkLst>
        </pc:spChg>
        <pc:spChg chg="mod">
          <ac:chgData name="Sarah GAUVARD" userId="4c03e191-e154-482a-88b2-11de19eac96c" providerId="ADAL" clId="{8245CC27-65FB-483E-B8E7-D04039DBA80D}" dt="2021-05-24T16:09:27.451" v="15466" actId="790"/>
          <ac:spMkLst>
            <pc:docMk/>
            <pc:sldMk cId="2808160924" sldId="6961"/>
            <ac:spMk id="61" creationId="{A6E8C61E-CFC4-41EC-AC3C-0CE01414D934}"/>
          </ac:spMkLst>
        </pc:spChg>
        <pc:spChg chg="mod">
          <ac:chgData name="Sarah GAUVARD" userId="4c03e191-e154-482a-88b2-11de19eac96c" providerId="ADAL" clId="{8245CC27-65FB-483E-B8E7-D04039DBA80D}" dt="2021-05-24T16:09:27.451" v="15467" actId="790"/>
          <ac:spMkLst>
            <pc:docMk/>
            <pc:sldMk cId="2808160924" sldId="6961"/>
            <ac:spMk id="62" creationId="{58DB2BE3-F0D9-432A-9451-97145834550C}"/>
          </ac:spMkLst>
        </pc:spChg>
        <pc:spChg chg="mod">
          <ac:chgData name="Sarah GAUVARD" userId="4c03e191-e154-482a-88b2-11de19eac96c" providerId="ADAL" clId="{8245CC27-65FB-483E-B8E7-D04039DBA80D}" dt="2021-05-24T16:09:27.459" v="15468" actId="790"/>
          <ac:spMkLst>
            <pc:docMk/>
            <pc:sldMk cId="2808160924" sldId="6961"/>
            <ac:spMk id="63" creationId="{71290402-55BD-44D1-85A0-25FCF4D125A5}"/>
          </ac:spMkLst>
        </pc:spChg>
        <pc:spChg chg="mod">
          <ac:chgData name="Sarah GAUVARD" userId="4c03e191-e154-482a-88b2-11de19eac96c" providerId="ADAL" clId="{8245CC27-65FB-483E-B8E7-D04039DBA80D}" dt="2021-05-24T16:09:27.459" v="15469" actId="790"/>
          <ac:spMkLst>
            <pc:docMk/>
            <pc:sldMk cId="2808160924" sldId="6961"/>
            <ac:spMk id="69" creationId="{C5FB799E-CDDD-4EC0-A3FD-67B30854E1F4}"/>
          </ac:spMkLst>
        </pc:spChg>
        <pc:spChg chg="mod">
          <ac:chgData name="Sarah GAUVARD" userId="4c03e191-e154-482a-88b2-11de19eac96c" providerId="ADAL" clId="{8245CC27-65FB-483E-B8E7-D04039DBA80D}" dt="2021-05-24T16:09:27.461" v="15470" actId="790"/>
          <ac:spMkLst>
            <pc:docMk/>
            <pc:sldMk cId="2808160924" sldId="6961"/>
            <ac:spMk id="71" creationId="{8D12D69A-4821-400B-80C7-03B7B701F3B3}"/>
          </ac:spMkLst>
        </pc:spChg>
        <pc:spChg chg="mod">
          <ac:chgData name="Sarah GAUVARD" userId="4c03e191-e154-482a-88b2-11de19eac96c" providerId="ADAL" clId="{8245CC27-65FB-483E-B8E7-D04039DBA80D}" dt="2021-05-24T16:09:27.461" v="15471" actId="790"/>
          <ac:spMkLst>
            <pc:docMk/>
            <pc:sldMk cId="2808160924" sldId="6961"/>
            <ac:spMk id="72" creationId="{4C7576A4-CD03-46B5-B5BA-A0EDD03204C7}"/>
          </ac:spMkLst>
        </pc:spChg>
        <pc:spChg chg="mod">
          <ac:chgData name="Sarah GAUVARD" userId="4c03e191-e154-482a-88b2-11de19eac96c" providerId="ADAL" clId="{8245CC27-65FB-483E-B8E7-D04039DBA80D}" dt="2021-05-24T16:09:27.461" v="15472" actId="790"/>
          <ac:spMkLst>
            <pc:docMk/>
            <pc:sldMk cId="2808160924" sldId="6961"/>
            <ac:spMk id="73" creationId="{8C709857-1A4D-47D5-82BB-1AE431A7DE7A}"/>
          </ac:spMkLst>
        </pc:spChg>
        <pc:spChg chg="mod">
          <ac:chgData name="Sarah GAUVARD" userId="4c03e191-e154-482a-88b2-11de19eac96c" providerId="ADAL" clId="{8245CC27-65FB-483E-B8E7-D04039DBA80D}" dt="2021-05-24T16:09:27.461" v="15473" actId="790"/>
          <ac:spMkLst>
            <pc:docMk/>
            <pc:sldMk cId="2808160924" sldId="6961"/>
            <ac:spMk id="75" creationId="{EBF05075-15DD-4716-858A-7420380CCB29}"/>
          </ac:spMkLst>
        </pc:spChg>
        <pc:graphicFrameChg chg="mod">
          <ac:chgData name="Sarah GAUVARD" userId="4c03e191-e154-482a-88b2-11de19eac96c" providerId="ADAL" clId="{8245CC27-65FB-483E-B8E7-D04039DBA80D}" dt="2021-05-24T15:34:46.352" v="12022"/>
          <ac:graphicFrameMkLst>
            <pc:docMk/>
            <pc:sldMk cId="2808160924" sldId="6961"/>
            <ac:graphicFrameMk id="74" creationId="{13F87AA8-9D06-4BBE-A4EF-68B245D429DA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4T15:34:40.704" v="8849" actId="790"/>
        <pc:sldMkLst>
          <pc:docMk/>
          <pc:sldMk cId="349867828" sldId="6963"/>
        </pc:sldMkLst>
        <pc:spChg chg="mod">
          <ac:chgData name="Sarah GAUVARD" userId="4c03e191-e154-482a-88b2-11de19eac96c" providerId="ADAL" clId="{8245CC27-65FB-483E-B8E7-D04039DBA80D}" dt="2021-05-24T15:34:40.688" v="8838" actId="790"/>
          <ac:spMkLst>
            <pc:docMk/>
            <pc:sldMk cId="349867828" sldId="6963"/>
            <ac:spMk id="4" creationId="{763A14D4-D844-47FD-A570-9AD585A69923}"/>
          </ac:spMkLst>
        </pc:spChg>
        <pc:spChg chg="mod">
          <ac:chgData name="Sarah GAUVARD" userId="4c03e191-e154-482a-88b2-11de19eac96c" providerId="ADAL" clId="{8245CC27-65FB-483E-B8E7-D04039DBA80D}" dt="2021-05-24T15:34:40.690" v="8839" actId="790"/>
          <ac:spMkLst>
            <pc:docMk/>
            <pc:sldMk cId="349867828" sldId="6963"/>
            <ac:spMk id="20" creationId="{6AD671E4-82A7-4B89-9CD5-33EAC26CC7FD}"/>
          </ac:spMkLst>
        </pc:spChg>
        <pc:spChg chg="mod">
          <ac:chgData name="Sarah GAUVARD" userId="4c03e191-e154-482a-88b2-11de19eac96c" providerId="ADAL" clId="{8245CC27-65FB-483E-B8E7-D04039DBA80D}" dt="2021-05-24T15:34:40.691" v="8840" actId="790"/>
          <ac:spMkLst>
            <pc:docMk/>
            <pc:sldMk cId="349867828" sldId="6963"/>
            <ac:spMk id="21" creationId="{D344FCB0-B0A7-4A61-93F9-799B17589073}"/>
          </ac:spMkLst>
        </pc:spChg>
        <pc:spChg chg="mod">
          <ac:chgData name="Sarah GAUVARD" userId="4c03e191-e154-482a-88b2-11de19eac96c" providerId="ADAL" clId="{8245CC27-65FB-483E-B8E7-D04039DBA80D}" dt="2021-05-24T15:34:40.692" v="8841" actId="790"/>
          <ac:spMkLst>
            <pc:docMk/>
            <pc:sldMk cId="349867828" sldId="6963"/>
            <ac:spMk id="22" creationId="{5E9577AE-DB16-4914-90F2-9FAA91CFE570}"/>
          </ac:spMkLst>
        </pc:spChg>
        <pc:spChg chg="mod">
          <ac:chgData name="Sarah GAUVARD" userId="4c03e191-e154-482a-88b2-11de19eac96c" providerId="ADAL" clId="{8245CC27-65FB-483E-B8E7-D04039DBA80D}" dt="2021-05-24T15:34:40.704" v="8849" actId="790"/>
          <ac:spMkLst>
            <pc:docMk/>
            <pc:sldMk cId="349867828" sldId="6963"/>
            <ac:spMk id="23" creationId="{066B5D2A-5276-4BC6-A3EC-69EE200BC885}"/>
          </ac:spMkLst>
        </pc:spChg>
        <pc:spChg chg="mod">
          <ac:chgData name="Sarah GAUVARD" userId="4c03e191-e154-482a-88b2-11de19eac96c" providerId="ADAL" clId="{8245CC27-65FB-483E-B8E7-D04039DBA80D}" dt="2021-05-24T15:34:40.695" v="8842" actId="790"/>
          <ac:spMkLst>
            <pc:docMk/>
            <pc:sldMk cId="349867828" sldId="6963"/>
            <ac:spMk id="24" creationId="{F90D579F-FB1B-4D04-9FC5-1148A3F7A095}"/>
          </ac:spMkLst>
        </pc:spChg>
        <pc:spChg chg="mod">
          <ac:chgData name="Sarah GAUVARD" userId="4c03e191-e154-482a-88b2-11de19eac96c" providerId="ADAL" clId="{8245CC27-65FB-483E-B8E7-D04039DBA80D}" dt="2021-05-24T15:34:40.697" v="8843" actId="790"/>
          <ac:spMkLst>
            <pc:docMk/>
            <pc:sldMk cId="349867828" sldId="6963"/>
            <ac:spMk id="26" creationId="{E5E425F3-2F58-415E-8017-CBAD3A69233C}"/>
          </ac:spMkLst>
        </pc:spChg>
        <pc:spChg chg="mod">
          <ac:chgData name="Sarah GAUVARD" userId="4c03e191-e154-482a-88b2-11de19eac96c" providerId="ADAL" clId="{8245CC27-65FB-483E-B8E7-D04039DBA80D}" dt="2021-05-24T15:34:40.699" v="8844" actId="790"/>
          <ac:spMkLst>
            <pc:docMk/>
            <pc:sldMk cId="349867828" sldId="6963"/>
            <ac:spMk id="27" creationId="{9F37F5D5-109B-4515-82C3-192D15A77C28}"/>
          </ac:spMkLst>
        </pc:spChg>
        <pc:spChg chg="mod">
          <ac:chgData name="Sarah GAUVARD" userId="4c03e191-e154-482a-88b2-11de19eac96c" providerId="ADAL" clId="{8245CC27-65FB-483E-B8E7-D04039DBA80D}" dt="2021-05-24T15:34:40.700" v="8845" actId="790"/>
          <ac:spMkLst>
            <pc:docMk/>
            <pc:sldMk cId="349867828" sldId="6963"/>
            <ac:spMk id="41" creationId="{0185D7BF-93A6-4C06-8F3A-344EF6C48954}"/>
          </ac:spMkLst>
        </pc:spChg>
        <pc:spChg chg="mod">
          <ac:chgData name="Sarah GAUVARD" userId="4c03e191-e154-482a-88b2-11de19eac96c" providerId="ADAL" clId="{8245CC27-65FB-483E-B8E7-D04039DBA80D}" dt="2021-05-24T15:34:40.701" v="8846" actId="790"/>
          <ac:spMkLst>
            <pc:docMk/>
            <pc:sldMk cId="349867828" sldId="6963"/>
            <ac:spMk id="42" creationId="{45D30956-C9FB-4BB7-8138-041C021A4838}"/>
          </ac:spMkLst>
        </pc:spChg>
        <pc:spChg chg="mod">
          <ac:chgData name="Sarah GAUVARD" userId="4c03e191-e154-482a-88b2-11de19eac96c" providerId="ADAL" clId="{8245CC27-65FB-483E-B8E7-D04039DBA80D}" dt="2021-05-24T15:34:40.702" v="8847" actId="790"/>
          <ac:spMkLst>
            <pc:docMk/>
            <pc:sldMk cId="349867828" sldId="6963"/>
            <ac:spMk id="43" creationId="{A7C48792-45A1-4FE7-9B61-D84A45CC0EC8}"/>
          </ac:spMkLst>
        </pc:spChg>
        <pc:spChg chg="mod">
          <ac:chgData name="Sarah GAUVARD" userId="4c03e191-e154-482a-88b2-11de19eac96c" providerId="ADAL" clId="{8245CC27-65FB-483E-B8E7-D04039DBA80D}" dt="2021-05-24T15:34:40.703" v="8848" actId="790"/>
          <ac:spMkLst>
            <pc:docMk/>
            <pc:sldMk cId="349867828" sldId="6963"/>
            <ac:spMk id="44" creationId="{34EF9FB2-EF9F-4B6A-8D0F-4B7946BDFDA3}"/>
          </ac:spMkLst>
        </pc:spChg>
      </pc:sldChg>
      <pc:sldChg chg="addSp delSp modSp mod modClrScheme chgLayout">
        <pc:chgData name="Sarah GAUVARD" userId="4c03e191-e154-482a-88b2-11de19eac96c" providerId="ADAL" clId="{8245CC27-65FB-483E-B8E7-D04039DBA80D}" dt="2021-05-25T07:50:25.616" v="17744" actId="478"/>
        <pc:sldMkLst>
          <pc:docMk/>
          <pc:sldMk cId="1433535088" sldId="7074"/>
        </pc:sldMkLst>
        <pc:spChg chg="mod">
          <ac:chgData name="Sarah GAUVARD" userId="4c03e191-e154-482a-88b2-11de19eac96c" providerId="ADAL" clId="{8245CC27-65FB-483E-B8E7-D04039DBA80D}" dt="2021-05-24T16:09:29.272" v="17222" actId="790"/>
          <ac:spMkLst>
            <pc:docMk/>
            <pc:sldMk cId="1433535088" sldId="7074"/>
            <ac:spMk id="2" creationId="{E11FB28C-EA62-443C-A15A-AAB599A17838}"/>
          </ac:spMkLst>
        </pc:spChg>
        <pc:spChg chg="add del mod modVis">
          <ac:chgData name="Sarah GAUVARD" userId="4c03e191-e154-482a-88b2-11de19eac96c" providerId="ADAL" clId="{8245CC27-65FB-483E-B8E7-D04039DBA80D}" dt="2021-05-24T15:34:46.002" v="11830"/>
          <ac:spMkLst>
            <pc:docMk/>
            <pc:sldMk cId="1433535088" sldId="7074"/>
            <ac:spMk id="3" creationId="{9A4DEFB2-7E10-4946-80AE-410936E2D9C9}"/>
          </ac:spMkLst>
        </pc:spChg>
        <pc:spChg chg="add del mod">
          <ac:chgData name="Sarah GAUVARD" userId="4c03e191-e154-482a-88b2-11de19eac96c" providerId="ADAL" clId="{8245CC27-65FB-483E-B8E7-D04039DBA80D}" dt="2021-05-25T07:50:00.173" v="17636" actId="478"/>
          <ac:spMkLst>
            <pc:docMk/>
            <pc:sldMk cId="1433535088" sldId="7074"/>
            <ac:spMk id="7" creationId="{07D09B23-A5B8-4D6C-9B30-FB0E4025C163}"/>
          </ac:spMkLst>
        </pc:spChg>
        <pc:spChg chg="add del mod modVis">
          <ac:chgData name="Sarah GAUVARD" userId="4c03e191-e154-482a-88b2-11de19eac96c" providerId="ADAL" clId="{8245CC27-65FB-483E-B8E7-D04039DBA80D}" dt="2021-05-25T07:50:22.111" v="17740"/>
          <ac:spMkLst>
            <pc:docMk/>
            <pc:sldMk cId="1433535088" sldId="7074"/>
            <ac:spMk id="9" creationId="{BD83FAF9-32F9-4E4F-97B0-BACDC875A570}"/>
          </ac:spMkLst>
        </pc:spChg>
        <pc:spChg chg="mod">
          <ac:chgData name="Sarah GAUVARD" userId="4c03e191-e154-482a-88b2-11de19eac96c" providerId="ADAL" clId="{8245CC27-65FB-483E-B8E7-D04039DBA80D}" dt="2021-05-24T16:09:29.282" v="17226" actId="790"/>
          <ac:spMkLst>
            <pc:docMk/>
            <pc:sldMk cId="1433535088" sldId="7074"/>
            <ac:spMk id="36" creationId="{5B304F32-669D-4617-B813-9668ACAB3A66}"/>
          </ac:spMkLst>
        </pc:spChg>
        <pc:spChg chg="mod ord">
          <ac:chgData name="Sarah GAUVARD" userId="4c03e191-e154-482a-88b2-11de19eac96c" providerId="ADAL" clId="{8245CC27-65FB-483E-B8E7-D04039DBA80D}" dt="2021-05-25T07:50:22.061" v="17700" actId="948"/>
          <ac:spMkLst>
            <pc:docMk/>
            <pc:sldMk cId="1433535088" sldId="7074"/>
            <ac:spMk id="38" creationId="{A4C2A37B-6FD6-4FBD-A267-5996CA794A1D}"/>
          </ac:spMkLst>
        </pc:spChg>
        <pc:spChg chg="del mod">
          <ac:chgData name="Sarah GAUVARD" userId="4c03e191-e154-482a-88b2-11de19eac96c" providerId="ADAL" clId="{8245CC27-65FB-483E-B8E7-D04039DBA80D}" dt="2021-05-25T07:49:57.951" v="17635" actId="478"/>
          <ac:spMkLst>
            <pc:docMk/>
            <pc:sldMk cId="1433535088" sldId="7074"/>
            <ac:spMk id="39" creationId="{65A0772D-149F-4A1C-9ED0-1327338B209B}"/>
          </ac:spMkLst>
        </pc:spChg>
        <pc:spChg chg="mod">
          <ac:chgData name="Sarah GAUVARD" userId="4c03e191-e154-482a-88b2-11de19eac96c" providerId="ADAL" clId="{8245CC27-65FB-483E-B8E7-D04039DBA80D}" dt="2021-05-24T16:09:29.282" v="17227" actId="790"/>
          <ac:spMkLst>
            <pc:docMk/>
            <pc:sldMk cId="1433535088" sldId="7074"/>
            <ac:spMk id="40" creationId="{1E34CE50-B42C-493A-8A65-2E1C630B1461}"/>
          </ac:spMkLst>
        </pc:spChg>
        <pc:spChg chg="mod">
          <ac:chgData name="Sarah GAUVARD" userId="4c03e191-e154-482a-88b2-11de19eac96c" providerId="ADAL" clId="{8245CC27-65FB-483E-B8E7-D04039DBA80D}" dt="2021-05-24T16:09:29.282" v="17228" actId="790"/>
          <ac:spMkLst>
            <pc:docMk/>
            <pc:sldMk cId="1433535088" sldId="7074"/>
            <ac:spMk id="42" creationId="{ABE94C2F-281A-4A0F-BB46-93E553E8DAB5}"/>
          </ac:spMkLst>
        </pc:spChg>
        <pc:spChg chg="mod">
          <ac:chgData name="Sarah GAUVARD" userId="4c03e191-e154-482a-88b2-11de19eac96c" providerId="ADAL" clId="{8245CC27-65FB-483E-B8E7-D04039DBA80D}" dt="2021-05-24T16:09:29.282" v="17229" actId="790"/>
          <ac:spMkLst>
            <pc:docMk/>
            <pc:sldMk cId="1433535088" sldId="7074"/>
            <ac:spMk id="43" creationId="{464160BF-0C2D-477F-8E0A-B5374A5CF8CC}"/>
          </ac:spMkLst>
        </pc:spChg>
        <pc:spChg chg="mod">
          <ac:chgData name="Sarah GAUVARD" userId="4c03e191-e154-482a-88b2-11de19eac96c" providerId="ADAL" clId="{8245CC27-65FB-483E-B8E7-D04039DBA80D}" dt="2021-05-24T16:09:29.282" v="17230" actId="790"/>
          <ac:spMkLst>
            <pc:docMk/>
            <pc:sldMk cId="1433535088" sldId="7074"/>
            <ac:spMk id="44" creationId="{CEC0C3CE-C72B-4E26-AD8C-6285EB99FEA8}"/>
          </ac:spMkLst>
        </pc:spChg>
        <pc:spChg chg="mod">
          <ac:chgData name="Sarah GAUVARD" userId="4c03e191-e154-482a-88b2-11de19eac96c" providerId="ADAL" clId="{8245CC27-65FB-483E-B8E7-D04039DBA80D}" dt="2021-05-24T16:09:29.282" v="17231" actId="790"/>
          <ac:spMkLst>
            <pc:docMk/>
            <pc:sldMk cId="1433535088" sldId="7074"/>
            <ac:spMk id="47" creationId="{59BF761D-D244-4043-BC24-197C0EF04199}"/>
          </ac:spMkLst>
        </pc:spChg>
        <pc:spChg chg="mod">
          <ac:chgData name="Sarah GAUVARD" userId="4c03e191-e154-482a-88b2-11de19eac96c" providerId="ADAL" clId="{8245CC27-65FB-483E-B8E7-D04039DBA80D}" dt="2021-05-24T16:09:29.282" v="17232" actId="790"/>
          <ac:spMkLst>
            <pc:docMk/>
            <pc:sldMk cId="1433535088" sldId="7074"/>
            <ac:spMk id="49" creationId="{DB2B13AE-E8EA-4A7B-AF05-458DA199A58C}"/>
          </ac:spMkLst>
        </pc:spChg>
        <pc:spChg chg="mod">
          <ac:chgData name="Sarah GAUVARD" userId="4c03e191-e154-482a-88b2-11de19eac96c" providerId="ADAL" clId="{8245CC27-65FB-483E-B8E7-D04039DBA80D}" dt="2021-05-24T16:09:29.280" v="17223" actId="790"/>
          <ac:spMkLst>
            <pc:docMk/>
            <pc:sldMk cId="1433535088" sldId="7074"/>
            <ac:spMk id="51" creationId="{C08C3576-2044-44D6-9EDB-D62814A23048}"/>
          </ac:spMkLst>
        </pc:spChg>
        <pc:spChg chg="mod">
          <ac:chgData name="Sarah GAUVARD" userId="4c03e191-e154-482a-88b2-11de19eac96c" providerId="ADAL" clId="{8245CC27-65FB-483E-B8E7-D04039DBA80D}" dt="2021-05-24T16:09:29.290" v="17236" actId="790"/>
          <ac:spMkLst>
            <pc:docMk/>
            <pc:sldMk cId="1433535088" sldId="7074"/>
            <ac:spMk id="52" creationId="{E9C33DA4-9F3F-4FCD-985A-64AB255691AF}"/>
          </ac:spMkLst>
        </pc:spChg>
        <pc:spChg chg="mod">
          <ac:chgData name="Sarah GAUVARD" userId="4c03e191-e154-482a-88b2-11de19eac96c" providerId="ADAL" clId="{8245CC27-65FB-483E-B8E7-D04039DBA80D}" dt="2021-05-24T16:09:29.292" v="17237" actId="790"/>
          <ac:spMkLst>
            <pc:docMk/>
            <pc:sldMk cId="1433535088" sldId="7074"/>
            <ac:spMk id="53" creationId="{B53C2CF1-47C4-432E-A5C7-C61820E7498E}"/>
          </ac:spMkLst>
        </pc:spChg>
        <pc:spChg chg="mod">
          <ac:chgData name="Sarah GAUVARD" userId="4c03e191-e154-482a-88b2-11de19eac96c" providerId="ADAL" clId="{8245CC27-65FB-483E-B8E7-D04039DBA80D}" dt="2021-05-24T16:09:29.282" v="17233" actId="790"/>
          <ac:spMkLst>
            <pc:docMk/>
            <pc:sldMk cId="1433535088" sldId="7074"/>
            <ac:spMk id="54" creationId="{FBE633D4-8A56-4858-8275-A20FDC1811AC}"/>
          </ac:spMkLst>
        </pc:spChg>
        <pc:spChg chg="mod">
          <ac:chgData name="Sarah GAUVARD" userId="4c03e191-e154-482a-88b2-11de19eac96c" providerId="ADAL" clId="{8245CC27-65FB-483E-B8E7-D04039DBA80D}" dt="2021-05-24T16:09:29.292" v="17238" actId="790"/>
          <ac:spMkLst>
            <pc:docMk/>
            <pc:sldMk cId="1433535088" sldId="7074"/>
            <ac:spMk id="55" creationId="{E11E68D3-D439-41C8-BEFA-B3727306481D}"/>
          </ac:spMkLst>
        </pc:spChg>
        <pc:spChg chg="mod">
          <ac:chgData name="Sarah GAUVARD" userId="4c03e191-e154-482a-88b2-11de19eac96c" providerId="ADAL" clId="{8245CC27-65FB-483E-B8E7-D04039DBA80D}" dt="2021-05-24T16:09:29.292" v="17239" actId="790"/>
          <ac:spMkLst>
            <pc:docMk/>
            <pc:sldMk cId="1433535088" sldId="7074"/>
            <ac:spMk id="56" creationId="{D3D9AD89-A2E3-498F-9D56-70CB3C3126A9}"/>
          </ac:spMkLst>
        </pc:spChg>
        <pc:spChg chg="mod">
          <ac:chgData name="Sarah GAUVARD" userId="4c03e191-e154-482a-88b2-11de19eac96c" providerId="ADAL" clId="{8245CC27-65FB-483E-B8E7-D04039DBA80D}" dt="2021-05-24T16:09:29.292" v="17240" actId="790"/>
          <ac:spMkLst>
            <pc:docMk/>
            <pc:sldMk cId="1433535088" sldId="7074"/>
            <ac:spMk id="57" creationId="{8CB413C3-5BE4-4569-A2AC-CE9822ED10E7}"/>
          </ac:spMkLst>
        </pc:spChg>
        <pc:spChg chg="mod">
          <ac:chgData name="Sarah GAUVARD" userId="4c03e191-e154-482a-88b2-11de19eac96c" providerId="ADAL" clId="{8245CC27-65FB-483E-B8E7-D04039DBA80D}" dt="2021-05-24T16:09:29.292" v="17241" actId="790"/>
          <ac:spMkLst>
            <pc:docMk/>
            <pc:sldMk cId="1433535088" sldId="7074"/>
            <ac:spMk id="58" creationId="{3065D908-1B57-4BF6-BBE5-E99535F75686}"/>
          </ac:spMkLst>
        </pc:spChg>
        <pc:spChg chg="mod">
          <ac:chgData name="Sarah GAUVARD" userId="4c03e191-e154-482a-88b2-11de19eac96c" providerId="ADAL" clId="{8245CC27-65FB-483E-B8E7-D04039DBA80D}" dt="2021-05-24T16:09:29.282" v="17234" actId="790"/>
          <ac:spMkLst>
            <pc:docMk/>
            <pc:sldMk cId="1433535088" sldId="7074"/>
            <ac:spMk id="59" creationId="{A4BA87CA-33FF-4853-BAE7-4B75AA2EFEDC}"/>
          </ac:spMkLst>
        </pc:spChg>
        <pc:spChg chg="mod">
          <ac:chgData name="Sarah GAUVARD" userId="4c03e191-e154-482a-88b2-11de19eac96c" providerId="ADAL" clId="{8245CC27-65FB-483E-B8E7-D04039DBA80D}" dt="2021-05-24T16:09:29.292" v="17244" actId="790"/>
          <ac:spMkLst>
            <pc:docMk/>
            <pc:sldMk cId="1433535088" sldId="7074"/>
            <ac:spMk id="64" creationId="{4BBEE2FE-3E58-45FF-AE6D-CAF83420733F}"/>
          </ac:spMkLst>
        </pc:spChg>
        <pc:spChg chg="mod">
          <ac:chgData name="Sarah GAUVARD" userId="4c03e191-e154-482a-88b2-11de19eac96c" providerId="ADAL" clId="{8245CC27-65FB-483E-B8E7-D04039DBA80D}" dt="2021-05-24T16:09:29.290" v="17235" actId="790"/>
          <ac:spMkLst>
            <pc:docMk/>
            <pc:sldMk cId="1433535088" sldId="7074"/>
            <ac:spMk id="65" creationId="{B8594696-07D0-4360-88BD-9887E2084D42}"/>
          </ac:spMkLst>
        </pc:spChg>
        <pc:spChg chg="mod">
          <ac:chgData name="Sarah GAUVARD" userId="4c03e191-e154-482a-88b2-11de19eac96c" providerId="ADAL" clId="{8245CC27-65FB-483E-B8E7-D04039DBA80D}" dt="2021-05-24T16:09:29.272" v="17221" actId="790"/>
          <ac:spMkLst>
            <pc:docMk/>
            <pc:sldMk cId="1433535088" sldId="7074"/>
            <ac:spMk id="66" creationId="{AC81A5B2-A052-402B-A5B3-8F7A8F78A79F}"/>
          </ac:spMkLst>
        </pc:spChg>
        <pc:spChg chg="mod">
          <ac:chgData name="Sarah GAUVARD" userId="4c03e191-e154-482a-88b2-11de19eac96c" providerId="ADAL" clId="{8245CC27-65FB-483E-B8E7-D04039DBA80D}" dt="2021-05-24T16:09:29.272" v="17220" actId="790"/>
          <ac:spMkLst>
            <pc:docMk/>
            <pc:sldMk cId="1433535088" sldId="7074"/>
            <ac:spMk id="67" creationId="{8503A05F-0393-49C9-8F68-3786AF21832C}"/>
          </ac:spMkLst>
        </pc:spChg>
        <pc:spChg chg="mod">
          <ac:chgData name="Sarah GAUVARD" userId="4c03e191-e154-482a-88b2-11de19eac96c" providerId="ADAL" clId="{8245CC27-65FB-483E-B8E7-D04039DBA80D}" dt="2021-05-24T16:09:29.272" v="17219" actId="790"/>
          <ac:spMkLst>
            <pc:docMk/>
            <pc:sldMk cId="1433535088" sldId="7074"/>
            <ac:spMk id="68" creationId="{31E81307-722E-4E83-96CF-10C7A30E0BC7}"/>
          </ac:spMkLst>
        </pc:spChg>
        <pc:spChg chg="mod">
          <ac:chgData name="Sarah GAUVARD" userId="4c03e191-e154-482a-88b2-11de19eac96c" providerId="ADAL" clId="{8245CC27-65FB-483E-B8E7-D04039DBA80D}" dt="2021-05-24T16:09:29.272" v="17218" actId="790"/>
          <ac:spMkLst>
            <pc:docMk/>
            <pc:sldMk cId="1433535088" sldId="7074"/>
            <ac:spMk id="71" creationId="{4A4E2D76-7F9A-42A4-8FBD-FF1B01D6FB98}"/>
          </ac:spMkLst>
        </pc:spChg>
        <pc:spChg chg="del mod">
          <ac:chgData name="Sarah GAUVARD" userId="4c03e191-e154-482a-88b2-11de19eac96c" providerId="ADAL" clId="{8245CC27-65FB-483E-B8E7-D04039DBA80D}" dt="2021-05-25T07:50:25.616" v="17744" actId="478"/>
          <ac:spMkLst>
            <pc:docMk/>
            <pc:sldMk cId="1433535088" sldId="7074"/>
            <ac:spMk id="75" creationId="{E8618A5C-2636-43BE-9786-E417E2606585}"/>
          </ac:spMkLst>
        </pc:spChg>
        <pc:spChg chg="mod">
          <ac:chgData name="Sarah GAUVARD" userId="4c03e191-e154-482a-88b2-11de19eac96c" providerId="ADAL" clId="{8245CC27-65FB-483E-B8E7-D04039DBA80D}" dt="2021-05-24T16:09:29.292" v="17243" actId="790"/>
          <ac:spMkLst>
            <pc:docMk/>
            <pc:sldMk cId="1433535088" sldId="7074"/>
            <ac:spMk id="76" creationId="{96CDAEC3-2CB5-4621-8C9A-FD66BD9EA46B}"/>
          </ac:spMkLst>
        </pc:spChg>
        <pc:graphicFrameChg chg="mod">
          <ac:chgData name="Sarah GAUVARD" userId="4c03e191-e154-482a-88b2-11de19eac96c" providerId="ADAL" clId="{8245CC27-65FB-483E-B8E7-D04039DBA80D}" dt="2021-05-25T07:50:22.113" v="17742"/>
          <ac:graphicFrameMkLst>
            <pc:docMk/>
            <pc:sldMk cId="1433535088" sldId="7074"/>
            <ac:graphicFrameMk id="4" creationId="{59D9C9A5-1BC5-4829-9FBE-CAC5687DE0B1}"/>
          </ac:graphicFrameMkLst>
        </pc:graphicFrameChg>
        <pc:picChg chg="del">
          <ac:chgData name="Sarah GAUVARD" userId="4c03e191-e154-482a-88b2-11de19eac96c" providerId="ADAL" clId="{8245CC27-65FB-483E-B8E7-D04039DBA80D}" dt="2021-05-25T07:49:54.582" v="17634" actId="478"/>
          <ac:picMkLst>
            <pc:docMk/>
            <pc:sldMk cId="1433535088" sldId="7074"/>
            <ac:picMk id="63" creationId="{8908CFA9-384B-4096-8481-53372DC216CA}"/>
          </ac:picMkLst>
        </pc:picChg>
        <pc:picChg chg="del">
          <ac:chgData name="Sarah GAUVARD" userId="4c03e191-e154-482a-88b2-11de19eac96c" providerId="ADAL" clId="{8245CC27-65FB-483E-B8E7-D04039DBA80D}" dt="2021-05-25T07:50:24.993" v="17743" actId="478"/>
          <ac:picMkLst>
            <pc:docMk/>
            <pc:sldMk cId="1433535088" sldId="7074"/>
            <ac:picMk id="73" creationId="{6A387A51-2533-4132-B9D0-8FF945E87592}"/>
          </ac:picMkLst>
        </pc:picChg>
      </pc:sldChg>
      <pc:sldChg chg="modSp mod">
        <pc:chgData name="Sarah GAUVARD" userId="4c03e191-e154-482a-88b2-11de19eac96c" providerId="ADAL" clId="{8245CC27-65FB-483E-B8E7-D04039DBA80D}" dt="2021-05-24T16:09:29.320" v="17290" actId="790"/>
        <pc:sldMkLst>
          <pc:docMk/>
          <pc:sldMk cId="2066302433" sldId="10151"/>
        </pc:sldMkLst>
        <pc:spChg chg="mod">
          <ac:chgData name="Sarah GAUVARD" userId="4c03e191-e154-482a-88b2-11de19eac96c" providerId="ADAL" clId="{8245CC27-65FB-483E-B8E7-D04039DBA80D}" dt="2021-05-24T16:09:29.292" v="17245" actId="790"/>
          <ac:spMkLst>
            <pc:docMk/>
            <pc:sldMk cId="2066302433" sldId="10151"/>
            <ac:spMk id="2" creationId="{485D8258-C799-4DEB-8426-A87B09E12535}"/>
          </ac:spMkLst>
        </pc:spChg>
        <pc:spChg chg="mod">
          <ac:chgData name="Sarah GAUVARD" userId="4c03e191-e154-482a-88b2-11de19eac96c" providerId="ADAL" clId="{8245CC27-65FB-483E-B8E7-D04039DBA80D}" dt="2021-05-24T16:09:29.292" v="17246" actId="790"/>
          <ac:spMkLst>
            <pc:docMk/>
            <pc:sldMk cId="2066302433" sldId="10151"/>
            <ac:spMk id="6" creationId="{FD961D00-BB87-4820-B54D-EC87367CB5D8}"/>
          </ac:spMkLst>
        </pc:spChg>
        <pc:spChg chg="mod">
          <ac:chgData name="Sarah GAUVARD" userId="4c03e191-e154-482a-88b2-11de19eac96c" providerId="ADAL" clId="{8245CC27-65FB-483E-B8E7-D04039DBA80D}" dt="2021-05-24T16:09:29.300" v="17247" actId="790"/>
          <ac:spMkLst>
            <pc:docMk/>
            <pc:sldMk cId="2066302433" sldId="10151"/>
            <ac:spMk id="8" creationId="{CBFABE72-6131-464D-BAFB-D76422C2A4AB}"/>
          </ac:spMkLst>
        </pc:spChg>
        <pc:spChg chg="mod">
          <ac:chgData name="Sarah GAUVARD" userId="4c03e191-e154-482a-88b2-11de19eac96c" providerId="ADAL" clId="{8245CC27-65FB-483E-B8E7-D04039DBA80D}" dt="2021-05-24T16:09:29.300" v="17248" actId="790"/>
          <ac:spMkLst>
            <pc:docMk/>
            <pc:sldMk cId="2066302433" sldId="10151"/>
            <ac:spMk id="9" creationId="{AA892EF1-BA93-4257-8E96-FCE386827377}"/>
          </ac:spMkLst>
        </pc:spChg>
        <pc:spChg chg="mod">
          <ac:chgData name="Sarah GAUVARD" userId="4c03e191-e154-482a-88b2-11de19eac96c" providerId="ADAL" clId="{8245CC27-65FB-483E-B8E7-D04039DBA80D}" dt="2021-05-24T16:09:29.302" v="17249" actId="790"/>
          <ac:spMkLst>
            <pc:docMk/>
            <pc:sldMk cId="2066302433" sldId="10151"/>
            <ac:spMk id="10" creationId="{D1385551-0DEE-495D-8846-99041144B7D6}"/>
          </ac:spMkLst>
        </pc:spChg>
        <pc:spChg chg="mod">
          <ac:chgData name="Sarah GAUVARD" userId="4c03e191-e154-482a-88b2-11de19eac96c" providerId="ADAL" clId="{8245CC27-65FB-483E-B8E7-D04039DBA80D}" dt="2021-05-24T16:09:29.302" v="17250" actId="790"/>
          <ac:spMkLst>
            <pc:docMk/>
            <pc:sldMk cId="2066302433" sldId="10151"/>
            <ac:spMk id="11" creationId="{95F74EDD-FC62-4AE0-B009-91BD1F0F42CD}"/>
          </ac:spMkLst>
        </pc:spChg>
        <pc:spChg chg="mod">
          <ac:chgData name="Sarah GAUVARD" userId="4c03e191-e154-482a-88b2-11de19eac96c" providerId="ADAL" clId="{8245CC27-65FB-483E-B8E7-D04039DBA80D}" dt="2021-05-24T16:09:29.302" v="17251" actId="790"/>
          <ac:spMkLst>
            <pc:docMk/>
            <pc:sldMk cId="2066302433" sldId="10151"/>
            <ac:spMk id="12" creationId="{D1785210-4F58-4DEA-A9E2-D867169A909C}"/>
          </ac:spMkLst>
        </pc:spChg>
        <pc:spChg chg="mod">
          <ac:chgData name="Sarah GAUVARD" userId="4c03e191-e154-482a-88b2-11de19eac96c" providerId="ADAL" clId="{8245CC27-65FB-483E-B8E7-D04039DBA80D}" dt="2021-05-24T16:09:29.302" v="17252" actId="790"/>
          <ac:spMkLst>
            <pc:docMk/>
            <pc:sldMk cId="2066302433" sldId="10151"/>
            <ac:spMk id="13" creationId="{F68747A9-0286-423B-B19B-BDD80CFD99AA}"/>
          </ac:spMkLst>
        </pc:spChg>
        <pc:spChg chg="mod">
          <ac:chgData name="Sarah GAUVARD" userId="4c03e191-e154-482a-88b2-11de19eac96c" providerId="ADAL" clId="{8245CC27-65FB-483E-B8E7-D04039DBA80D}" dt="2021-05-24T16:09:29.302" v="17253" actId="790"/>
          <ac:spMkLst>
            <pc:docMk/>
            <pc:sldMk cId="2066302433" sldId="10151"/>
            <ac:spMk id="14" creationId="{1B668D90-1CA6-4BF2-A28C-A37ADF4CEC55}"/>
          </ac:spMkLst>
        </pc:spChg>
        <pc:spChg chg="mod">
          <ac:chgData name="Sarah GAUVARD" userId="4c03e191-e154-482a-88b2-11de19eac96c" providerId="ADAL" clId="{8245CC27-65FB-483E-B8E7-D04039DBA80D}" dt="2021-05-24T16:09:29.302" v="17254" actId="790"/>
          <ac:spMkLst>
            <pc:docMk/>
            <pc:sldMk cId="2066302433" sldId="10151"/>
            <ac:spMk id="15" creationId="{DC368EB4-4DDD-4407-BE94-38F23DA27B16}"/>
          </ac:spMkLst>
        </pc:spChg>
        <pc:spChg chg="mod">
          <ac:chgData name="Sarah GAUVARD" userId="4c03e191-e154-482a-88b2-11de19eac96c" providerId="ADAL" clId="{8245CC27-65FB-483E-B8E7-D04039DBA80D}" dt="2021-05-24T16:09:29.302" v="17255" actId="790"/>
          <ac:spMkLst>
            <pc:docMk/>
            <pc:sldMk cId="2066302433" sldId="10151"/>
            <ac:spMk id="16" creationId="{80F851B1-0B14-48BE-A51C-7881B7C8FE41}"/>
          </ac:spMkLst>
        </pc:spChg>
        <pc:spChg chg="mod">
          <ac:chgData name="Sarah GAUVARD" userId="4c03e191-e154-482a-88b2-11de19eac96c" providerId="ADAL" clId="{8245CC27-65FB-483E-B8E7-D04039DBA80D}" dt="2021-05-24T16:09:29.302" v="17256" actId="790"/>
          <ac:spMkLst>
            <pc:docMk/>
            <pc:sldMk cId="2066302433" sldId="10151"/>
            <ac:spMk id="17" creationId="{7CE1AF65-B94A-4628-80BC-0D290E998B7C}"/>
          </ac:spMkLst>
        </pc:spChg>
        <pc:spChg chg="mod">
          <ac:chgData name="Sarah GAUVARD" userId="4c03e191-e154-482a-88b2-11de19eac96c" providerId="ADAL" clId="{8245CC27-65FB-483E-B8E7-D04039DBA80D}" dt="2021-05-24T16:09:29.302" v="17257" actId="790"/>
          <ac:spMkLst>
            <pc:docMk/>
            <pc:sldMk cId="2066302433" sldId="10151"/>
            <ac:spMk id="18" creationId="{4D52F71B-746D-44F2-85EB-546A9C67D415}"/>
          </ac:spMkLst>
        </pc:spChg>
        <pc:spChg chg="mod">
          <ac:chgData name="Sarah GAUVARD" userId="4c03e191-e154-482a-88b2-11de19eac96c" providerId="ADAL" clId="{8245CC27-65FB-483E-B8E7-D04039DBA80D}" dt="2021-05-24T16:09:29.302" v="17258" actId="790"/>
          <ac:spMkLst>
            <pc:docMk/>
            <pc:sldMk cId="2066302433" sldId="10151"/>
            <ac:spMk id="19" creationId="{7BFC3453-D5E5-4B80-95E1-53BCDB119B16}"/>
          </ac:spMkLst>
        </pc:spChg>
        <pc:spChg chg="mod">
          <ac:chgData name="Sarah GAUVARD" userId="4c03e191-e154-482a-88b2-11de19eac96c" providerId="ADAL" clId="{8245CC27-65FB-483E-B8E7-D04039DBA80D}" dt="2021-05-24T16:09:29.302" v="17259" actId="790"/>
          <ac:spMkLst>
            <pc:docMk/>
            <pc:sldMk cId="2066302433" sldId="10151"/>
            <ac:spMk id="20" creationId="{ABEEDC27-82A8-46CB-8CE2-2D10293A50C9}"/>
          </ac:spMkLst>
        </pc:spChg>
        <pc:spChg chg="mod">
          <ac:chgData name="Sarah GAUVARD" userId="4c03e191-e154-482a-88b2-11de19eac96c" providerId="ADAL" clId="{8245CC27-65FB-483E-B8E7-D04039DBA80D}" dt="2021-05-24T16:09:29.302" v="17260" actId="790"/>
          <ac:spMkLst>
            <pc:docMk/>
            <pc:sldMk cId="2066302433" sldId="10151"/>
            <ac:spMk id="21" creationId="{79263F93-BD89-481F-813A-6C0F901C9C08}"/>
          </ac:spMkLst>
        </pc:spChg>
        <pc:spChg chg="mod">
          <ac:chgData name="Sarah GAUVARD" userId="4c03e191-e154-482a-88b2-11de19eac96c" providerId="ADAL" clId="{8245CC27-65FB-483E-B8E7-D04039DBA80D}" dt="2021-05-24T16:09:29.302" v="17261" actId="790"/>
          <ac:spMkLst>
            <pc:docMk/>
            <pc:sldMk cId="2066302433" sldId="10151"/>
            <ac:spMk id="22" creationId="{A17328B4-1579-4E16-8289-48E49F417694}"/>
          </ac:spMkLst>
        </pc:spChg>
        <pc:spChg chg="mod">
          <ac:chgData name="Sarah GAUVARD" userId="4c03e191-e154-482a-88b2-11de19eac96c" providerId="ADAL" clId="{8245CC27-65FB-483E-B8E7-D04039DBA80D}" dt="2021-05-24T16:09:29.310" v="17262" actId="790"/>
          <ac:spMkLst>
            <pc:docMk/>
            <pc:sldMk cId="2066302433" sldId="10151"/>
            <ac:spMk id="23" creationId="{9FFABFA5-D560-4B57-A403-E79C1BD6BD3D}"/>
          </ac:spMkLst>
        </pc:spChg>
        <pc:spChg chg="mod">
          <ac:chgData name="Sarah GAUVARD" userId="4c03e191-e154-482a-88b2-11de19eac96c" providerId="ADAL" clId="{8245CC27-65FB-483E-B8E7-D04039DBA80D}" dt="2021-05-24T16:09:29.310" v="17263" actId="790"/>
          <ac:spMkLst>
            <pc:docMk/>
            <pc:sldMk cId="2066302433" sldId="10151"/>
            <ac:spMk id="24" creationId="{C6DE36B4-63F9-49BF-9393-6D814DCD3ADB}"/>
          </ac:spMkLst>
        </pc:spChg>
        <pc:spChg chg="mod">
          <ac:chgData name="Sarah GAUVARD" userId="4c03e191-e154-482a-88b2-11de19eac96c" providerId="ADAL" clId="{8245CC27-65FB-483E-B8E7-D04039DBA80D}" dt="2021-05-24T16:09:29.312" v="17264" actId="790"/>
          <ac:spMkLst>
            <pc:docMk/>
            <pc:sldMk cId="2066302433" sldId="10151"/>
            <ac:spMk id="25" creationId="{87636E38-C9EE-47F8-83D6-6504B63CFEC1}"/>
          </ac:spMkLst>
        </pc:spChg>
        <pc:spChg chg="mod">
          <ac:chgData name="Sarah GAUVARD" userId="4c03e191-e154-482a-88b2-11de19eac96c" providerId="ADAL" clId="{8245CC27-65FB-483E-B8E7-D04039DBA80D}" dt="2021-05-24T16:09:29.312" v="17265" actId="790"/>
          <ac:spMkLst>
            <pc:docMk/>
            <pc:sldMk cId="2066302433" sldId="10151"/>
            <ac:spMk id="26" creationId="{5E993EC9-B819-46BE-808C-6BF87D7C6173}"/>
          </ac:spMkLst>
        </pc:spChg>
        <pc:spChg chg="mod">
          <ac:chgData name="Sarah GAUVARD" userId="4c03e191-e154-482a-88b2-11de19eac96c" providerId="ADAL" clId="{8245CC27-65FB-483E-B8E7-D04039DBA80D}" dt="2021-05-24T16:09:29.312" v="17266" actId="790"/>
          <ac:spMkLst>
            <pc:docMk/>
            <pc:sldMk cId="2066302433" sldId="10151"/>
            <ac:spMk id="27" creationId="{8C4589F2-B7BC-4572-BB11-469A62A1B6C6}"/>
          </ac:spMkLst>
        </pc:spChg>
        <pc:spChg chg="mod">
          <ac:chgData name="Sarah GAUVARD" userId="4c03e191-e154-482a-88b2-11de19eac96c" providerId="ADAL" clId="{8245CC27-65FB-483E-B8E7-D04039DBA80D}" dt="2021-05-24T16:09:29.312" v="17267" actId="790"/>
          <ac:spMkLst>
            <pc:docMk/>
            <pc:sldMk cId="2066302433" sldId="10151"/>
            <ac:spMk id="28" creationId="{77771E76-DFA4-4D19-B2E3-74B7FBF71D1E}"/>
          </ac:spMkLst>
        </pc:spChg>
        <pc:spChg chg="mod">
          <ac:chgData name="Sarah GAUVARD" userId="4c03e191-e154-482a-88b2-11de19eac96c" providerId="ADAL" clId="{8245CC27-65FB-483E-B8E7-D04039DBA80D}" dt="2021-05-24T16:09:29.312" v="17268" actId="790"/>
          <ac:spMkLst>
            <pc:docMk/>
            <pc:sldMk cId="2066302433" sldId="10151"/>
            <ac:spMk id="29" creationId="{5E08754A-8970-4715-8A7A-F623D767FAB9}"/>
          </ac:spMkLst>
        </pc:spChg>
        <pc:spChg chg="mod">
          <ac:chgData name="Sarah GAUVARD" userId="4c03e191-e154-482a-88b2-11de19eac96c" providerId="ADAL" clId="{8245CC27-65FB-483E-B8E7-D04039DBA80D}" dt="2021-05-24T16:09:29.312" v="17269" actId="790"/>
          <ac:spMkLst>
            <pc:docMk/>
            <pc:sldMk cId="2066302433" sldId="10151"/>
            <ac:spMk id="30" creationId="{16C0C029-6359-44F4-B7C0-B040B0D8942B}"/>
          </ac:spMkLst>
        </pc:spChg>
        <pc:spChg chg="mod">
          <ac:chgData name="Sarah GAUVARD" userId="4c03e191-e154-482a-88b2-11de19eac96c" providerId="ADAL" clId="{8245CC27-65FB-483E-B8E7-D04039DBA80D}" dt="2021-05-24T16:09:29.312" v="17270" actId="790"/>
          <ac:spMkLst>
            <pc:docMk/>
            <pc:sldMk cId="2066302433" sldId="10151"/>
            <ac:spMk id="31" creationId="{AC0EA32D-54FE-4F9B-9CF8-4DAFEBC29666}"/>
          </ac:spMkLst>
        </pc:spChg>
        <pc:spChg chg="mod">
          <ac:chgData name="Sarah GAUVARD" userId="4c03e191-e154-482a-88b2-11de19eac96c" providerId="ADAL" clId="{8245CC27-65FB-483E-B8E7-D04039DBA80D}" dt="2021-05-24T16:09:29.312" v="17271" actId="790"/>
          <ac:spMkLst>
            <pc:docMk/>
            <pc:sldMk cId="2066302433" sldId="10151"/>
            <ac:spMk id="32" creationId="{8CE27222-24DA-4462-BF94-A8D5736BB7B7}"/>
          </ac:spMkLst>
        </pc:spChg>
        <pc:spChg chg="mod">
          <ac:chgData name="Sarah GAUVARD" userId="4c03e191-e154-482a-88b2-11de19eac96c" providerId="ADAL" clId="{8245CC27-65FB-483E-B8E7-D04039DBA80D}" dt="2021-05-24T16:09:29.312" v="17272" actId="790"/>
          <ac:spMkLst>
            <pc:docMk/>
            <pc:sldMk cId="2066302433" sldId="10151"/>
            <ac:spMk id="33" creationId="{7B850491-5D22-4445-B8DD-2E7DA22A1582}"/>
          </ac:spMkLst>
        </pc:spChg>
        <pc:spChg chg="mod">
          <ac:chgData name="Sarah GAUVARD" userId="4c03e191-e154-482a-88b2-11de19eac96c" providerId="ADAL" clId="{8245CC27-65FB-483E-B8E7-D04039DBA80D}" dt="2021-05-24T16:09:29.312" v="17273" actId="790"/>
          <ac:spMkLst>
            <pc:docMk/>
            <pc:sldMk cId="2066302433" sldId="10151"/>
            <ac:spMk id="34" creationId="{87B245AE-748D-4766-AAA8-E79644D27CF2}"/>
          </ac:spMkLst>
        </pc:spChg>
        <pc:spChg chg="mod">
          <ac:chgData name="Sarah GAUVARD" userId="4c03e191-e154-482a-88b2-11de19eac96c" providerId="ADAL" clId="{8245CC27-65FB-483E-B8E7-D04039DBA80D}" dt="2021-05-24T16:09:29.312" v="17274" actId="790"/>
          <ac:spMkLst>
            <pc:docMk/>
            <pc:sldMk cId="2066302433" sldId="10151"/>
            <ac:spMk id="35" creationId="{3B6324BE-5137-4BFE-8DA4-799A77B8D45E}"/>
          </ac:spMkLst>
        </pc:spChg>
        <pc:spChg chg="mod">
          <ac:chgData name="Sarah GAUVARD" userId="4c03e191-e154-482a-88b2-11de19eac96c" providerId="ADAL" clId="{8245CC27-65FB-483E-B8E7-D04039DBA80D}" dt="2021-05-24T16:09:29.312" v="17275" actId="790"/>
          <ac:spMkLst>
            <pc:docMk/>
            <pc:sldMk cId="2066302433" sldId="10151"/>
            <ac:spMk id="36" creationId="{E6D54B53-5D24-489F-9B67-95A762E58289}"/>
          </ac:spMkLst>
        </pc:spChg>
        <pc:spChg chg="mod">
          <ac:chgData name="Sarah GAUVARD" userId="4c03e191-e154-482a-88b2-11de19eac96c" providerId="ADAL" clId="{8245CC27-65FB-483E-B8E7-D04039DBA80D}" dt="2021-05-24T16:09:29.312" v="17276" actId="790"/>
          <ac:spMkLst>
            <pc:docMk/>
            <pc:sldMk cId="2066302433" sldId="10151"/>
            <ac:spMk id="37" creationId="{B1B3F98D-4D9B-442E-8C7B-A1756F2C34E5}"/>
          </ac:spMkLst>
        </pc:spChg>
        <pc:spChg chg="mod">
          <ac:chgData name="Sarah GAUVARD" userId="4c03e191-e154-482a-88b2-11de19eac96c" providerId="ADAL" clId="{8245CC27-65FB-483E-B8E7-D04039DBA80D}" dt="2021-05-24T16:09:29.320" v="17277" actId="790"/>
          <ac:spMkLst>
            <pc:docMk/>
            <pc:sldMk cId="2066302433" sldId="10151"/>
            <ac:spMk id="38" creationId="{1136920C-BA8F-43C0-8C16-F1AAC39166BF}"/>
          </ac:spMkLst>
        </pc:spChg>
        <pc:spChg chg="mod">
          <ac:chgData name="Sarah GAUVARD" userId="4c03e191-e154-482a-88b2-11de19eac96c" providerId="ADAL" clId="{8245CC27-65FB-483E-B8E7-D04039DBA80D}" dt="2021-05-24T16:09:29.320" v="17278" actId="790"/>
          <ac:spMkLst>
            <pc:docMk/>
            <pc:sldMk cId="2066302433" sldId="10151"/>
            <ac:spMk id="39" creationId="{EFF788FD-AC32-46E7-9D4E-4BC36F5959B9}"/>
          </ac:spMkLst>
        </pc:spChg>
        <pc:spChg chg="mod">
          <ac:chgData name="Sarah GAUVARD" userId="4c03e191-e154-482a-88b2-11de19eac96c" providerId="ADAL" clId="{8245CC27-65FB-483E-B8E7-D04039DBA80D}" dt="2021-05-24T16:09:29.320" v="17279" actId="790"/>
          <ac:spMkLst>
            <pc:docMk/>
            <pc:sldMk cId="2066302433" sldId="10151"/>
            <ac:spMk id="40" creationId="{A3E8FC77-79BA-4BF6-9229-A50D8390B0B0}"/>
          </ac:spMkLst>
        </pc:spChg>
        <pc:spChg chg="mod">
          <ac:chgData name="Sarah GAUVARD" userId="4c03e191-e154-482a-88b2-11de19eac96c" providerId="ADAL" clId="{8245CC27-65FB-483E-B8E7-D04039DBA80D}" dt="2021-05-24T16:09:29.320" v="17280" actId="790"/>
          <ac:spMkLst>
            <pc:docMk/>
            <pc:sldMk cId="2066302433" sldId="10151"/>
            <ac:spMk id="41" creationId="{0576C5B5-205F-4700-BDBA-CB236CF202E5}"/>
          </ac:spMkLst>
        </pc:spChg>
        <pc:spChg chg="mod">
          <ac:chgData name="Sarah GAUVARD" userId="4c03e191-e154-482a-88b2-11de19eac96c" providerId="ADAL" clId="{8245CC27-65FB-483E-B8E7-D04039DBA80D}" dt="2021-05-24T16:09:29.320" v="17281" actId="790"/>
          <ac:spMkLst>
            <pc:docMk/>
            <pc:sldMk cId="2066302433" sldId="10151"/>
            <ac:spMk id="42" creationId="{10178595-DB31-448D-B26C-282499D9E2AB}"/>
          </ac:spMkLst>
        </pc:spChg>
        <pc:spChg chg="mod">
          <ac:chgData name="Sarah GAUVARD" userId="4c03e191-e154-482a-88b2-11de19eac96c" providerId="ADAL" clId="{8245CC27-65FB-483E-B8E7-D04039DBA80D}" dt="2021-05-24T16:09:29.320" v="17282" actId="790"/>
          <ac:spMkLst>
            <pc:docMk/>
            <pc:sldMk cId="2066302433" sldId="10151"/>
            <ac:spMk id="43" creationId="{7A99688D-221A-4009-B9DD-DA6C7D20F69E}"/>
          </ac:spMkLst>
        </pc:spChg>
        <pc:spChg chg="mod">
          <ac:chgData name="Sarah GAUVARD" userId="4c03e191-e154-482a-88b2-11de19eac96c" providerId="ADAL" clId="{8245CC27-65FB-483E-B8E7-D04039DBA80D}" dt="2021-05-24T16:09:29.320" v="17283" actId="790"/>
          <ac:spMkLst>
            <pc:docMk/>
            <pc:sldMk cId="2066302433" sldId="10151"/>
            <ac:spMk id="44" creationId="{A821D0F1-6745-4FB4-960B-A65CD44A148F}"/>
          </ac:spMkLst>
        </pc:spChg>
        <pc:spChg chg="mod">
          <ac:chgData name="Sarah GAUVARD" userId="4c03e191-e154-482a-88b2-11de19eac96c" providerId="ADAL" clId="{8245CC27-65FB-483E-B8E7-D04039DBA80D}" dt="2021-05-24T16:09:29.320" v="17284" actId="790"/>
          <ac:spMkLst>
            <pc:docMk/>
            <pc:sldMk cId="2066302433" sldId="10151"/>
            <ac:spMk id="45" creationId="{94585B0F-E803-4576-9DB3-FAF173D08F43}"/>
          </ac:spMkLst>
        </pc:spChg>
        <pc:spChg chg="mod">
          <ac:chgData name="Sarah GAUVARD" userId="4c03e191-e154-482a-88b2-11de19eac96c" providerId="ADAL" clId="{8245CC27-65FB-483E-B8E7-D04039DBA80D}" dt="2021-05-24T16:09:29.320" v="17285" actId="790"/>
          <ac:spMkLst>
            <pc:docMk/>
            <pc:sldMk cId="2066302433" sldId="10151"/>
            <ac:spMk id="46" creationId="{60B47F91-9ED1-4064-B0F1-0F150436DBA4}"/>
          </ac:spMkLst>
        </pc:spChg>
        <pc:spChg chg="mod">
          <ac:chgData name="Sarah GAUVARD" userId="4c03e191-e154-482a-88b2-11de19eac96c" providerId="ADAL" clId="{8245CC27-65FB-483E-B8E7-D04039DBA80D}" dt="2021-05-24T16:09:29.320" v="17286" actId="790"/>
          <ac:spMkLst>
            <pc:docMk/>
            <pc:sldMk cId="2066302433" sldId="10151"/>
            <ac:spMk id="47" creationId="{17468E73-86AE-459C-946F-AFFBB7E789DD}"/>
          </ac:spMkLst>
        </pc:spChg>
        <pc:spChg chg="mod">
          <ac:chgData name="Sarah GAUVARD" userId="4c03e191-e154-482a-88b2-11de19eac96c" providerId="ADAL" clId="{8245CC27-65FB-483E-B8E7-D04039DBA80D}" dt="2021-05-24T16:09:29.320" v="17287" actId="790"/>
          <ac:spMkLst>
            <pc:docMk/>
            <pc:sldMk cId="2066302433" sldId="10151"/>
            <ac:spMk id="48" creationId="{44B8897D-6B27-465B-A723-BF615C31D100}"/>
          </ac:spMkLst>
        </pc:spChg>
        <pc:spChg chg="mod">
          <ac:chgData name="Sarah GAUVARD" userId="4c03e191-e154-482a-88b2-11de19eac96c" providerId="ADAL" clId="{8245CC27-65FB-483E-B8E7-D04039DBA80D}" dt="2021-05-24T16:09:29.320" v="17288" actId="790"/>
          <ac:spMkLst>
            <pc:docMk/>
            <pc:sldMk cId="2066302433" sldId="10151"/>
            <ac:spMk id="49" creationId="{3CAB94CE-464D-4A6D-BF0D-B9E076D55E68}"/>
          </ac:spMkLst>
        </pc:spChg>
        <pc:spChg chg="mod">
          <ac:chgData name="Sarah GAUVARD" userId="4c03e191-e154-482a-88b2-11de19eac96c" providerId="ADAL" clId="{8245CC27-65FB-483E-B8E7-D04039DBA80D}" dt="2021-05-24T16:09:29.320" v="17289" actId="790"/>
          <ac:spMkLst>
            <pc:docMk/>
            <pc:sldMk cId="2066302433" sldId="10151"/>
            <ac:spMk id="50" creationId="{DB23E4EA-8CC3-4D51-8B49-7C52B0496041}"/>
          </ac:spMkLst>
        </pc:spChg>
        <pc:spChg chg="mod">
          <ac:chgData name="Sarah GAUVARD" userId="4c03e191-e154-482a-88b2-11de19eac96c" providerId="ADAL" clId="{8245CC27-65FB-483E-B8E7-D04039DBA80D}" dt="2021-05-24T16:09:29.320" v="17290" actId="790"/>
          <ac:spMkLst>
            <pc:docMk/>
            <pc:sldMk cId="2066302433" sldId="10151"/>
            <ac:spMk id="51" creationId="{6EAF2701-A2C6-4614-9A6E-C85168C5E062}"/>
          </ac:spMkLst>
        </pc:spChg>
      </pc:sldChg>
      <pc:sldChg chg="addSp modSp mod">
        <pc:chgData name="Sarah GAUVARD" userId="4c03e191-e154-482a-88b2-11de19eac96c" providerId="ADAL" clId="{8245CC27-65FB-483E-B8E7-D04039DBA80D}" dt="2021-05-24T16:09:26.472" v="14533" actId="790"/>
        <pc:sldMkLst>
          <pc:docMk/>
          <pc:sldMk cId="3884321799" sldId="10291"/>
        </pc:sldMkLst>
        <pc:spChg chg="mod">
          <ac:chgData name="Sarah GAUVARD" userId="4c03e191-e154-482a-88b2-11de19eac96c" providerId="ADAL" clId="{8245CC27-65FB-483E-B8E7-D04039DBA80D}" dt="2021-05-24T16:09:26.462" v="14528" actId="790"/>
          <ac:spMkLst>
            <pc:docMk/>
            <pc:sldMk cId="3884321799" sldId="10291"/>
            <ac:spMk id="3" creationId="{DC0B6CE0-071E-44A6-82A3-BC4FF5D83B27}"/>
          </ac:spMkLst>
        </pc:spChg>
        <pc:spChg chg="mod">
          <ac:chgData name="Sarah GAUVARD" userId="4c03e191-e154-482a-88b2-11de19eac96c" providerId="ADAL" clId="{8245CC27-65FB-483E-B8E7-D04039DBA80D}" dt="2021-05-24T16:09:26.462" v="14529" actId="790"/>
          <ac:spMkLst>
            <pc:docMk/>
            <pc:sldMk cId="3884321799" sldId="10291"/>
            <ac:spMk id="4" creationId="{2DE3B9FB-389E-44C4-A5C5-F3E880E483DD}"/>
          </ac:spMkLst>
        </pc:spChg>
        <pc:spChg chg="mod">
          <ac:chgData name="Sarah GAUVARD" userId="4c03e191-e154-482a-88b2-11de19eac96c" providerId="ADAL" clId="{8245CC27-65FB-483E-B8E7-D04039DBA80D}" dt="2021-05-24T16:09:26.462" v="14530" actId="790"/>
          <ac:spMkLst>
            <pc:docMk/>
            <pc:sldMk cId="3884321799" sldId="10291"/>
            <ac:spMk id="7" creationId="{ED3DDDA4-13C0-4B5E-BF69-1052ACC41BFF}"/>
          </ac:spMkLst>
        </pc:spChg>
        <pc:spChg chg="mod">
          <ac:chgData name="Sarah GAUVARD" userId="4c03e191-e154-482a-88b2-11de19eac96c" providerId="ADAL" clId="{8245CC27-65FB-483E-B8E7-D04039DBA80D}" dt="2021-05-24T16:09:26.470" v="14531" actId="790"/>
          <ac:spMkLst>
            <pc:docMk/>
            <pc:sldMk cId="3884321799" sldId="10291"/>
            <ac:spMk id="13" creationId="{B1098745-8BF6-4065-AFBD-2424FEF2474A}"/>
          </ac:spMkLst>
        </pc:spChg>
        <pc:spChg chg="mod">
          <ac:chgData name="Sarah GAUVARD" userId="4c03e191-e154-482a-88b2-11de19eac96c" providerId="ADAL" clId="{8245CC27-65FB-483E-B8E7-D04039DBA80D}" dt="2021-05-24T16:09:26.472" v="14532" actId="790"/>
          <ac:spMkLst>
            <pc:docMk/>
            <pc:sldMk cId="3884321799" sldId="10291"/>
            <ac:spMk id="16" creationId="{FFF23C2F-78E0-477D-90B5-6C5DA8402A80}"/>
          </ac:spMkLst>
        </pc:spChg>
        <pc:spChg chg="mod">
          <ac:chgData name="Sarah GAUVARD" userId="4c03e191-e154-482a-88b2-11de19eac96c" providerId="ADAL" clId="{8245CC27-65FB-483E-B8E7-D04039DBA80D}" dt="2021-05-24T16:09:26.472" v="14533" actId="790"/>
          <ac:spMkLst>
            <pc:docMk/>
            <pc:sldMk cId="3884321799" sldId="10291"/>
            <ac:spMk id="19" creationId="{BC48846A-ECA8-4A6F-8CFC-15261D21AF27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148" v="11917"/>
          <ac:graphicFrameMkLst>
            <pc:docMk/>
            <pc:sldMk cId="3884321799" sldId="10291"/>
            <ac:graphicFrameMk id="2" creationId="{814ECDF5-7C96-4D64-9DFF-F99D3E656D39}"/>
          </ac:graphicFrameMkLst>
        </pc:graphicFrameChg>
      </pc:sldChg>
      <pc:sldChg chg="addSp modSp mod">
        <pc:chgData name="Sarah GAUVARD" userId="4c03e191-e154-482a-88b2-11de19eac96c" providerId="ADAL" clId="{8245CC27-65FB-483E-B8E7-D04039DBA80D}" dt="2021-05-24T16:09:26.482" v="14541" actId="790"/>
        <pc:sldMkLst>
          <pc:docMk/>
          <pc:sldMk cId="3536028850" sldId="10321"/>
        </pc:sldMkLst>
        <pc:spChg chg="mod">
          <ac:chgData name="Sarah GAUVARD" userId="4c03e191-e154-482a-88b2-11de19eac96c" providerId="ADAL" clId="{8245CC27-65FB-483E-B8E7-D04039DBA80D}" dt="2021-05-24T16:09:26.472" v="14534" actId="790"/>
          <ac:spMkLst>
            <pc:docMk/>
            <pc:sldMk cId="3536028850" sldId="10321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6.472" v="14535" actId="790"/>
          <ac:spMkLst>
            <pc:docMk/>
            <pc:sldMk cId="3536028850" sldId="10321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6.472" v="14536" actId="790"/>
          <ac:spMkLst>
            <pc:docMk/>
            <pc:sldMk cId="3536028850" sldId="10321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6.482" v="14541" actId="790"/>
          <ac:spMkLst>
            <pc:docMk/>
            <pc:sldMk cId="3536028850" sldId="10321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6.472" v="14537" actId="790"/>
          <ac:spMkLst>
            <pc:docMk/>
            <pc:sldMk cId="3536028850" sldId="10321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6.472" v="14538" actId="790"/>
          <ac:spMkLst>
            <pc:docMk/>
            <pc:sldMk cId="3536028850" sldId="10321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6.480" v="14539" actId="790"/>
          <ac:spMkLst>
            <pc:docMk/>
            <pc:sldMk cId="3536028850" sldId="10321"/>
            <ac:spMk id="22" creationId="{C002634F-3FA9-4AC3-90E2-0D253FC97BF7}"/>
          </ac:spMkLst>
        </pc:spChg>
        <pc:spChg chg="mod">
          <ac:chgData name="Sarah GAUVARD" userId="4c03e191-e154-482a-88b2-11de19eac96c" providerId="ADAL" clId="{8245CC27-65FB-483E-B8E7-D04039DBA80D}" dt="2021-05-24T16:09:26.482" v="14540" actId="790"/>
          <ac:spMkLst>
            <pc:docMk/>
            <pc:sldMk cId="3536028850" sldId="10321"/>
            <ac:spMk id="24" creationId="{9523976D-7994-4445-A7A3-F04F6C533708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191" v="11940"/>
          <ac:graphicFrameMkLst>
            <pc:docMk/>
            <pc:sldMk cId="3536028850" sldId="10321"/>
            <ac:graphicFrameMk id="2" creationId="{1B30618F-332C-4735-B637-9D05B68B0E28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977" v="16084" actId="790"/>
        <pc:sldMkLst>
          <pc:docMk/>
          <pc:sldMk cId="3812200160" sldId="10324"/>
        </pc:sldMkLst>
        <pc:spChg chg="mod">
          <ac:chgData name="Sarah GAUVARD" userId="4c03e191-e154-482a-88b2-11de19eac96c" providerId="ADAL" clId="{8245CC27-65FB-483E-B8E7-D04039DBA80D}" dt="2021-05-24T16:09:27.915" v="16000" actId="790"/>
          <ac:spMkLst>
            <pc:docMk/>
            <pc:sldMk cId="3812200160" sldId="10324"/>
            <ac:spMk id="2" creationId="{806A24BD-A309-4114-BCBE-1F8520216A75}"/>
          </ac:spMkLst>
        </pc:spChg>
        <pc:spChg chg="add del mod modVis">
          <ac:chgData name="Sarah GAUVARD" userId="4c03e191-e154-482a-88b2-11de19eac96c" providerId="ADAL" clId="{8245CC27-65FB-483E-B8E7-D04039DBA80D}" dt="2021-05-24T15:34:46.517" v="12088"/>
          <ac:spMkLst>
            <pc:docMk/>
            <pc:sldMk cId="3812200160" sldId="10324"/>
            <ac:spMk id="3" creationId="{DA64EB1C-B632-4955-9DDB-3B271FFA1F9F}"/>
          </ac:spMkLst>
        </pc:spChg>
        <pc:spChg chg="mod">
          <ac:chgData name="Sarah GAUVARD" userId="4c03e191-e154-482a-88b2-11de19eac96c" providerId="ADAL" clId="{8245CC27-65FB-483E-B8E7-D04039DBA80D}" dt="2021-05-24T16:09:27.956" v="16051" actId="790"/>
          <ac:spMkLst>
            <pc:docMk/>
            <pc:sldMk cId="3812200160" sldId="10324"/>
            <ac:spMk id="5" creationId="{5EC0279C-C6B9-4AB1-8775-2653854AC40C}"/>
          </ac:spMkLst>
        </pc:spChg>
        <pc:spChg chg="mod">
          <ac:chgData name="Sarah GAUVARD" userId="4c03e191-e154-482a-88b2-11de19eac96c" providerId="ADAL" clId="{8245CC27-65FB-483E-B8E7-D04039DBA80D}" dt="2021-05-24T16:09:27.915" v="16001" actId="790"/>
          <ac:spMkLst>
            <pc:docMk/>
            <pc:sldMk cId="3812200160" sldId="10324"/>
            <ac:spMk id="6" creationId="{4E6E5141-7FBC-4E06-91AB-778C41045C7B}"/>
          </ac:spMkLst>
        </pc:spChg>
        <pc:spChg chg="mod">
          <ac:chgData name="Sarah GAUVARD" userId="4c03e191-e154-482a-88b2-11de19eac96c" providerId="ADAL" clId="{8245CC27-65FB-483E-B8E7-D04039DBA80D}" dt="2021-05-24T16:09:27.915" v="16002" actId="790"/>
          <ac:spMkLst>
            <pc:docMk/>
            <pc:sldMk cId="3812200160" sldId="10324"/>
            <ac:spMk id="7" creationId="{8D09AD6F-BFA9-4E94-83DF-0661F98B9019}"/>
          </ac:spMkLst>
        </pc:spChg>
        <pc:spChg chg="mod">
          <ac:chgData name="Sarah GAUVARD" userId="4c03e191-e154-482a-88b2-11de19eac96c" providerId="ADAL" clId="{8245CC27-65FB-483E-B8E7-D04039DBA80D}" dt="2021-05-24T16:09:27.915" v="16003" actId="790"/>
          <ac:spMkLst>
            <pc:docMk/>
            <pc:sldMk cId="3812200160" sldId="10324"/>
            <ac:spMk id="8" creationId="{77A429D6-B3A3-42B0-BAD3-1B353FC28B08}"/>
          </ac:spMkLst>
        </pc:spChg>
        <pc:spChg chg="mod">
          <ac:chgData name="Sarah GAUVARD" userId="4c03e191-e154-482a-88b2-11de19eac96c" providerId="ADAL" clId="{8245CC27-65FB-483E-B8E7-D04039DBA80D}" dt="2021-05-24T16:09:27.915" v="16004" actId="790"/>
          <ac:spMkLst>
            <pc:docMk/>
            <pc:sldMk cId="3812200160" sldId="10324"/>
            <ac:spMk id="9" creationId="{C1790DA0-3655-475E-9CEE-4FBE153BB3F2}"/>
          </ac:spMkLst>
        </pc:spChg>
        <pc:spChg chg="mod">
          <ac:chgData name="Sarah GAUVARD" userId="4c03e191-e154-482a-88b2-11de19eac96c" providerId="ADAL" clId="{8245CC27-65FB-483E-B8E7-D04039DBA80D}" dt="2021-05-24T16:09:27.946" v="16035" actId="790"/>
          <ac:spMkLst>
            <pc:docMk/>
            <pc:sldMk cId="3812200160" sldId="10324"/>
            <ac:spMk id="13" creationId="{93256D83-834B-4334-B9DB-6D53960A9062}"/>
          </ac:spMkLst>
        </pc:spChg>
        <pc:spChg chg="mod">
          <ac:chgData name="Sarah GAUVARD" userId="4c03e191-e154-482a-88b2-11de19eac96c" providerId="ADAL" clId="{8245CC27-65FB-483E-B8E7-D04039DBA80D}" dt="2021-05-24T16:09:27.915" v="16005" actId="790"/>
          <ac:spMkLst>
            <pc:docMk/>
            <pc:sldMk cId="3812200160" sldId="10324"/>
            <ac:spMk id="14" creationId="{B8D529E0-B56F-42E9-9413-B04B09D1BC35}"/>
          </ac:spMkLst>
        </pc:spChg>
        <pc:spChg chg="mod">
          <ac:chgData name="Sarah GAUVARD" userId="4c03e191-e154-482a-88b2-11de19eac96c" providerId="ADAL" clId="{8245CC27-65FB-483E-B8E7-D04039DBA80D}" dt="2021-05-24T16:09:27.915" v="16006" actId="790"/>
          <ac:spMkLst>
            <pc:docMk/>
            <pc:sldMk cId="3812200160" sldId="10324"/>
            <ac:spMk id="15" creationId="{BD17CEC9-4298-48C2-A07A-B6966AE88E71}"/>
          </ac:spMkLst>
        </pc:spChg>
        <pc:spChg chg="mod">
          <ac:chgData name="Sarah GAUVARD" userId="4c03e191-e154-482a-88b2-11de19eac96c" providerId="ADAL" clId="{8245CC27-65FB-483E-B8E7-D04039DBA80D}" dt="2021-05-24T16:09:27.915" v="16007" actId="790"/>
          <ac:spMkLst>
            <pc:docMk/>
            <pc:sldMk cId="3812200160" sldId="10324"/>
            <ac:spMk id="16" creationId="{B886F05E-DC2A-4B28-89B2-BAEBC0591254}"/>
          </ac:spMkLst>
        </pc:spChg>
        <pc:spChg chg="mod">
          <ac:chgData name="Sarah GAUVARD" userId="4c03e191-e154-482a-88b2-11de19eac96c" providerId="ADAL" clId="{8245CC27-65FB-483E-B8E7-D04039DBA80D}" dt="2021-05-24T16:09:27.915" v="16008" actId="790"/>
          <ac:spMkLst>
            <pc:docMk/>
            <pc:sldMk cId="3812200160" sldId="10324"/>
            <ac:spMk id="17" creationId="{FD9BD1A8-B133-4ED7-9402-59FE79DE23EC}"/>
          </ac:spMkLst>
        </pc:spChg>
        <pc:spChg chg="mod">
          <ac:chgData name="Sarah GAUVARD" userId="4c03e191-e154-482a-88b2-11de19eac96c" providerId="ADAL" clId="{8245CC27-65FB-483E-B8E7-D04039DBA80D}" dt="2021-05-24T16:09:27.915" v="16009" actId="790"/>
          <ac:spMkLst>
            <pc:docMk/>
            <pc:sldMk cId="3812200160" sldId="10324"/>
            <ac:spMk id="18" creationId="{4373ED4E-D1FF-488D-BEFE-69AC7F528CA4}"/>
          </ac:spMkLst>
        </pc:spChg>
        <pc:spChg chg="mod">
          <ac:chgData name="Sarah GAUVARD" userId="4c03e191-e154-482a-88b2-11de19eac96c" providerId="ADAL" clId="{8245CC27-65FB-483E-B8E7-D04039DBA80D}" dt="2021-05-24T16:09:27.915" v="16010" actId="790"/>
          <ac:spMkLst>
            <pc:docMk/>
            <pc:sldMk cId="3812200160" sldId="10324"/>
            <ac:spMk id="19" creationId="{BC760060-ABD5-412D-8045-EF97EC543341}"/>
          </ac:spMkLst>
        </pc:spChg>
        <pc:spChg chg="mod">
          <ac:chgData name="Sarah GAUVARD" userId="4c03e191-e154-482a-88b2-11de19eac96c" providerId="ADAL" clId="{8245CC27-65FB-483E-B8E7-D04039DBA80D}" dt="2021-05-24T16:09:27.915" v="16011" actId="790"/>
          <ac:spMkLst>
            <pc:docMk/>
            <pc:sldMk cId="3812200160" sldId="10324"/>
            <ac:spMk id="20" creationId="{388BECFA-DD33-47B0-8DCF-EFF4D8D243DB}"/>
          </ac:spMkLst>
        </pc:spChg>
        <pc:spChg chg="mod">
          <ac:chgData name="Sarah GAUVARD" userId="4c03e191-e154-482a-88b2-11de19eac96c" providerId="ADAL" clId="{8245CC27-65FB-483E-B8E7-D04039DBA80D}" dt="2021-05-24T16:09:27.923" v="16012" actId="790"/>
          <ac:spMkLst>
            <pc:docMk/>
            <pc:sldMk cId="3812200160" sldId="10324"/>
            <ac:spMk id="21" creationId="{F90680D2-5DA9-4AD6-8E64-FE8EA1410BC0}"/>
          </ac:spMkLst>
        </pc:spChg>
        <pc:spChg chg="mod">
          <ac:chgData name="Sarah GAUVARD" userId="4c03e191-e154-482a-88b2-11de19eac96c" providerId="ADAL" clId="{8245CC27-65FB-483E-B8E7-D04039DBA80D}" dt="2021-05-24T16:09:27.923" v="16013" actId="790"/>
          <ac:spMkLst>
            <pc:docMk/>
            <pc:sldMk cId="3812200160" sldId="10324"/>
            <ac:spMk id="22" creationId="{F54D9E31-C7E1-4619-8AB2-AF3F57E25D8C}"/>
          </ac:spMkLst>
        </pc:spChg>
        <pc:spChg chg="mod">
          <ac:chgData name="Sarah GAUVARD" userId="4c03e191-e154-482a-88b2-11de19eac96c" providerId="ADAL" clId="{8245CC27-65FB-483E-B8E7-D04039DBA80D}" dt="2021-05-24T16:09:27.925" v="16014" actId="790"/>
          <ac:spMkLst>
            <pc:docMk/>
            <pc:sldMk cId="3812200160" sldId="10324"/>
            <ac:spMk id="23" creationId="{E942F219-9D1D-4A73-B97D-EC48BD66AF15}"/>
          </ac:spMkLst>
        </pc:spChg>
        <pc:spChg chg="mod">
          <ac:chgData name="Sarah GAUVARD" userId="4c03e191-e154-482a-88b2-11de19eac96c" providerId="ADAL" clId="{8245CC27-65FB-483E-B8E7-D04039DBA80D}" dt="2021-05-24T16:09:27.925" v="16015" actId="790"/>
          <ac:spMkLst>
            <pc:docMk/>
            <pc:sldMk cId="3812200160" sldId="10324"/>
            <ac:spMk id="24" creationId="{C2FF144E-7C70-4F58-8690-D05F03C7B743}"/>
          </ac:spMkLst>
        </pc:spChg>
        <pc:spChg chg="mod">
          <ac:chgData name="Sarah GAUVARD" userId="4c03e191-e154-482a-88b2-11de19eac96c" providerId="ADAL" clId="{8245CC27-65FB-483E-B8E7-D04039DBA80D}" dt="2021-05-24T16:09:27.925" v="16016" actId="790"/>
          <ac:spMkLst>
            <pc:docMk/>
            <pc:sldMk cId="3812200160" sldId="10324"/>
            <ac:spMk id="43" creationId="{C59EF210-5B50-40A7-A6B4-DDAD799020BA}"/>
          </ac:spMkLst>
        </pc:spChg>
        <pc:spChg chg="mod">
          <ac:chgData name="Sarah GAUVARD" userId="4c03e191-e154-482a-88b2-11de19eac96c" providerId="ADAL" clId="{8245CC27-65FB-483E-B8E7-D04039DBA80D}" dt="2021-05-24T16:09:27.925" v="16017" actId="790"/>
          <ac:spMkLst>
            <pc:docMk/>
            <pc:sldMk cId="3812200160" sldId="10324"/>
            <ac:spMk id="45" creationId="{A30046C9-7286-442E-B5D2-9182D2F71B12}"/>
          </ac:spMkLst>
        </pc:spChg>
        <pc:spChg chg="mod">
          <ac:chgData name="Sarah GAUVARD" userId="4c03e191-e154-482a-88b2-11de19eac96c" providerId="ADAL" clId="{8245CC27-65FB-483E-B8E7-D04039DBA80D}" dt="2021-05-24T16:09:27.925" v="16018" actId="790"/>
          <ac:spMkLst>
            <pc:docMk/>
            <pc:sldMk cId="3812200160" sldId="10324"/>
            <ac:spMk id="56" creationId="{F37F2C7C-4651-46F1-B548-F75D15102AEA}"/>
          </ac:spMkLst>
        </pc:spChg>
        <pc:spChg chg="mod">
          <ac:chgData name="Sarah GAUVARD" userId="4c03e191-e154-482a-88b2-11de19eac96c" providerId="ADAL" clId="{8245CC27-65FB-483E-B8E7-D04039DBA80D}" dt="2021-05-24T16:09:27.925" v="16019" actId="790"/>
          <ac:spMkLst>
            <pc:docMk/>
            <pc:sldMk cId="3812200160" sldId="10324"/>
            <ac:spMk id="61" creationId="{86718822-02E2-4F9A-B0D6-5A2C08F0884A}"/>
          </ac:spMkLst>
        </pc:spChg>
        <pc:spChg chg="mod">
          <ac:chgData name="Sarah GAUVARD" userId="4c03e191-e154-482a-88b2-11de19eac96c" providerId="ADAL" clId="{8245CC27-65FB-483E-B8E7-D04039DBA80D}" dt="2021-05-24T16:09:27.925" v="16020" actId="790"/>
          <ac:spMkLst>
            <pc:docMk/>
            <pc:sldMk cId="3812200160" sldId="10324"/>
            <ac:spMk id="62" creationId="{27537C42-90B1-4AE2-8853-9E14C9C3CD5A}"/>
          </ac:spMkLst>
        </pc:spChg>
        <pc:spChg chg="mod">
          <ac:chgData name="Sarah GAUVARD" userId="4c03e191-e154-482a-88b2-11de19eac96c" providerId="ADAL" clId="{8245CC27-65FB-483E-B8E7-D04039DBA80D}" dt="2021-05-24T16:09:27.925" v="16021" actId="790"/>
          <ac:spMkLst>
            <pc:docMk/>
            <pc:sldMk cId="3812200160" sldId="10324"/>
            <ac:spMk id="63" creationId="{09962DE7-FED3-45A7-A785-60D4A1764C81}"/>
          </ac:spMkLst>
        </pc:spChg>
        <pc:spChg chg="mod">
          <ac:chgData name="Sarah GAUVARD" userId="4c03e191-e154-482a-88b2-11de19eac96c" providerId="ADAL" clId="{8245CC27-65FB-483E-B8E7-D04039DBA80D}" dt="2021-05-24T16:09:27.933" v="16022" actId="790"/>
          <ac:spMkLst>
            <pc:docMk/>
            <pc:sldMk cId="3812200160" sldId="10324"/>
            <ac:spMk id="74" creationId="{DD8929B4-3FC0-4A80-B005-DECF49E5F03E}"/>
          </ac:spMkLst>
        </pc:spChg>
        <pc:spChg chg="mod">
          <ac:chgData name="Sarah GAUVARD" userId="4c03e191-e154-482a-88b2-11de19eac96c" providerId="ADAL" clId="{8245CC27-65FB-483E-B8E7-D04039DBA80D}" dt="2021-05-24T16:09:27.933" v="16023" actId="790"/>
          <ac:spMkLst>
            <pc:docMk/>
            <pc:sldMk cId="3812200160" sldId="10324"/>
            <ac:spMk id="85" creationId="{2D2CFECC-1DAE-45A7-BC98-5B3781537431}"/>
          </ac:spMkLst>
        </pc:spChg>
        <pc:spChg chg="mod">
          <ac:chgData name="Sarah GAUVARD" userId="4c03e191-e154-482a-88b2-11de19eac96c" providerId="ADAL" clId="{8245CC27-65FB-483E-B8E7-D04039DBA80D}" dt="2021-05-24T16:09:27.936" v="16024" actId="790"/>
          <ac:spMkLst>
            <pc:docMk/>
            <pc:sldMk cId="3812200160" sldId="10324"/>
            <ac:spMk id="91" creationId="{7D5F7D48-55E2-4B20-BCE4-576336C3156A}"/>
          </ac:spMkLst>
        </pc:spChg>
        <pc:spChg chg="mod">
          <ac:chgData name="Sarah GAUVARD" userId="4c03e191-e154-482a-88b2-11de19eac96c" providerId="ADAL" clId="{8245CC27-65FB-483E-B8E7-D04039DBA80D}" dt="2021-05-24T16:09:27.936" v="16025" actId="790"/>
          <ac:spMkLst>
            <pc:docMk/>
            <pc:sldMk cId="3812200160" sldId="10324"/>
            <ac:spMk id="110" creationId="{D112EAE9-1C24-4AF0-B3DD-273BF2FF5A59}"/>
          </ac:spMkLst>
        </pc:spChg>
        <pc:spChg chg="mod">
          <ac:chgData name="Sarah GAUVARD" userId="4c03e191-e154-482a-88b2-11de19eac96c" providerId="ADAL" clId="{8245CC27-65FB-483E-B8E7-D04039DBA80D}" dt="2021-05-24T16:09:27.936" v="16026" actId="790"/>
          <ac:spMkLst>
            <pc:docMk/>
            <pc:sldMk cId="3812200160" sldId="10324"/>
            <ac:spMk id="111" creationId="{9B916422-AB4B-4397-9CE1-E4BDD0AED7FE}"/>
          </ac:spMkLst>
        </pc:spChg>
        <pc:spChg chg="mod">
          <ac:chgData name="Sarah GAUVARD" userId="4c03e191-e154-482a-88b2-11de19eac96c" providerId="ADAL" clId="{8245CC27-65FB-483E-B8E7-D04039DBA80D}" dt="2021-05-24T16:09:27.936" v="16027" actId="790"/>
          <ac:spMkLst>
            <pc:docMk/>
            <pc:sldMk cId="3812200160" sldId="10324"/>
            <ac:spMk id="122" creationId="{4BB1FB59-BBA0-4C1D-99BF-B17C66F28105}"/>
          </ac:spMkLst>
        </pc:spChg>
        <pc:spChg chg="mod">
          <ac:chgData name="Sarah GAUVARD" userId="4c03e191-e154-482a-88b2-11de19eac96c" providerId="ADAL" clId="{8245CC27-65FB-483E-B8E7-D04039DBA80D}" dt="2021-05-24T16:09:27.936" v="16028" actId="790"/>
          <ac:spMkLst>
            <pc:docMk/>
            <pc:sldMk cId="3812200160" sldId="10324"/>
            <ac:spMk id="123" creationId="{BA1295D8-39D5-452E-8452-EBFDE65B613E}"/>
          </ac:spMkLst>
        </pc:spChg>
        <pc:spChg chg="mod">
          <ac:chgData name="Sarah GAUVARD" userId="4c03e191-e154-482a-88b2-11de19eac96c" providerId="ADAL" clId="{8245CC27-65FB-483E-B8E7-D04039DBA80D}" dt="2021-05-24T16:09:27.944" v="16029" actId="790"/>
          <ac:spMkLst>
            <pc:docMk/>
            <pc:sldMk cId="3812200160" sldId="10324"/>
            <ac:spMk id="129" creationId="{41C22EBB-F88D-45C4-8EEC-7D82784A1DFD}"/>
          </ac:spMkLst>
        </pc:spChg>
        <pc:spChg chg="mod">
          <ac:chgData name="Sarah GAUVARD" userId="4c03e191-e154-482a-88b2-11de19eac96c" providerId="ADAL" clId="{8245CC27-65FB-483E-B8E7-D04039DBA80D}" dt="2021-05-24T16:09:27.944" v="16030" actId="790"/>
          <ac:spMkLst>
            <pc:docMk/>
            <pc:sldMk cId="3812200160" sldId="10324"/>
            <ac:spMk id="130" creationId="{163A8F1B-F414-4330-AC35-FC60619A3D17}"/>
          </ac:spMkLst>
        </pc:spChg>
        <pc:spChg chg="mod">
          <ac:chgData name="Sarah GAUVARD" userId="4c03e191-e154-482a-88b2-11de19eac96c" providerId="ADAL" clId="{8245CC27-65FB-483E-B8E7-D04039DBA80D}" dt="2021-05-24T16:09:27.956" v="16050" actId="790"/>
          <ac:spMkLst>
            <pc:docMk/>
            <pc:sldMk cId="3812200160" sldId="10324"/>
            <ac:spMk id="131" creationId="{F8E98C50-1E86-491D-9DCE-46388404D244}"/>
          </ac:spMkLst>
        </pc:spChg>
        <pc:spChg chg="mod">
          <ac:chgData name="Sarah GAUVARD" userId="4c03e191-e154-482a-88b2-11de19eac96c" providerId="ADAL" clId="{8245CC27-65FB-483E-B8E7-D04039DBA80D}" dt="2021-05-24T16:09:27.944" v="16031" actId="790"/>
          <ac:spMkLst>
            <pc:docMk/>
            <pc:sldMk cId="3812200160" sldId="10324"/>
            <ac:spMk id="132" creationId="{1A3DE5F6-DC50-4B3E-8712-4F7931E9D3D4}"/>
          </ac:spMkLst>
        </pc:spChg>
        <pc:spChg chg="mod">
          <ac:chgData name="Sarah GAUVARD" userId="4c03e191-e154-482a-88b2-11de19eac96c" providerId="ADAL" clId="{8245CC27-65FB-483E-B8E7-D04039DBA80D}" dt="2021-05-24T16:09:27.946" v="16032" actId="790"/>
          <ac:spMkLst>
            <pc:docMk/>
            <pc:sldMk cId="3812200160" sldId="10324"/>
            <ac:spMk id="133" creationId="{DC661DF3-2B60-4258-8A3C-6DA55E7974BD}"/>
          </ac:spMkLst>
        </pc:spChg>
        <pc:spChg chg="mod">
          <ac:chgData name="Sarah GAUVARD" userId="4c03e191-e154-482a-88b2-11de19eac96c" providerId="ADAL" clId="{8245CC27-65FB-483E-B8E7-D04039DBA80D}" dt="2021-05-24T16:09:27.946" v="16033" actId="790"/>
          <ac:spMkLst>
            <pc:docMk/>
            <pc:sldMk cId="3812200160" sldId="10324"/>
            <ac:spMk id="134" creationId="{D5795A40-7B7E-4315-876A-A38D6610B661}"/>
          </ac:spMkLst>
        </pc:spChg>
        <pc:spChg chg="mod">
          <ac:chgData name="Sarah GAUVARD" userId="4c03e191-e154-482a-88b2-11de19eac96c" providerId="ADAL" clId="{8245CC27-65FB-483E-B8E7-D04039DBA80D}" dt="2021-05-24T16:09:27.977" v="16079" actId="790"/>
          <ac:spMkLst>
            <pc:docMk/>
            <pc:sldMk cId="3812200160" sldId="10324"/>
            <ac:spMk id="135" creationId="{FD862AA3-AF38-4B7A-971E-323EE96133C2}"/>
          </ac:spMkLst>
        </pc:spChg>
        <pc:spChg chg="mod">
          <ac:chgData name="Sarah GAUVARD" userId="4c03e191-e154-482a-88b2-11de19eac96c" providerId="ADAL" clId="{8245CC27-65FB-483E-B8E7-D04039DBA80D}" dt="2021-05-24T16:09:27.946" v="16034" actId="790"/>
          <ac:spMkLst>
            <pc:docMk/>
            <pc:sldMk cId="3812200160" sldId="10324"/>
            <ac:spMk id="136" creationId="{005E694E-10BD-41C7-B221-883736CCCEFB}"/>
          </ac:spMkLst>
        </pc:spChg>
        <pc:spChg chg="mod">
          <ac:chgData name="Sarah GAUVARD" userId="4c03e191-e154-482a-88b2-11de19eac96c" providerId="ADAL" clId="{8245CC27-65FB-483E-B8E7-D04039DBA80D}" dt="2021-05-24T16:09:27.946" v="16036" actId="790"/>
          <ac:spMkLst>
            <pc:docMk/>
            <pc:sldMk cId="3812200160" sldId="10324"/>
            <ac:spMk id="137" creationId="{AF67C425-8708-4B3E-9B2A-E5C85D989489}"/>
          </ac:spMkLst>
        </pc:spChg>
        <pc:spChg chg="mod">
          <ac:chgData name="Sarah GAUVARD" userId="4c03e191-e154-482a-88b2-11de19eac96c" providerId="ADAL" clId="{8245CC27-65FB-483E-B8E7-D04039DBA80D}" dt="2021-05-24T16:09:27.956" v="16052" actId="790"/>
          <ac:spMkLst>
            <pc:docMk/>
            <pc:sldMk cId="3812200160" sldId="10324"/>
            <ac:spMk id="139" creationId="{D81795AE-6E56-400B-B079-B0B457EC71B9}"/>
          </ac:spMkLst>
        </pc:spChg>
        <pc:spChg chg="mod">
          <ac:chgData name="Sarah GAUVARD" userId="4c03e191-e154-482a-88b2-11de19eac96c" providerId="ADAL" clId="{8245CC27-65FB-483E-B8E7-D04039DBA80D}" dt="2021-05-24T16:09:27.956" v="16053" actId="790"/>
          <ac:spMkLst>
            <pc:docMk/>
            <pc:sldMk cId="3812200160" sldId="10324"/>
            <ac:spMk id="140" creationId="{D67E5A69-EEF9-4466-B400-1F4314F96908}"/>
          </ac:spMkLst>
        </pc:spChg>
        <pc:spChg chg="mod">
          <ac:chgData name="Sarah GAUVARD" userId="4c03e191-e154-482a-88b2-11de19eac96c" providerId="ADAL" clId="{8245CC27-65FB-483E-B8E7-D04039DBA80D}" dt="2021-05-24T16:09:27.956" v="16054" actId="790"/>
          <ac:spMkLst>
            <pc:docMk/>
            <pc:sldMk cId="3812200160" sldId="10324"/>
            <ac:spMk id="141" creationId="{F17F2A21-E008-48DD-B2E8-A16930C7D703}"/>
          </ac:spMkLst>
        </pc:spChg>
        <pc:spChg chg="mod">
          <ac:chgData name="Sarah GAUVARD" userId="4c03e191-e154-482a-88b2-11de19eac96c" providerId="ADAL" clId="{8245CC27-65FB-483E-B8E7-D04039DBA80D}" dt="2021-05-24T16:09:27.956" v="16055" actId="790"/>
          <ac:spMkLst>
            <pc:docMk/>
            <pc:sldMk cId="3812200160" sldId="10324"/>
            <ac:spMk id="142" creationId="{CEC60E3F-428F-4D01-91EC-F6C8001FE3D1}"/>
          </ac:spMkLst>
        </pc:spChg>
        <pc:spChg chg="mod">
          <ac:chgData name="Sarah GAUVARD" userId="4c03e191-e154-482a-88b2-11de19eac96c" providerId="ADAL" clId="{8245CC27-65FB-483E-B8E7-D04039DBA80D}" dt="2021-05-24T16:09:27.977" v="16080" actId="790"/>
          <ac:spMkLst>
            <pc:docMk/>
            <pc:sldMk cId="3812200160" sldId="10324"/>
            <ac:spMk id="143" creationId="{F7488878-04D1-4389-A4F8-1D88F29777F1}"/>
          </ac:spMkLst>
        </pc:spChg>
        <pc:spChg chg="mod">
          <ac:chgData name="Sarah GAUVARD" userId="4c03e191-e154-482a-88b2-11de19eac96c" providerId="ADAL" clId="{8245CC27-65FB-483E-B8E7-D04039DBA80D}" dt="2021-05-24T16:09:27.977" v="16081" actId="790"/>
          <ac:spMkLst>
            <pc:docMk/>
            <pc:sldMk cId="3812200160" sldId="10324"/>
            <ac:spMk id="144" creationId="{D56AE4E1-BC53-4099-9A45-97E9D932BCAC}"/>
          </ac:spMkLst>
        </pc:spChg>
        <pc:spChg chg="mod">
          <ac:chgData name="Sarah GAUVARD" userId="4c03e191-e154-482a-88b2-11de19eac96c" providerId="ADAL" clId="{8245CC27-65FB-483E-B8E7-D04039DBA80D}" dt="2021-05-24T16:09:27.965" v="16070" actId="790"/>
          <ac:spMkLst>
            <pc:docMk/>
            <pc:sldMk cId="3812200160" sldId="10324"/>
            <ac:spMk id="145" creationId="{F15D3BB1-159B-47EC-922F-EB80675D3EEC}"/>
          </ac:spMkLst>
        </pc:spChg>
        <pc:spChg chg="mod">
          <ac:chgData name="Sarah GAUVARD" userId="4c03e191-e154-482a-88b2-11de19eac96c" providerId="ADAL" clId="{8245CC27-65FB-483E-B8E7-D04039DBA80D}" dt="2021-05-24T16:09:27.977" v="16082" actId="790"/>
          <ac:spMkLst>
            <pc:docMk/>
            <pc:sldMk cId="3812200160" sldId="10324"/>
            <ac:spMk id="146" creationId="{CB1AFC02-2042-4393-936C-35B65A386EA5}"/>
          </ac:spMkLst>
        </pc:spChg>
        <pc:spChg chg="mod">
          <ac:chgData name="Sarah GAUVARD" userId="4c03e191-e154-482a-88b2-11de19eac96c" providerId="ADAL" clId="{8245CC27-65FB-483E-B8E7-D04039DBA80D}" dt="2021-05-24T16:09:27.975" v="16074" actId="790"/>
          <ac:spMkLst>
            <pc:docMk/>
            <pc:sldMk cId="3812200160" sldId="10324"/>
            <ac:spMk id="147" creationId="{CCF21D30-C589-4543-B239-440CDB562FB9}"/>
          </ac:spMkLst>
        </pc:spChg>
        <pc:spChg chg="mod">
          <ac:chgData name="Sarah GAUVARD" userId="4c03e191-e154-482a-88b2-11de19eac96c" providerId="ADAL" clId="{8245CC27-65FB-483E-B8E7-D04039DBA80D}" dt="2021-05-24T16:09:27.965" v="16067" actId="790"/>
          <ac:spMkLst>
            <pc:docMk/>
            <pc:sldMk cId="3812200160" sldId="10324"/>
            <ac:spMk id="148" creationId="{EBB51B76-CB68-42F5-97A6-FBBED1871205}"/>
          </ac:spMkLst>
        </pc:spChg>
        <pc:spChg chg="mod">
          <ac:chgData name="Sarah GAUVARD" userId="4c03e191-e154-482a-88b2-11de19eac96c" providerId="ADAL" clId="{8245CC27-65FB-483E-B8E7-D04039DBA80D}" dt="2021-05-24T16:09:27.965" v="16068" actId="790"/>
          <ac:spMkLst>
            <pc:docMk/>
            <pc:sldMk cId="3812200160" sldId="10324"/>
            <ac:spMk id="149" creationId="{E8255177-A877-4442-95F5-4D3D40779B46}"/>
          </ac:spMkLst>
        </pc:spChg>
        <pc:spChg chg="mod">
          <ac:chgData name="Sarah GAUVARD" userId="4c03e191-e154-482a-88b2-11de19eac96c" providerId="ADAL" clId="{8245CC27-65FB-483E-B8E7-D04039DBA80D}" dt="2021-05-24T16:09:27.965" v="16069" actId="790"/>
          <ac:spMkLst>
            <pc:docMk/>
            <pc:sldMk cId="3812200160" sldId="10324"/>
            <ac:spMk id="150" creationId="{06FE88BA-F1AE-4935-87DB-1EA9528E630D}"/>
          </ac:spMkLst>
        </pc:spChg>
        <pc:spChg chg="mod">
          <ac:chgData name="Sarah GAUVARD" userId="4c03e191-e154-482a-88b2-11de19eac96c" providerId="ADAL" clId="{8245CC27-65FB-483E-B8E7-D04039DBA80D}" dt="2021-05-24T16:09:27.965" v="16071" actId="790"/>
          <ac:spMkLst>
            <pc:docMk/>
            <pc:sldMk cId="3812200160" sldId="10324"/>
            <ac:spMk id="151" creationId="{945919F5-1F6F-4979-90CA-397384E59334}"/>
          </ac:spMkLst>
        </pc:spChg>
        <pc:spChg chg="mod">
          <ac:chgData name="Sarah GAUVARD" userId="4c03e191-e154-482a-88b2-11de19eac96c" providerId="ADAL" clId="{8245CC27-65FB-483E-B8E7-D04039DBA80D}" dt="2021-05-24T16:09:27.965" v="16072" actId="790"/>
          <ac:spMkLst>
            <pc:docMk/>
            <pc:sldMk cId="3812200160" sldId="10324"/>
            <ac:spMk id="152" creationId="{2D48A5B8-C2CC-4F3A-B66A-BB33615C274E}"/>
          </ac:spMkLst>
        </pc:spChg>
        <pc:spChg chg="mod">
          <ac:chgData name="Sarah GAUVARD" userId="4c03e191-e154-482a-88b2-11de19eac96c" providerId="ADAL" clId="{8245CC27-65FB-483E-B8E7-D04039DBA80D}" dt="2021-05-24T16:09:27.977" v="16075" actId="790"/>
          <ac:spMkLst>
            <pc:docMk/>
            <pc:sldMk cId="3812200160" sldId="10324"/>
            <ac:spMk id="153" creationId="{6069B520-1F77-45E7-BE1C-AF4ABF40CC36}"/>
          </ac:spMkLst>
        </pc:spChg>
        <pc:spChg chg="mod">
          <ac:chgData name="Sarah GAUVARD" userId="4c03e191-e154-482a-88b2-11de19eac96c" providerId="ADAL" clId="{8245CC27-65FB-483E-B8E7-D04039DBA80D}" dt="2021-05-24T16:09:27.977" v="16076" actId="790"/>
          <ac:spMkLst>
            <pc:docMk/>
            <pc:sldMk cId="3812200160" sldId="10324"/>
            <ac:spMk id="154" creationId="{1C3C88C2-890C-4033-A44F-07984ADACF1E}"/>
          </ac:spMkLst>
        </pc:spChg>
        <pc:spChg chg="mod">
          <ac:chgData name="Sarah GAUVARD" userId="4c03e191-e154-482a-88b2-11de19eac96c" providerId="ADAL" clId="{8245CC27-65FB-483E-B8E7-D04039DBA80D}" dt="2021-05-24T16:09:27.977" v="16077" actId="790"/>
          <ac:spMkLst>
            <pc:docMk/>
            <pc:sldMk cId="3812200160" sldId="10324"/>
            <ac:spMk id="155" creationId="{603032E7-E878-4838-BCFE-A23E1846D45A}"/>
          </ac:spMkLst>
        </pc:spChg>
        <pc:spChg chg="mod">
          <ac:chgData name="Sarah GAUVARD" userId="4c03e191-e154-482a-88b2-11de19eac96c" providerId="ADAL" clId="{8245CC27-65FB-483E-B8E7-D04039DBA80D}" dt="2021-05-24T16:09:27.977" v="16078" actId="790"/>
          <ac:spMkLst>
            <pc:docMk/>
            <pc:sldMk cId="3812200160" sldId="10324"/>
            <ac:spMk id="156" creationId="{006E1FAA-A1D7-4C4C-875A-40103B24FEA4}"/>
          </ac:spMkLst>
        </pc:spChg>
        <pc:spChg chg="mod">
          <ac:chgData name="Sarah GAUVARD" userId="4c03e191-e154-482a-88b2-11de19eac96c" providerId="ADAL" clId="{8245CC27-65FB-483E-B8E7-D04039DBA80D}" dt="2021-05-24T16:09:27.977" v="16083" actId="790"/>
          <ac:spMkLst>
            <pc:docMk/>
            <pc:sldMk cId="3812200160" sldId="10324"/>
            <ac:spMk id="157" creationId="{A416B439-E09F-4FEA-A65A-8F2414D40144}"/>
          </ac:spMkLst>
        </pc:spChg>
        <pc:spChg chg="mod">
          <ac:chgData name="Sarah GAUVARD" userId="4c03e191-e154-482a-88b2-11de19eac96c" providerId="ADAL" clId="{8245CC27-65FB-483E-B8E7-D04039DBA80D}" dt="2021-05-24T16:09:27.977" v="16084" actId="790"/>
          <ac:spMkLst>
            <pc:docMk/>
            <pc:sldMk cId="3812200160" sldId="10324"/>
            <ac:spMk id="158" creationId="{09DF8D2C-9A8D-4BA6-96C6-E31AD19683BC}"/>
          </ac:spMkLst>
        </pc:spChg>
        <pc:spChg chg="mod">
          <ac:chgData name="Sarah GAUVARD" userId="4c03e191-e154-482a-88b2-11de19eac96c" providerId="ADAL" clId="{8245CC27-65FB-483E-B8E7-D04039DBA80D}" dt="2021-05-24T16:09:27.946" v="16037" actId="790"/>
          <ac:spMkLst>
            <pc:docMk/>
            <pc:sldMk cId="3812200160" sldId="10324"/>
            <ac:spMk id="160" creationId="{A8A94204-7780-44D2-9F69-E6D88D81CCC9}"/>
          </ac:spMkLst>
        </pc:spChg>
        <pc:spChg chg="mod">
          <ac:chgData name="Sarah GAUVARD" userId="4c03e191-e154-482a-88b2-11de19eac96c" providerId="ADAL" clId="{8245CC27-65FB-483E-B8E7-D04039DBA80D}" dt="2021-05-24T16:09:27.946" v="16038" actId="790"/>
          <ac:spMkLst>
            <pc:docMk/>
            <pc:sldMk cId="3812200160" sldId="10324"/>
            <ac:spMk id="162" creationId="{7C77AD03-3049-47E7-8DA8-DA2A5283D6AD}"/>
          </ac:spMkLst>
        </pc:spChg>
        <pc:spChg chg="mod">
          <ac:chgData name="Sarah GAUVARD" userId="4c03e191-e154-482a-88b2-11de19eac96c" providerId="ADAL" clId="{8245CC27-65FB-483E-B8E7-D04039DBA80D}" dt="2021-05-24T16:09:27.946" v="16039" actId="790"/>
          <ac:spMkLst>
            <pc:docMk/>
            <pc:sldMk cId="3812200160" sldId="10324"/>
            <ac:spMk id="164" creationId="{93C1D0C1-3E96-4568-A5A8-D1E40A41B534}"/>
          </ac:spMkLst>
        </pc:spChg>
        <pc:spChg chg="mod">
          <ac:chgData name="Sarah GAUVARD" userId="4c03e191-e154-482a-88b2-11de19eac96c" providerId="ADAL" clId="{8245CC27-65FB-483E-B8E7-D04039DBA80D}" dt="2021-05-24T16:09:27.946" v="16040" actId="790"/>
          <ac:spMkLst>
            <pc:docMk/>
            <pc:sldMk cId="3812200160" sldId="10324"/>
            <ac:spMk id="165" creationId="{04CC173B-ACB2-4E38-A71A-E7D9BE239612}"/>
          </ac:spMkLst>
        </pc:spChg>
        <pc:spChg chg="mod">
          <ac:chgData name="Sarah GAUVARD" userId="4c03e191-e154-482a-88b2-11de19eac96c" providerId="ADAL" clId="{8245CC27-65FB-483E-B8E7-D04039DBA80D}" dt="2021-05-24T16:09:27.946" v="16041" actId="790"/>
          <ac:spMkLst>
            <pc:docMk/>
            <pc:sldMk cId="3812200160" sldId="10324"/>
            <ac:spMk id="166" creationId="{408328D6-F8C9-4E92-BD84-F73B4B2AC62C}"/>
          </ac:spMkLst>
        </pc:spChg>
        <pc:spChg chg="mod">
          <ac:chgData name="Sarah GAUVARD" userId="4c03e191-e154-482a-88b2-11de19eac96c" providerId="ADAL" clId="{8245CC27-65FB-483E-B8E7-D04039DBA80D}" dt="2021-05-24T16:09:27.946" v="16042" actId="790"/>
          <ac:spMkLst>
            <pc:docMk/>
            <pc:sldMk cId="3812200160" sldId="10324"/>
            <ac:spMk id="167" creationId="{17EE3082-4468-4DEE-B266-46A543DCABD0}"/>
          </ac:spMkLst>
        </pc:spChg>
        <pc:spChg chg="mod">
          <ac:chgData name="Sarah GAUVARD" userId="4c03e191-e154-482a-88b2-11de19eac96c" providerId="ADAL" clId="{8245CC27-65FB-483E-B8E7-D04039DBA80D}" dt="2021-05-24T16:09:27.946" v="16043" actId="790"/>
          <ac:spMkLst>
            <pc:docMk/>
            <pc:sldMk cId="3812200160" sldId="10324"/>
            <ac:spMk id="168" creationId="{28407757-D3B7-4C31-94D2-92CD0D0F6FE6}"/>
          </ac:spMkLst>
        </pc:spChg>
        <pc:spChg chg="mod">
          <ac:chgData name="Sarah GAUVARD" userId="4c03e191-e154-482a-88b2-11de19eac96c" providerId="ADAL" clId="{8245CC27-65FB-483E-B8E7-D04039DBA80D}" dt="2021-05-24T16:09:27.946" v="16044" actId="790"/>
          <ac:spMkLst>
            <pc:docMk/>
            <pc:sldMk cId="3812200160" sldId="10324"/>
            <ac:spMk id="169" creationId="{4F9ED36F-6688-4A56-91E4-07C47EF29B36}"/>
          </ac:spMkLst>
        </pc:spChg>
        <pc:spChg chg="mod">
          <ac:chgData name="Sarah GAUVARD" userId="4c03e191-e154-482a-88b2-11de19eac96c" providerId="ADAL" clId="{8245CC27-65FB-483E-B8E7-D04039DBA80D}" dt="2021-05-24T16:09:27.946" v="16045" actId="790"/>
          <ac:spMkLst>
            <pc:docMk/>
            <pc:sldMk cId="3812200160" sldId="10324"/>
            <ac:spMk id="170" creationId="{15723705-43BD-4D59-894C-26527F3480E1}"/>
          </ac:spMkLst>
        </pc:spChg>
        <pc:spChg chg="mod">
          <ac:chgData name="Sarah GAUVARD" userId="4c03e191-e154-482a-88b2-11de19eac96c" providerId="ADAL" clId="{8245CC27-65FB-483E-B8E7-D04039DBA80D}" dt="2021-05-24T16:09:27.954" v="16046" actId="790"/>
          <ac:spMkLst>
            <pc:docMk/>
            <pc:sldMk cId="3812200160" sldId="10324"/>
            <ac:spMk id="172" creationId="{F63C3E3D-03B5-45E4-AE5F-8218AD68B59F}"/>
          </ac:spMkLst>
        </pc:spChg>
        <pc:spChg chg="mod">
          <ac:chgData name="Sarah GAUVARD" userId="4c03e191-e154-482a-88b2-11de19eac96c" providerId="ADAL" clId="{8245CC27-65FB-483E-B8E7-D04039DBA80D}" dt="2021-05-24T16:09:27.954" v="16047" actId="790"/>
          <ac:spMkLst>
            <pc:docMk/>
            <pc:sldMk cId="3812200160" sldId="10324"/>
            <ac:spMk id="173" creationId="{B47A53C0-6120-4845-A424-B0DE21ABFD5A}"/>
          </ac:spMkLst>
        </pc:spChg>
        <pc:spChg chg="mod">
          <ac:chgData name="Sarah GAUVARD" userId="4c03e191-e154-482a-88b2-11de19eac96c" providerId="ADAL" clId="{8245CC27-65FB-483E-B8E7-D04039DBA80D}" dt="2021-05-24T16:09:27.956" v="16056" actId="790"/>
          <ac:spMkLst>
            <pc:docMk/>
            <pc:sldMk cId="3812200160" sldId="10324"/>
            <ac:spMk id="174" creationId="{AA773D3A-551D-462E-A85C-1540A9EA2436}"/>
          </ac:spMkLst>
        </pc:spChg>
        <pc:spChg chg="mod">
          <ac:chgData name="Sarah GAUVARD" userId="4c03e191-e154-482a-88b2-11de19eac96c" providerId="ADAL" clId="{8245CC27-65FB-483E-B8E7-D04039DBA80D}" dt="2021-05-24T16:09:27.954" v="16048" actId="790"/>
          <ac:spMkLst>
            <pc:docMk/>
            <pc:sldMk cId="3812200160" sldId="10324"/>
            <ac:spMk id="175" creationId="{FDB066EE-C818-4367-A745-02F85B173916}"/>
          </ac:spMkLst>
        </pc:spChg>
        <pc:spChg chg="mod">
          <ac:chgData name="Sarah GAUVARD" userId="4c03e191-e154-482a-88b2-11de19eac96c" providerId="ADAL" clId="{8245CC27-65FB-483E-B8E7-D04039DBA80D}" dt="2021-05-24T16:09:27.956" v="16049" actId="790"/>
          <ac:spMkLst>
            <pc:docMk/>
            <pc:sldMk cId="3812200160" sldId="10324"/>
            <ac:spMk id="180" creationId="{FEB4CC53-2CBE-4D11-A1A1-337C72BD1095}"/>
          </ac:spMkLst>
        </pc:spChg>
        <pc:spChg chg="mod">
          <ac:chgData name="Sarah GAUVARD" userId="4c03e191-e154-482a-88b2-11de19eac96c" providerId="ADAL" clId="{8245CC27-65FB-483E-B8E7-D04039DBA80D}" dt="2021-05-24T16:09:27.965" v="16066" actId="790"/>
          <ac:spMkLst>
            <pc:docMk/>
            <pc:sldMk cId="3812200160" sldId="10324"/>
            <ac:spMk id="193" creationId="{9E4141DE-4A79-4509-A482-38EBBF749B2F}"/>
          </ac:spMkLst>
        </pc:spChg>
        <pc:spChg chg="mod">
          <ac:chgData name="Sarah GAUVARD" userId="4c03e191-e154-482a-88b2-11de19eac96c" providerId="ADAL" clId="{8245CC27-65FB-483E-B8E7-D04039DBA80D}" dt="2021-05-24T16:09:27.975" v="16073" actId="790"/>
          <ac:spMkLst>
            <pc:docMk/>
            <pc:sldMk cId="3812200160" sldId="10324"/>
            <ac:spMk id="203" creationId="{66C82CEB-26AA-4A34-B009-15C754ADD95F}"/>
          </ac:spMkLst>
        </pc:spChg>
        <pc:spChg chg="mod">
          <ac:chgData name="Sarah GAUVARD" userId="4c03e191-e154-482a-88b2-11de19eac96c" providerId="ADAL" clId="{8245CC27-65FB-483E-B8E7-D04039DBA80D}" dt="2021-05-24T16:09:27.956" v="16057" actId="790"/>
          <ac:spMkLst>
            <pc:docMk/>
            <pc:sldMk cId="3812200160" sldId="10324"/>
            <ac:spMk id="204" creationId="{B9E50749-E979-4C7E-8561-0FD702BC8F6C}"/>
          </ac:spMkLst>
        </pc:spChg>
        <pc:spChg chg="mod">
          <ac:chgData name="Sarah GAUVARD" userId="4c03e191-e154-482a-88b2-11de19eac96c" providerId="ADAL" clId="{8245CC27-65FB-483E-B8E7-D04039DBA80D}" dt="2021-05-24T16:09:27.956" v="16058" actId="790"/>
          <ac:spMkLst>
            <pc:docMk/>
            <pc:sldMk cId="3812200160" sldId="10324"/>
            <ac:spMk id="205" creationId="{9425B00E-AD18-47AF-89FD-B1C93C3D8803}"/>
          </ac:spMkLst>
        </pc:spChg>
        <pc:spChg chg="mod">
          <ac:chgData name="Sarah GAUVARD" userId="4c03e191-e154-482a-88b2-11de19eac96c" providerId="ADAL" clId="{8245CC27-65FB-483E-B8E7-D04039DBA80D}" dt="2021-05-24T16:09:27.964" v="16059" actId="790"/>
          <ac:spMkLst>
            <pc:docMk/>
            <pc:sldMk cId="3812200160" sldId="10324"/>
            <ac:spMk id="206" creationId="{8273D81A-6766-4312-B496-D03B81AC9BBC}"/>
          </ac:spMkLst>
        </pc:spChg>
        <pc:spChg chg="mod">
          <ac:chgData name="Sarah GAUVARD" userId="4c03e191-e154-482a-88b2-11de19eac96c" providerId="ADAL" clId="{8245CC27-65FB-483E-B8E7-D04039DBA80D}" dt="2021-05-24T16:09:27.964" v="16060" actId="790"/>
          <ac:spMkLst>
            <pc:docMk/>
            <pc:sldMk cId="3812200160" sldId="10324"/>
            <ac:spMk id="207" creationId="{A933E967-1C72-464C-8FDF-9DFEC63FFCA6}"/>
          </ac:spMkLst>
        </pc:spChg>
        <pc:spChg chg="mod">
          <ac:chgData name="Sarah GAUVARD" userId="4c03e191-e154-482a-88b2-11de19eac96c" providerId="ADAL" clId="{8245CC27-65FB-483E-B8E7-D04039DBA80D}" dt="2021-05-24T16:09:27.965" v="16061" actId="790"/>
          <ac:spMkLst>
            <pc:docMk/>
            <pc:sldMk cId="3812200160" sldId="10324"/>
            <ac:spMk id="208" creationId="{20BA7029-F038-4867-9622-E4D9CE90F684}"/>
          </ac:spMkLst>
        </pc:spChg>
        <pc:spChg chg="mod">
          <ac:chgData name="Sarah GAUVARD" userId="4c03e191-e154-482a-88b2-11de19eac96c" providerId="ADAL" clId="{8245CC27-65FB-483E-B8E7-D04039DBA80D}" dt="2021-05-24T16:09:27.965" v="16062" actId="790"/>
          <ac:spMkLst>
            <pc:docMk/>
            <pc:sldMk cId="3812200160" sldId="10324"/>
            <ac:spMk id="209" creationId="{62BFE40B-D8D4-4437-85DD-9E87507AB151}"/>
          </ac:spMkLst>
        </pc:spChg>
        <pc:spChg chg="mod">
          <ac:chgData name="Sarah GAUVARD" userId="4c03e191-e154-482a-88b2-11de19eac96c" providerId="ADAL" clId="{8245CC27-65FB-483E-B8E7-D04039DBA80D}" dt="2021-05-24T16:09:27.965" v="16063" actId="790"/>
          <ac:spMkLst>
            <pc:docMk/>
            <pc:sldMk cId="3812200160" sldId="10324"/>
            <ac:spMk id="213" creationId="{41EC974A-FB49-45E0-8A39-D090AE5F5C76}"/>
          </ac:spMkLst>
        </pc:spChg>
        <pc:spChg chg="mod">
          <ac:chgData name="Sarah GAUVARD" userId="4c03e191-e154-482a-88b2-11de19eac96c" providerId="ADAL" clId="{8245CC27-65FB-483E-B8E7-D04039DBA80D}" dt="2021-05-24T16:09:27.965" v="16064" actId="790"/>
          <ac:spMkLst>
            <pc:docMk/>
            <pc:sldMk cId="3812200160" sldId="10324"/>
            <ac:spMk id="214" creationId="{B54C460B-4B10-4BF9-9EFF-2D814845DF1B}"/>
          </ac:spMkLst>
        </pc:spChg>
        <pc:spChg chg="mod">
          <ac:chgData name="Sarah GAUVARD" userId="4c03e191-e154-482a-88b2-11de19eac96c" providerId="ADAL" clId="{8245CC27-65FB-483E-B8E7-D04039DBA80D}" dt="2021-05-24T16:09:27.965" v="16065" actId="790"/>
          <ac:spMkLst>
            <pc:docMk/>
            <pc:sldMk cId="3812200160" sldId="10324"/>
            <ac:spMk id="220" creationId="{4007CE4A-35CC-4574-B129-C8CD16A428D5}"/>
          </ac:spMkLst>
        </pc:spChg>
        <pc:graphicFrameChg chg="mod">
          <ac:chgData name="Sarah GAUVARD" userId="4c03e191-e154-482a-88b2-11de19eac96c" providerId="ADAL" clId="{8245CC27-65FB-483E-B8E7-D04039DBA80D}" dt="2021-05-24T15:34:46.522" v="12090"/>
          <ac:graphicFrameMkLst>
            <pc:docMk/>
            <pc:sldMk cId="3812200160" sldId="10324"/>
            <ac:graphicFrameMk id="11" creationId="{C48D9184-70C7-408F-A3A8-B9C53D4015EC}"/>
          </ac:graphicFrameMkLst>
        </pc:graphicFrameChg>
      </pc:sldChg>
      <pc:sldChg chg="addSp modSp mod">
        <pc:chgData name="Sarah GAUVARD" userId="4c03e191-e154-482a-88b2-11de19eac96c" providerId="ADAL" clId="{8245CC27-65FB-483E-B8E7-D04039DBA80D}" dt="2021-05-24T16:09:27.259" v="15268" actId="790"/>
        <pc:sldMkLst>
          <pc:docMk/>
          <pc:sldMk cId="738382440" sldId="10326"/>
        </pc:sldMkLst>
        <pc:spChg chg="mod">
          <ac:chgData name="Sarah GAUVARD" userId="4c03e191-e154-482a-88b2-11de19eac96c" providerId="ADAL" clId="{8245CC27-65FB-483E-B8E7-D04039DBA80D}" dt="2021-05-24T16:09:27.249" v="15261" actId="790"/>
          <ac:spMkLst>
            <pc:docMk/>
            <pc:sldMk cId="738382440" sldId="10326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7.249" v="15262" actId="790"/>
          <ac:spMkLst>
            <pc:docMk/>
            <pc:sldMk cId="738382440" sldId="10326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7.249" v="15263" actId="790"/>
          <ac:spMkLst>
            <pc:docMk/>
            <pc:sldMk cId="738382440" sldId="10326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7.259" v="15268" actId="790"/>
          <ac:spMkLst>
            <pc:docMk/>
            <pc:sldMk cId="738382440" sldId="10326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7.257" v="15264" actId="790"/>
          <ac:spMkLst>
            <pc:docMk/>
            <pc:sldMk cId="738382440" sldId="10326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7.257" v="15265" actId="790"/>
          <ac:spMkLst>
            <pc:docMk/>
            <pc:sldMk cId="738382440" sldId="10326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7.259" v="15266" actId="790"/>
          <ac:spMkLst>
            <pc:docMk/>
            <pc:sldMk cId="738382440" sldId="10326"/>
            <ac:spMk id="22" creationId="{C002634F-3FA9-4AC3-90E2-0D253FC97BF7}"/>
          </ac:spMkLst>
        </pc:spChg>
        <pc:spChg chg="mod">
          <ac:chgData name="Sarah GAUVARD" userId="4c03e191-e154-482a-88b2-11de19eac96c" providerId="ADAL" clId="{8245CC27-65FB-483E-B8E7-D04039DBA80D}" dt="2021-05-24T16:09:27.259" v="15267" actId="790"/>
          <ac:spMkLst>
            <pc:docMk/>
            <pc:sldMk cId="738382440" sldId="10326"/>
            <ac:spMk id="24" creationId="{9523976D-7994-4445-A7A3-F04F6C533708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322" v="12006"/>
          <ac:graphicFrameMkLst>
            <pc:docMk/>
            <pc:sldMk cId="738382440" sldId="10326"/>
            <ac:graphicFrameMk id="2" creationId="{AC4C7299-D421-43E1-BDDC-BE7C39D3ADC0}"/>
          </ac:graphicFrameMkLst>
        </pc:graphicFrameChg>
      </pc:sldChg>
      <pc:sldChg chg="addSp modSp mod">
        <pc:chgData name="Sarah GAUVARD" userId="4c03e191-e154-482a-88b2-11de19eac96c" providerId="ADAL" clId="{8245CC27-65FB-483E-B8E7-D04039DBA80D}" dt="2021-05-24T16:09:28.299" v="16335" actId="790"/>
        <pc:sldMkLst>
          <pc:docMk/>
          <pc:sldMk cId="1730204151" sldId="10328"/>
        </pc:sldMkLst>
        <pc:spChg chg="mod">
          <ac:chgData name="Sarah GAUVARD" userId="4c03e191-e154-482a-88b2-11de19eac96c" providerId="ADAL" clId="{8245CC27-65FB-483E-B8E7-D04039DBA80D}" dt="2021-05-24T16:09:28.288" v="16328" actId="790"/>
          <ac:spMkLst>
            <pc:docMk/>
            <pc:sldMk cId="1730204151" sldId="10328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8.291" v="16329" actId="790"/>
          <ac:spMkLst>
            <pc:docMk/>
            <pc:sldMk cId="1730204151" sldId="10328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8.292" v="16330" actId="790"/>
          <ac:spMkLst>
            <pc:docMk/>
            <pc:sldMk cId="1730204151" sldId="10328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8.299" v="16335" actId="790"/>
          <ac:spMkLst>
            <pc:docMk/>
            <pc:sldMk cId="1730204151" sldId="10328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8.293" v="16331" actId="790"/>
          <ac:spMkLst>
            <pc:docMk/>
            <pc:sldMk cId="1730204151" sldId="10328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8.295" v="16332" actId="790"/>
          <ac:spMkLst>
            <pc:docMk/>
            <pc:sldMk cId="1730204151" sldId="10328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8.296" v="16333" actId="790"/>
          <ac:spMkLst>
            <pc:docMk/>
            <pc:sldMk cId="1730204151" sldId="10328"/>
            <ac:spMk id="24" creationId="{9523976D-7994-4445-A7A3-F04F6C533708}"/>
          </ac:spMkLst>
        </pc:spChg>
        <pc:spChg chg="mod">
          <ac:chgData name="Sarah GAUVARD" userId="4c03e191-e154-482a-88b2-11de19eac96c" providerId="ADAL" clId="{8245CC27-65FB-483E-B8E7-D04039DBA80D}" dt="2021-05-24T16:09:28.298" v="16334" actId="790"/>
          <ac:spMkLst>
            <pc:docMk/>
            <pc:sldMk cId="1730204151" sldId="10328"/>
            <ac:spMk id="26" creationId="{D70D99D8-5440-4867-B8A0-57942A3EA3D2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504" v="12082"/>
          <ac:graphicFrameMkLst>
            <pc:docMk/>
            <pc:sldMk cId="1730204151" sldId="10328"/>
            <ac:graphicFrameMk id="2" creationId="{C5A0AC92-20EC-46D2-B85A-5438B6F8CE07}"/>
          </ac:graphicFrameMkLst>
        </pc:graphicFrameChg>
      </pc:sldChg>
      <pc:sldChg chg="addSp delSp modSp del mod modTransition modShow">
        <pc:chgData name="Sarah GAUVARD" userId="4c03e191-e154-482a-88b2-11de19eac96c" providerId="ADAL" clId="{8245CC27-65FB-483E-B8E7-D04039DBA80D}" dt="2021-05-25T15:12:51.040" v="27576" actId="47"/>
        <pc:sldMkLst>
          <pc:docMk/>
          <pc:sldMk cId="1424870296" sldId="10335"/>
        </pc:sldMkLst>
        <pc:spChg chg="mod">
          <ac:chgData name="Sarah GAUVARD" userId="4c03e191-e154-482a-88b2-11de19eac96c" providerId="ADAL" clId="{8245CC27-65FB-483E-B8E7-D04039DBA80D}" dt="2021-05-24T16:09:28.402" v="16436" actId="790"/>
          <ac:spMkLst>
            <pc:docMk/>
            <pc:sldMk cId="1424870296" sldId="10335"/>
            <ac:spMk id="2" creationId="{13177ED9-F236-4FEB-A676-BB6F2C98ABD8}"/>
          </ac:spMkLst>
        </pc:spChg>
        <pc:spChg chg="mod">
          <ac:chgData name="Sarah GAUVARD" userId="4c03e191-e154-482a-88b2-11de19eac96c" providerId="ADAL" clId="{8245CC27-65FB-483E-B8E7-D04039DBA80D}" dt="2021-05-24T16:09:28.460" v="16458" actId="790"/>
          <ac:spMkLst>
            <pc:docMk/>
            <pc:sldMk cId="1424870296" sldId="10335"/>
            <ac:spMk id="3" creationId="{A69D2220-5822-4C7B-AC0B-BB560C608D4E}"/>
          </ac:spMkLst>
        </pc:spChg>
        <pc:spChg chg="add del mod modVis">
          <ac:chgData name="Sarah GAUVARD" userId="4c03e191-e154-482a-88b2-11de19eac96c" providerId="ADAL" clId="{8245CC27-65FB-483E-B8E7-D04039DBA80D}" dt="2021-05-24T15:34:45.887" v="11760"/>
          <ac:spMkLst>
            <pc:docMk/>
            <pc:sldMk cId="1424870296" sldId="10335"/>
            <ac:spMk id="5" creationId="{0392C2F5-D1E9-44F3-9B84-C64B2C82056D}"/>
          </ac:spMkLst>
        </pc:spChg>
        <pc:spChg chg="del">
          <ac:chgData name="Sarah GAUVARD" userId="4c03e191-e154-482a-88b2-11de19eac96c" providerId="ADAL" clId="{8245CC27-65FB-483E-B8E7-D04039DBA80D}" dt="2021-05-25T14:43:55.290" v="24650" actId="478"/>
          <ac:spMkLst>
            <pc:docMk/>
            <pc:sldMk cId="1424870296" sldId="10335"/>
            <ac:spMk id="7" creationId="{75C3341A-4544-4CBA-B638-ED39D3469F99}"/>
          </ac:spMkLst>
        </pc:spChg>
        <pc:spChg chg="mod">
          <ac:chgData name="Sarah GAUVARD" userId="4c03e191-e154-482a-88b2-11de19eac96c" providerId="ADAL" clId="{8245CC27-65FB-483E-B8E7-D04039DBA80D}" dt="2021-05-24T16:09:28.412" v="16437" actId="790"/>
          <ac:spMkLst>
            <pc:docMk/>
            <pc:sldMk cId="1424870296" sldId="10335"/>
            <ac:spMk id="17" creationId="{BFF3869E-C746-432E-B5CA-FCF542B2C3B9}"/>
          </ac:spMkLst>
        </pc:spChg>
        <pc:spChg chg="mod">
          <ac:chgData name="Sarah GAUVARD" userId="4c03e191-e154-482a-88b2-11de19eac96c" providerId="ADAL" clId="{8245CC27-65FB-483E-B8E7-D04039DBA80D}" dt="2021-05-25T09:04:11.951" v="19118" actId="20577"/>
          <ac:spMkLst>
            <pc:docMk/>
            <pc:sldMk cId="1424870296" sldId="10335"/>
            <ac:spMk id="19" creationId="{92BEB8F1-C1CF-4E36-805E-A6856F8CDD12}"/>
          </ac:spMkLst>
        </pc:spChg>
        <pc:spChg chg="mod">
          <ac:chgData name="Sarah GAUVARD" userId="4c03e191-e154-482a-88b2-11de19eac96c" providerId="ADAL" clId="{8245CC27-65FB-483E-B8E7-D04039DBA80D}" dt="2021-05-24T16:09:28.412" v="16439" actId="790"/>
          <ac:spMkLst>
            <pc:docMk/>
            <pc:sldMk cId="1424870296" sldId="10335"/>
            <ac:spMk id="57" creationId="{AACC9758-A2ED-4421-A4F8-A76E33C47C70}"/>
          </ac:spMkLst>
        </pc:spChg>
        <pc:spChg chg="mod">
          <ac:chgData name="Sarah GAUVARD" userId="4c03e191-e154-482a-88b2-11de19eac96c" providerId="ADAL" clId="{8245CC27-65FB-483E-B8E7-D04039DBA80D}" dt="2021-05-24T16:09:28.412" v="16440" actId="790"/>
          <ac:spMkLst>
            <pc:docMk/>
            <pc:sldMk cId="1424870296" sldId="10335"/>
            <ac:spMk id="67" creationId="{F56A9879-6797-4938-987E-8B0EA9BBCD37}"/>
          </ac:spMkLst>
        </pc:spChg>
        <pc:spChg chg="mod">
          <ac:chgData name="Sarah GAUVARD" userId="4c03e191-e154-482a-88b2-11de19eac96c" providerId="ADAL" clId="{8245CC27-65FB-483E-B8E7-D04039DBA80D}" dt="2021-05-24T16:09:28.460" v="16459" actId="790"/>
          <ac:spMkLst>
            <pc:docMk/>
            <pc:sldMk cId="1424870296" sldId="10335"/>
            <ac:spMk id="69" creationId="{6BCEED63-BE62-4F1E-8657-3C5CE3B64B40}"/>
          </ac:spMkLst>
        </pc:spChg>
        <pc:spChg chg="mod">
          <ac:chgData name="Sarah GAUVARD" userId="4c03e191-e154-482a-88b2-11de19eac96c" providerId="ADAL" clId="{8245CC27-65FB-483E-B8E7-D04039DBA80D}" dt="2021-05-24T16:09:28.460" v="16457" actId="790"/>
          <ac:spMkLst>
            <pc:docMk/>
            <pc:sldMk cId="1424870296" sldId="10335"/>
            <ac:spMk id="71" creationId="{CBB8A796-2090-4136-81B3-DD25F2B14E0D}"/>
          </ac:spMkLst>
        </pc:spChg>
        <pc:spChg chg="mod">
          <ac:chgData name="Sarah GAUVARD" userId="4c03e191-e154-482a-88b2-11de19eac96c" providerId="ADAL" clId="{8245CC27-65FB-483E-B8E7-D04039DBA80D}" dt="2021-05-24T16:09:28.412" v="16441" actId="790"/>
          <ac:spMkLst>
            <pc:docMk/>
            <pc:sldMk cId="1424870296" sldId="10335"/>
            <ac:spMk id="77" creationId="{2AD3025A-834E-47AF-BF62-355274B6372C}"/>
          </ac:spMkLst>
        </pc:spChg>
        <pc:spChg chg="mod">
          <ac:chgData name="Sarah GAUVARD" userId="4c03e191-e154-482a-88b2-11de19eac96c" providerId="ADAL" clId="{8245CC27-65FB-483E-B8E7-D04039DBA80D}" dt="2021-05-24T16:09:28.412" v="16442" actId="790"/>
          <ac:spMkLst>
            <pc:docMk/>
            <pc:sldMk cId="1424870296" sldId="10335"/>
            <ac:spMk id="78" creationId="{AE4EF315-F328-4682-8B75-485D8875BA5E}"/>
          </ac:spMkLst>
        </pc:spChg>
        <pc:spChg chg="mod">
          <ac:chgData name="Sarah GAUVARD" userId="4c03e191-e154-482a-88b2-11de19eac96c" providerId="ADAL" clId="{8245CC27-65FB-483E-B8E7-D04039DBA80D}" dt="2021-05-24T16:09:28.422" v="16443" actId="790"/>
          <ac:spMkLst>
            <pc:docMk/>
            <pc:sldMk cId="1424870296" sldId="10335"/>
            <ac:spMk id="83" creationId="{79B13BAC-5AF8-4002-A1EB-410345754704}"/>
          </ac:spMkLst>
        </pc:spChg>
        <pc:spChg chg="mod">
          <ac:chgData name="Sarah GAUVARD" userId="4c03e191-e154-482a-88b2-11de19eac96c" providerId="ADAL" clId="{8245CC27-65FB-483E-B8E7-D04039DBA80D}" dt="2021-05-24T16:09:28.430" v="16449" actId="790"/>
          <ac:spMkLst>
            <pc:docMk/>
            <pc:sldMk cId="1424870296" sldId="10335"/>
            <ac:spMk id="86" creationId="{C61072E4-514A-4B47-8169-8FCBDA18612C}"/>
          </ac:spMkLst>
        </pc:spChg>
        <pc:spChg chg="mod">
          <ac:chgData name="Sarah GAUVARD" userId="4c03e191-e154-482a-88b2-11de19eac96c" providerId="ADAL" clId="{8245CC27-65FB-483E-B8E7-D04039DBA80D}" dt="2021-05-24T16:09:28.422" v="16444" actId="790"/>
          <ac:spMkLst>
            <pc:docMk/>
            <pc:sldMk cId="1424870296" sldId="10335"/>
            <ac:spMk id="87" creationId="{CC75CEBD-D0F7-494C-B0E8-E10F7802B25A}"/>
          </ac:spMkLst>
        </pc:spChg>
        <pc:spChg chg="mod">
          <ac:chgData name="Sarah GAUVARD" userId="4c03e191-e154-482a-88b2-11de19eac96c" providerId="ADAL" clId="{8245CC27-65FB-483E-B8E7-D04039DBA80D}" dt="2021-05-24T16:09:28.422" v="16445" actId="790"/>
          <ac:spMkLst>
            <pc:docMk/>
            <pc:sldMk cId="1424870296" sldId="10335"/>
            <ac:spMk id="88" creationId="{002A8146-6C05-413C-9359-F34D34BD36CC}"/>
          </ac:spMkLst>
        </pc:spChg>
        <pc:spChg chg="mod">
          <ac:chgData name="Sarah GAUVARD" userId="4c03e191-e154-482a-88b2-11de19eac96c" providerId="ADAL" clId="{8245CC27-65FB-483E-B8E7-D04039DBA80D}" dt="2021-05-24T16:09:28.422" v="16446" actId="790"/>
          <ac:spMkLst>
            <pc:docMk/>
            <pc:sldMk cId="1424870296" sldId="10335"/>
            <ac:spMk id="89" creationId="{CC8692CD-2725-4A24-8138-E9D717F44FBF}"/>
          </ac:spMkLst>
        </pc:spChg>
        <pc:spChg chg="mod">
          <ac:chgData name="Sarah GAUVARD" userId="4c03e191-e154-482a-88b2-11de19eac96c" providerId="ADAL" clId="{8245CC27-65FB-483E-B8E7-D04039DBA80D}" dt="2021-05-24T16:09:28.422" v="16447" actId="790"/>
          <ac:spMkLst>
            <pc:docMk/>
            <pc:sldMk cId="1424870296" sldId="10335"/>
            <ac:spMk id="100" creationId="{9FCC959C-37AB-4DE6-96D6-8D512E39D78C}"/>
          </ac:spMkLst>
        </pc:spChg>
        <pc:spChg chg="mod">
          <ac:chgData name="Sarah GAUVARD" userId="4c03e191-e154-482a-88b2-11de19eac96c" providerId="ADAL" clId="{8245CC27-65FB-483E-B8E7-D04039DBA80D}" dt="2021-05-24T16:09:28.430" v="16448" actId="790"/>
          <ac:spMkLst>
            <pc:docMk/>
            <pc:sldMk cId="1424870296" sldId="10335"/>
            <ac:spMk id="102" creationId="{6D0B3FD5-2182-421F-9A88-C1673460DB2B}"/>
          </ac:spMkLst>
        </pc:spChg>
        <pc:spChg chg="mod">
          <ac:chgData name="Sarah GAUVARD" userId="4c03e191-e154-482a-88b2-11de19eac96c" providerId="ADAL" clId="{8245CC27-65FB-483E-B8E7-D04039DBA80D}" dt="2021-05-24T16:09:28.430" v="16450" actId="790"/>
          <ac:spMkLst>
            <pc:docMk/>
            <pc:sldMk cId="1424870296" sldId="10335"/>
            <ac:spMk id="104" creationId="{C4AE2C1F-9FB2-4440-8BB3-2C0E7D9EDCE0}"/>
          </ac:spMkLst>
        </pc:spChg>
        <pc:spChg chg="mod">
          <ac:chgData name="Sarah GAUVARD" userId="4c03e191-e154-482a-88b2-11de19eac96c" providerId="ADAL" clId="{8245CC27-65FB-483E-B8E7-D04039DBA80D}" dt="2021-05-24T16:09:28.432" v="16451" actId="790"/>
          <ac:spMkLst>
            <pc:docMk/>
            <pc:sldMk cId="1424870296" sldId="10335"/>
            <ac:spMk id="105" creationId="{04EF4D1A-C037-42D0-B892-5838973F1158}"/>
          </ac:spMkLst>
        </pc:spChg>
        <pc:spChg chg="mod">
          <ac:chgData name="Sarah GAUVARD" userId="4c03e191-e154-482a-88b2-11de19eac96c" providerId="ADAL" clId="{8245CC27-65FB-483E-B8E7-D04039DBA80D}" dt="2021-05-24T16:09:28.432" v="16452" actId="790"/>
          <ac:spMkLst>
            <pc:docMk/>
            <pc:sldMk cId="1424870296" sldId="10335"/>
            <ac:spMk id="106" creationId="{1A98F378-0609-47B5-A22F-B3DF98061CA5}"/>
          </ac:spMkLst>
        </pc:spChg>
        <pc:spChg chg="mod">
          <ac:chgData name="Sarah GAUVARD" userId="4c03e191-e154-482a-88b2-11de19eac96c" providerId="ADAL" clId="{8245CC27-65FB-483E-B8E7-D04039DBA80D}" dt="2021-05-24T16:09:28.432" v="16453" actId="790"/>
          <ac:spMkLst>
            <pc:docMk/>
            <pc:sldMk cId="1424870296" sldId="10335"/>
            <ac:spMk id="107" creationId="{CD736F70-A922-478A-A935-A6627A6FA958}"/>
          </ac:spMkLst>
        </pc:spChg>
        <pc:spChg chg="mod">
          <ac:chgData name="Sarah GAUVARD" userId="4c03e191-e154-482a-88b2-11de19eac96c" providerId="ADAL" clId="{8245CC27-65FB-483E-B8E7-D04039DBA80D}" dt="2021-05-24T16:09:28.432" v="16454" actId="790"/>
          <ac:spMkLst>
            <pc:docMk/>
            <pc:sldMk cId="1424870296" sldId="10335"/>
            <ac:spMk id="108" creationId="{E83BE468-E05E-4A0B-886A-54474D37CF16}"/>
          </ac:spMkLst>
        </pc:spChg>
        <pc:spChg chg="mod">
          <ac:chgData name="Sarah GAUVARD" userId="4c03e191-e154-482a-88b2-11de19eac96c" providerId="ADAL" clId="{8245CC27-65FB-483E-B8E7-D04039DBA80D}" dt="2021-05-24T16:09:28.432" v="16455" actId="790"/>
          <ac:spMkLst>
            <pc:docMk/>
            <pc:sldMk cId="1424870296" sldId="10335"/>
            <ac:spMk id="115" creationId="{A0C7CAD2-4A72-4C8D-8B97-E7D950CB9A60}"/>
          </ac:spMkLst>
        </pc:spChg>
        <pc:spChg chg="mod">
          <ac:chgData name="Sarah GAUVARD" userId="4c03e191-e154-482a-88b2-11de19eac96c" providerId="ADAL" clId="{8245CC27-65FB-483E-B8E7-D04039DBA80D}" dt="2021-05-24T16:09:28.460" v="16456" actId="790"/>
          <ac:spMkLst>
            <pc:docMk/>
            <pc:sldMk cId="1424870296" sldId="10335"/>
            <ac:spMk id="127" creationId="{0897E6F9-F2AF-4184-8F04-7C90039CB31C}"/>
          </ac:spMkLst>
        </pc:spChg>
        <pc:spChg chg="mod">
          <ac:chgData name="Sarah GAUVARD" userId="4c03e191-e154-482a-88b2-11de19eac96c" providerId="ADAL" clId="{8245CC27-65FB-483E-B8E7-D04039DBA80D}" dt="2021-05-24T16:09:28.460" v="16460" actId="790"/>
          <ac:spMkLst>
            <pc:docMk/>
            <pc:sldMk cId="1424870296" sldId="10335"/>
            <ac:spMk id="128" creationId="{19432E1B-C182-40F5-974C-28FEF1DB9BD0}"/>
          </ac:spMkLst>
        </pc:spChg>
        <pc:spChg chg="mod">
          <ac:chgData name="Sarah GAUVARD" userId="4c03e191-e154-482a-88b2-11de19eac96c" providerId="ADAL" clId="{8245CC27-65FB-483E-B8E7-D04039DBA80D}" dt="2021-05-24T16:09:28.460" v="16461" actId="790"/>
          <ac:spMkLst>
            <pc:docMk/>
            <pc:sldMk cId="1424870296" sldId="10335"/>
            <ac:spMk id="129" creationId="{1373F8DE-C6E5-4EDD-B348-F87714D996D3}"/>
          </ac:spMkLst>
        </pc:spChg>
        <pc:spChg chg="mod">
          <ac:chgData name="Sarah GAUVARD" userId="4c03e191-e154-482a-88b2-11de19eac96c" providerId="ADAL" clId="{8245CC27-65FB-483E-B8E7-D04039DBA80D}" dt="2021-05-24T16:09:28.460" v="16462" actId="790"/>
          <ac:spMkLst>
            <pc:docMk/>
            <pc:sldMk cId="1424870296" sldId="10335"/>
            <ac:spMk id="130" creationId="{A8AB0ECA-2DD9-49A2-86B4-965C21B5EB1B}"/>
          </ac:spMkLst>
        </pc:spChg>
        <pc:spChg chg="mod">
          <ac:chgData name="Sarah GAUVARD" userId="4c03e191-e154-482a-88b2-11de19eac96c" providerId="ADAL" clId="{8245CC27-65FB-483E-B8E7-D04039DBA80D}" dt="2021-05-24T16:09:28.460" v="16463" actId="790"/>
          <ac:spMkLst>
            <pc:docMk/>
            <pc:sldMk cId="1424870296" sldId="10335"/>
            <ac:spMk id="131" creationId="{B72C70AB-BF26-43EA-B3B2-FF5837AA2CEA}"/>
          </ac:spMkLst>
        </pc:spChg>
        <pc:spChg chg="mod">
          <ac:chgData name="Sarah GAUVARD" userId="4c03e191-e154-482a-88b2-11de19eac96c" providerId="ADAL" clId="{8245CC27-65FB-483E-B8E7-D04039DBA80D}" dt="2021-05-24T16:09:28.460" v="16464" actId="790"/>
          <ac:spMkLst>
            <pc:docMk/>
            <pc:sldMk cId="1424870296" sldId="10335"/>
            <ac:spMk id="132" creationId="{337A3DA2-2B3A-4D27-B69C-62537CE0118A}"/>
          </ac:spMkLst>
        </pc:spChg>
        <pc:spChg chg="mod">
          <ac:chgData name="Sarah GAUVARD" userId="4c03e191-e154-482a-88b2-11de19eac96c" providerId="ADAL" clId="{8245CC27-65FB-483E-B8E7-D04039DBA80D}" dt="2021-05-24T16:09:28.460" v="16465" actId="790"/>
          <ac:spMkLst>
            <pc:docMk/>
            <pc:sldMk cId="1424870296" sldId="10335"/>
            <ac:spMk id="133" creationId="{52FBD452-7EE2-4D11-95A8-9D2C6606FBAF}"/>
          </ac:spMkLst>
        </pc:spChg>
        <pc:spChg chg="mod">
          <ac:chgData name="Sarah GAUVARD" userId="4c03e191-e154-482a-88b2-11de19eac96c" providerId="ADAL" clId="{8245CC27-65FB-483E-B8E7-D04039DBA80D}" dt="2021-05-24T16:09:28.460" v="16466" actId="790"/>
          <ac:spMkLst>
            <pc:docMk/>
            <pc:sldMk cId="1424870296" sldId="10335"/>
            <ac:spMk id="134" creationId="{497AF38E-52FB-494B-AE7D-321864EDECA4}"/>
          </ac:spMkLst>
        </pc:spChg>
        <pc:spChg chg="mod">
          <ac:chgData name="Sarah GAUVARD" userId="4c03e191-e154-482a-88b2-11de19eac96c" providerId="ADAL" clId="{8245CC27-65FB-483E-B8E7-D04039DBA80D}" dt="2021-05-24T16:09:28.460" v="16467" actId="790"/>
          <ac:spMkLst>
            <pc:docMk/>
            <pc:sldMk cId="1424870296" sldId="10335"/>
            <ac:spMk id="135" creationId="{A8ECA603-7B12-4CFA-A4C6-7400AD9BD0ED}"/>
          </ac:spMkLst>
        </pc:spChg>
        <pc:graphicFrameChg chg="mod">
          <ac:chgData name="Sarah GAUVARD" userId="4c03e191-e154-482a-88b2-11de19eac96c" providerId="ADAL" clId="{8245CC27-65FB-483E-B8E7-D04039DBA80D}" dt="2021-05-24T15:34:45.889" v="11762"/>
          <ac:graphicFrameMkLst>
            <pc:docMk/>
            <pc:sldMk cId="1424870296" sldId="10335"/>
            <ac:graphicFrameMk id="4" creationId="{94A1FA70-75C7-4697-BDFD-BE281399CCBB}"/>
          </ac:graphicFrameMkLst>
        </pc:graphicFrameChg>
      </pc:sldChg>
      <pc:sldChg chg="addSp modSp mod">
        <pc:chgData name="Sarah GAUVARD" userId="4c03e191-e154-482a-88b2-11de19eac96c" providerId="ADAL" clId="{8245CC27-65FB-483E-B8E7-D04039DBA80D}" dt="2021-05-24T16:09:29.161" v="17128" actId="790"/>
        <pc:sldMkLst>
          <pc:docMk/>
          <pc:sldMk cId="2888621618" sldId="10350"/>
        </pc:sldMkLst>
        <pc:spChg chg="mod">
          <ac:chgData name="Sarah GAUVARD" userId="4c03e191-e154-482a-88b2-11de19eac96c" providerId="ADAL" clId="{8245CC27-65FB-483E-B8E7-D04039DBA80D}" dt="2021-05-24T16:09:29.151" v="17121" actId="790"/>
          <ac:spMkLst>
            <pc:docMk/>
            <pc:sldMk cId="2888621618" sldId="10350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9.151" v="17122" actId="790"/>
          <ac:spMkLst>
            <pc:docMk/>
            <pc:sldMk cId="2888621618" sldId="10350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9.151" v="17123" actId="790"/>
          <ac:spMkLst>
            <pc:docMk/>
            <pc:sldMk cId="2888621618" sldId="10350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9.161" v="17128" actId="790"/>
          <ac:spMkLst>
            <pc:docMk/>
            <pc:sldMk cId="2888621618" sldId="10350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9.159" v="17124" actId="790"/>
          <ac:spMkLst>
            <pc:docMk/>
            <pc:sldMk cId="2888621618" sldId="10350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9.161" v="17125" actId="790"/>
          <ac:spMkLst>
            <pc:docMk/>
            <pc:sldMk cId="2888621618" sldId="10350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9.161" v="17126" actId="790"/>
          <ac:spMkLst>
            <pc:docMk/>
            <pc:sldMk cId="2888621618" sldId="10350"/>
            <ac:spMk id="22" creationId="{C002634F-3FA9-4AC3-90E2-0D253FC97BF7}"/>
          </ac:spMkLst>
        </pc:spChg>
        <pc:spChg chg="mod">
          <ac:chgData name="Sarah GAUVARD" userId="4c03e191-e154-482a-88b2-11de19eac96c" providerId="ADAL" clId="{8245CC27-65FB-483E-B8E7-D04039DBA80D}" dt="2021-05-24T16:09:29.161" v="17127" actId="790"/>
          <ac:spMkLst>
            <pc:docMk/>
            <pc:sldMk cId="2888621618" sldId="10350"/>
            <ac:spMk id="26" creationId="{D70D99D8-5440-4867-B8A0-57942A3EA3D2}"/>
          </ac:spMkLst>
        </pc:spChg>
        <pc:graphicFrameChg chg="add mod ord modVis">
          <ac:chgData name="Sarah GAUVARD" userId="4c03e191-e154-482a-88b2-11de19eac96c" providerId="ADAL" clId="{8245CC27-65FB-483E-B8E7-D04039DBA80D}" dt="2021-05-24T15:34:45.965" v="11805"/>
          <ac:graphicFrameMkLst>
            <pc:docMk/>
            <pc:sldMk cId="2888621618" sldId="10350"/>
            <ac:graphicFrameMk id="2" creationId="{FCE678B2-1E50-481D-98EF-0E23B064892D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09:00:52.193" v="19067" actId="20577"/>
        <pc:sldMkLst>
          <pc:docMk/>
          <pc:sldMk cId="1088427134" sldId="10355"/>
        </pc:sldMkLst>
        <pc:spChg chg="mod">
          <ac:chgData name="Sarah GAUVARD" userId="4c03e191-e154-482a-88b2-11de19eac96c" providerId="ADAL" clId="{8245CC27-65FB-483E-B8E7-D04039DBA80D}" dt="2021-05-25T08:49:46.553" v="18807" actId="948"/>
          <ac:spMkLst>
            <pc:docMk/>
            <pc:sldMk cId="1088427134" sldId="10355"/>
            <ac:spMk id="2" creationId="{531041C5-E8A2-412F-8DD7-D013B496B687}"/>
          </ac:spMkLst>
        </pc:spChg>
        <pc:spChg chg="mod">
          <ac:chgData name="Sarah GAUVARD" userId="4c03e191-e154-482a-88b2-11de19eac96c" providerId="ADAL" clId="{8245CC27-65FB-483E-B8E7-D04039DBA80D}" dt="2021-05-24T16:09:27.560" v="15572" actId="790"/>
          <ac:spMkLst>
            <pc:docMk/>
            <pc:sldMk cId="1088427134" sldId="10355"/>
            <ac:spMk id="3" creationId="{D941C407-20D6-482D-8915-AB38B57418D3}"/>
          </ac:spMkLst>
        </pc:spChg>
        <pc:spChg chg="mod">
          <ac:chgData name="Sarah GAUVARD" userId="4c03e191-e154-482a-88b2-11de19eac96c" providerId="ADAL" clId="{8245CC27-65FB-483E-B8E7-D04039DBA80D}" dt="2021-05-24T16:09:27.602" v="15606" actId="790"/>
          <ac:spMkLst>
            <pc:docMk/>
            <pc:sldMk cId="1088427134" sldId="10355"/>
            <ac:spMk id="4" creationId="{32F85835-036E-4F3E-8BFF-2ABE5E844311}"/>
          </ac:spMkLst>
        </pc:spChg>
        <pc:spChg chg="mod">
          <ac:chgData name="Sarah GAUVARD" userId="4c03e191-e154-482a-88b2-11de19eac96c" providerId="ADAL" clId="{8245CC27-65FB-483E-B8E7-D04039DBA80D}" dt="2021-05-24T16:09:27.580" v="15589" actId="790"/>
          <ac:spMkLst>
            <pc:docMk/>
            <pc:sldMk cId="1088427134" sldId="10355"/>
            <ac:spMk id="5" creationId="{B82F449A-DABE-4C5F-AC72-1CD88F08F3F8}"/>
          </ac:spMkLst>
        </pc:spChg>
        <pc:spChg chg="add del mod modVis">
          <ac:chgData name="Sarah GAUVARD" userId="4c03e191-e154-482a-88b2-11de19eac96c" providerId="ADAL" clId="{8245CC27-65FB-483E-B8E7-D04039DBA80D}" dt="2021-05-25T08:49:19.438" v="18758"/>
          <ac:spMkLst>
            <pc:docMk/>
            <pc:sldMk cId="1088427134" sldId="10355"/>
            <ac:spMk id="6" creationId="{133BF270-3457-4947-AA84-9E85E9D91142}"/>
          </ac:spMkLst>
        </pc:spChg>
        <pc:spChg chg="add del mod modVis">
          <ac:chgData name="Sarah GAUVARD" userId="4c03e191-e154-482a-88b2-11de19eac96c" providerId="ADAL" clId="{8245CC27-65FB-483E-B8E7-D04039DBA80D}" dt="2021-05-25T08:49:44.823" v="18803"/>
          <ac:spMkLst>
            <pc:docMk/>
            <pc:sldMk cId="1088427134" sldId="10355"/>
            <ac:spMk id="8" creationId="{B76B0EF3-8293-4C46-8A48-433688A9A62E}"/>
          </ac:spMkLst>
        </pc:spChg>
        <pc:spChg chg="add del mod modVis">
          <ac:chgData name="Sarah GAUVARD" userId="4c03e191-e154-482a-88b2-11de19eac96c" providerId="ADAL" clId="{8245CC27-65FB-483E-B8E7-D04039DBA80D}" dt="2021-05-25T08:49:46.597" v="18847"/>
          <ac:spMkLst>
            <pc:docMk/>
            <pc:sldMk cId="1088427134" sldId="10355"/>
            <ac:spMk id="9" creationId="{7B60ECC0-9772-4CE4-A405-01BAA1B2164F}"/>
          </ac:spMkLst>
        </pc:spChg>
        <pc:spChg chg="mod">
          <ac:chgData name="Sarah GAUVARD" userId="4c03e191-e154-482a-88b2-11de19eac96c" providerId="ADAL" clId="{8245CC27-65FB-483E-B8E7-D04039DBA80D}" dt="2021-05-24T16:09:27.560" v="15560" actId="790"/>
          <ac:spMkLst>
            <pc:docMk/>
            <pc:sldMk cId="1088427134" sldId="10355"/>
            <ac:spMk id="26" creationId="{72FA2C53-05D0-4DE0-9F71-130CA5ED4ADD}"/>
          </ac:spMkLst>
        </pc:spChg>
        <pc:spChg chg="mod">
          <ac:chgData name="Sarah GAUVARD" userId="4c03e191-e154-482a-88b2-11de19eac96c" providerId="ADAL" clId="{8245CC27-65FB-483E-B8E7-D04039DBA80D}" dt="2021-05-24T16:09:27.560" v="15561" actId="790"/>
          <ac:spMkLst>
            <pc:docMk/>
            <pc:sldMk cId="1088427134" sldId="10355"/>
            <ac:spMk id="27" creationId="{05E366BE-F44E-48DC-86D8-D5B5BFCE83C9}"/>
          </ac:spMkLst>
        </pc:spChg>
        <pc:spChg chg="mod">
          <ac:chgData name="Sarah GAUVARD" userId="4c03e191-e154-482a-88b2-11de19eac96c" providerId="ADAL" clId="{8245CC27-65FB-483E-B8E7-D04039DBA80D}" dt="2021-05-24T16:09:27.560" v="15562" actId="790"/>
          <ac:spMkLst>
            <pc:docMk/>
            <pc:sldMk cId="1088427134" sldId="10355"/>
            <ac:spMk id="31" creationId="{1957402C-8DED-4E94-8B10-1B28D135CC49}"/>
          </ac:spMkLst>
        </pc:spChg>
        <pc:spChg chg="mod">
          <ac:chgData name="Sarah GAUVARD" userId="4c03e191-e154-482a-88b2-11de19eac96c" providerId="ADAL" clId="{8245CC27-65FB-483E-B8E7-D04039DBA80D}" dt="2021-05-25T09:00:52.193" v="19067" actId="20577"/>
          <ac:spMkLst>
            <pc:docMk/>
            <pc:sldMk cId="1088427134" sldId="10355"/>
            <ac:spMk id="44" creationId="{2F442C3A-48CA-47C5-A86D-6E48373F82F1}"/>
          </ac:spMkLst>
        </pc:spChg>
        <pc:spChg chg="mod">
          <ac:chgData name="Sarah GAUVARD" userId="4c03e191-e154-482a-88b2-11de19eac96c" providerId="ADAL" clId="{8245CC27-65FB-483E-B8E7-D04039DBA80D}" dt="2021-05-24T16:09:27.560" v="15563" actId="790"/>
          <ac:spMkLst>
            <pc:docMk/>
            <pc:sldMk cId="1088427134" sldId="10355"/>
            <ac:spMk id="69" creationId="{F3DA172A-54AD-441E-9D06-5E433C2498C6}"/>
          </ac:spMkLst>
        </pc:spChg>
        <pc:spChg chg="add del mod modVis">
          <ac:chgData name="Sarah GAUVARD" userId="4c03e191-e154-482a-88b2-11de19eac96c" providerId="ADAL" clId="{8245CC27-65FB-483E-B8E7-D04039DBA80D}" dt="2021-05-24T15:34:46.398" v="12039"/>
          <ac:spMkLst>
            <pc:docMk/>
            <pc:sldMk cId="1088427134" sldId="10355"/>
            <ac:spMk id="149" creationId="{06D3F5C2-E06C-42CB-9EF5-A016A073C557}"/>
          </ac:spMkLst>
        </pc:spChg>
        <pc:spChg chg="mod">
          <ac:chgData name="Sarah GAUVARD" userId="4c03e191-e154-482a-88b2-11de19eac96c" providerId="ADAL" clId="{8245CC27-65FB-483E-B8E7-D04039DBA80D}" dt="2021-05-24T16:09:27.570" v="15573" actId="790"/>
          <ac:spMkLst>
            <pc:docMk/>
            <pc:sldMk cId="1088427134" sldId="10355"/>
            <ac:spMk id="191" creationId="{25EF4FC4-4C8D-42FD-A802-5FC92801CA49}"/>
          </ac:spMkLst>
        </pc:spChg>
        <pc:spChg chg="mod">
          <ac:chgData name="Sarah GAUVARD" userId="4c03e191-e154-482a-88b2-11de19eac96c" providerId="ADAL" clId="{8245CC27-65FB-483E-B8E7-D04039DBA80D}" dt="2021-05-24T16:09:27.570" v="15574" actId="790"/>
          <ac:spMkLst>
            <pc:docMk/>
            <pc:sldMk cId="1088427134" sldId="10355"/>
            <ac:spMk id="192" creationId="{D4FBD805-0616-4E8A-9995-1A885D682879}"/>
          </ac:spMkLst>
        </pc:spChg>
        <pc:spChg chg="mod">
          <ac:chgData name="Sarah GAUVARD" userId="4c03e191-e154-482a-88b2-11de19eac96c" providerId="ADAL" clId="{8245CC27-65FB-483E-B8E7-D04039DBA80D}" dt="2021-05-24T16:09:27.570" v="15575" actId="790"/>
          <ac:spMkLst>
            <pc:docMk/>
            <pc:sldMk cId="1088427134" sldId="10355"/>
            <ac:spMk id="193" creationId="{D73CFB65-43C9-4808-858F-27EAAD925909}"/>
          </ac:spMkLst>
        </pc:spChg>
        <pc:spChg chg="mod">
          <ac:chgData name="Sarah GAUVARD" userId="4c03e191-e154-482a-88b2-11de19eac96c" providerId="ADAL" clId="{8245CC27-65FB-483E-B8E7-D04039DBA80D}" dt="2021-05-24T16:09:27.572" v="15576" actId="790"/>
          <ac:spMkLst>
            <pc:docMk/>
            <pc:sldMk cId="1088427134" sldId="10355"/>
            <ac:spMk id="194" creationId="{D07427E5-AAFA-4CC6-BC00-FD82DF5407AA}"/>
          </ac:spMkLst>
        </pc:spChg>
        <pc:spChg chg="mod">
          <ac:chgData name="Sarah GAUVARD" userId="4c03e191-e154-482a-88b2-11de19eac96c" providerId="ADAL" clId="{8245CC27-65FB-483E-B8E7-D04039DBA80D}" dt="2021-05-24T16:09:27.620" v="15627" actId="790"/>
          <ac:spMkLst>
            <pc:docMk/>
            <pc:sldMk cId="1088427134" sldId="10355"/>
            <ac:spMk id="195" creationId="{1D8E904A-12F9-46A4-95EA-1ACD9EDBA1AF}"/>
          </ac:spMkLst>
        </pc:spChg>
        <pc:spChg chg="mod">
          <ac:chgData name="Sarah GAUVARD" userId="4c03e191-e154-482a-88b2-11de19eac96c" providerId="ADAL" clId="{8245CC27-65FB-483E-B8E7-D04039DBA80D}" dt="2021-05-24T16:09:27.590" v="15594" actId="790"/>
          <ac:spMkLst>
            <pc:docMk/>
            <pc:sldMk cId="1088427134" sldId="10355"/>
            <ac:spMk id="203" creationId="{F9AD22C0-4F2D-4666-B38C-06A5E859DF05}"/>
          </ac:spMkLst>
        </pc:spChg>
        <pc:spChg chg="mod">
          <ac:chgData name="Sarah GAUVARD" userId="4c03e191-e154-482a-88b2-11de19eac96c" providerId="ADAL" clId="{8245CC27-65FB-483E-B8E7-D04039DBA80D}" dt="2021-05-24T16:09:27.590" v="15595" actId="790"/>
          <ac:spMkLst>
            <pc:docMk/>
            <pc:sldMk cId="1088427134" sldId="10355"/>
            <ac:spMk id="204" creationId="{76DFBFA9-56A4-42F3-A143-9F451BBC4CAB}"/>
          </ac:spMkLst>
        </pc:spChg>
        <pc:spChg chg="mod">
          <ac:chgData name="Sarah GAUVARD" userId="4c03e191-e154-482a-88b2-11de19eac96c" providerId="ADAL" clId="{8245CC27-65FB-483E-B8E7-D04039DBA80D}" dt="2021-05-24T16:09:27.590" v="15596" actId="790"/>
          <ac:spMkLst>
            <pc:docMk/>
            <pc:sldMk cId="1088427134" sldId="10355"/>
            <ac:spMk id="205" creationId="{000202B9-950B-4FE7-9197-51EB41572E4A}"/>
          </ac:spMkLst>
        </pc:spChg>
        <pc:spChg chg="mod">
          <ac:chgData name="Sarah GAUVARD" userId="4c03e191-e154-482a-88b2-11de19eac96c" providerId="ADAL" clId="{8245CC27-65FB-483E-B8E7-D04039DBA80D}" dt="2021-05-24T16:09:27.592" v="15597" actId="790"/>
          <ac:spMkLst>
            <pc:docMk/>
            <pc:sldMk cId="1088427134" sldId="10355"/>
            <ac:spMk id="206" creationId="{1D2982B8-1F76-4421-968D-2CDC637BDD84}"/>
          </ac:spMkLst>
        </pc:spChg>
        <pc:spChg chg="mod">
          <ac:chgData name="Sarah GAUVARD" userId="4c03e191-e154-482a-88b2-11de19eac96c" providerId="ADAL" clId="{8245CC27-65FB-483E-B8E7-D04039DBA80D}" dt="2021-05-24T16:09:27.630" v="15637" actId="790"/>
          <ac:spMkLst>
            <pc:docMk/>
            <pc:sldMk cId="1088427134" sldId="10355"/>
            <ac:spMk id="207" creationId="{C77775EA-390E-4A32-B782-BAB1BE3EC7C9}"/>
          </ac:spMkLst>
        </pc:spChg>
        <pc:spChg chg="mod">
          <ac:chgData name="Sarah GAUVARD" userId="4c03e191-e154-482a-88b2-11de19eac96c" providerId="ADAL" clId="{8245CC27-65FB-483E-B8E7-D04039DBA80D}" dt="2021-05-24T16:09:27.632" v="15638" actId="790"/>
          <ac:spMkLst>
            <pc:docMk/>
            <pc:sldMk cId="1088427134" sldId="10355"/>
            <ac:spMk id="208" creationId="{2CB2F9BF-C01A-4704-9110-A94AED93C7CC}"/>
          </ac:spMkLst>
        </pc:spChg>
        <pc:spChg chg="mod">
          <ac:chgData name="Sarah GAUVARD" userId="4c03e191-e154-482a-88b2-11de19eac96c" providerId="ADAL" clId="{8245CC27-65FB-483E-B8E7-D04039DBA80D}" dt="2021-05-24T16:09:27.632" v="15639" actId="790"/>
          <ac:spMkLst>
            <pc:docMk/>
            <pc:sldMk cId="1088427134" sldId="10355"/>
            <ac:spMk id="209" creationId="{BC902227-95B2-498A-BE19-2097B8481568}"/>
          </ac:spMkLst>
        </pc:spChg>
        <pc:spChg chg="mod">
          <ac:chgData name="Sarah GAUVARD" userId="4c03e191-e154-482a-88b2-11de19eac96c" providerId="ADAL" clId="{8245CC27-65FB-483E-B8E7-D04039DBA80D}" dt="2021-05-25T08:54:10.978" v="18956" actId="1076"/>
          <ac:spMkLst>
            <pc:docMk/>
            <pc:sldMk cId="1088427134" sldId="10355"/>
            <ac:spMk id="210" creationId="{FAD83A7F-F110-47F4-9764-8294FCD34C3B}"/>
          </ac:spMkLst>
        </pc:spChg>
        <pc:spChg chg="mod">
          <ac:chgData name="Sarah GAUVARD" userId="4c03e191-e154-482a-88b2-11de19eac96c" providerId="ADAL" clId="{8245CC27-65FB-483E-B8E7-D04039DBA80D}" dt="2021-05-24T16:09:27.602" v="15613" actId="790"/>
          <ac:spMkLst>
            <pc:docMk/>
            <pc:sldMk cId="1088427134" sldId="10355"/>
            <ac:spMk id="211" creationId="{3DE0F630-041E-4A46-B492-486ED5FA0EC8}"/>
          </ac:spMkLst>
        </pc:spChg>
        <pc:spChg chg="mod">
          <ac:chgData name="Sarah GAUVARD" userId="4c03e191-e154-482a-88b2-11de19eac96c" providerId="ADAL" clId="{8245CC27-65FB-483E-B8E7-D04039DBA80D}" dt="2021-05-24T16:09:27.602" v="15614" actId="790"/>
          <ac:spMkLst>
            <pc:docMk/>
            <pc:sldMk cId="1088427134" sldId="10355"/>
            <ac:spMk id="212" creationId="{00D9FC3F-7E1D-41CB-A5AD-4ECBE14FA2DF}"/>
          </ac:spMkLst>
        </pc:spChg>
        <pc:spChg chg="mod">
          <ac:chgData name="Sarah GAUVARD" userId="4c03e191-e154-482a-88b2-11de19eac96c" providerId="ADAL" clId="{8245CC27-65FB-483E-B8E7-D04039DBA80D}" dt="2021-05-24T16:09:27.602" v="15615" actId="790"/>
          <ac:spMkLst>
            <pc:docMk/>
            <pc:sldMk cId="1088427134" sldId="10355"/>
            <ac:spMk id="213" creationId="{1CB17802-D8AE-406C-B7DA-DF23B6357713}"/>
          </ac:spMkLst>
        </pc:spChg>
        <pc:spChg chg="mod">
          <ac:chgData name="Sarah GAUVARD" userId="4c03e191-e154-482a-88b2-11de19eac96c" providerId="ADAL" clId="{8245CC27-65FB-483E-B8E7-D04039DBA80D}" dt="2021-05-24T16:09:27.632" v="15640" actId="790"/>
          <ac:spMkLst>
            <pc:docMk/>
            <pc:sldMk cId="1088427134" sldId="10355"/>
            <ac:spMk id="214" creationId="{DC59756C-B7DA-4DDA-924C-AA8BBB352C21}"/>
          </ac:spMkLst>
        </pc:spChg>
        <pc:spChg chg="mod">
          <ac:chgData name="Sarah GAUVARD" userId="4c03e191-e154-482a-88b2-11de19eac96c" providerId="ADAL" clId="{8245CC27-65FB-483E-B8E7-D04039DBA80D}" dt="2021-05-24T16:09:27.632" v="15641" actId="790"/>
          <ac:spMkLst>
            <pc:docMk/>
            <pc:sldMk cId="1088427134" sldId="10355"/>
            <ac:spMk id="215" creationId="{1E911E45-788D-4A82-A9CC-7DE8DEFD1940}"/>
          </ac:spMkLst>
        </pc:spChg>
        <pc:spChg chg="mod">
          <ac:chgData name="Sarah GAUVARD" userId="4c03e191-e154-482a-88b2-11de19eac96c" providerId="ADAL" clId="{8245CC27-65FB-483E-B8E7-D04039DBA80D}" dt="2021-05-24T16:09:27.632" v="15642" actId="790"/>
          <ac:spMkLst>
            <pc:docMk/>
            <pc:sldMk cId="1088427134" sldId="10355"/>
            <ac:spMk id="216" creationId="{B55021B7-A72D-46BD-93C8-F7D071B2FA3D}"/>
          </ac:spMkLst>
        </pc:spChg>
        <pc:spChg chg="mod">
          <ac:chgData name="Sarah GAUVARD" userId="4c03e191-e154-482a-88b2-11de19eac96c" providerId="ADAL" clId="{8245CC27-65FB-483E-B8E7-D04039DBA80D}" dt="2021-05-24T16:09:27.632" v="15643" actId="790"/>
          <ac:spMkLst>
            <pc:docMk/>
            <pc:sldMk cId="1088427134" sldId="10355"/>
            <ac:spMk id="217" creationId="{9E62E839-2DD0-4F81-9D37-40746772CDB9}"/>
          </ac:spMkLst>
        </pc:spChg>
        <pc:spChg chg="mod">
          <ac:chgData name="Sarah GAUVARD" userId="4c03e191-e154-482a-88b2-11de19eac96c" providerId="ADAL" clId="{8245CC27-65FB-483E-B8E7-D04039DBA80D}" dt="2021-05-24T16:09:27.620" v="15628" actId="790"/>
          <ac:spMkLst>
            <pc:docMk/>
            <pc:sldMk cId="1088427134" sldId="10355"/>
            <ac:spMk id="218" creationId="{0C18248F-CE9C-49C4-902E-BB259EC3F72E}"/>
          </ac:spMkLst>
        </pc:spChg>
        <pc:spChg chg="mod">
          <ac:chgData name="Sarah GAUVARD" userId="4c03e191-e154-482a-88b2-11de19eac96c" providerId="ADAL" clId="{8245CC27-65FB-483E-B8E7-D04039DBA80D}" dt="2021-05-24T16:09:27.620" v="15629" actId="790"/>
          <ac:spMkLst>
            <pc:docMk/>
            <pc:sldMk cId="1088427134" sldId="10355"/>
            <ac:spMk id="219" creationId="{699912BB-DA44-4A9A-B10E-4A39772DE6E9}"/>
          </ac:spMkLst>
        </pc:spChg>
        <pc:spChg chg="mod">
          <ac:chgData name="Sarah GAUVARD" userId="4c03e191-e154-482a-88b2-11de19eac96c" providerId="ADAL" clId="{8245CC27-65FB-483E-B8E7-D04039DBA80D}" dt="2021-05-24T16:09:27.620" v="15630" actId="790"/>
          <ac:spMkLst>
            <pc:docMk/>
            <pc:sldMk cId="1088427134" sldId="10355"/>
            <ac:spMk id="220" creationId="{3A6BFE8B-73D5-4CB5-AADD-F6690E4E599D}"/>
          </ac:spMkLst>
        </pc:spChg>
        <pc:spChg chg="mod">
          <ac:chgData name="Sarah GAUVARD" userId="4c03e191-e154-482a-88b2-11de19eac96c" providerId="ADAL" clId="{8245CC27-65FB-483E-B8E7-D04039DBA80D}" dt="2021-05-24T16:09:27.620" v="15631" actId="790"/>
          <ac:spMkLst>
            <pc:docMk/>
            <pc:sldMk cId="1088427134" sldId="10355"/>
            <ac:spMk id="221" creationId="{156A4B58-CEE1-45BD-8FD1-4FD98B592434}"/>
          </ac:spMkLst>
        </pc:spChg>
        <pc:spChg chg="mod">
          <ac:chgData name="Sarah GAUVARD" userId="4c03e191-e154-482a-88b2-11de19eac96c" providerId="ADAL" clId="{8245CC27-65FB-483E-B8E7-D04039DBA80D}" dt="2021-05-24T16:09:27.620" v="15632" actId="790"/>
          <ac:spMkLst>
            <pc:docMk/>
            <pc:sldMk cId="1088427134" sldId="10355"/>
            <ac:spMk id="222" creationId="{B664E997-E830-4082-930F-A45A251FD462}"/>
          </ac:spMkLst>
        </pc:spChg>
        <pc:spChg chg="mod">
          <ac:chgData name="Sarah GAUVARD" userId="4c03e191-e154-482a-88b2-11de19eac96c" providerId="ADAL" clId="{8245CC27-65FB-483E-B8E7-D04039DBA80D}" dt="2021-05-24T16:09:27.620" v="15633" actId="790"/>
          <ac:spMkLst>
            <pc:docMk/>
            <pc:sldMk cId="1088427134" sldId="10355"/>
            <ac:spMk id="223" creationId="{AACFFFD0-291B-45A6-A066-6352E58C9EEB}"/>
          </ac:spMkLst>
        </pc:spChg>
        <pc:spChg chg="mod">
          <ac:chgData name="Sarah GAUVARD" userId="4c03e191-e154-482a-88b2-11de19eac96c" providerId="ADAL" clId="{8245CC27-65FB-483E-B8E7-D04039DBA80D}" dt="2021-05-24T16:09:27.620" v="15634" actId="790"/>
          <ac:spMkLst>
            <pc:docMk/>
            <pc:sldMk cId="1088427134" sldId="10355"/>
            <ac:spMk id="224" creationId="{9CC974BC-E401-410D-895E-89F6C7E5FD6F}"/>
          </ac:spMkLst>
        </pc:spChg>
        <pc:spChg chg="mod">
          <ac:chgData name="Sarah GAUVARD" userId="4c03e191-e154-482a-88b2-11de19eac96c" providerId="ADAL" clId="{8245CC27-65FB-483E-B8E7-D04039DBA80D}" dt="2021-05-24T16:09:27.620" v="15635" actId="790"/>
          <ac:spMkLst>
            <pc:docMk/>
            <pc:sldMk cId="1088427134" sldId="10355"/>
            <ac:spMk id="225" creationId="{2E3BF3CB-B236-4275-A4F8-DE6805D6032E}"/>
          </ac:spMkLst>
        </pc:spChg>
        <pc:spChg chg="mod">
          <ac:chgData name="Sarah GAUVARD" userId="4c03e191-e154-482a-88b2-11de19eac96c" providerId="ADAL" clId="{8245CC27-65FB-483E-B8E7-D04039DBA80D}" dt="2021-05-24T16:09:27.610" v="15616" actId="790"/>
          <ac:spMkLst>
            <pc:docMk/>
            <pc:sldMk cId="1088427134" sldId="10355"/>
            <ac:spMk id="226" creationId="{B2F4D423-6384-4EED-8A8F-FBFFC962C44E}"/>
          </ac:spMkLst>
        </pc:spChg>
        <pc:spChg chg="mod">
          <ac:chgData name="Sarah GAUVARD" userId="4c03e191-e154-482a-88b2-11de19eac96c" providerId="ADAL" clId="{8245CC27-65FB-483E-B8E7-D04039DBA80D}" dt="2021-05-24T16:09:27.610" v="15617" actId="790"/>
          <ac:spMkLst>
            <pc:docMk/>
            <pc:sldMk cId="1088427134" sldId="10355"/>
            <ac:spMk id="227" creationId="{899E4511-9356-4F55-9021-2AC75CA374F5}"/>
          </ac:spMkLst>
        </pc:spChg>
        <pc:spChg chg="mod">
          <ac:chgData name="Sarah GAUVARD" userId="4c03e191-e154-482a-88b2-11de19eac96c" providerId="ADAL" clId="{8245CC27-65FB-483E-B8E7-D04039DBA80D}" dt="2021-05-24T16:09:27.610" v="15618" actId="790"/>
          <ac:spMkLst>
            <pc:docMk/>
            <pc:sldMk cId="1088427134" sldId="10355"/>
            <ac:spMk id="228" creationId="{5DE47477-F83C-4343-97B4-528F4E6EEC5E}"/>
          </ac:spMkLst>
        </pc:spChg>
        <pc:spChg chg="mod">
          <ac:chgData name="Sarah GAUVARD" userId="4c03e191-e154-482a-88b2-11de19eac96c" providerId="ADAL" clId="{8245CC27-65FB-483E-B8E7-D04039DBA80D}" dt="2021-05-24T16:09:27.612" v="15619" actId="790"/>
          <ac:spMkLst>
            <pc:docMk/>
            <pc:sldMk cId="1088427134" sldId="10355"/>
            <ac:spMk id="229" creationId="{4EFF5158-0EBE-46C9-A27A-E2B1C6DDC5DB}"/>
          </ac:spMkLst>
        </pc:spChg>
        <pc:spChg chg="mod">
          <ac:chgData name="Sarah GAUVARD" userId="4c03e191-e154-482a-88b2-11de19eac96c" providerId="ADAL" clId="{8245CC27-65FB-483E-B8E7-D04039DBA80D}" dt="2021-05-24T16:09:27.612" v="15620" actId="790"/>
          <ac:spMkLst>
            <pc:docMk/>
            <pc:sldMk cId="1088427134" sldId="10355"/>
            <ac:spMk id="234" creationId="{3930DCC7-BF1B-4C19-90DF-366A4AC6B52A}"/>
          </ac:spMkLst>
        </pc:spChg>
        <pc:spChg chg="mod">
          <ac:chgData name="Sarah GAUVARD" userId="4c03e191-e154-482a-88b2-11de19eac96c" providerId="ADAL" clId="{8245CC27-65FB-483E-B8E7-D04039DBA80D}" dt="2021-05-24T16:09:27.630" v="15636" actId="790"/>
          <ac:spMkLst>
            <pc:docMk/>
            <pc:sldMk cId="1088427134" sldId="10355"/>
            <ac:spMk id="236" creationId="{00F7E046-3416-4368-812E-5C119AD03ABB}"/>
          </ac:spMkLst>
        </pc:spChg>
        <pc:spChg chg="mod">
          <ac:chgData name="Sarah GAUVARD" userId="4c03e191-e154-482a-88b2-11de19eac96c" providerId="ADAL" clId="{8245CC27-65FB-483E-B8E7-D04039DBA80D}" dt="2021-05-24T16:09:27.632" v="15644" actId="790"/>
          <ac:spMkLst>
            <pc:docMk/>
            <pc:sldMk cId="1088427134" sldId="10355"/>
            <ac:spMk id="237" creationId="{6E5AF13E-321B-46A9-8A9E-118042B87B4E}"/>
          </ac:spMkLst>
        </pc:spChg>
        <pc:spChg chg="mod">
          <ac:chgData name="Sarah GAUVARD" userId="4c03e191-e154-482a-88b2-11de19eac96c" providerId="ADAL" clId="{8245CC27-65FB-483E-B8E7-D04039DBA80D}" dt="2021-05-24T16:09:27.632" v="15645" actId="790"/>
          <ac:spMkLst>
            <pc:docMk/>
            <pc:sldMk cId="1088427134" sldId="10355"/>
            <ac:spMk id="238" creationId="{AFF1494D-4D2B-458F-9EF2-6B336A081C82}"/>
          </ac:spMkLst>
        </pc:spChg>
        <pc:spChg chg="mod">
          <ac:chgData name="Sarah GAUVARD" userId="4c03e191-e154-482a-88b2-11de19eac96c" providerId="ADAL" clId="{8245CC27-65FB-483E-B8E7-D04039DBA80D}" dt="2021-05-24T16:09:27.632" v="15646" actId="790"/>
          <ac:spMkLst>
            <pc:docMk/>
            <pc:sldMk cId="1088427134" sldId="10355"/>
            <ac:spMk id="239" creationId="{D4188DE1-989E-4558-A0ED-D3E5F1AF38BF}"/>
          </ac:spMkLst>
        </pc:spChg>
        <pc:spChg chg="mod">
          <ac:chgData name="Sarah GAUVARD" userId="4c03e191-e154-482a-88b2-11de19eac96c" providerId="ADAL" clId="{8245CC27-65FB-483E-B8E7-D04039DBA80D}" dt="2021-05-24T16:09:27.580" v="15590" actId="790"/>
          <ac:spMkLst>
            <pc:docMk/>
            <pc:sldMk cId="1088427134" sldId="10355"/>
            <ac:spMk id="293" creationId="{617A7A8A-DF61-4D21-A457-8B0899095289}"/>
          </ac:spMkLst>
        </pc:spChg>
        <pc:spChg chg="mod">
          <ac:chgData name="Sarah GAUVARD" userId="4c03e191-e154-482a-88b2-11de19eac96c" providerId="ADAL" clId="{8245CC27-65FB-483E-B8E7-D04039DBA80D}" dt="2021-05-24T16:09:27.580" v="15591" actId="790"/>
          <ac:spMkLst>
            <pc:docMk/>
            <pc:sldMk cId="1088427134" sldId="10355"/>
            <ac:spMk id="294" creationId="{C2F5995A-D732-4968-B25E-B7B65E43D48B}"/>
          </ac:spMkLst>
        </pc:spChg>
        <pc:spChg chg="mod">
          <ac:chgData name="Sarah GAUVARD" userId="4c03e191-e154-482a-88b2-11de19eac96c" providerId="ADAL" clId="{8245CC27-65FB-483E-B8E7-D04039DBA80D}" dt="2021-05-24T16:09:27.580" v="15592" actId="790"/>
          <ac:spMkLst>
            <pc:docMk/>
            <pc:sldMk cId="1088427134" sldId="10355"/>
            <ac:spMk id="295" creationId="{ED22F590-D8D1-428D-826E-EE3A067F96A3}"/>
          </ac:spMkLst>
        </pc:spChg>
        <pc:spChg chg="mod">
          <ac:chgData name="Sarah GAUVARD" userId="4c03e191-e154-482a-88b2-11de19eac96c" providerId="ADAL" clId="{8245CC27-65FB-483E-B8E7-D04039DBA80D}" dt="2021-05-24T16:09:27.580" v="15593" actId="790"/>
          <ac:spMkLst>
            <pc:docMk/>
            <pc:sldMk cId="1088427134" sldId="10355"/>
            <ac:spMk id="296" creationId="{00361E1D-A8D2-4D0A-AA96-0271BCF5E084}"/>
          </ac:spMkLst>
        </pc:spChg>
        <pc:spChg chg="mod">
          <ac:chgData name="Sarah GAUVARD" userId="4c03e191-e154-482a-88b2-11de19eac96c" providerId="ADAL" clId="{8245CC27-65FB-483E-B8E7-D04039DBA80D}" dt="2021-05-24T16:09:27.602" v="15607" actId="790"/>
          <ac:spMkLst>
            <pc:docMk/>
            <pc:sldMk cId="1088427134" sldId="10355"/>
            <ac:spMk id="297" creationId="{77DC1682-4763-4F4E-8898-D304D40CEE88}"/>
          </ac:spMkLst>
        </pc:spChg>
        <pc:spChg chg="mod">
          <ac:chgData name="Sarah GAUVARD" userId="4c03e191-e154-482a-88b2-11de19eac96c" providerId="ADAL" clId="{8245CC27-65FB-483E-B8E7-D04039DBA80D}" dt="2021-05-24T16:09:27.602" v="15608" actId="790"/>
          <ac:spMkLst>
            <pc:docMk/>
            <pc:sldMk cId="1088427134" sldId="10355"/>
            <ac:spMk id="298" creationId="{7F85B45B-4746-467D-A51B-2B59987A647B}"/>
          </ac:spMkLst>
        </pc:spChg>
        <pc:spChg chg="mod">
          <ac:chgData name="Sarah GAUVARD" userId="4c03e191-e154-482a-88b2-11de19eac96c" providerId="ADAL" clId="{8245CC27-65FB-483E-B8E7-D04039DBA80D}" dt="2021-05-25T08:51:26.035" v="18856" actId="20577"/>
          <ac:spMkLst>
            <pc:docMk/>
            <pc:sldMk cId="1088427134" sldId="10355"/>
            <ac:spMk id="299" creationId="{8EA1E97D-8D4C-45B3-B0ED-0309A53B6DBC}"/>
          </ac:spMkLst>
        </pc:spChg>
        <pc:spChg chg="mod">
          <ac:chgData name="Sarah GAUVARD" userId="4c03e191-e154-482a-88b2-11de19eac96c" providerId="ADAL" clId="{8245CC27-65FB-483E-B8E7-D04039DBA80D}" dt="2021-05-24T16:09:27.602" v="15610" actId="790"/>
          <ac:spMkLst>
            <pc:docMk/>
            <pc:sldMk cId="1088427134" sldId="10355"/>
            <ac:spMk id="300" creationId="{B638FE26-EA5A-4C48-B32A-22345AB071AE}"/>
          </ac:spMkLst>
        </pc:spChg>
        <pc:spChg chg="mod">
          <ac:chgData name="Sarah GAUVARD" userId="4c03e191-e154-482a-88b2-11de19eac96c" providerId="ADAL" clId="{8245CC27-65FB-483E-B8E7-D04039DBA80D}" dt="2021-05-24T16:09:27.602" v="15611" actId="790"/>
          <ac:spMkLst>
            <pc:docMk/>
            <pc:sldMk cId="1088427134" sldId="10355"/>
            <ac:spMk id="301" creationId="{89E4857A-7344-4991-94C0-6D8D83A8C52F}"/>
          </ac:spMkLst>
        </pc:spChg>
        <pc:spChg chg="mod">
          <ac:chgData name="Sarah GAUVARD" userId="4c03e191-e154-482a-88b2-11de19eac96c" providerId="ADAL" clId="{8245CC27-65FB-483E-B8E7-D04039DBA80D}" dt="2021-05-24T16:09:27.602" v="15612" actId="790"/>
          <ac:spMkLst>
            <pc:docMk/>
            <pc:sldMk cId="1088427134" sldId="10355"/>
            <ac:spMk id="302" creationId="{34B0C0D9-C504-43C9-BA61-0E82CE469A32}"/>
          </ac:spMkLst>
        </pc:spChg>
        <pc:spChg chg="mod">
          <ac:chgData name="Sarah GAUVARD" userId="4c03e191-e154-482a-88b2-11de19eac96c" providerId="ADAL" clId="{8245CC27-65FB-483E-B8E7-D04039DBA80D}" dt="2021-05-24T16:09:27.580" v="15582" actId="790"/>
          <ac:spMkLst>
            <pc:docMk/>
            <pc:sldMk cId="1088427134" sldId="10355"/>
            <ac:spMk id="348" creationId="{CFCBCDDB-EA95-49A6-B547-6019E50F386C}"/>
          </ac:spMkLst>
        </pc:spChg>
        <pc:spChg chg="mod">
          <ac:chgData name="Sarah GAUVARD" userId="4c03e191-e154-482a-88b2-11de19eac96c" providerId="ADAL" clId="{8245CC27-65FB-483E-B8E7-D04039DBA80D}" dt="2021-05-24T16:09:27.580" v="15583" actId="790"/>
          <ac:spMkLst>
            <pc:docMk/>
            <pc:sldMk cId="1088427134" sldId="10355"/>
            <ac:spMk id="349" creationId="{395A3F28-98E0-4ABF-A444-F427F580278A}"/>
          </ac:spMkLst>
        </pc:spChg>
        <pc:spChg chg="mod">
          <ac:chgData name="Sarah GAUVARD" userId="4c03e191-e154-482a-88b2-11de19eac96c" providerId="ADAL" clId="{8245CC27-65FB-483E-B8E7-D04039DBA80D}" dt="2021-05-24T16:09:27.580" v="15584" actId="790"/>
          <ac:spMkLst>
            <pc:docMk/>
            <pc:sldMk cId="1088427134" sldId="10355"/>
            <ac:spMk id="350" creationId="{F2865F77-BAC4-4AED-B624-0B522BF3F767}"/>
          </ac:spMkLst>
        </pc:spChg>
        <pc:spChg chg="mod">
          <ac:chgData name="Sarah GAUVARD" userId="4c03e191-e154-482a-88b2-11de19eac96c" providerId="ADAL" clId="{8245CC27-65FB-483E-B8E7-D04039DBA80D}" dt="2021-05-24T16:09:27.580" v="15585" actId="790"/>
          <ac:spMkLst>
            <pc:docMk/>
            <pc:sldMk cId="1088427134" sldId="10355"/>
            <ac:spMk id="351" creationId="{0669AB15-C923-4679-B7DC-569D79DDE370}"/>
          </ac:spMkLst>
        </pc:spChg>
        <pc:spChg chg="mod">
          <ac:chgData name="Sarah GAUVARD" userId="4c03e191-e154-482a-88b2-11de19eac96c" providerId="ADAL" clId="{8245CC27-65FB-483E-B8E7-D04039DBA80D}" dt="2021-05-24T16:09:27.580" v="15586" actId="790"/>
          <ac:spMkLst>
            <pc:docMk/>
            <pc:sldMk cId="1088427134" sldId="10355"/>
            <ac:spMk id="352" creationId="{F6B285D2-708B-421E-B5A7-4D9C77F08F6E}"/>
          </ac:spMkLst>
        </pc:spChg>
        <pc:spChg chg="mod">
          <ac:chgData name="Sarah GAUVARD" userId="4c03e191-e154-482a-88b2-11de19eac96c" providerId="ADAL" clId="{8245CC27-65FB-483E-B8E7-D04039DBA80D}" dt="2021-05-24T16:09:27.580" v="15587" actId="790"/>
          <ac:spMkLst>
            <pc:docMk/>
            <pc:sldMk cId="1088427134" sldId="10355"/>
            <ac:spMk id="353" creationId="{390E82EC-150E-4DD4-892A-477625840C31}"/>
          </ac:spMkLst>
        </pc:spChg>
        <pc:spChg chg="mod">
          <ac:chgData name="Sarah GAUVARD" userId="4c03e191-e154-482a-88b2-11de19eac96c" providerId="ADAL" clId="{8245CC27-65FB-483E-B8E7-D04039DBA80D}" dt="2021-05-24T16:09:27.600" v="15602" actId="790"/>
          <ac:spMkLst>
            <pc:docMk/>
            <pc:sldMk cId="1088427134" sldId="10355"/>
            <ac:spMk id="354" creationId="{E856EDF6-9B33-4E84-9395-01F2C852986E}"/>
          </ac:spMkLst>
        </pc:spChg>
        <pc:spChg chg="mod">
          <ac:chgData name="Sarah GAUVARD" userId="4c03e191-e154-482a-88b2-11de19eac96c" providerId="ADAL" clId="{8245CC27-65FB-483E-B8E7-D04039DBA80D}" dt="2021-05-24T16:09:27.600" v="15603" actId="790"/>
          <ac:spMkLst>
            <pc:docMk/>
            <pc:sldMk cId="1088427134" sldId="10355"/>
            <ac:spMk id="355" creationId="{F6FE6982-C59D-4903-A697-09F5B2458B91}"/>
          </ac:spMkLst>
        </pc:spChg>
        <pc:spChg chg="mod">
          <ac:chgData name="Sarah GAUVARD" userId="4c03e191-e154-482a-88b2-11de19eac96c" providerId="ADAL" clId="{8245CC27-65FB-483E-B8E7-D04039DBA80D}" dt="2021-05-24T16:09:27.600" v="15604" actId="790"/>
          <ac:spMkLst>
            <pc:docMk/>
            <pc:sldMk cId="1088427134" sldId="10355"/>
            <ac:spMk id="366" creationId="{93DF475D-D416-47B1-B3AE-DF8F8DFDB5CE}"/>
          </ac:spMkLst>
        </pc:spChg>
        <pc:spChg chg="mod">
          <ac:chgData name="Sarah GAUVARD" userId="4c03e191-e154-482a-88b2-11de19eac96c" providerId="ADAL" clId="{8245CC27-65FB-483E-B8E7-D04039DBA80D}" dt="2021-05-25T08:55:40.777" v="19007" actId="20577"/>
          <ac:spMkLst>
            <pc:docMk/>
            <pc:sldMk cId="1088427134" sldId="10355"/>
            <ac:spMk id="431" creationId="{C43A5D41-8E95-4FE9-AA7F-FE80E1B41664}"/>
          </ac:spMkLst>
        </pc:spChg>
        <pc:spChg chg="mod">
          <ac:chgData name="Sarah GAUVARD" userId="4c03e191-e154-482a-88b2-11de19eac96c" providerId="ADAL" clId="{8245CC27-65FB-483E-B8E7-D04039DBA80D}" dt="2021-05-25T08:55:23.410" v="19000" actId="20577"/>
          <ac:spMkLst>
            <pc:docMk/>
            <pc:sldMk cId="1088427134" sldId="10355"/>
            <ac:spMk id="432" creationId="{03857C1B-D6C5-45FC-9704-4AD21AA68E0E}"/>
          </ac:spMkLst>
        </pc:spChg>
        <pc:spChg chg="mod">
          <ac:chgData name="Sarah GAUVARD" userId="4c03e191-e154-482a-88b2-11de19eac96c" providerId="ADAL" clId="{8245CC27-65FB-483E-B8E7-D04039DBA80D}" dt="2021-05-24T16:09:27.560" v="15564" actId="790"/>
          <ac:spMkLst>
            <pc:docMk/>
            <pc:sldMk cId="1088427134" sldId="10355"/>
            <ac:spMk id="524" creationId="{9DA0C13D-FDE2-432F-842A-8FDF5BC8E38A}"/>
          </ac:spMkLst>
        </pc:spChg>
        <pc:spChg chg="mod">
          <ac:chgData name="Sarah GAUVARD" userId="4c03e191-e154-482a-88b2-11de19eac96c" providerId="ADAL" clId="{8245CC27-65FB-483E-B8E7-D04039DBA80D}" dt="2021-05-24T16:09:27.560" v="15565" actId="790"/>
          <ac:spMkLst>
            <pc:docMk/>
            <pc:sldMk cId="1088427134" sldId="10355"/>
            <ac:spMk id="526" creationId="{1E61C816-480E-4818-B936-DD577AC6BF1D}"/>
          </ac:spMkLst>
        </pc:spChg>
        <pc:spChg chg="mod">
          <ac:chgData name="Sarah GAUVARD" userId="4c03e191-e154-482a-88b2-11de19eac96c" providerId="ADAL" clId="{8245CC27-65FB-483E-B8E7-D04039DBA80D}" dt="2021-05-24T16:09:27.560" v="15567" actId="790"/>
          <ac:spMkLst>
            <pc:docMk/>
            <pc:sldMk cId="1088427134" sldId="10355"/>
            <ac:spMk id="566" creationId="{5034B735-5470-44C8-9214-2F36EE84557A}"/>
          </ac:spMkLst>
        </pc:spChg>
        <pc:spChg chg="mod">
          <ac:chgData name="Sarah GAUVARD" userId="4c03e191-e154-482a-88b2-11de19eac96c" providerId="ADAL" clId="{8245CC27-65FB-483E-B8E7-D04039DBA80D}" dt="2021-05-24T16:09:27.560" v="15568" actId="790"/>
          <ac:spMkLst>
            <pc:docMk/>
            <pc:sldMk cId="1088427134" sldId="10355"/>
            <ac:spMk id="567" creationId="{7A7AC5FD-4972-4698-9C29-EBE0BC229D2C}"/>
          </ac:spMkLst>
        </pc:spChg>
        <pc:spChg chg="mod">
          <ac:chgData name="Sarah GAUVARD" userId="4c03e191-e154-482a-88b2-11de19eac96c" providerId="ADAL" clId="{8245CC27-65FB-483E-B8E7-D04039DBA80D}" dt="2021-05-24T16:09:27.560" v="15569" actId="790"/>
          <ac:spMkLst>
            <pc:docMk/>
            <pc:sldMk cId="1088427134" sldId="10355"/>
            <ac:spMk id="568" creationId="{1BB99FC1-A755-41C4-A5B0-42BF784157D7}"/>
          </ac:spMkLst>
        </pc:spChg>
        <pc:spChg chg="mod">
          <ac:chgData name="Sarah GAUVARD" userId="4c03e191-e154-482a-88b2-11de19eac96c" providerId="ADAL" clId="{8245CC27-65FB-483E-B8E7-D04039DBA80D}" dt="2021-05-24T16:09:27.560" v="15570" actId="790"/>
          <ac:spMkLst>
            <pc:docMk/>
            <pc:sldMk cId="1088427134" sldId="10355"/>
            <ac:spMk id="569" creationId="{03B48CD2-8D5F-467F-95E5-9374434808F1}"/>
          </ac:spMkLst>
        </pc:spChg>
        <pc:spChg chg="mod">
          <ac:chgData name="Sarah GAUVARD" userId="4c03e191-e154-482a-88b2-11de19eac96c" providerId="ADAL" clId="{8245CC27-65FB-483E-B8E7-D04039DBA80D}" dt="2021-05-24T16:09:27.560" v="15571" actId="790"/>
          <ac:spMkLst>
            <pc:docMk/>
            <pc:sldMk cId="1088427134" sldId="10355"/>
            <ac:spMk id="570" creationId="{A6FC9F8E-9407-4068-9614-2C9B33825B85}"/>
          </ac:spMkLst>
        </pc:spChg>
        <pc:spChg chg="mod">
          <ac:chgData name="Sarah GAUVARD" userId="4c03e191-e154-482a-88b2-11de19eac96c" providerId="ADAL" clId="{8245CC27-65FB-483E-B8E7-D04039DBA80D}" dt="2021-05-24T16:09:27.612" v="15621" actId="790"/>
          <ac:spMkLst>
            <pc:docMk/>
            <pc:sldMk cId="1088427134" sldId="10355"/>
            <ac:spMk id="571" creationId="{83A1A957-09EF-441E-B0F3-BEA3575C3310}"/>
          </ac:spMkLst>
        </pc:spChg>
        <pc:spChg chg="mod">
          <ac:chgData name="Sarah GAUVARD" userId="4c03e191-e154-482a-88b2-11de19eac96c" providerId="ADAL" clId="{8245CC27-65FB-483E-B8E7-D04039DBA80D}" dt="2021-05-24T16:09:27.620" v="15622" actId="790"/>
          <ac:spMkLst>
            <pc:docMk/>
            <pc:sldMk cId="1088427134" sldId="10355"/>
            <ac:spMk id="572" creationId="{C8642C5B-766C-444E-B472-4CCCA91833BB}"/>
          </ac:spMkLst>
        </pc:spChg>
        <pc:spChg chg="mod">
          <ac:chgData name="Sarah GAUVARD" userId="4c03e191-e154-482a-88b2-11de19eac96c" providerId="ADAL" clId="{8245CC27-65FB-483E-B8E7-D04039DBA80D}" dt="2021-05-24T16:09:27.620" v="15623" actId="790"/>
          <ac:spMkLst>
            <pc:docMk/>
            <pc:sldMk cId="1088427134" sldId="10355"/>
            <ac:spMk id="573" creationId="{641495BC-10DB-4F75-90D3-435B0EA4AA1D}"/>
          </ac:spMkLst>
        </pc:spChg>
        <pc:spChg chg="mod">
          <ac:chgData name="Sarah GAUVARD" userId="4c03e191-e154-482a-88b2-11de19eac96c" providerId="ADAL" clId="{8245CC27-65FB-483E-B8E7-D04039DBA80D}" dt="2021-05-24T16:09:27.620" v="15624" actId="790"/>
          <ac:spMkLst>
            <pc:docMk/>
            <pc:sldMk cId="1088427134" sldId="10355"/>
            <ac:spMk id="574" creationId="{B378CEDE-C4B2-43EE-A7C1-F2D15C120DFA}"/>
          </ac:spMkLst>
        </pc:spChg>
        <pc:spChg chg="mod">
          <ac:chgData name="Sarah GAUVARD" userId="4c03e191-e154-482a-88b2-11de19eac96c" providerId="ADAL" clId="{8245CC27-65FB-483E-B8E7-D04039DBA80D}" dt="2021-05-24T16:09:27.620" v="15625" actId="790"/>
          <ac:spMkLst>
            <pc:docMk/>
            <pc:sldMk cId="1088427134" sldId="10355"/>
            <ac:spMk id="575" creationId="{670C47CD-4DA7-4D9F-AE7A-05B5C0EE79A0}"/>
          </ac:spMkLst>
        </pc:spChg>
        <pc:spChg chg="mod">
          <ac:chgData name="Sarah GAUVARD" userId="4c03e191-e154-482a-88b2-11de19eac96c" providerId="ADAL" clId="{8245CC27-65FB-483E-B8E7-D04039DBA80D}" dt="2021-05-24T16:09:27.592" v="15598" actId="790"/>
          <ac:spMkLst>
            <pc:docMk/>
            <pc:sldMk cId="1088427134" sldId="10355"/>
            <ac:spMk id="576" creationId="{5CFF709F-67CB-4B7D-B62B-5F093186EFD9}"/>
          </ac:spMkLst>
        </pc:spChg>
        <pc:spChg chg="mod">
          <ac:chgData name="Sarah GAUVARD" userId="4c03e191-e154-482a-88b2-11de19eac96c" providerId="ADAL" clId="{8245CC27-65FB-483E-B8E7-D04039DBA80D}" dt="2021-05-24T16:09:27.592" v="15599" actId="790"/>
          <ac:spMkLst>
            <pc:docMk/>
            <pc:sldMk cId="1088427134" sldId="10355"/>
            <ac:spMk id="577" creationId="{9F35AA8E-A2FF-4273-BC1C-808C2425AE43}"/>
          </ac:spMkLst>
        </pc:spChg>
        <pc:spChg chg="mod">
          <ac:chgData name="Sarah GAUVARD" userId="4c03e191-e154-482a-88b2-11de19eac96c" providerId="ADAL" clId="{8245CC27-65FB-483E-B8E7-D04039DBA80D}" dt="2021-05-24T16:09:27.592" v="15600" actId="790"/>
          <ac:spMkLst>
            <pc:docMk/>
            <pc:sldMk cId="1088427134" sldId="10355"/>
            <ac:spMk id="578" creationId="{EB266672-983F-4822-A4D2-45E27A858222}"/>
          </ac:spMkLst>
        </pc:spChg>
        <pc:spChg chg="mod">
          <ac:chgData name="Sarah GAUVARD" userId="4c03e191-e154-482a-88b2-11de19eac96c" providerId="ADAL" clId="{8245CC27-65FB-483E-B8E7-D04039DBA80D}" dt="2021-05-24T16:09:27.592" v="15601" actId="790"/>
          <ac:spMkLst>
            <pc:docMk/>
            <pc:sldMk cId="1088427134" sldId="10355"/>
            <ac:spMk id="579" creationId="{134F9CF9-9DCE-4D1A-B7EA-16DD017406BC}"/>
          </ac:spMkLst>
        </pc:spChg>
        <pc:spChg chg="mod">
          <ac:chgData name="Sarah GAUVARD" userId="4c03e191-e154-482a-88b2-11de19eac96c" providerId="ADAL" clId="{8245CC27-65FB-483E-B8E7-D04039DBA80D}" dt="2021-05-24T16:09:27.572" v="15577" actId="790"/>
          <ac:spMkLst>
            <pc:docMk/>
            <pc:sldMk cId="1088427134" sldId="10355"/>
            <ac:spMk id="580" creationId="{2B70C116-8232-4E9E-89F2-5E9CBA392143}"/>
          </ac:spMkLst>
        </pc:spChg>
        <pc:spChg chg="mod">
          <ac:chgData name="Sarah GAUVARD" userId="4c03e191-e154-482a-88b2-11de19eac96c" providerId="ADAL" clId="{8245CC27-65FB-483E-B8E7-D04039DBA80D}" dt="2021-05-24T16:09:27.572" v="15578" actId="790"/>
          <ac:spMkLst>
            <pc:docMk/>
            <pc:sldMk cId="1088427134" sldId="10355"/>
            <ac:spMk id="581" creationId="{5016B878-0E7C-4DEC-84B3-C49F41F62BB3}"/>
          </ac:spMkLst>
        </pc:spChg>
        <pc:spChg chg="mod">
          <ac:chgData name="Sarah GAUVARD" userId="4c03e191-e154-482a-88b2-11de19eac96c" providerId="ADAL" clId="{8245CC27-65FB-483E-B8E7-D04039DBA80D}" dt="2021-05-24T16:09:27.580" v="15579" actId="790"/>
          <ac:spMkLst>
            <pc:docMk/>
            <pc:sldMk cId="1088427134" sldId="10355"/>
            <ac:spMk id="582" creationId="{4CB40702-3157-4D6C-AFE1-DD055FDCDC4A}"/>
          </ac:spMkLst>
        </pc:spChg>
        <pc:spChg chg="mod">
          <ac:chgData name="Sarah GAUVARD" userId="4c03e191-e154-482a-88b2-11de19eac96c" providerId="ADAL" clId="{8245CC27-65FB-483E-B8E7-D04039DBA80D}" dt="2021-05-24T16:09:27.580" v="15580" actId="790"/>
          <ac:spMkLst>
            <pc:docMk/>
            <pc:sldMk cId="1088427134" sldId="10355"/>
            <ac:spMk id="583" creationId="{0AA0C37F-F2C9-4B44-992D-2D401C00937D}"/>
          </ac:spMkLst>
        </pc:spChg>
        <pc:spChg chg="mod">
          <ac:chgData name="Sarah GAUVARD" userId="4c03e191-e154-482a-88b2-11de19eac96c" providerId="ADAL" clId="{8245CC27-65FB-483E-B8E7-D04039DBA80D}" dt="2021-05-24T16:09:27.580" v="15581" actId="790"/>
          <ac:spMkLst>
            <pc:docMk/>
            <pc:sldMk cId="1088427134" sldId="10355"/>
            <ac:spMk id="584" creationId="{C34DD91A-F396-429A-8248-138E16DBB82B}"/>
          </ac:spMkLst>
        </pc:spChg>
        <pc:graphicFrameChg chg="mod">
          <ac:chgData name="Sarah GAUVARD" userId="4c03e191-e154-482a-88b2-11de19eac96c" providerId="ADAL" clId="{8245CC27-65FB-483E-B8E7-D04039DBA80D}" dt="2021-05-25T08:49:46.599" v="18849"/>
          <ac:graphicFrameMkLst>
            <pc:docMk/>
            <pc:sldMk cId="1088427134" sldId="10355"/>
            <ac:graphicFrameMk id="7" creationId="{85240F7D-9497-471F-89C9-677377D2D53A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5:21:33.913" v="27626" actId="478"/>
        <pc:sldMkLst>
          <pc:docMk/>
          <pc:sldMk cId="3990787528" sldId="10361"/>
        </pc:sldMkLst>
        <pc:spChg chg="mod">
          <ac:chgData name="Sarah GAUVARD" userId="4c03e191-e154-482a-88b2-11de19eac96c" providerId="ADAL" clId="{8245CC27-65FB-483E-B8E7-D04039DBA80D}" dt="2021-05-24T16:09:28.563" v="16554" actId="790"/>
          <ac:spMkLst>
            <pc:docMk/>
            <pc:sldMk cId="3990787528" sldId="10361"/>
            <ac:spMk id="2" creationId="{E1481475-1FC6-4DD8-A95B-DCEE48FE195A}"/>
          </ac:spMkLst>
        </pc:spChg>
        <pc:spChg chg="add del mod modVis">
          <ac:chgData name="Sarah GAUVARD" userId="4c03e191-e154-482a-88b2-11de19eac96c" providerId="ADAL" clId="{8245CC27-65FB-483E-B8E7-D04039DBA80D}" dt="2021-05-24T15:34:45.876" v="11748"/>
          <ac:spMkLst>
            <pc:docMk/>
            <pc:sldMk cId="3990787528" sldId="10361"/>
            <ac:spMk id="3" creationId="{224900CF-C5D0-4893-B3BE-D837B8240C97}"/>
          </ac:spMkLst>
        </pc:spChg>
        <pc:spChg chg="mod">
          <ac:chgData name="Sarah GAUVARD" userId="4c03e191-e154-482a-88b2-11de19eac96c" providerId="ADAL" clId="{8245CC27-65FB-483E-B8E7-D04039DBA80D}" dt="2021-05-24T16:09:28.573" v="16572" actId="790"/>
          <ac:spMkLst>
            <pc:docMk/>
            <pc:sldMk cId="3990787528" sldId="10361"/>
            <ac:spMk id="5" creationId="{F46E7AF5-AD69-4AFF-8E99-CD21B448E633}"/>
          </ac:spMkLst>
        </pc:spChg>
        <pc:spChg chg="mod">
          <ac:chgData name="Sarah GAUVARD" userId="4c03e191-e154-482a-88b2-11de19eac96c" providerId="ADAL" clId="{8245CC27-65FB-483E-B8E7-D04039DBA80D}" dt="2021-05-24T16:09:28.563" v="16555" actId="790"/>
          <ac:spMkLst>
            <pc:docMk/>
            <pc:sldMk cId="3990787528" sldId="10361"/>
            <ac:spMk id="7" creationId="{42AC80FE-61C2-4CCD-8197-49DB0376671F}"/>
          </ac:spMkLst>
        </pc:spChg>
        <pc:spChg chg="mod">
          <ac:chgData name="Sarah GAUVARD" userId="4c03e191-e154-482a-88b2-11de19eac96c" providerId="ADAL" clId="{8245CC27-65FB-483E-B8E7-D04039DBA80D}" dt="2021-05-24T16:09:28.584" v="16575" actId="790"/>
          <ac:spMkLst>
            <pc:docMk/>
            <pc:sldMk cId="3990787528" sldId="10361"/>
            <ac:spMk id="8" creationId="{E10ED5A0-5661-49D4-8837-C5C101229F3B}"/>
          </ac:spMkLst>
        </pc:spChg>
        <pc:spChg chg="mod">
          <ac:chgData name="Sarah GAUVARD" userId="4c03e191-e154-482a-88b2-11de19eac96c" providerId="ADAL" clId="{8245CC27-65FB-483E-B8E7-D04039DBA80D}" dt="2021-05-24T16:09:28.563" v="16556" actId="790"/>
          <ac:spMkLst>
            <pc:docMk/>
            <pc:sldMk cId="3990787528" sldId="10361"/>
            <ac:spMk id="12" creationId="{B86E6A94-8641-434F-8002-7184D99557B6}"/>
          </ac:spMkLst>
        </pc:spChg>
        <pc:spChg chg="mod">
          <ac:chgData name="Sarah GAUVARD" userId="4c03e191-e154-482a-88b2-11de19eac96c" providerId="ADAL" clId="{8245CC27-65FB-483E-B8E7-D04039DBA80D}" dt="2021-05-24T16:09:28.563" v="16557" actId="790"/>
          <ac:spMkLst>
            <pc:docMk/>
            <pc:sldMk cId="3990787528" sldId="10361"/>
            <ac:spMk id="14" creationId="{45C4B741-EE07-4E09-933D-96C6F8C328DA}"/>
          </ac:spMkLst>
        </pc:spChg>
        <pc:spChg chg="mod">
          <ac:chgData name="Sarah GAUVARD" userId="4c03e191-e154-482a-88b2-11de19eac96c" providerId="ADAL" clId="{8245CC27-65FB-483E-B8E7-D04039DBA80D}" dt="2021-05-24T16:09:28.563" v="16558" actId="790"/>
          <ac:spMkLst>
            <pc:docMk/>
            <pc:sldMk cId="3990787528" sldId="10361"/>
            <ac:spMk id="17" creationId="{EE30131A-2764-4409-9471-08D20C6B41B7}"/>
          </ac:spMkLst>
        </pc:spChg>
        <pc:spChg chg="mod">
          <ac:chgData name="Sarah GAUVARD" userId="4c03e191-e154-482a-88b2-11de19eac96c" providerId="ADAL" clId="{8245CC27-65FB-483E-B8E7-D04039DBA80D}" dt="2021-05-24T16:09:28.563" v="16559" actId="790"/>
          <ac:spMkLst>
            <pc:docMk/>
            <pc:sldMk cId="3990787528" sldId="10361"/>
            <ac:spMk id="25" creationId="{9EDBF09F-F1CB-459E-96BE-64B7990905B5}"/>
          </ac:spMkLst>
        </pc:spChg>
        <pc:spChg chg="mod">
          <ac:chgData name="Sarah GAUVARD" userId="4c03e191-e154-482a-88b2-11de19eac96c" providerId="ADAL" clId="{8245CC27-65FB-483E-B8E7-D04039DBA80D}" dt="2021-05-24T16:09:28.563" v="16560" actId="790"/>
          <ac:spMkLst>
            <pc:docMk/>
            <pc:sldMk cId="3990787528" sldId="10361"/>
            <ac:spMk id="30" creationId="{44C62624-0F5A-42BD-A47E-BCAFCEBBE195}"/>
          </ac:spMkLst>
        </pc:spChg>
        <pc:spChg chg="mod">
          <ac:chgData name="Sarah GAUVARD" userId="4c03e191-e154-482a-88b2-11de19eac96c" providerId="ADAL" clId="{8245CC27-65FB-483E-B8E7-D04039DBA80D}" dt="2021-05-24T16:09:28.563" v="16561" actId="790"/>
          <ac:spMkLst>
            <pc:docMk/>
            <pc:sldMk cId="3990787528" sldId="10361"/>
            <ac:spMk id="47" creationId="{3632F3D2-16C2-4F36-8671-4E5BD35DD3FC}"/>
          </ac:spMkLst>
        </pc:spChg>
        <pc:spChg chg="mod">
          <ac:chgData name="Sarah GAUVARD" userId="4c03e191-e154-482a-88b2-11de19eac96c" providerId="ADAL" clId="{8245CC27-65FB-483E-B8E7-D04039DBA80D}" dt="2021-05-24T16:09:28.571" v="16562" actId="790"/>
          <ac:spMkLst>
            <pc:docMk/>
            <pc:sldMk cId="3990787528" sldId="10361"/>
            <ac:spMk id="62" creationId="{3399CC65-0E8C-4FA1-9CFF-5A3D13519D60}"/>
          </ac:spMkLst>
        </pc:spChg>
        <pc:spChg chg="mod">
          <ac:chgData name="Sarah GAUVARD" userId="4c03e191-e154-482a-88b2-11de19eac96c" providerId="ADAL" clId="{8245CC27-65FB-483E-B8E7-D04039DBA80D}" dt="2021-05-24T16:09:28.573" v="16563" actId="790"/>
          <ac:spMkLst>
            <pc:docMk/>
            <pc:sldMk cId="3990787528" sldId="10361"/>
            <ac:spMk id="63" creationId="{0E8161A6-7BE8-477D-BB6A-07B78137186B}"/>
          </ac:spMkLst>
        </pc:spChg>
        <pc:spChg chg="mod">
          <ac:chgData name="Sarah GAUVARD" userId="4c03e191-e154-482a-88b2-11de19eac96c" providerId="ADAL" clId="{8245CC27-65FB-483E-B8E7-D04039DBA80D}" dt="2021-05-24T16:09:28.573" v="16564" actId="790"/>
          <ac:spMkLst>
            <pc:docMk/>
            <pc:sldMk cId="3990787528" sldId="10361"/>
            <ac:spMk id="64" creationId="{6CF11445-FB8D-4EBB-8DC6-4790ABD159BC}"/>
          </ac:spMkLst>
        </pc:spChg>
        <pc:spChg chg="mod">
          <ac:chgData name="Sarah GAUVARD" userId="4c03e191-e154-482a-88b2-11de19eac96c" providerId="ADAL" clId="{8245CC27-65FB-483E-B8E7-D04039DBA80D}" dt="2021-05-24T16:09:28.573" v="16565" actId="790"/>
          <ac:spMkLst>
            <pc:docMk/>
            <pc:sldMk cId="3990787528" sldId="10361"/>
            <ac:spMk id="65" creationId="{FAA9234A-9E8F-44F8-87C6-4B20B87F2A07}"/>
          </ac:spMkLst>
        </pc:spChg>
        <pc:spChg chg="mod">
          <ac:chgData name="Sarah GAUVARD" userId="4c03e191-e154-482a-88b2-11de19eac96c" providerId="ADAL" clId="{8245CC27-65FB-483E-B8E7-D04039DBA80D}" dt="2021-05-24T16:09:28.573" v="16566" actId="790"/>
          <ac:spMkLst>
            <pc:docMk/>
            <pc:sldMk cId="3990787528" sldId="10361"/>
            <ac:spMk id="66" creationId="{3C171EAA-E96D-440D-AFAE-D876244B274E}"/>
          </ac:spMkLst>
        </pc:spChg>
        <pc:spChg chg="mod">
          <ac:chgData name="Sarah GAUVARD" userId="4c03e191-e154-482a-88b2-11de19eac96c" providerId="ADAL" clId="{8245CC27-65FB-483E-B8E7-D04039DBA80D}" dt="2021-05-24T16:09:28.573" v="16567" actId="790"/>
          <ac:spMkLst>
            <pc:docMk/>
            <pc:sldMk cId="3990787528" sldId="10361"/>
            <ac:spMk id="67" creationId="{1C5EC1EF-B53F-4FC1-88A8-B8FC149A30DD}"/>
          </ac:spMkLst>
        </pc:spChg>
        <pc:spChg chg="mod">
          <ac:chgData name="Sarah GAUVARD" userId="4c03e191-e154-482a-88b2-11de19eac96c" providerId="ADAL" clId="{8245CC27-65FB-483E-B8E7-D04039DBA80D}" dt="2021-05-24T16:09:28.573" v="16568" actId="790"/>
          <ac:spMkLst>
            <pc:docMk/>
            <pc:sldMk cId="3990787528" sldId="10361"/>
            <ac:spMk id="73" creationId="{368450D3-F23A-4029-B1E6-A46C77A6A2BC}"/>
          </ac:spMkLst>
        </pc:spChg>
        <pc:spChg chg="mod">
          <ac:chgData name="Sarah GAUVARD" userId="4c03e191-e154-482a-88b2-11de19eac96c" providerId="ADAL" clId="{8245CC27-65FB-483E-B8E7-D04039DBA80D}" dt="2021-05-24T16:09:28.573" v="16569" actId="790"/>
          <ac:spMkLst>
            <pc:docMk/>
            <pc:sldMk cId="3990787528" sldId="10361"/>
            <ac:spMk id="74" creationId="{CC5D3C8F-2199-4F59-9D5B-AD1B8496B82A}"/>
          </ac:spMkLst>
        </pc:spChg>
        <pc:spChg chg="mod">
          <ac:chgData name="Sarah GAUVARD" userId="4c03e191-e154-482a-88b2-11de19eac96c" providerId="ADAL" clId="{8245CC27-65FB-483E-B8E7-D04039DBA80D}" dt="2021-05-24T16:09:28.561" v="16553" actId="790"/>
          <ac:spMkLst>
            <pc:docMk/>
            <pc:sldMk cId="3990787528" sldId="10361"/>
            <ac:spMk id="77" creationId="{30B397E9-55E0-4C0A-8473-FA28414106F1}"/>
          </ac:spMkLst>
        </pc:spChg>
        <pc:spChg chg="mod">
          <ac:chgData name="Sarah GAUVARD" userId="4c03e191-e154-482a-88b2-11de19eac96c" providerId="ADAL" clId="{8245CC27-65FB-483E-B8E7-D04039DBA80D}" dt="2021-05-24T16:09:28.573" v="16570" actId="790"/>
          <ac:spMkLst>
            <pc:docMk/>
            <pc:sldMk cId="3990787528" sldId="10361"/>
            <ac:spMk id="78" creationId="{D387169E-C144-473E-BECE-421F0F5D82C5}"/>
          </ac:spMkLst>
        </pc:spChg>
        <pc:spChg chg="mod">
          <ac:chgData name="Sarah GAUVARD" userId="4c03e191-e154-482a-88b2-11de19eac96c" providerId="ADAL" clId="{8245CC27-65FB-483E-B8E7-D04039DBA80D}" dt="2021-05-24T16:09:28.584" v="16576" actId="790"/>
          <ac:spMkLst>
            <pc:docMk/>
            <pc:sldMk cId="3990787528" sldId="10361"/>
            <ac:spMk id="79" creationId="{C6BCD8BA-FD50-414E-8E10-969A70DBF09F}"/>
          </ac:spMkLst>
        </pc:spChg>
        <pc:spChg chg="mod">
          <ac:chgData name="Sarah GAUVARD" userId="4c03e191-e154-482a-88b2-11de19eac96c" providerId="ADAL" clId="{8245CC27-65FB-483E-B8E7-D04039DBA80D}" dt="2021-05-24T16:09:28.584" v="16577" actId="790"/>
          <ac:spMkLst>
            <pc:docMk/>
            <pc:sldMk cId="3990787528" sldId="10361"/>
            <ac:spMk id="80" creationId="{A5190C3C-DD49-44EE-9EA0-A0C3CEA9D193}"/>
          </ac:spMkLst>
        </pc:spChg>
        <pc:spChg chg="del mod">
          <ac:chgData name="Sarah GAUVARD" userId="4c03e191-e154-482a-88b2-11de19eac96c" providerId="ADAL" clId="{8245CC27-65FB-483E-B8E7-D04039DBA80D}" dt="2021-05-25T15:21:33.913" v="27626" actId="478"/>
          <ac:spMkLst>
            <pc:docMk/>
            <pc:sldMk cId="3990787528" sldId="10361"/>
            <ac:spMk id="82" creationId="{7F3B0FA8-45BF-4426-A8EB-845BE1ACDE14}"/>
          </ac:spMkLst>
        </pc:spChg>
        <pc:spChg chg="mod">
          <ac:chgData name="Sarah GAUVARD" userId="4c03e191-e154-482a-88b2-11de19eac96c" providerId="ADAL" clId="{8245CC27-65FB-483E-B8E7-D04039DBA80D}" dt="2021-05-24T16:09:28.584" v="16578" actId="790"/>
          <ac:spMkLst>
            <pc:docMk/>
            <pc:sldMk cId="3990787528" sldId="10361"/>
            <ac:spMk id="85" creationId="{37643E56-07E1-4531-9D93-5DF3240E9D70}"/>
          </ac:spMkLst>
        </pc:spChg>
        <pc:spChg chg="mod">
          <ac:chgData name="Sarah GAUVARD" userId="4c03e191-e154-482a-88b2-11de19eac96c" providerId="ADAL" clId="{8245CC27-65FB-483E-B8E7-D04039DBA80D}" dt="2021-05-24T16:09:28.573" v="16573" actId="790"/>
          <ac:spMkLst>
            <pc:docMk/>
            <pc:sldMk cId="3990787528" sldId="10361"/>
            <ac:spMk id="86" creationId="{C98AB48F-B81A-4068-863B-54101303C664}"/>
          </ac:spMkLst>
        </pc:spChg>
        <pc:spChg chg="mod">
          <ac:chgData name="Sarah GAUVARD" userId="4c03e191-e154-482a-88b2-11de19eac96c" providerId="ADAL" clId="{8245CC27-65FB-483E-B8E7-D04039DBA80D}" dt="2021-05-24T16:09:28.573" v="16571" actId="790"/>
          <ac:spMkLst>
            <pc:docMk/>
            <pc:sldMk cId="3990787528" sldId="10361"/>
            <ac:spMk id="93" creationId="{2D10063C-A37E-4938-ADE5-D06A69E4F58F}"/>
          </ac:spMkLst>
        </pc:spChg>
        <pc:spChg chg="mod">
          <ac:chgData name="Sarah GAUVARD" userId="4c03e191-e154-482a-88b2-11de19eac96c" providerId="ADAL" clId="{8245CC27-65FB-483E-B8E7-D04039DBA80D}" dt="2021-05-24T16:09:28.584" v="16579" actId="790"/>
          <ac:spMkLst>
            <pc:docMk/>
            <pc:sldMk cId="3990787528" sldId="10361"/>
            <ac:spMk id="99" creationId="{B70259D1-496B-4FA4-8AB0-5678A7DCACAC}"/>
          </ac:spMkLst>
        </pc:spChg>
        <pc:spChg chg="mod">
          <ac:chgData name="Sarah GAUVARD" userId="4c03e191-e154-482a-88b2-11de19eac96c" providerId="ADAL" clId="{8245CC27-65FB-483E-B8E7-D04039DBA80D}" dt="2021-05-24T16:09:28.592" v="16580" actId="790"/>
          <ac:spMkLst>
            <pc:docMk/>
            <pc:sldMk cId="3990787528" sldId="10361"/>
            <ac:spMk id="100" creationId="{9DFBA0E2-22B3-4913-A48C-A850DEE5DD17}"/>
          </ac:spMkLst>
        </pc:spChg>
        <pc:spChg chg="mod">
          <ac:chgData name="Sarah GAUVARD" userId="4c03e191-e154-482a-88b2-11de19eac96c" providerId="ADAL" clId="{8245CC27-65FB-483E-B8E7-D04039DBA80D}" dt="2021-05-24T16:09:28.584" v="16574" actId="790"/>
          <ac:spMkLst>
            <pc:docMk/>
            <pc:sldMk cId="3990787528" sldId="10361"/>
            <ac:spMk id="101" creationId="{6159CB1C-01D8-47B1-BB59-74EC9867438A}"/>
          </ac:spMkLst>
        </pc:spChg>
        <pc:spChg chg="mod">
          <ac:chgData name="Sarah GAUVARD" userId="4c03e191-e154-482a-88b2-11de19eac96c" providerId="ADAL" clId="{8245CC27-65FB-483E-B8E7-D04039DBA80D}" dt="2021-05-24T16:09:28.592" v="16581" actId="790"/>
          <ac:spMkLst>
            <pc:docMk/>
            <pc:sldMk cId="3990787528" sldId="10361"/>
            <ac:spMk id="102" creationId="{DC422F14-3E35-413D-8067-79B4CD17DE63}"/>
          </ac:spMkLst>
        </pc:spChg>
        <pc:spChg chg="mod">
          <ac:chgData name="Sarah GAUVARD" userId="4c03e191-e154-482a-88b2-11de19eac96c" providerId="ADAL" clId="{8245CC27-65FB-483E-B8E7-D04039DBA80D}" dt="2021-05-24T16:09:28.592" v="16582" actId="790"/>
          <ac:spMkLst>
            <pc:docMk/>
            <pc:sldMk cId="3990787528" sldId="10361"/>
            <ac:spMk id="103" creationId="{DA13FF81-D473-4B45-8DAA-5B85C8F8E648}"/>
          </ac:spMkLst>
        </pc:spChg>
        <pc:spChg chg="mod">
          <ac:chgData name="Sarah GAUVARD" userId="4c03e191-e154-482a-88b2-11de19eac96c" providerId="ADAL" clId="{8245CC27-65FB-483E-B8E7-D04039DBA80D}" dt="2021-05-24T16:09:28.594" v="16583" actId="790"/>
          <ac:spMkLst>
            <pc:docMk/>
            <pc:sldMk cId="3990787528" sldId="10361"/>
            <ac:spMk id="104" creationId="{DE645363-F7B3-47B8-8FE9-9A72A42C1C29}"/>
          </ac:spMkLst>
        </pc:spChg>
        <pc:spChg chg="mod">
          <ac:chgData name="Sarah GAUVARD" userId="4c03e191-e154-482a-88b2-11de19eac96c" providerId="ADAL" clId="{8245CC27-65FB-483E-B8E7-D04039DBA80D}" dt="2021-05-24T16:09:28.594" v="16584" actId="790"/>
          <ac:spMkLst>
            <pc:docMk/>
            <pc:sldMk cId="3990787528" sldId="10361"/>
            <ac:spMk id="105" creationId="{9785242D-4F7A-4F39-8848-BAB6029A9727}"/>
          </ac:spMkLst>
        </pc:spChg>
        <pc:spChg chg="mod">
          <ac:chgData name="Sarah GAUVARD" userId="4c03e191-e154-482a-88b2-11de19eac96c" providerId="ADAL" clId="{8245CC27-65FB-483E-B8E7-D04039DBA80D}" dt="2021-05-24T16:09:28.594" v="16585" actId="790"/>
          <ac:spMkLst>
            <pc:docMk/>
            <pc:sldMk cId="3990787528" sldId="10361"/>
            <ac:spMk id="106" creationId="{9265E5C7-3D35-4462-A5AB-3040EDE183F5}"/>
          </ac:spMkLst>
        </pc:spChg>
        <pc:spChg chg="mod">
          <ac:chgData name="Sarah GAUVARD" userId="4c03e191-e154-482a-88b2-11de19eac96c" providerId="ADAL" clId="{8245CC27-65FB-483E-B8E7-D04039DBA80D}" dt="2021-05-24T16:09:28.594" v="16586" actId="790"/>
          <ac:spMkLst>
            <pc:docMk/>
            <pc:sldMk cId="3990787528" sldId="10361"/>
            <ac:spMk id="107" creationId="{94C30613-C74A-4FA2-8120-367B4D2425DC}"/>
          </ac:spMkLst>
        </pc:spChg>
        <pc:graphicFrameChg chg="mod">
          <ac:chgData name="Sarah GAUVARD" userId="4c03e191-e154-482a-88b2-11de19eac96c" providerId="ADAL" clId="{8245CC27-65FB-483E-B8E7-D04039DBA80D}" dt="2021-05-24T15:34:45.879" v="11750"/>
          <ac:graphicFrameMkLst>
            <pc:docMk/>
            <pc:sldMk cId="3990787528" sldId="10361"/>
            <ac:graphicFrameMk id="4" creationId="{80854F3B-FDD3-4978-B26B-DA1EB49EC351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09:37:57.451" v="19323" actId="20577"/>
        <pc:sldMkLst>
          <pc:docMk/>
          <pc:sldMk cId="2862391582" sldId="10362"/>
        </pc:sldMkLst>
        <pc:spChg chg="mod">
          <ac:chgData name="Sarah GAUVARD" userId="4c03e191-e154-482a-88b2-11de19eac96c" providerId="ADAL" clId="{8245CC27-65FB-483E-B8E7-D04039DBA80D}" dt="2021-05-24T16:09:27.814" v="15877" actId="790"/>
          <ac:spMkLst>
            <pc:docMk/>
            <pc:sldMk cId="2862391582" sldId="10362"/>
            <ac:spMk id="2" creationId="{806A24BD-A309-4114-BCBE-1F8520216A75}"/>
          </ac:spMkLst>
        </pc:spChg>
        <pc:spChg chg="add del mod modVis">
          <ac:chgData name="Sarah GAUVARD" userId="4c03e191-e154-482a-88b2-11de19eac96c" providerId="ADAL" clId="{8245CC27-65FB-483E-B8E7-D04039DBA80D}" dt="2021-05-24T15:34:46.507" v="12084"/>
          <ac:spMkLst>
            <pc:docMk/>
            <pc:sldMk cId="2862391582" sldId="10362"/>
            <ac:spMk id="3" creationId="{51E436CA-D01E-4407-B209-C7F6C1158C23}"/>
          </ac:spMkLst>
        </pc:spChg>
        <pc:spChg chg="mod">
          <ac:chgData name="Sarah GAUVARD" userId="4c03e191-e154-482a-88b2-11de19eac96c" providerId="ADAL" clId="{8245CC27-65FB-483E-B8E7-D04039DBA80D}" dt="2021-05-24T16:09:27.814" v="15878" actId="790"/>
          <ac:spMkLst>
            <pc:docMk/>
            <pc:sldMk cId="2862391582" sldId="10362"/>
            <ac:spMk id="6" creationId="{4E6E5141-7FBC-4E06-91AB-778C41045C7B}"/>
          </ac:spMkLst>
        </pc:spChg>
        <pc:spChg chg="mod">
          <ac:chgData name="Sarah GAUVARD" userId="4c03e191-e154-482a-88b2-11de19eac96c" providerId="ADAL" clId="{8245CC27-65FB-483E-B8E7-D04039DBA80D}" dt="2021-05-24T16:09:27.814" v="15879" actId="790"/>
          <ac:spMkLst>
            <pc:docMk/>
            <pc:sldMk cId="2862391582" sldId="10362"/>
            <ac:spMk id="7" creationId="{8D09AD6F-BFA9-4E94-83DF-0661F98B9019}"/>
          </ac:spMkLst>
        </pc:spChg>
        <pc:spChg chg="mod">
          <ac:chgData name="Sarah GAUVARD" userId="4c03e191-e154-482a-88b2-11de19eac96c" providerId="ADAL" clId="{8245CC27-65FB-483E-B8E7-D04039DBA80D}" dt="2021-05-24T16:09:27.814" v="15880" actId="790"/>
          <ac:spMkLst>
            <pc:docMk/>
            <pc:sldMk cId="2862391582" sldId="10362"/>
            <ac:spMk id="8" creationId="{77A429D6-B3A3-42B0-BAD3-1B353FC28B08}"/>
          </ac:spMkLst>
        </pc:spChg>
        <pc:spChg chg="mod">
          <ac:chgData name="Sarah GAUVARD" userId="4c03e191-e154-482a-88b2-11de19eac96c" providerId="ADAL" clId="{8245CC27-65FB-483E-B8E7-D04039DBA80D}" dt="2021-05-24T16:09:27.814" v="15881" actId="790"/>
          <ac:spMkLst>
            <pc:docMk/>
            <pc:sldMk cId="2862391582" sldId="10362"/>
            <ac:spMk id="9" creationId="{C1790DA0-3655-475E-9CEE-4FBE153BB3F2}"/>
          </ac:spMkLst>
        </pc:spChg>
        <pc:spChg chg="mod">
          <ac:chgData name="Sarah GAUVARD" userId="4c03e191-e154-482a-88b2-11de19eac96c" providerId="ADAL" clId="{8245CC27-65FB-483E-B8E7-D04039DBA80D}" dt="2021-05-24T16:09:27.835" v="15905" actId="790"/>
          <ac:spMkLst>
            <pc:docMk/>
            <pc:sldMk cId="2862391582" sldId="10362"/>
            <ac:spMk id="12" creationId="{D8C440F0-5663-4EAC-8964-248F32036591}"/>
          </ac:spMkLst>
        </pc:spChg>
        <pc:spChg chg="mod">
          <ac:chgData name="Sarah GAUVARD" userId="4c03e191-e154-482a-88b2-11de19eac96c" providerId="ADAL" clId="{8245CC27-65FB-483E-B8E7-D04039DBA80D}" dt="2021-05-24T16:09:27.814" v="15882" actId="790"/>
          <ac:spMkLst>
            <pc:docMk/>
            <pc:sldMk cId="2862391582" sldId="10362"/>
            <ac:spMk id="14" creationId="{B8D529E0-B56F-42E9-9413-B04B09D1BC35}"/>
          </ac:spMkLst>
        </pc:spChg>
        <pc:spChg chg="mod">
          <ac:chgData name="Sarah GAUVARD" userId="4c03e191-e154-482a-88b2-11de19eac96c" providerId="ADAL" clId="{8245CC27-65FB-483E-B8E7-D04039DBA80D}" dt="2021-05-24T16:09:27.814" v="15883" actId="790"/>
          <ac:spMkLst>
            <pc:docMk/>
            <pc:sldMk cId="2862391582" sldId="10362"/>
            <ac:spMk id="15" creationId="{BD17CEC9-4298-48C2-A07A-B6966AE88E71}"/>
          </ac:spMkLst>
        </pc:spChg>
        <pc:spChg chg="mod">
          <ac:chgData name="Sarah GAUVARD" userId="4c03e191-e154-482a-88b2-11de19eac96c" providerId="ADAL" clId="{8245CC27-65FB-483E-B8E7-D04039DBA80D}" dt="2021-05-24T16:09:27.814" v="15884" actId="790"/>
          <ac:spMkLst>
            <pc:docMk/>
            <pc:sldMk cId="2862391582" sldId="10362"/>
            <ac:spMk id="16" creationId="{B886F05E-DC2A-4B28-89B2-BAEBC0591254}"/>
          </ac:spMkLst>
        </pc:spChg>
        <pc:spChg chg="mod">
          <ac:chgData name="Sarah GAUVARD" userId="4c03e191-e154-482a-88b2-11de19eac96c" providerId="ADAL" clId="{8245CC27-65FB-483E-B8E7-D04039DBA80D}" dt="2021-05-24T16:09:27.814" v="15885" actId="790"/>
          <ac:spMkLst>
            <pc:docMk/>
            <pc:sldMk cId="2862391582" sldId="10362"/>
            <ac:spMk id="17" creationId="{FD9BD1A8-B133-4ED7-9402-59FE79DE23EC}"/>
          </ac:spMkLst>
        </pc:spChg>
        <pc:spChg chg="mod">
          <ac:chgData name="Sarah GAUVARD" userId="4c03e191-e154-482a-88b2-11de19eac96c" providerId="ADAL" clId="{8245CC27-65FB-483E-B8E7-D04039DBA80D}" dt="2021-05-24T16:09:27.814" v="15886" actId="790"/>
          <ac:spMkLst>
            <pc:docMk/>
            <pc:sldMk cId="2862391582" sldId="10362"/>
            <ac:spMk id="18" creationId="{4373ED4E-D1FF-488D-BEFE-69AC7F528CA4}"/>
          </ac:spMkLst>
        </pc:spChg>
        <pc:spChg chg="mod">
          <ac:chgData name="Sarah GAUVARD" userId="4c03e191-e154-482a-88b2-11de19eac96c" providerId="ADAL" clId="{8245CC27-65FB-483E-B8E7-D04039DBA80D}" dt="2021-05-24T16:09:27.814" v="15887" actId="790"/>
          <ac:spMkLst>
            <pc:docMk/>
            <pc:sldMk cId="2862391582" sldId="10362"/>
            <ac:spMk id="19" creationId="{BC760060-ABD5-412D-8045-EF97EC543341}"/>
          </ac:spMkLst>
        </pc:spChg>
        <pc:spChg chg="mod">
          <ac:chgData name="Sarah GAUVARD" userId="4c03e191-e154-482a-88b2-11de19eac96c" providerId="ADAL" clId="{8245CC27-65FB-483E-B8E7-D04039DBA80D}" dt="2021-05-24T16:09:27.822" v="15888" actId="790"/>
          <ac:spMkLst>
            <pc:docMk/>
            <pc:sldMk cId="2862391582" sldId="10362"/>
            <ac:spMk id="20" creationId="{388BECFA-DD33-47B0-8DCF-EFF4D8D243DB}"/>
          </ac:spMkLst>
        </pc:spChg>
        <pc:spChg chg="mod">
          <ac:chgData name="Sarah GAUVARD" userId="4c03e191-e154-482a-88b2-11de19eac96c" providerId="ADAL" clId="{8245CC27-65FB-483E-B8E7-D04039DBA80D}" dt="2021-05-24T16:09:27.822" v="15889" actId="790"/>
          <ac:spMkLst>
            <pc:docMk/>
            <pc:sldMk cId="2862391582" sldId="10362"/>
            <ac:spMk id="21" creationId="{F90680D2-5DA9-4AD6-8E64-FE8EA1410BC0}"/>
          </ac:spMkLst>
        </pc:spChg>
        <pc:spChg chg="mod">
          <ac:chgData name="Sarah GAUVARD" userId="4c03e191-e154-482a-88b2-11de19eac96c" providerId="ADAL" clId="{8245CC27-65FB-483E-B8E7-D04039DBA80D}" dt="2021-05-24T16:09:27.822" v="15890" actId="790"/>
          <ac:spMkLst>
            <pc:docMk/>
            <pc:sldMk cId="2862391582" sldId="10362"/>
            <ac:spMk id="22" creationId="{F54D9E31-C7E1-4619-8AB2-AF3F57E25D8C}"/>
          </ac:spMkLst>
        </pc:spChg>
        <pc:spChg chg="mod">
          <ac:chgData name="Sarah GAUVARD" userId="4c03e191-e154-482a-88b2-11de19eac96c" providerId="ADAL" clId="{8245CC27-65FB-483E-B8E7-D04039DBA80D}" dt="2021-05-24T16:09:27.824" v="15891" actId="790"/>
          <ac:spMkLst>
            <pc:docMk/>
            <pc:sldMk cId="2862391582" sldId="10362"/>
            <ac:spMk id="23" creationId="{E942F219-9D1D-4A73-B97D-EC48BD66AF15}"/>
          </ac:spMkLst>
        </pc:spChg>
        <pc:spChg chg="mod">
          <ac:chgData name="Sarah GAUVARD" userId="4c03e191-e154-482a-88b2-11de19eac96c" providerId="ADAL" clId="{8245CC27-65FB-483E-B8E7-D04039DBA80D}" dt="2021-05-24T16:09:27.824" v="15892" actId="790"/>
          <ac:spMkLst>
            <pc:docMk/>
            <pc:sldMk cId="2862391582" sldId="10362"/>
            <ac:spMk id="24" creationId="{C2FF144E-7C70-4F58-8690-D05F03C7B743}"/>
          </ac:spMkLst>
        </pc:spChg>
        <pc:spChg chg="mod">
          <ac:chgData name="Sarah GAUVARD" userId="4c03e191-e154-482a-88b2-11de19eac96c" providerId="ADAL" clId="{8245CC27-65FB-483E-B8E7-D04039DBA80D}" dt="2021-05-24T16:09:27.835" v="15907" actId="790"/>
          <ac:spMkLst>
            <pc:docMk/>
            <pc:sldMk cId="2862391582" sldId="10362"/>
            <ac:spMk id="25" creationId="{C1B3C97E-2579-4FEA-8968-54D9B75B13A4}"/>
          </ac:spMkLst>
        </pc:spChg>
        <pc:spChg chg="mod">
          <ac:chgData name="Sarah GAUVARD" userId="4c03e191-e154-482a-88b2-11de19eac96c" providerId="ADAL" clId="{8245CC27-65FB-483E-B8E7-D04039DBA80D}" dt="2021-05-24T16:09:27.824" v="15893" actId="790"/>
          <ac:spMkLst>
            <pc:docMk/>
            <pc:sldMk cId="2862391582" sldId="10362"/>
            <ac:spMk id="43" creationId="{C59EF210-5B50-40A7-A6B4-DDAD799020BA}"/>
          </ac:spMkLst>
        </pc:spChg>
        <pc:spChg chg="mod">
          <ac:chgData name="Sarah GAUVARD" userId="4c03e191-e154-482a-88b2-11de19eac96c" providerId="ADAL" clId="{8245CC27-65FB-483E-B8E7-D04039DBA80D}" dt="2021-05-24T16:09:27.824" v="15894" actId="790"/>
          <ac:spMkLst>
            <pc:docMk/>
            <pc:sldMk cId="2862391582" sldId="10362"/>
            <ac:spMk id="45" creationId="{A30046C9-7286-442E-B5D2-9182D2F71B12}"/>
          </ac:spMkLst>
        </pc:spChg>
        <pc:spChg chg="mod">
          <ac:chgData name="Sarah GAUVARD" userId="4c03e191-e154-482a-88b2-11de19eac96c" providerId="ADAL" clId="{8245CC27-65FB-483E-B8E7-D04039DBA80D}" dt="2021-05-24T16:09:27.824" v="15895" actId="790"/>
          <ac:spMkLst>
            <pc:docMk/>
            <pc:sldMk cId="2862391582" sldId="10362"/>
            <ac:spMk id="56" creationId="{F37F2C7C-4651-46F1-B548-F75D15102AEA}"/>
          </ac:spMkLst>
        </pc:spChg>
        <pc:spChg chg="mod">
          <ac:chgData name="Sarah GAUVARD" userId="4c03e191-e154-482a-88b2-11de19eac96c" providerId="ADAL" clId="{8245CC27-65FB-483E-B8E7-D04039DBA80D}" dt="2021-05-24T16:09:27.824" v="15896" actId="790"/>
          <ac:spMkLst>
            <pc:docMk/>
            <pc:sldMk cId="2862391582" sldId="10362"/>
            <ac:spMk id="61" creationId="{86718822-02E2-4F9A-B0D6-5A2C08F0884A}"/>
          </ac:spMkLst>
        </pc:spChg>
        <pc:spChg chg="mod">
          <ac:chgData name="Sarah GAUVARD" userId="4c03e191-e154-482a-88b2-11de19eac96c" providerId="ADAL" clId="{8245CC27-65FB-483E-B8E7-D04039DBA80D}" dt="2021-05-24T16:09:27.824" v="15897" actId="790"/>
          <ac:spMkLst>
            <pc:docMk/>
            <pc:sldMk cId="2862391582" sldId="10362"/>
            <ac:spMk id="74" creationId="{DD8929B4-3FC0-4A80-B005-DECF49E5F03E}"/>
          </ac:spMkLst>
        </pc:spChg>
        <pc:spChg chg="mod">
          <ac:chgData name="Sarah GAUVARD" userId="4c03e191-e154-482a-88b2-11de19eac96c" providerId="ADAL" clId="{8245CC27-65FB-483E-B8E7-D04039DBA80D}" dt="2021-05-24T16:09:27.824" v="15898" actId="790"/>
          <ac:spMkLst>
            <pc:docMk/>
            <pc:sldMk cId="2862391582" sldId="10362"/>
            <ac:spMk id="85" creationId="{2D2CFECC-1DAE-45A7-BC98-5B3781537431}"/>
          </ac:spMkLst>
        </pc:spChg>
        <pc:spChg chg="mod">
          <ac:chgData name="Sarah GAUVARD" userId="4c03e191-e154-482a-88b2-11de19eac96c" providerId="ADAL" clId="{8245CC27-65FB-483E-B8E7-D04039DBA80D}" dt="2021-05-24T16:09:27.833" v="15899" actId="790"/>
          <ac:spMkLst>
            <pc:docMk/>
            <pc:sldMk cId="2862391582" sldId="10362"/>
            <ac:spMk id="91" creationId="{7D5F7D48-55E2-4B20-BCE4-576336C3156A}"/>
          </ac:spMkLst>
        </pc:spChg>
        <pc:spChg chg="mod">
          <ac:chgData name="Sarah GAUVARD" userId="4c03e191-e154-482a-88b2-11de19eac96c" providerId="ADAL" clId="{8245CC27-65FB-483E-B8E7-D04039DBA80D}" dt="2021-05-24T16:09:27.855" v="15931" actId="790"/>
          <ac:spMkLst>
            <pc:docMk/>
            <pc:sldMk cId="2862391582" sldId="10362"/>
            <ac:spMk id="92" creationId="{72983CA2-D9C5-407E-8141-A247F8B9F12F}"/>
          </ac:spMkLst>
        </pc:spChg>
        <pc:spChg chg="mod">
          <ac:chgData name="Sarah GAUVARD" userId="4c03e191-e154-482a-88b2-11de19eac96c" providerId="ADAL" clId="{8245CC27-65FB-483E-B8E7-D04039DBA80D}" dt="2021-05-24T16:09:27.855" v="15932" actId="790"/>
          <ac:spMkLst>
            <pc:docMk/>
            <pc:sldMk cId="2862391582" sldId="10362"/>
            <ac:spMk id="94" creationId="{AD365887-4EA5-44FF-844A-EA638570B896}"/>
          </ac:spMkLst>
        </pc:spChg>
        <pc:spChg chg="mod">
          <ac:chgData name="Sarah GAUVARD" userId="4c03e191-e154-482a-88b2-11de19eac96c" providerId="ADAL" clId="{8245CC27-65FB-483E-B8E7-D04039DBA80D}" dt="2021-05-24T16:09:27.855" v="15933" actId="790"/>
          <ac:spMkLst>
            <pc:docMk/>
            <pc:sldMk cId="2862391582" sldId="10362"/>
            <ac:spMk id="96" creationId="{951D29B9-C9CB-4AD1-99A7-07FCB18D93AE}"/>
          </ac:spMkLst>
        </pc:spChg>
        <pc:spChg chg="mod">
          <ac:chgData name="Sarah GAUVARD" userId="4c03e191-e154-482a-88b2-11de19eac96c" providerId="ADAL" clId="{8245CC27-65FB-483E-B8E7-D04039DBA80D}" dt="2021-05-24T16:09:27.855" v="15927" actId="790"/>
          <ac:spMkLst>
            <pc:docMk/>
            <pc:sldMk cId="2862391582" sldId="10362"/>
            <ac:spMk id="97" creationId="{6F2FCB3E-67C3-40EE-A924-F4E49D27B4E5}"/>
          </ac:spMkLst>
        </pc:spChg>
        <pc:spChg chg="mod">
          <ac:chgData name="Sarah GAUVARD" userId="4c03e191-e154-482a-88b2-11de19eac96c" providerId="ADAL" clId="{8245CC27-65FB-483E-B8E7-D04039DBA80D}" dt="2021-05-24T16:09:27.835" v="15910" actId="790"/>
          <ac:spMkLst>
            <pc:docMk/>
            <pc:sldMk cId="2862391582" sldId="10362"/>
            <ac:spMk id="98" creationId="{8D6AADE9-BCE8-4859-8089-8C1D69502AF3}"/>
          </ac:spMkLst>
        </pc:spChg>
        <pc:spChg chg="mod">
          <ac:chgData name="Sarah GAUVARD" userId="4c03e191-e154-482a-88b2-11de19eac96c" providerId="ADAL" clId="{8245CC27-65FB-483E-B8E7-D04039DBA80D}" dt="2021-05-24T16:09:27.835" v="15911" actId="790"/>
          <ac:spMkLst>
            <pc:docMk/>
            <pc:sldMk cId="2862391582" sldId="10362"/>
            <ac:spMk id="99" creationId="{7BA2AB86-68BC-43EA-9484-09E9E41EBE3D}"/>
          </ac:spMkLst>
        </pc:spChg>
        <pc:spChg chg="mod">
          <ac:chgData name="Sarah GAUVARD" userId="4c03e191-e154-482a-88b2-11de19eac96c" providerId="ADAL" clId="{8245CC27-65FB-483E-B8E7-D04039DBA80D}" dt="2021-05-24T16:09:27.855" v="15928" actId="790"/>
          <ac:spMkLst>
            <pc:docMk/>
            <pc:sldMk cId="2862391582" sldId="10362"/>
            <ac:spMk id="101" creationId="{9E3EE37D-07CB-4DE8-B18C-DD97C37CE973}"/>
          </ac:spMkLst>
        </pc:spChg>
        <pc:spChg chg="mod">
          <ac:chgData name="Sarah GAUVARD" userId="4c03e191-e154-482a-88b2-11de19eac96c" providerId="ADAL" clId="{8245CC27-65FB-483E-B8E7-D04039DBA80D}" dt="2021-05-24T16:09:27.855" v="15929" actId="790"/>
          <ac:spMkLst>
            <pc:docMk/>
            <pc:sldMk cId="2862391582" sldId="10362"/>
            <ac:spMk id="102" creationId="{4D9D690B-0949-4460-B42A-20A237A4E900}"/>
          </ac:spMkLst>
        </pc:spChg>
        <pc:spChg chg="mod">
          <ac:chgData name="Sarah GAUVARD" userId="4c03e191-e154-482a-88b2-11de19eac96c" providerId="ADAL" clId="{8245CC27-65FB-483E-B8E7-D04039DBA80D}" dt="2021-05-24T16:09:27.855" v="15930" actId="790"/>
          <ac:spMkLst>
            <pc:docMk/>
            <pc:sldMk cId="2862391582" sldId="10362"/>
            <ac:spMk id="103" creationId="{7F9CBE8E-EB78-4F02-BF0B-E84AE7CAC7E2}"/>
          </ac:spMkLst>
        </pc:spChg>
        <pc:spChg chg="mod">
          <ac:chgData name="Sarah GAUVARD" userId="4c03e191-e154-482a-88b2-11de19eac96c" providerId="ADAL" clId="{8245CC27-65FB-483E-B8E7-D04039DBA80D}" dt="2021-05-24T16:09:27.863" v="15934" actId="790"/>
          <ac:spMkLst>
            <pc:docMk/>
            <pc:sldMk cId="2862391582" sldId="10362"/>
            <ac:spMk id="104" creationId="{E6C933C6-9D7F-4A2B-A15C-7358CD8741C9}"/>
          </ac:spMkLst>
        </pc:spChg>
        <pc:spChg chg="mod">
          <ac:chgData name="Sarah GAUVARD" userId="4c03e191-e154-482a-88b2-11de19eac96c" providerId="ADAL" clId="{8245CC27-65FB-483E-B8E7-D04039DBA80D}" dt="2021-05-24T16:09:27.863" v="15935" actId="790"/>
          <ac:spMkLst>
            <pc:docMk/>
            <pc:sldMk cId="2862391582" sldId="10362"/>
            <ac:spMk id="105" creationId="{B70D15D7-8784-42EB-9166-2515025BF185}"/>
          </ac:spMkLst>
        </pc:spChg>
        <pc:spChg chg="mod">
          <ac:chgData name="Sarah GAUVARD" userId="4c03e191-e154-482a-88b2-11de19eac96c" providerId="ADAL" clId="{8245CC27-65FB-483E-B8E7-D04039DBA80D}" dt="2021-05-24T16:09:27.863" v="15936" actId="790"/>
          <ac:spMkLst>
            <pc:docMk/>
            <pc:sldMk cId="2862391582" sldId="10362"/>
            <ac:spMk id="106" creationId="{F7358FE8-EC77-45A6-9CA9-3415CAB459EF}"/>
          </ac:spMkLst>
        </pc:spChg>
        <pc:spChg chg="mod">
          <ac:chgData name="Sarah GAUVARD" userId="4c03e191-e154-482a-88b2-11de19eac96c" providerId="ADAL" clId="{8245CC27-65FB-483E-B8E7-D04039DBA80D}" dt="2021-05-24T16:09:27.833" v="15900" actId="790"/>
          <ac:spMkLst>
            <pc:docMk/>
            <pc:sldMk cId="2862391582" sldId="10362"/>
            <ac:spMk id="110" creationId="{D112EAE9-1C24-4AF0-B3DD-273BF2FF5A59}"/>
          </ac:spMkLst>
        </pc:spChg>
        <pc:spChg chg="mod">
          <ac:chgData name="Sarah GAUVARD" userId="4c03e191-e154-482a-88b2-11de19eac96c" providerId="ADAL" clId="{8245CC27-65FB-483E-B8E7-D04039DBA80D}" dt="2021-05-24T16:09:27.835" v="15901" actId="790"/>
          <ac:spMkLst>
            <pc:docMk/>
            <pc:sldMk cId="2862391582" sldId="10362"/>
            <ac:spMk id="111" creationId="{9B916422-AB4B-4397-9CE1-E4BDD0AED7FE}"/>
          </ac:spMkLst>
        </pc:spChg>
        <pc:spChg chg="mod">
          <ac:chgData name="Sarah GAUVARD" userId="4c03e191-e154-482a-88b2-11de19eac96c" providerId="ADAL" clId="{8245CC27-65FB-483E-B8E7-D04039DBA80D}" dt="2021-05-24T16:09:27.835" v="15902" actId="790"/>
          <ac:spMkLst>
            <pc:docMk/>
            <pc:sldMk cId="2862391582" sldId="10362"/>
            <ac:spMk id="132" creationId="{1A3DE5F6-DC50-4B3E-8712-4F7931E9D3D4}"/>
          </ac:spMkLst>
        </pc:spChg>
        <pc:spChg chg="mod">
          <ac:chgData name="Sarah GAUVARD" userId="4c03e191-e154-482a-88b2-11de19eac96c" providerId="ADAL" clId="{8245CC27-65FB-483E-B8E7-D04039DBA80D}" dt="2021-05-24T16:09:27.835" v="15903" actId="790"/>
          <ac:spMkLst>
            <pc:docMk/>
            <pc:sldMk cId="2862391582" sldId="10362"/>
            <ac:spMk id="133" creationId="{DC661DF3-2B60-4258-8A3C-6DA55E7974BD}"/>
          </ac:spMkLst>
        </pc:spChg>
        <pc:spChg chg="mod">
          <ac:chgData name="Sarah GAUVARD" userId="4c03e191-e154-482a-88b2-11de19eac96c" providerId="ADAL" clId="{8245CC27-65FB-483E-B8E7-D04039DBA80D}" dt="2021-05-24T16:09:27.835" v="15904" actId="790"/>
          <ac:spMkLst>
            <pc:docMk/>
            <pc:sldMk cId="2862391582" sldId="10362"/>
            <ac:spMk id="134" creationId="{D5795A40-7B7E-4315-876A-A38D6610B661}"/>
          </ac:spMkLst>
        </pc:spChg>
        <pc:spChg chg="mod">
          <ac:chgData name="Sarah GAUVARD" userId="4c03e191-e154-482a-88b2-11de19eac96c" providerId="ADAL" clId="{8245CC27-65FB-483E-B8E7-D04039DBA80D}" dt="2021-05-24T16:09:27.835" v="15912" actId="790"/>
          <ac:spMkLst>
            <pc:docMk/>
            <pc:sldMk cId="2862391582" sldId="10362"/>
            <ac:spMk id="135" creationId="{B7212166-4E04-47ED-9DA9-C1A5FADABEC1}"/>
          </ac:spMkLst>
        </pc:spChg>
        <pc:spChg chg="mod">
          <ac:chgData name="Sarah GAUVARD" userId="4c03e191-e154-482a-88b2-11de19eac96c" providerId="ADAL" clId="{8245CC27-65FB-483E-B8E7-D04039DBA80D}" dt="2021-05-24T16:09:27.835" v="15906" actId="790"/>
          <ac:spMkLst>
            <pc:docMk/>
            <pc:sldMk cId="2862391582" sldId="10362"/>
            <ac:spMk id="137" creationId="{AF67C425-8708-4B3E-9B2A-E5C85D989489}"/>
          </ac:spMkLst>
        </pc:spChg>
        <pc:spChg chg="mod">
          <ac:chgData name="Sarah GAUVARD" userId="4c03e191-e154-482a-88b2-11de19eac96c" providerId="ADAL" clId="{8245CC27-65FB-483E-B8E7-D04039DBA80D}" dt="2021-05-24T16:09:27.835" v="15913" actId="790"/>
          <ac:spMkLst>
            <pc:docMk/>
            <pc:sldMk cId="2862391582" sldId="10362"/>
            <ac:spMk id="144" creationId="{A12B0534-66DF-4768-8E62-0C019FA2B7A6}"/>
          </ac:spMkLst>
        </pc:spChg>
        <pc:spChg chg="mod">
          <ac:chgData name="Sarah GAUVARD" userId="4c03e191-e154-482a-88b2-11de19eac96c" providerId="ADAL" clId="{8245CC27-65FB-483E-B8E7-D04039DBA80D}" dt="2021-05-25T09:37:57.451" v="19323" actId="20577"/>
          <ac:spMkLst>
            <pc:docMk/>
            <pc:sldMk cId="2862391582" sldId="10362"/>
            <ac:spMk id="147" creationId="{73C5DEEC-4B4E-4C6B-9A80-A63E183C6F34}"/>
          </ac:spMkLst>
        </pc:spChg>
        <pc:spChg chg="mod">
          <ac:chgData name="Sarah GAUVARD" userId="4c03e191-e154-482a-88b2-11de19eac96c" providerId="ADAL" clId="{8245CC27-65FB-483E-B8E7-D04039DBA80D}" dt="2021-05-24T16:09:27.855" v="15925" actId="790"/>
          <ac:spMkLst>
            <pc:docMk/>
            <pc:sldMk cId="2862391582" sldId="10362"/>
            <ac:spMk id="151" creationId="{945919F5-1F6F-4979-90CA-397384E59334}"/>
          </ac:spMkLst>
        </pc:spChg>
        <pc:spChg chg="mod">
          <ac:chgData name="Sarah GAUVARD" userId="4c03e191-e154-482a-88b2-11de19eac96c" providerId="ADAL" clId="{8245CC27-65FB-483E-B8E7-D04039DBA80D}" dt="2021-05-24T16:09:27.855" v="15926" actId="790"/>
          <ac:spMkLst>
            <pc:docMk/>
            <pc:sldMk cId="2862391582" sldId="10362"/>
            <ac:spMk id="152" creationId="{2D48A5B8-C2CC-4F3A-B66A-BB33615C274E}"/>
          </ac:spMkLst>
        </pc:spChg>
        <pc:spChg chg="mod">
          <ac:chgData name="Sarah GAUVARD" userId="4c03e191-e154-482a-88b2-11de19eac96c" providerId="ADAL" clId="{8245CC27-65FB-483E-B8E7-D04039DBA80D}" dt="2021-05-24T16:09:27.843" v="15915" actId="790"/>
          <ac:spMkLst>
            <pc:docMk/>
            <pc:sldMk cId="2862391582" sldId="10362"/>
            <ac:spMk id="156" creationId="{04F55C0D-DF11-4BD5-B439-C7F43A8E1B01}"/>
          </ac:spMkLst>
        </pc:spChg>
        <pc:spChg chg="mod">
          <ac:chgData name="Sarah GAUVARD" userId="4c03e191-e154-482a-88b2-11de19eac96c" providerId="ADAL" clId="{8245CC27-65FB-483E-B8E7-D04039DBA80D}" dt="2021-05-24T16:09:27.843" v="15916" actId="790"/>
          <ac:spMkLst>
            <pc:docMk/>
            <pc:sldMk cId="2862391582" sldId="10362"/>
            <ac:spMk id="157" creationId="{34EE808F-991C-41BC-AE3E-FB1CDE55FB3C}"/>
          </ac:spMkLst>
        </pc:spChg>
        <pc:spChg chg="mod">
          <ac:chgData name="Sarah GAUVARD" userId="4c03e191-e154-482a-88b2-11de19eac96c" providerId="ADAL" clId="{8245CC27-65FB-483E-B8E7-D04039DBA80D}" dt="2021-05-24T16:09:27.835" v="15908" actId="790"/>
          <ac:spMkLst>
            <pc:docMk/>
            <pc:sldMk cId="2862391582" sldId="10362"/>
            <ac:spMk id="160" creationId="{A8A94204-7780-44D2-9F69-E6D88D81CCC9}"/>
          </ac:spMkLst>
        </pc:spChg>
        <pc:spChg chg="mod">
          <ac:chgData name="Sarah GAUVARD" userId="4c03e191-e154-482a-88b2-11de19eac96c" providerId="ADAL" clId="{8245CC27-65FB-483E-B8E7-D04039DBA80D}" dt="2021-05-24T16:09:27.835" v="15909" actId="790"/>
          <ac:spMkLst>
            <pc:docMk/>
            <pc:sldMk cId="2862391582" sldId="10362"/>
            <ac:spMk id="162" creationId="{7C77AD03-3049-47E7-8DA8-DA2A5283D6AD}"/>
          </ac:spMkLst>
        </pc:spChg>
        <pc:spChg chg="mod">
          <ac:chgData name="Sarah GAUVARD" userId="4c03e191-e154-482a-88b2-11de19eac96c" providerId="ADAL" clId="{8245CC27-65FB-483E-B8E7-D04039DBA80D}" dt="2021-05-24T16:09:27.843" v="15917" actId="790"/>
          <ac:spMkLst>
            <pc:docMk/>
            <pc:sldMk cId="2862391582" sldId="10362"/>
            <ac:spMk id="174" creationId="{12430AE9-0E10-42CC-990F-04E0A3759BB1}"/>
          </ac:spMkLst>
        </pc:spChg>
        <pc:spChg chg="mod">
          <ac:chgData name="Sarah GAUVARD" userId="4c03e191-e154-482a-88b2-11de19eac96c" providerId="ADAL" clId="{8245CC27-65FB-483E-B8E7-D04039DBA80D}" dt="2021-05-24T16:09:27.843" v="15918" actId="790"/>
          <ac:spMkLst>
            <pc:docMk/>
            <pc:sldMk cId="2862391582" sldId="10362"/>
            <ac:spMk id="180" creationId="{0C6109FE-0AC9-4F7F-B93A-7EF8FF18A985}"/>
          </ac:spMkLst>
        </pc:spChg>
        <pc:spChg chg="mod">
          <ac:chgData name="Sarah GAUVARD" userId="4c03e191-e154-482a-88b2-11de19eac96c" providerId="ADAL" clId="{8245CC27-65FB-483E-B8E7-D04039DBA80D}" dt="2021-05-24T16:09:27.853" v="15919" actId="790"/>
          <ac:spMkLst>
            <pc:docMk/>
            <pc:sldMk cId="2862391582" sldId="10362"/>
            <ac:spMk id="181" creationId="{223AA644-A18B-43C3-911A-7F8939308A57}"/>
          </ac:spMkLst>
        </pc:spChg>
        <pc:spChg chg="mod">
          <ac:chgData name="Sarah GAUVARD" userId="4c03e191-e154-482a-88b2-11de19eac96c" providerId="ADAL" clId="{8245CC27-65FB-483E-B8E7-D04039DBA80D}" dt="2021-05-24T16:09:27.853" v="15920" actId="790"/>
          <ac:spMkLst>
            <pc:docMk/>
            <pc:sldMk cId="2862391582" sldId="10362"/>
            <ac:spMk id="187" creationId="{4B8EA5D2-6F51-489A-8CBF-5F9334968CB1}"/>
          </ac:spMkLst>
        </pc:spChg>
        <pc:spChg chg="mod">
          <ac:chgData name="Sarah GAUVARD" userId="4c03e191-e154-482a-88b2-11de19eac96c" providerId="ADAL" clId="{8245CC27-65FB-483E-B8E7-D04039DBA80D}" dt="2021-05-24T16:09:27.855" v="15921" actId="790"/>
          <ac:spMkLst>
            <pc:docMk/>
            <pc:sldMk cId="2862391582" sldId="10362"/>
            <ac:spMk id="188" creationId="{CBFDB5A1-F4BF-4077-B85B-DCBB511D131F}"/>
          </ac:spMkLst>
        </pc:spChg>
        <pc:spChg chg="mod">
          <ac:chgData name="Sarah GAUVARD" userId="4c03e191-e154-482a-88b2-11de19eac96c" providerId="ADAL" clId="{8245CC27-65FB-483E-B8E7-D04039DBA80D}" dt="2021-05-24T16:09:27.855" v="15922" actId="790"/>
          <ac:spMkLst>
            <pc:docMk/>
            <pc:sldMk cId="2862391582" sldId="10362"/>
            <ac:spMk id="198" creationId="{F6626565-104F-49E7-B218-F59B4BB9EB76}"/>
          </ac:spMkLst>
        </pc:spChg>
        <pc:spChg chg="mod">
          <ac:chgData name="Sarah GAUVARD" userId="4c03e191-e154-482a-88b2-11de19eac96c" providerId="ADAL" clId="{8245CC27-65FB-483E-B8E7-D04039DBA80D}" dt="2021-05-24T16:09:27.855" v="15923" actId="790"/>
          <ac:spMkLst>
            <pc:docMk/>
            <pc:sldMk cId="2862391582" sldId="10362"/>
            <ac:spMk id="199" creationId="{BDADADA8-65C5-4199-B657-1CB59DC43BA2}"/>
          </ac:spMkLst>
        </pc:spChg>
        <pc:spChg chg="mod">
          <ac:chgData name="Sarah GAUVARD" userId="4c03e191-e154-482a-88b2-11de19eac96c" providerId="ADAL" clId="{8245CC27-65FB-483E-B8E7-D04039DBA80D}" dt="2021-05-24T16:09:27.855" v="15924" actId="790"/>
          <ac:spMkLst>
            <pc:docMk/>
            <pc:sldMk cId="2862391582" sldId="10362"/>
            <ac:spMk id="200" creationId="{256A7760-4652-4603-A3AE-75556821C16C}"/>
          </ac:spMkLst>
        </pc:spChg>
        <pc:graphicFrameChg chg="mod">
          <ac:chgData name="Sarah GAUVARD" userId="4c03e191-e154-482a-88b2-11de19eac96c" providerId="ADAL" clId="{8245CC27-65FB-483E-B8E7-D04039DBA80D}" dt="2021-05-24T15:34:46.513" v="12086"/>
          <ac:graphicFrameMkLst>
            <pc:docMk/>
            <pc:sldMk cId="2862391582" sldId="10362"/>
            <ac:graphicFrameMk id="11" creationId="{C48D9184-70C7-408F-A3A8-B9C53D4015EC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09:31:28.936" v="19305" actId="207"/>
        <pc:sldMkLst>
          <pc:docMk/>
          <pc:sldMk cId="3056474185" sldId="10363"/>
        </pc:sldMkLst>
        <pc:spChg chg="mod">
          <ac:chgData name="Sarah GAUVARD" userId="4c03e191-e154-482a-88b2-11de19eac96c" providerId="ADAL" clId="{8245CC27-65FB-483E-B8E7-D04039DBA80D}" dt="2021-05-24T16:09:27.733" v="15774" actId="790"/>
          <ac:spMkLst>
            <pc:docMk/>
            <pc:sldMk cId="3056474185" sldId="10363"/>
            <ac:spMk id="2" creationId="{806A24BD-A309-4114-BCBE-1F8520216A75}"/>
          </ac:spMkLst>
        </pc:spChg>
        <pc:spChg chg="add del mod modVis">
          <ac:chgData name="Sarah GAUVARD" userId="4c03e191-e154-482a-88b2-11de19eac96c" providerId="ADAL" clId="{8245CC27-65FB-483E-B8E7-D04039DBA80D}" dt="2021-05-24T15:34:46.069" v="11877"/>
          <ac:spMkLst>
            <pc:docMk/>
            <pc:sldMk cId="3056474185" sldId="10363"/>
            <ac:spMk id="3" creationId="{6AD83C11-A58B-44A1-8D25-8C6FAB230448}"/>
          </ac:spMkLst>
        </pc:spChg>
        <pc:spChg chg="mod">
          <ac:chgData name="Sarah GAUVARD" userId="4c03e191-e154-482a-88b2-11de19eac96c" providerId="ADAL" clId="{8245CC27-65FB-483E-B8E7-D04039DBA80D}" dt="2021-05-24T16:09:27.733" v="15775" actId="790"/>
          <ac:spMkLst>
            <pc:docMk/>
            <pc:sldMk cId="3056474185" sldId="10363"/>
            <ac:spMk id="6" creationId="{4E6E5141-7FBC-4E06-91AB-778C41045C7B}"/>
          </ac:spMkLst>
        </pc:spChg>
        <pc:spChg chg="mod">
          <ac:chgData name="Sarah GAUVARD" userId="4c03e191-e154-482a-88b2-11de19eac96c" providerId="ADAL" clId="{8245CC27-65FB-483E-B8E7-D04039DBA80D}" dt="2021-05-24T16:09:27.733" v="15776" actId="790"/>
          <ac:spMkLst>
            <pc:docMk/>
            <pc:sldMk cId="3056474185" sldId="10363"/>
            <ac:spMk id="7" creationId="{8D09AD6F-BFA9-4E94-83DF-0661F98B9019}"/>
          </ac:spMkLst>
        </pc:spChg>
        <pc:spChg chg="mod">
          <ac:chgData name="Sarah GAUVARD" userId="4c03e191-e154-482a-88b2-11de19eac96c" providerId="ADAL" clId="{8245CC27-65FB-483E-B8E7-D04039DBA80D}" dt="2021-05-24T16:09:27.733" v="15777" actId="790"/>
          <ac:spMkLst>
            <pc:docMk/>
            <pc:sldMk cId="3056474185" sldId="10363"/>
            <ac:spMk id="8" creationId="{77A429D6-B3A3-42B0-BAD3-1B353FC28B08}"/>
          </ac:spMkLst>
        </pc:spChg>
        <pc:spChg chg="mod">
          <ac:chgData name="Sarah GAUVARD" userId="4c03e191-e154-482a-88b2-11de19eac96c" providerId="ADAL" clId="{8245CC27-65FB-483E-B8E7-D04039DBA80D}" dt="2021-05-24T16:09:27.733" v="15778" actId="790"/>
          <ac:spMkLst>
            <pc:docMk/>
            <pc:sldMk cId="3056474185" sldId="10363"/>
            <ac:spMk id="9" creationId="{C1790DA0-3655-475E-9CEE-4FBE153BB3F2}"/>
          </ac:spMkLst>
        </pc:spChg>
        <pc:spChg chg="mod">
          <ac:chgData name="Sarah GAUVARD" userId="4c03e191-e154-482a-88b2-11de19eac96c" providerId="ADAL" clId="{8245CC27-65FB-483E-B8E7-D04039DBA80D}" dt="2021-05-24T16:09:27.743" v="15787" actId="790"/>
          <ac:spMkLst>
            <pc:docMk/>
            <pc:sldMk cId="3056474185" sldId="10363"/>
            <ac:spMk id="12" creationId="{D8C440F0-5663-4EAC-8964-248F32036591}"/>
          </ac:spMkLst>
        </pc:spChg>
        <pc:spChg chg="mod">
          <ac:chgData name="Sarah GAUVARD" userId="4c03e191-e154-482a-88b2-11de19eac96c" providerId="ADAL" clId="{8245CC27-65FB-483E-B8E7-D04039DBA80D}" dt="2021-05-24T16:09:27.743" v="15790" actId="790"/>
          <ac:spMkLst>
            <pc:docMk/>
            <pc:sldMk cId="3056474185" sldId="10363"/>
            <ac:spMk id="14" creationId="{B8D529E0-B56F-42E9-9413-B04B09D1BC35}"/>
          </ac:spMkLst>
        </pc:spChg>
        <pc:spChg chg="mod">
          <ac:chgData name="Sarah GAUVARD" userId="4c03e191-e154-482a-88b2-11de19eac96c" providerId="ADAL" clId="{8245CC27-65FB-483E-B8E7-D04039DBA80D}" dt="2021-05-24T16:09:27.743" v="15791" actId="790"/>
          <ac:spMkLst>
            <pc:docMk/>
            <pc:sldMk cId="3056474185" sldId="10363"/>
            <ac:spMk id="15" creationId="{BD17CEC9-4298-48C2-A07A-B6966AE88E71}"/>
          </ac:spMkLst>
        </pc:spChg>
        <pc:spChg chg="mod">
          <ac:chgData name="Sarah GAUVARD" userId="4c03e191-e154-482a-88b2-11de19eac96c" providerId="ADAL" clId="{8245CC27-65FB-483E-B8E7-D04039DBA80D}" dt="2021-05-24T16:09:27.743" v="15792" actId="790"/>
          <ac:spMkLst>
            <pc:docMk/>
            <pc:sldMk cId="3056474185" sldId="10363"/>
            <ac:spMk id="16" creationId="{B886F05E-DC2A-4B28-89B2-BAEBC0591254}"/>
          </ac:spMkLst>
        </pc:spChg>
        <pc:spChg chg="mod">
          <ac:chgData name="Sarah GAUVARD" userId="4c03e191-e154-482a-88b2-11de19eac96c" providerId="ADAL" clId="{8245CC27-65FB-483E-B8E7-D04039DBA80D}" dt="2021-05-24T16:09:27.743" v="15793" actId="790"/>
          <ac:spMkLst>
            <pc:docMk/>
            <pc:sldMk cId="3056474185" sldId="10363"/>
            <ac:spMk id="17" creationId="{FD9BD1A8-B133-4ED7-9402-59FE79DE23EC}"/>
          </ac:spMkLst>
        </pc:spChg>
        <pc:spChg chg="mod">
          <ac:chgData name="Sarah GAUVARD" userId="4c03e191-e154-482a-88b2-11de19eac96c" providerId="ADAL" clId="{8245CC27-65FB-483E-B8E7-D04039DBA80D}" dt="2021-05-24T16:09:27.733" v="15779" actId="790"/>
          <ac:spMkLst>
            <pc:docMk/>
            <pc:sldMk cId="3056474185" sldId="10363"/>
            <ac:spMk id="22" creationId="{F54D9E31-C7E1-4619-8AB2-AF3F57E25D8C}"/>
          </ac:spMkLst>
        </pc:spChg>
        <pc:spChg chg="mod">
          <ac:chgData name="Sarah GAUVARD" userId="4c03e191-e154-482a-88b2-11de19eac96c" providerId="ADAL" clId="{8245CC27-65FB-483E-B8E7-D04039DBA80D}" dt="2021-05-24T16:09:27.733" v="15780" actId="790"/>
          <ac:spMkLst>
            <pc:docMk/>
            <pc:sldMk cId="3056474185" sldId="10363"/>
            <ac:spMk id="23" creationId="{E942F219-9D1D-4A73-B97D-EC48BD66AF15}"/>
          </ac:spMkLst>
        </pc:spChg>
        <pc:spChg chg="mod">
          <ac:chgData name="Sarah GAUVARD" userId="4c03e191-e154-482a-88b2-11de19eac96c" providerId="ADAL" clId="{8245CC27-65FB-483E-B8E7-D04039DBA80D}" dt="2021-05-24T16:09:27.733" v="15781" actId="790"/>
          <ac:spMkLst>
            <pc:docMk/>
            <pc:sldMk cId="3056474185" sldId="10363"/>
            <ac:spMk id="24" creationId="{C2FF144E-7C70-4F58-8690-D05F03C7B743}"/>
          </ac:spMkLst>
        </pc:spChg>
        <pc:spChg chg="mod">
          <ac:chgData name="Sarah GAUVARD" userId="4c03e191-e154-482a-88b2-11de19eac96c" providerId="ADAL" clId="{8245CC27-65FB-483E-B8E7-D04039DBA80D}" dt="2021-05-24T16:09:27.741" v="15782" actId="790"/>
          <ac:spMkLst>
            <pc:docMk/>
            <pc:sldMk cId="3056474185" sldId="10363"/>
            <ac:spMk id="43" creationId="{C59EF210-5B50-40A7-A6B4-DDAD799020BA}"/>
          </ac:spMkLst>
        </pc:spChg>
        <pc:spChg chg="mod">
          <ac:chgData name="Sarah GAUVARD" userId="4c03e191-e154-482a-88b2-11de19eac96c" providerId="ADAL" clId="{8245CC27-65FB-483E-B8E7-D04039DBA80D}" dt="2021-05-24T16:09:27.741" v="15783" actId="790"/>
          <ac:spMkLst>
            <pc:docMk/>
            <pc:sldMk cId="3056474185" sldId="10363"/>
            <ac:spMk id="45" creationId="{A30046C9-7286-442E-B5D2-9182D2F71B12}"/>
          </ac:spMkLst>
        </pc:spChg>
        <pc:spChg chg="mod">
          <ac:chgData name="Sarah GAUVARD" userId="4c03e191-e154-482a-88b2-11de19eac96c" providerId="ADAL" clId="{8245CC27-65FB-483E-B8E7-D04039DBA80D}" dt="2021-05-24T16:09:27.743" v="15794" actId="790"/>
          <ac:spMkLst>
            <pc:docMk/>
            <pc:sldMk cId="3056474185" sldId="10363"/>
            <ac:spMk id="56" creationId="{F37F2C7C-4651-46F1-B548-F75D15102AEA}"/>
          </ac:spMkLst>
        </pc:spChg>
        <pc:spChg chg="mod">
          <ac:chgData name="Sarah GAUVARD" userId="4c03e191-e154-482a-88b2-11de19eac96c" providerId="ADAL" clId="{8245CC27-65FB-483E-B8E7-D04039DBA80D}" dt="2021-05-24T16:09:27.751" v="15795" actId="790"/>
          <ac:spMkLst>
            <pc:docMk/>
            <pc:sldMk cId="3056474185" sldId="10363"/>
            <ac:spMk id="61" creationId="{86718822-02E2-4F9A-B0D6-5A2C08F0884A}"/>
          </ac:spMkLst>
        </pc:spChg>
        <pc:spChg chg="mod">
          <ac:chgData name="Sarah GAUVARD" userId="4c03e191-e154-482a-88b2-11de19eac96c" providerId="ADAL" clId="{8245CC27-65FB-483E-B8E7-D04039DBA80D}" dt="2021-05-24T16:09:27.763" v="15813" actId="790"/>
          <ac:spMkLst>
            <pc:docMk/>
            <pc:sldMk cId="3056474185" sldId="10363"/>
            <ac:spMk id="81" creationId="{13945402-02D0-4872-8AAF-B64E57336041}"/>
          </ac:spMkLst>
        </pc:spChg>
        <pc:spChg chg="mod">
          <ac:chgData name="Sarah GAUVARD" userId="4c03e191-e154-482a-88b2-11de19eac96c" providerId="ADAL" clId="{8245CC27-65FB-483E-B8E7-D04039DBA80D}" dt="2021-05-24T16:09:27.763" v="15815" actId="790"/>
          <ac:spMkLst>
            <pc:docMk/>
            <pc:sldMk cId="3056474185" sldId="10363"/>
            <ac:spMk id="82" creationId="{28D7EB63-9464-445E-8CFF-E1396E03383A}"/>
          </ac:spMkLst>
        </pc:spChg>
        <pc:spChg chg="mod">
          <ac:chgData name="Sarah GAUVARD" userId="4c03e191-e154-482a-88b2-11de19eac96c" providerId="ADAL" clId="{8245CC27-65FB-483E-B8E7-D04039DBA80D}" dt="2021-05-24T16:09:27.763" v="15816" actId="790"/>
          <ac:spMkLst>
            <pc:docMk/>
            <pc:sldMk cId="3056474185" sldId="10363"/>
            <ac:spMk id="83" creationId="{41BE5C96-44CD-4EEB-9982-85281464F14D}"/>
          </ac:spMkLst>
        </pc:spChg>
        <pc:spChg chg="mod">
          <ac:chgData name="Sarah GAUVARD" userId="4c03e191-e154-482a-88b2-11de19eac96c" providerId="ADAL" clId="{8245CC27-65FB-483E-B8E7-D04039DBA80D}" dt="2021-05-24T16:09:27.763" v="15817" actId="790"/>
          <ac:spMkLst>
            <pc:docMk/>
            <pc:sldMk cId="3056474185" sldId="10363"/>
            <ac:spMk id="84" creationId="{C8690E1B-99C6-46A0-B5DC-90C2CE09DDE2}"/>
          </ac:spMkLst>
        </pc:spChg>
        <pc:spChg chg="mod">
          <ac:chgData name="Sarah GAUVARD" userId="4c03e191-e154-482a-88b2-11de19eac96c" providerId="ADAL" clId="{8245CC27-65FB-483E-B8E7-D04039DBA80D}" dt="2021-05-24T16:09:27.763" v="15818" actId="790"/>
          <ac:spMkLst>
            <pc:docMk/>
            <pc:sldMk cId="3056474185" sldId="10363"/>
            <ac:spMk id="85" creationId="{A58C5887-CED1-46F2-9DC6-1A8BC868ED98}"/>
          </ac:spMkLst>
        </pc:spChg>
        <pc:spChg chg="mod">
          <ac:chgData name="Sarah GAUVARD" userId="4c03e191-e154-482a-88b2-11de19eac96c" providerId="ADAL" clId="{8245CC27-65FB-483E-B8E7-D04039DBA80D}" dt="2021-05-24T16:09:27.753" v="15797" actId="790"/>
          <ac:spMkLst>
            <pc:docMk/>
            <pc:sldMk cId="3056474185" sldId="10363"/>
            <ac:spMk id="89" creationId="{0053E10B-EF20-4790-930A-27CDB580C41E}"/>
          </ac:spMkLst>
        </pc:spChg>
        <pc:spChg chg="mod">
          <ac:chgData name="Sarah GAUVARD" userId="4c03e191-e154-482a-88b2-11de19eac96c" providerId="ADAL" clId="{8245CC27-65FB-483E-B8E7-D04039DBA80D}" dt="2021-05-24T16:09:27.753" v="15803" actId="790"/>
          <ac:spMkLst>
            <pc:docMk/>
            <pc:sldMk cId="3056474185" sldId="10363"/>
            <ac:spMk id="90" creationId="{39390C9C-6887-462F-90D2-1539942362C4}"/>
          </ac:spMkLst>
        </pc:spChg>
        <pc:spChg chg="mod">
          <ac:chgData name="Sarah GAUVARD" userId="4c03e191-e154-482a-88b2-11de19eac96c" providerId="ADAL" clId="{8245CC27-65FB-483E-B8E7-D04039DBA80D}" dt="2021-05-24T16:09:27.773" v="15832" actId="790"/>
          <ac:spMkLst>
            <pc:docMk/>
            <pc:sldMk cId="3056474185" sldId="10363"/>
            <ac:spMk id="91" creationId="{577FCDB2-218A-45A2-82F4-02441594C3A2}"/>
          </ac:spMkLst>
        </pc:spChg>
        <pc:spChg chg="mod">
          <ac:chgData name="Sarah GAUVARD" userId="4c03e191-e154-482a-88b2-11de19eac96c" providerId="ADAL" clId="{8245CC27-65FB-483E-B8E7-D04039DBA80D}" dt="2021-05-24T16:09:27.753" v="15804" actId="790"/>
          <ac:spMkLst>
            <pc:docMk/>
            <pc:sldMk cId="3056474185" sldId="10363"/>
            <ac:spMk id="92" creationId="{810A05CD-3CDC-4778-8CF3-2D331904A50E}"/>
          </ac:spMkLst>
        </pc:spChg>
        <pc:spChg chg="mod">
          <ac:chgData name="Sarah GAUVARD" userId="4c03e191-e154-482a-88b2-11de19eac96c" providerId="ADAL" clId="{8245CC27-65FB-483E-B8E7-D04039DBA80D}" dt="2021-05-24T16:09:27.753" v="15805" actId="790"/>
          <ac:spMkLst>
            <pc:docMk/>
            <pc:sldMk cId="3056474185" sldId="10363"/>
            <ac:spMk id="93" creationId="{BCC85884-BEF3-4A74-9C31-5252A2AE964C}"/>
          </ac:spMkLst>
        </pc:spChg>
        <pc:spChg chg="mod">
          <ac:chgData name="Sarah GAUVARD" userId="4c03e191-e154-482a-88b2-11de19eac96c" providerId="ADAL" clId="{8245CC27-65FB-483E-B8E7-D04039DBA80D}" dt="2021-05-24T16:09:27.753" v="15806" actId="790"/>
          <ac:spMkLst>
            <pc:docMk/>
            <pc:sldMk cId="3056474185" sldId="10363"/>
            <ac:spMk id="94" creationId="{9ED613B1-4950-469D-AF1E-7A9A224F1089}"/>
          </ac:spMkLst>
        </pc:spChg>
        <pc:spChg chg="mod">
          <ac:chgData name="Sarah GAUVARD" userId="4c03e191-e154-482a-88b2-11de19eac96c" providerId="ADAL" clId="{8245CC27-65FB-483E-B8E7-D04039DBA80D}" dt="2021-05-24T16:09:27.753" v="15807" actId="790"/>
          <ac:spMkLst>
            <pc:docMk/>
            <pc:sldMk cId="3056474185" sldId="10363"/>
            <ac:spMk id="95" creationId="{EFF4D5B6-DFB2-472A-A61F-4B7C9BBA0AD1}"/>
          </ac:spMkLst>
        </pc:spChg>
        <pc:spChg chg="mod">
          <ac:chgData name="Sarah GAUVARD" userId="4c03e191-e154-482a-88b2-11de19eac96c" providerId="ADAL" clId="{8245CC27-65FB-483E-B8E7-D04039DBA80D}" dt="2021-05-24T16:09:27.773" v="15833" actId="790"/>
          <ac:spMkLst>
            <pc:docMk/>
            <pc:sldMk cId="3056474185" sldId="10363"/>
            <ac:spMk id="96" creationId="{CC40FAD7-199E-43E8-992A-0F93C4401E41}"/>
          </ac:spMkLst>
        </pc:spChg>
        <pc:spChg chg="mod">
          <ac:chgData name="Sarah GAUVARD" userId="4c03e191-e154-482a-88b2-11de19eac96c" providerId="ADAL" clId="{8245CC27-65FB-483E-B8E7-D04039DBA80D}" dt="2021-05-24T16:09:27.761" v="15811" actId="790"/>
          <ac:spMkLst>
            <pc:docMk/>
            <pc:sldMk cId="3056474185" sldId="10363"/>
            <ac:spMk id="98" creationId="{8D6AADE9-BCE8-4859-8089-8C1D69502AF3}"/>
          </ac:spMkLst>
        </pc:spChg>
        <pc:spChg chg="mod">
          <ac:chgData name="Sarah GAUVARD" userId="4c03e191-e154-482a-88b2-11de19eac96c" providerId="ADAL" clId="{8245CC27-65FB-483E-B8E7-D04039DBA80D}" dt="2021-05-24T16:09:27.773" v="15834" actId="790"/>
          <ac:spMkLst>
            <pc:docMk/>
            <pc:sldMk cId="3056474185" sldId="10363"/>
            <ac:spMk id="99" creationId="{2E90D437-ECC3-48A2-A761-25A61636A952}"/>
          </ac:spMkLst>
        </pc:spChg>
        <pc:spChg chg="del mod">
          <ac:chgData name="Sarah GAUVARD" userId="4c03e191-e154-482a-88b2-11de19eac96c" providerId="ADAL" clId="{8245CC27-65FB-483E-B8E7-D04039DBA80D}" dt="2021-05-25T09:30:14.378" v="19301" actId="478"/>
          <ac:spMkLst>
            <pc:docMk/>
            <pc:sldMk cId="3056474185" sldId="10363"/>
            <ac:spMk id="100" creationId="{4C2B8D89-E7A0-4A29-AA5D-4ACFB0EFA88C}"/>
          </ac:spMkLst>
        </pc:spChg>
        <pc:spChg chg="mod">
          <ac:chgData name="Sarah GAUVARD" userId="4c03e191-e154-482a-88b2-11de19eac96c" providerId="ADAL" clId="{8245CC27-65FB-483E-B8E7-D04039DBA80D}" dt="2021-05-24T16:09:27.753" v="15798" actId="790"/>
          <ac:spMkLst>
            <pc:docMk/>
            <pc:sldMk cId="3056474185" sldId="10363"/>
            <ac:spMk id="101" creationId="{B25D321F-61DD-411F-991C-2CB37FFE1364}"/>
          </ac:spMkLst>
        </pc:spChg>
        <pc:spChg chg="del mod">
          <ac:chgData name="Sarah GAUVARD" userId="4c03e191-e154-482a-88b2-11de19eac96c" providerId="ADAL" clId="{8245CC27-65FB-483E-B8E7-D04039DBA80D}" dt="2021-05-25T09:30:16.171" v="19302" actId="478"/>
          <ac:spMkLst>
            <pc:docMk/>
            <pc:sldMk cId="3056474185" sldId="10363"/>
            <ac:spMk id="102" creationId="{73E0101C-2D21-489E-9E39-237DF3AEF5DA}"/>
          </ac:spMkLst>
        </pc:spChg>
        <pc:spChg chg="mod">
          <ac:chgData name="Sarah GAUVARD" userId="4c03e191-e154-482a-88b2-11de19eac96c" providerId="ADAL" clId="{8245CC27-65FB-483E-B8E7-D04039DBA80D}" dt="2021-05-25T09:30:18.848" v="19303" actId="14100"/>
          <ac:spMkLst>
            <pc:docMk/>
            <pc:sldMk cId="3056474185" sldId="10363"/>
            <ac:spMk id="103" creationId="{4C048F76-9197-4599-A698-79EFF04AC9E2}"/>
          </ac:spMkLst>
        </pc:spChg>
        <pc:spChg chg="mod">
          <ac:chgData name="Sarah GAUVARD" userId="4c03e191-e154-482a-88b2-11de19eac96c" providerId="ADAL" clId="{8245CC27-65FB-483E-B8E7-D04039DBA80D}" dt="2021-05-24T16:09:27.763" v="15812" actId="790"/>
          <ac:spMkLst>
            <pc:docMk/>
            <pc:sldMk cId="3056474185" sldId="10363"/>
            <ac:spMk id="104" creationId="{24F11FDF-107F-4506-968F-7ED686528B02}"/>
          </ac:spMkLst>
        </pc:spChg>
        <pc:spChg chg="del mod">
          <ac:chgData name="Sarah GAUVARD" userId="4c03e191-e154-482a-88b2-11de19eac96c" providerId="ADAL" clId="{8245CC27-65FB-483E-B8E7-D04039DBA80D}" dt="2021-05-25T09:30:14.378" v="19301" actId="478"/>
          <ac:spMkLst>
            <pc:docMk/>
            <pc:sldMk cId="3056474185" sldId="10363"/>
            <ac:spMk id="108" creationId="{330FA343-063B-4EA0-831A-E5322936360D}"/>
          </ac:spMkLst>
        </pc:spChg>
        <pc:spChg chg="mod">
          <ac:chgData name="Sarah GAUVARD" userId="4c03e191-e154-482a-88b2-11de19eac96c" providerId="ADAL" clId="{8245CC27-65FB-483E-B8E7-D04039DBA80D}" dt="2021-05-24T16:09:27.743" v="15784" actId="790"/>
          <ac:spMkLst>
            <pc:docMk/>
            <pc:sldMk cId="3056474185" sldId="10363"/>
            <ac:spMk id="110" creationId="{D112EAE9-1C24-4AF0-B3DD-273BF2FF5A59}"/>
          </ac:spMkLst>
        </pc:spChg>
        <pc:spChg chg="mod">
          <ac:chgData name="Sarah GAUVARD" userId="4c03e191-e154-482a-88b2-11de19eac96c" providerId="ADAL" clId="{8245CC27-65FB-483E-B8E7-D04039DBA80D}" dt="2021-05-24T16:09:27.743" v="15785" actId="790"/>
          <ac:spMkLst>
            <pc:docMk/>
            <pc:sldMk cId="3056474185" sldId="10363"/>
            <ac:spMk id="111" creationId="{9B916422-AB4B-4397-9CE1-E4BDD0AED7FE}"/>
          </ac:spMkLst>
        </pc:spChg>
        <pc:spChg chg="mod">
          <ac:chgData name="Sarah GAUVARD" userId="4c03e191-e154-482a-88b2-11de19eac96c" providerId="ADAL" clId="{8245CC27-65FB-483E-B8E7-D04039DBA80D}" dt="2021-05-24T16:09:27.771" v="15822" actId="790"/>
          <ac:spMkLst>
            <pc:docMk/>
            <pc:sldMk cId="3056474185" sldId="10363"/>
            <ac:spMk id="112" creationId="{9F513876-6A87-4993-A0F1-0F689FDBBF01}"/>
          </ac:spMkLst>
        </pc:spChg>
        <pc:spChg chg="mod">
          <ac:chgData name="Sarah GAUVARD" userId="4c03e191-e154-482a-88b2-11de19eac96c" providerId="ADAL" clId="{8245CC27-65FB-483E-B8E7-D04039DBA80D}" dt="2021-05-24T16:09:27.753" v="15808" actId="790"/>
          <ac:spMkLst>
            <pc:docMk/>
            <pc:sldMk cId="3056474185" sldId="10363"/>
            <ac:spMk id="115" creationId="{6F1D7D9A-4EAA-45B4-B3C8-BA5E9C1F7277}"/>
          </ac:spMkLst>
        </pc:spChg>
        <pc:spChg chg="mod">
          <ac:chgData name="Sarah GAUVARD" userId="4c03e191-e154-482a-88b2-11de19eac96c" providerId="ADAL" clId="{8245CC27-65FB-483E-B8E7-D04039DBA80D}" dt="2021-05-24T16:09:27.761" v="15809" actId="790"/>
          <ac:spMkLst>
            <pc:docMk/>
            <pc:sldMk cId="3056474185" sldId="10363"/>
            <ac:spMk id="116" creationId="{761CB428-B68A-41BA-9FC0-07DEC7039CCA}"/>
          </ac:spMkLst>
        </pc:spChg>
        <pc:spChg chg="mod">
          <ac:chgData name="Sarah GAUVARD" userId="4c03e191-e154-482a-88b2-11de19eac96c" providerId="ADAL" clId="{8245CC27-65FB-483E-B8E7-D04039DBA80D}" dt="2021-05-24T16:09:27.771" v="15823" actId="790"/>
          <ac:spMkLst>
            <pc:docMk/>
            <pc:sldMk cId="3056474185" sldId="10363"/>
            <ac:spMk id="117" creationId="{C9DD2D9D-0989-4B91-8196-A5A0B7065E99}"/>
          </ac:spMkLst>
        </pc:spChg>
        <pc:spChg chg="mod">
          <ac:chgData name="Sarah GAUVARD" userId="4c03e191-e154-482a-88b2-11de19eac96c" providerId="ADAL" clId="{8245CC27-65FB-483E-B8E7-D04039DBA80D}" dt="2021-05-24T16:09:27.761" v="15810" actId="790"/>
          <ac:spMkLst>
            <pc:docMk/>
            <pc:sldMk cId="3056474185" sldId="10363"/>
            <ac:spMk id="118" creationId="{759A0193-71DB-456E-B77A-940E35134FB3}"/>
          </ac:spMkLst>
        </pc:spChg>
        <pc:spChg chg="mod">
          <ac:chgData name="Sarah GAUVARD" userId="4c03e191-e154-482a-88b2-11de19eac96c" providerId="ADAL" clId="{8245CC27-65FB-483E-B8E7-D04039DBA80D}" dt="2021-05-24T16:09:27.753" v="15799" actId="790"/>
          <ac:spMkLst>
            <pc:docMk/>
            <pc:sldMk cId="3056474185" sldId="10363"/>
            <ac:spMk id="119" creationId="{FD3CFAEA-9629-4A61-8FC4-3292A4700536}"/>
          </ac:spMkLst>
        </pc:spChg>
        <pc:spChg chg="mod">
          <ac:chgData name="Sarah GAUVARD" userId="4c03e191-e154-482a-88b2-11de19eac96c" providerId="ADAL" clId="{8245CC27-65FB-483E-B8E7-D04039DBA80D}" dt="2021-05-24T16:09:27.753" v="15800" actId="790"/>
          <ac:spMkLst>
            <pc:docMk/>
            <pc:sldMk cId="3056474185" sldId="10363"/>
            <ac:spMk id="120" creationId="{93D09E23-6D6F-4F07-ACFD-DE8D09AD17A8}"/>
          </ac:spMkLst>
        </pc:spChg>
        <pc:spChg chg="mod">
          <ac:chgData name="Sarah GAUVARD" userId="4c03e191-e154-482a-88b2-11de19eac96c" providerId="ADAL" clId="{8245CC27-65FB-483E-B8E7-D04039DBA80D}" dt="2021-05-24T16:09:27.753" v="15801" actId="790"/>
          <ac:spMkLst>
            <pc:docMk/>
            <pc:sldMk cId="3056474185" sldId="10363"/>
            <ac:spMk id="121" creationId="{7E6B106B-E8E9-4EB0-86EC-9A7E1C474545}"/>
          </ac:spMkLst>
        </pc:spChg>
        <pc:spChg chg="mod">
          <ac:chgData name="Sarah GAUVARD" userId="4c03e191-e154-482a-88b2-11de19eac96c" providerId="ADAL" clId="{8245CC27-65FB-483E-B8E7-D04039DBA80D}" dt="2021-05-24T16:09:27.773" v="15824" actId="790"/>
          <ac:spMkLst>
            <pc:docMk/>
            <pc:sldMk cId="3056474185" sldId="10363"/>
            <ac:spMk id="122" creationId="{9D5F634F-72FC-4CD5-A0FE-78EDB7DE2470}"/>
          </ac:spMkLst>
        </pc:spChg>
        <pc:spChg chg="mod">
          <ac:chgData name="Sarah GAUVARD" userId="4c03e191-e154-482a-88b2-11de19eac96c" providerId="ADAL" clId="{8245CC27-65FB-483E-B8E7-D04039DBA80D}" dt="2021-05-24T16:09:27.773" v="15825" actId="790"/>
          <ac:spMkLst>
            <pc:docMk/>
            <pc:sldMk cId="3056474185" sldId="10363"/>
            <ac:spMk id="123" creationId="{67DC4BF4-E52A-4F77-A7A3-194C8AD16717}"/>
          </ac:spMkLst>
        </pc:spChg>
        <pc:spChg chg="mod">
          <ac:chgData name="Sarah GAUVARD" userId="4c03e191-e154-482a-88b2-11de19eac96c" providerId="ADAL" clId="{8245CC27-65FB-483E-B8E7-D04039DBA80D}" dt="2021-05-24T16:09:27.773" v="15826" actId="790"/>
          <ac:spMkLst>
            <pc:docMk/>
            <pc:sldMk cId="3056474185" sldId="10363"/>
            <ac:spMk id="124" creationId="{634C708A-905F-4423-AD59-7FAB100F7710}"/>
          </ac:spMkLst>
        </pc:spChg>
        <pc:spChg chg="mod">
          <ac:chgData name="Sarah GAUVARD" userId="4c03e191-e154-482a-88b2-11de19eac96c" providerId="ADAL" clId="{8245CC27-65FB-483E-B8E7-D04039DBA80D}" dt="2021-05-24T16:09:27.753" v="15802" actId="790"/>
          <ac:spMkLst>
            <pc:docMk/>
            <pc:sldMk cId="3056474185" sldId="10363"/>
            <ac:spMk id="125" creationId="{9058D2CA-361E-4588-B7EB-6034093739B5}"/>
          </ac:spMkLst>
        </pc:spChg>
        <pc:spChg chg="mod">
          <ac:chgData name="Sarah GAUVARD" userId="4c03e191-e154-482a-88b2-11de19eac96c" providerId="ADAL" clId="{8245CC27-65FB-483E-B8E7-D04039DBA80D}" dt="2021-05-24T16:09:27.773" v="15827" actId="790"/>
          <ac:spMkLst>
            <pc:docMk/>
            <pc:sldMk cId="3056474185" sldId="10363"/>
            <ac:spMk id="126" creationId="{30A82CFE-7F48-4AA8-AADE-7BBCDBC04817}"/>
          </ac:spMkLst>
        </pc:spChg>
        <pc:spChg chg="mod">
          <ac:chgData name="Sarah GAUVARD" userId="4c03e191-e154-482a-88b2-11de19eac96c" providerId="ADAL" clId="{8245CC27-65FB-483E-B8E7-D04039DBA80D}" dt="2021-05-24T16:09:27.773" v="15828" actId="790"/>
          <ac:spMkLst>
            <pc:docMk/>
            <pc:sldMk cId="3056474185" sldId="10363"/>
            <ac:spMk id="127" creationId="{A697451B-FBB0-4497-90C1-88CC1F6975AB}"/>
          </ac:spMkLst>
        </pc:spChg>
        <pc:spChg chg="mod">
          <ac:chgData name="Sarah GAUVARD" userId="4c03e191-e154-482a-88b2-11de19eac96c" providerId="ADAL" clId="{8245CC27-65FB-483E-B8E7-D04039DBA80D}" dt="2021-05-24T16:09:27.773" v="15829" actId="790"/>
          <ac:spMkLst>
            <pc:docMk/>
            <pc:sldMk cId="3056474185" sldId="10363"/>
            <ac:spMk id="128" creationId="{AB336A6F-5AD1-42F2-A67F-C963C0D53CE2}"/>
          </ac:spMkLst>
        </pc:spChg>
        <pc:spChg chg="mod">
          <ac:chgData name="Sarah GAUVARD" userId="4c03e191-e154-482a-88b2-11de19eac96c" providerId="ADAL" clId="{8245CC27-65FB-483E-B8E7-D04039DBA80D}" dt="2021-05-24T16:09:27.773" v="15830" actId="790"/>
          <ac:spMkLst>
            <pc:docMk/>
            <pc:sldMk cId="3056474185" sldId="10363"/>
            <ac:spMk id="129" creationId="{43EDDEAC-5EE6-45CB-B7D0-ECB8A76067E6}"/>
          </ac:spMkLst>
        </pc:spChg>
        <pc:spChg chg="mod">
          <ac:chgData name="Sarah GAUVARD" userId="4c03e191-e154-482a-88b2-11de19eac96c" providerId="ADAL" clId="{8245CC27-65FB-483E-B8E7-D04039DBA80D}" dt="2021-05-24T16:09:27.773" v="15831" actId="790"/>
          <ac:spMkLst>
            <pc:docMk/>
            <pc:sldMk cId="3056474185" sldId="10363"/>
            <ac:spMk id="130" creationId="{E99408E4-6EC9-44F1-90E4-29DE6526F3E7}"/>
          </ac:spMkLst>
        </pc:spChg>
        <pc:spChg chg="mod">
          <ac:chgData name="Sarah GAUVARD" userId="4c03e191-e154-482a-88b2-11de19eac96c" providerId="ADAL" clId="{8245CC27-65FB-483E-B8E7-D04039DBA80D}" dt="2021-05-24T16:09:27.743" v="15786" actId="790"/>
          <ac:spMkLst>
            <pc:docMk/>
            <pc:sldMk cId="3056474185" sldId="10363"/>
            <ac:spMk id="134" creationId="{D5795A40-7B7E-4315-876A-A38D6610B661}"/>
          </ac:spMkLst>
        </pc:spChg>
        <pc:spChg chg="mod">
          <ac:chgData name="Sarah GAUVARD" userId="4c03e191-e154-482a-88b2-11de19eac96c" providerId="ADAL" clId="{8245CC27-65FB-483E-B8E7-D04039DBA80D}" dt="2021-05-24T16:09:27.743" v="15788" actId="790"/>
          <ac:spMkLst>
            <pc:docMk/>
            <pc:sldMk cId="3056474185" sldId="10363"/>
            <ac:spMk id="160" creationId="{A8A94204-7780-44D2-9F69-E6D88D81CCC9}"/>
          </ac:spMkLst>
        </pc:spChg>
        <pc:spChg chg="mod">
          <ac:chgData name="Sarah GAUVARD" userId="4c03e191-e154-482a-88b2-11de19eac96c" providerId="ADAL" clId="{8245CC27-65FB-483E-B8E7-D04039DBA80D}" dt="2021-05-24T16:09:27.743" v="15789" actId="790"/>
          <ac:spMkLst>
            <pc:docMk/>
            <pc:sldMk cId="3056474185" sldId="10363"/>
            <ac:spMk id="162" creationId="{7C77AD03-3049-47E7-8DA8-DA2A5283D6AD}"/>
          </ac:spMkLst>
        </pc:spChg>
        <pc:spChg chg="mod">
          <ac:chgData name="Sarah GAUVARD" userId="4c03e191-e154-482a-88b2-11de19eac96c" providerId="ADAL" clId="{8245CC27-65FB-483E-B8E7-D04039DBA80D}" dt="2021-05-24T16:09:27.751" v="15796" actId="790"/>
          <ac:spMkLst>
            <pc:docMk/>
            <pc:sldMk cId="3056474185" sldId="10363"/>
            <ac:spMk id="188" creationId="{CBFDB5A1-F4BF-4077-B85B-DCBB511D131F}"/>
          </ac:spMkLst>
        </pc:spChg>
        <pc:graphicFrameChg chg="mod">
          <ac:chgData name="Sarah GAUVARD" userId="4c03e191-e154-482a-88b2-11de19eac96c" providerId="ADAL" clId="{8245CC27-65FB-483E-B8E7-D04039DBA80D}" dt="2021-05-24T15:34:46.072" v="11879"/>
          <ac:graphicFrameMkLst>
            <pc:docMk/>
            <pc:sldMk cId="3056474185" sldId="10363"/>
            <ac:graphicFrameMk id="11" creationId="{C48D9184-70C7-408F-A3A8-B9C53D4015EC}"/>
          </ac:graphicFrameMkLst>
        </pc:graphicFrameChg>
        <pc:picChg chg="mod">
          <ac:chgData name="Sarah GAUVARD" userId="4c03e191-e154-482a-88b2-11de19eac96c" providerId="ADAL" clId="{8245CC27-65FB-483E-B8E7-D04039DBA80D}" dt="2021-05-25T09:31:27.137" v="19304" actId="207"/>
          <ac:picMkLst>
            <pc:docMk/>
            <pc:sldMk cId="3056474185" sldId="10363"/>
            <ac:picMk id="97" creationId="{7C63D0D3-36B7-4062-8BA7-C231CCDE95CC}"/>
          </ac:picMkLst>
        </pc:picChg>
        <pc:picChg chg="mod">
          <ac:chgData name="Sarah GAUVARD" userId="4c03e191-e154-482a-88b2-11de19eac96c" providerId="ADAL" clId="{8245CC27-65FB-483E-B8E7-D04039DBA80D}" dt="2021-05-25T09:31:28.936" v="19305" actId="207"/>
          <ac:picMkLst>
            <pc:docMk/>
            <pc:sldMk cId="3056474185" sldId="10363"/>
            <ac:picMk id="107" creationId="{3430E424-B15F-4530-99BD-DFFB16B1BC41}"/>
          </ac:picMkLst>
        </pc:picChg>
      </pc:sldChg>
      <pc:sldChg chg="addSp delSp modSp mod">
        <pc:chgData name="Sarah GAUVARD" userId="4c03e191-e154-482a-88b2-11de19eac96c" providerId="ADAL" clId="{8245CC27-65FB-483E-B8E7-D04039DBA80D}" dt="2021-05-25T09:37:19.411" v="19315" actId="207"/>
        <pc:sldMkLst>
          <pc:docMk/>
          <pc:sldMk cId="511254166" sldId="10364"/>
        </pc:sldMkLst>
        <pc:spChg chg="mod">
          <ac:chgData name="Sarah GAUVARD" userId="4c03e191-e154-482a-88b2-11de19eac96c" providerId="ADAL" clId="{8245CC27-65FB-483E-B8E7-D04039DBA80D}" dt="2021-05-24T16:09:27.773" v="15835" actId="790"/>
          <ac:spMkLst>
            <pc:docMk/>
            <pc:sldMk cId="511254166" sldId="10364"/>
            <ac:spMk id="2" creationId="{806A24BD-A309-4114-BCBE-1F8520216A75}"/>
          </ac:spMkLst>
        </pc:spChg>
        <pc:spChg chg="add del mod modVis">
          <ac:chgData name="Sarah GAUVARD" userId="4c03e191-e154-482a-88b2-11de19eac96c" providerId="ADAL" clId="{8245CC27-65FB-483E-B8E7-D04039DBA80D}" dt="2021-05-24T15:34:46.075" v="11881"/>
          <ac:spMkLst>
            <pc:docMk/>
            <pc:sldMk cId="511254166" sldId="10364"/>
            <ac:spMk id="3" creationId="{5E612983-DC5A-43FB-8538-EA7E62F502B3}"/>
          </ac:spMkLst>
        </pc:spChg>
        <pc:spChg chg="mod">
          <ac:chgData name="Sarah GAUVARD" userId="4c03e191-e154-482a-88b2-11de19eac96c" providerId="ADAL" clId="{8245CC27-65FB-483E-B8E7-D04039DBA80D}" dt="2021-05-24T16:09:27.773" v="15836" actId="790"/>
          <ac:spMkLst>
            <pc:docMk/>
            <pc:sldMk cId="511254166" sldId="10364"/>
            <ac:spMk id="6" creationId="{4E6E5141-7FBC-4E06-91AB-778C41045C7B}"/>
          </ac:spMkLst>
        </pc:spChg>
        <pc:spChg chg="mod">
          <ac:chgData name="Sarah GAUVARD" userId="4c03e191-e154-482a-88b2-11de19eac96c" providerId="ADAL" clId="{8245CC27-65FB-483E-B8E7-D04039DBA80D}" dt="2021-05-24T16:09:27.781" v="15837" actId="790"/>
          <ac:spMkLst>
            <pc:docMk/>
            <pc:sldMk cId="511254166" sldId="10364"/>
            <ac:spMk id="7" creationId="{8D09AD6F-BFA9-4E94-83DF-0661F98B9019}"/>
          </ac:spMkLst>
        </pc:spChg>
        <pc:spChg chg="mod">
          <ac:chgData name="Sarah GAUVARD" userId="4c03e191-e154-482a-88b2-11de19eac96c" providerId="ADAL" clId="{8245CC27-65FB-483E-B8E7-D04039DBA80D}" dt="2021-05-24T16:09:27.781" v="15838" actId="790"/>
          <ac:spMkLst>
            <pc:docMk/>
            <pc:sldMk cId="511254166" sldId="10364"/>
            <ac:spMk id="8" creationId="{77A429D6-B3A3-42B0-BAD3-1B353FC28B08}"/>
          </ac:spMkLst>
        </pc:spChg>
        <pc:spChg chg="mod">
          <ac:chgData name="Sarah GAUVARD" userId="4c03e191-e154-482a-88b2-11de19eac96c" providerId="ADAL" clId="{8245CC27-65FB-483E-B8E7-D04039DBA80D}" dt="2021-05-24T16:09:27.781" v="15839" actId="790"/>
          <ac:spMkLst>
            <pc:docMk/>
            <pc:sldMk cId="511254166" sldId="10364"/>
            <ac:spMk id="9" creationId="{C1790DA0-3655-475E-9CEE-4FBE153BB3F2}"/>
          </ac:spMkLst>
        </pc:spChg>
        <pc:spChg chg="mod">
          <ac:chgData name="Sarah GAUVARD" userId="4c03e191-e154-482a-88b2-11de19eac96c" providerId="ADAL" clId="{8245CC27-65FB-483E-B8E7-D04039DBA80D}" dt="2021-05-24T16:09:27.794" v="15853" actId="790"/>
          <ac:spMkLst>
            <pc:docMk/>
            <pc:sldMk cId="511254166" sldId="10364"/>
            <ac:spMk id="12" creationId="{D8C440F0-5663-4EAC-8964-248F32036591}"/>
          </ac:spMkLst>
        </pc:spChg>
        <pc:spChg chg="mod">
          <ac:chgData name="Sarah GAUVARD" userId="4c03e191-e154-482a-88b2-11de19eac96c" providerId="ADAL" clId="{8245CC27-65FB-483E-B8E7-D04039DBA80D}" dt="2021-05-24T16:09:27.783" v="15840" actId="790"/>
          <ac:spMkLst>
            <pc:docMk/>
            <pc:sldMk cId="511254166" sldId="10364"/>
            <ac:spMk id="15" creationId="{BD17CEC9-4298-48C2-A07A-B6966AE88E71}"/>
          </ac:spMkLst>
        </pc:spChg>
        <pc:spChg chg="mod">
          <ac:chgData name="Sarah GAUVARD" userId="4c03e191-e154-482a-88b2-11de19eac96c" providerId="ADAL" clId="{8245CC27-65FB-483E-B8E7-D04039DBA80D}" dt="2021-05-24T16:09:27.783" v="15841" actId="790"/>
          <ac:spMkLst>
            <pc:docMk/>
            <pc:sldMk cId="511254166" sldId="10364"/>
            <ac:spMk id="22" creationId="{F54D9E31-C7E1-4619-8AB2-AF3F57E25D8C}"/>
          </ac:spMkLst>
        </pc:spChg>
        <pc:spChg chg="mod">
          <ac:chgData name="Sarah GAUVARD" userId="4c03e191-e154-482a-88b2-11de19eac96c" providerId="ADAL" clId="{8245CC27-65FB-483E-B8E7-D04039DBA80D}" dt="2021-05-25T09:37:19.411" v="19315" actId="207"/>
          <ac:spMkLst>
            <pc:docMk/>
            <pc:sldMk cId="511254166" sldId="10364"/>
            <ac:spMk id="23" creationId="{E942F219-9D1D-4A73-B97D-EC48BD66AF15}"/>
          </ac:spMkLst>
        </pc:spChg>
        <pc:spChg chg="mod">
          <ac:chgData name="Sarah GAUVARD" userId="4c03e191-e154-482a-88b2-11de19eac96c" providerId="ADAL" clId="{8245CC27-65FB-483E-B8E7-D04039DBA80D}" dt="2021-05-24T16:09:27.783" v="15843" actId="790"/>
          <ac:spMkLst>
            <pc:docMk/>
            <pc:sldMk cId="511254166" sldId="10364"/>
            <ac:spMk id="24" creationId="{C2FF144E-7C70-4F58-8690-D05F03C7B743}"/>
          </ac:spMkLst>
        </pc:spChg>
        <pc:spChg chg="mod">
          <ac:chgData name="Sarah GAUVARD" userId="4c03e191-e154-482a-88b2-11de19eac96c" providerId="ADAL" clId="{8245CC27-65FB-483E-B8E7-D04039DBA80D}" dt="2021-05-24T16:09:27.783" v="15844" actId="790"/>
          <ac:spMkLst>
            <pc:docMk/>
            <pc:sldMk cId="511254166" sldId="10364"/>
            <ac:spMk id="43" creationId="{C59EF210-5B50-40A7-A6B4-DDAD799020BA}"/>
          </ac:spMkLst>
        </pc:spChg>
        <pc:spChg chg="mod">
          <ac:chgData name="Sarah GAUVARD" userId="4c03e191-e154-482a-88b2-11de19eac96c" providerId="ADAL" clId="{8245CC27-65FB-483E-B8E7-D04039DBA80D}" dt="2021-05-24T16:09:27.783" v="15845" actId="790"/>
          <ac:spMkLst>
            <pc:docMk/>
            <pc:sldMk cId="511254166" sldId="10364"/>
            <ac:spMk id="45" creationId="{A30046C9-7286-442E-B5D2-9182D2F71B12}"/>
          </ac:spMkLst>
        </pc:spChg>
        <pc:spChg chg="mod">
          <ac:chgData name="Sarah GAUVARD" userId="4c03e191-e154-482a-88b2-11de19eac96c" providerId="ADAL" clId="{8245CC27-65FB-483E-B8E7-D04039DBA80D}" dt="2021-05-24T16:09:27.783" v="15846" actId="790"/>
          <ac:spMkLst>
            <pc:docMk/>
            <pc:sldMk cId="511254166" sldId="10364"/>
            <ac:spMk id="56" creationId="{F37F2C7C-4651-46F1-B548-F75D15102AEA}"/>
          </ac:spMkLst>
        </pc:spChg>
        <pc:spChg chg="mod">
          <ac:chgData name="Sarah GAUVARD" userId="4c03e191-e154-482a-88b2-11de19eac96c" providerId="ADAL" clId="{8245CC27-65FB-483E-B8E7-D04039DBA80D}" dt="2021-05-24T16:09:27.804" v="15869" actId="790"/>
          <ac:spMkLst>
            <pc:docMk/>
            <pc:sldMk cId="511254166" sldId="10364"/>
            <ac:spMk id="59" creationId="{E9DD7081-9497-4CB5-9A8D-3B1D818747D9}"/>
          </ac:spMkLst>
        </pc:spChg>
        <pc:spChg chg="mod">
          <ac:chgData name="Sarah GAUVARD" userId="4c03e191-e154-482a-88b2-11de19eac96c" providerId="ADAL" clId="{8245CC27-65FB-483E-B8E7-D04039DBA80D}" dt="2021-05-24T16:09:27.804" v="15870" actId="790"/>
          <ac:spMkLst>
            <pc:docMk/>
            <pc:sldMk cId="511254166" sldId="10364"/>
            <ac:spMk id="60" creationId="{6486CA03-FF59-4183-9DA0-8D77062A94DB}"/>
          </ac:spMkLst>
        </pc:spChg>
        <pc:spChg chg="mod">
          <ac:chgData name="Sarah GAUVARD" userId="4c03e191-e154-482a-88b2-11de19eac96c" providerId="ADAL" clId="{8245CC27-65FB-483E-B8E7-D04039DBA80D}" dt="2021-05-24T16:09:27.791" v="15847" actId="790"/>
          <ac:spMkLst>
            <pc:docMk/>
            <pc:sldMk cId="511254166" sldId="10364"/>
            <ac:spMk id="61" creationId="{86718822-02E2-4F9A-B0D6-5A2C08F0884A}"/>
          </ac:spMkLst>
        </pc:spChg>
        <pc:spChg chg="mod">
          <ac:chgData name="Sarah GAUVARD" userId="4c03e191-e154-482a-88b2-11de19eac96c" providerId="ADAL" clId="{8245CC27-65FB-483E-B8E7-D04039DBA80D}" dt="2021-05-24T16:09:27.804" v="15871" actId="790"/>
          <ac:spMkLst>
            <pc:docMk/>
            <pc:sldMk cId="511254166" sldId="10364"/>
            <ac:spMk id="64" creationId="{1089F2A6-D239-4C3A-AD45-C08911A80D82}"/>
          </ac:spMkLst>
        </pc:spChg>
        <pc:spChg chg="mod">
          <ac:chgData name="Sarah GAUVARD" userId="4c03e191-e154-482a-88b2-11de19eac96c" providerId="ADAL" clId="{8245CC27-65FB-483E-B8E7-D04039DBA80D}" dt="2021-05-24T16:09:27.804" v="15872" actId="790"/>
          <ac:spMkLst>
            <pc:docMk/>
            <pc:sldMk cId="511254166" sldId="10364"/>
            <ac:spMk id="65" creationId="{2675BB59-C17E-400B-9555-ADF6AE8ABB41}"/>
          </ac:spMkLst>
        </pc:spChg>
        <pc:spChg chg="mod">
          <ac:chgData name="Sarah GAUVARD" userId="4c03e191-e154-482a-88b2-11de19eac96c" providerId="ADAL" clId="{8245CC27-65FB-483E-B8E7-D04039DBA80D}" dt="2021-05-24T16:09:27.812" v="15873" actId="790"/>
          <ac:spMkLst>
            <pc:docMk/>
            <pc:sldMk cId="511254166" sldId="10364"/>
            <ac:spMk id="66" creationId="{68124A35-6E5D-40F6-A0BB-91A8B4125C7B}"/>
          </ac:spMkLst>
        </pc:spChg>
        <pc:spChg chg="mod">
          <ac:chgData name="Sarah GAUVARD" userId="4c03e191-e154-482a-88b2-11de19eac96c" providerId="ADAL" clId="{8245CC27-65FB-483E-B8E7-D04039DBA80D}" dt="2021-05-24T16:09:27.812" v="15874" actId="790"/>
          <ac:spMkLst>
            <pc:docMk/>
            <pc:sldMk cId="511254166" sldId="10364"/>
            <ac:spMk id="67" creationId="{14DBD2BF-71F7-477C-BD84-A4BEF3A1255F}"/>
          </ac:spMkLst>
        </pc:spChg>
        <pc:spChg chg="mod">
          <ac:chgData name="Sarah GAUVARD" userId="4c03e191-e154-482a-88b2-11de19eac96c" providerId="ADAL" clId="{8245CC27-65FB-483E-B8E7-D04039DBA80D}" dt="2021-05-24T16:09:27.812" v="15875" actId="790"/>
          <ac:spMkLst>
            <pc:docMk/>
            <pc:sldMk cId="511254166" sldId="10364"/>
            <ac:spMk id="68" creationId="{D3B7C6B4-06E8-42C2-83C4-8C0C0FCA814E}"/>
          </ac:spMkLst>
        </pc:spChg>
        <pc:spChg chg="mod">
          <ac:chgData name="Sarah GAUVARD" userId="4c03e191-e154-482a-88b2-11de19eac96c" providerId="ADAL" clId="{8245CC27-65FB-483E-B8E7-D04039DBA80D}" dt="2021-05-24T16:09:27.814" v="15876" actId="790"/>
          <ac:spMkLst>
            <pc:docMk/>
            <pc:sldMk cId="511254166" sldId="10364"/>
            <ac:spMk id="69" creationId="{32EDACA9-787C-4252-8EE4-4D23F3D66534}"/>
          </ac:spMkLst>
        </pc:spChg>
        <pc:spChg chg="mod">
          <ac:chgData name="Sarah GAUVARD" userId="4c03e191-e154-482a-88b2-11de19eac96c" providerId="ADAL" clId="{8245CC27-65FB-483E-B8E7-D04039DBA80D}" dt="2021-05-24T16:09:27.794" v="15854" actId="790"/>
          <ac:spMkLst>
            <pc:docMk/>
            <pc:sldMk cId="511254166" sldId="10364"/>
            <ac:spMk id="87" creationId="{B12B01F7-2C02-43C2-81BF-CA4C399D06F4}"/>
          </ac:spMkLst>
        </pc:spChg>
        <pc:spChg chg="mod">
          <ac:chgData name="Sarah GAUVARD" userId="4c03e191-e154-482a-88b2-11de19eac96c" providerId="ADAL" clId="{8245CC27-65FB-483E-B8E7-D04039DBA80D}" dt="2021-05-24T16:09:27.794" v="15855" actId="790"/>
          <ac:spMkLst>
            <pc:docMk/>
            <pc:sldMk cId="511254166" sldId="10364"/>
            <ac:spMk id="88" creationId="{23735882-1AA1-4E74-8AC7-A468BFE35F3C}"/>
          </ac:spMkLst>
        </pc:spChg>
        <pc:spChg chg="mod">
          <ac:chgData name="Sarah GAUVARD" userId="4c03e191-e154-482a-88b2-11de19eac96c" providerId="ADAL" clId="{8245CC27-65FB-483E-B8E7-D04039DBA80D}" dt="2021-05-24T16:09:27.794" v="15856" actId="790"/>
          <ac:spMkLst>
            <pc:docMk/>
            <pc:sldMk cId="511254166" sldId="10364"/>
            <ac:spMk id="92" creationId="{175224E4-B9F3-466D-BBE2-3AD95EAFDEF3}"/>
          </ac:spMkLst>
        </pc:spChg>
        <pc:spChg chg="mod">
          <ac:chgData name="Sarah GAUVARD" userId="4c03e191-e154-482a-88b2-11de19eac96c" providerId="ADAL" clId="{8245CC27-65FB-483E-B8E7-D04039DBA80D}" dt="2021-05-25T09:36:53.101" v="19314" actId="20577"/>
          <ac:spMkLst>
            <pc:docMk/>
            <pc:sldMk cId="511254166" sldId="10364"/>
            <ac:spMk id="93" creationId="{071E6E2D-787C-478A-B85D-6B8795BCABBF}"/>
          </ac:spMkLst>
        </pc:spChg>
        <pc:spChg chg="mod">
          <ac:chgData name="Sarah GAUVARD" userId="4c03e191-e154-482a-88b2-11de19eac96c" providerId="ADAL" clId="{8245CC27-65FB-483E-B8E7-D04039DBA80D}" dt="2021-05-24T16:09:27.794" v="15858" actId="790"/>
          <ac:spMkLst>
            <pc:docMk/>
            <pc:sldMk cId="511254166" sldId="10364"/>
            <ac:spMk id="94" creationId="{51D1811C-B66B-419E-9ABA-EA4C922F5446}"/>
          </ac:spMkLst>
        </pc:spChg>
        <pc:spChg chg="mod">
          <ac:chgData name="Sarah GAUVARD" userId="4c03e191-e154-482a-88b2-11de19eac96c" providerId="ADAL" clId="{8245CC27-65FB-483E-B8E7-D04039DBA80D}" dt="2021-05-24T16:09:27.794" v="15859" actId="790"/>
          <ac:spMkLst>
            <pc:docMk/>
            <pc:sldMk cId="511254166" sldId="10364"/>
            <ac:spMk id="95" creationId="{F3B897A9-107D-4E9F-A970-BDA202F8026B}"/>
          </ac:spMkLst>
        </pc:spChg>
        <pc:spChg chg="mod">
          <ac:chgData name="Sarah GAUVARD" userId="4c03e191-e154-482a-88b2-11de19eac96c" providerId="ADAL" clId="{8245CC27-65FB-483E-B8E7-D04039DBA80D}" dt="2021-05-24T16:09:27.794" v="15860" actId="790"/>
          <ac:spMkLst>
            <pc:docMk/>
            <pc:sldMk cId="511254166" sldId="10364"/>
            <ac:spMk id="96" creationId="{8D78B14F-64C7-43F3-8AF6-03F038FEC429}"/>
          </ac:spMkLst>
        </pc:spChg>
        <pc:spChg chg="mod">
          <ac:chgData name="Sarah GAUVARD" userId="4c03e191-e154-482a-88b2-11de19eac96c" providerId="ADAL" clId="{8245CC27-65FB-483E-B8E7-D04039DBA80D}" dt="2021-05-24T16:09:27.802" v="15861" actId="790"/>
          <ac:spMkLst>
            <pc:docMk/>
            <pc:sldMk cId="511254166" sldId="10364"/>
            <ac:spMk id="103" creationId="{F2635A05-557C-4DF8-9DAB-C0A75150008D}"/>
          </ac:spMkLst>
        </pc:spChg>
        <pc:spChg chg="mod">
          <ac:chgData name="Sarah GAUVARD" userId="4c03e191-e154-482a-88b2-11de19eac96c" providerId="ADAL" clId="{8245CC27-65FB-483E-B8E7-D04039DBA80D}" dt="2021-05-24T16:09:27.804" v="15862" actId="790"/>
          <ac:spMkLst>
            <pc:docMk/>
            <pc:sldMk cId="511254166" sldId="10364"/>
            <ac:spMk id="104" creationId="{1AA4E0C4-1C43-4B17-A6A7-3CBF5A7A550C}"/>
          </ac:spMkLst>
        </pc:spChg>
        <pc:spChg chg="mod">
          <ac:chgData name="Sarah GAUVARD" userId="4c03e191-e154-482a-88b2-11de19eac96c" providerId="ADAL" clId="{8245CC27-65FB-483E-B8E7-D04039DBA80D}" dt="2021-05-24T16:09:27.791" v="15848" actId="790"/>
          <ac:spMkLst>
            <pc:docMk/>
            <pc:sldMk cId="511254166" sldId="10364"/>
            <ac:spMk id="110" creationId="{D112EAE9-1C24-4AF0-B3DD-273BF2FF5A59}"/>
          </ac:spMkLst>
        </pc:spChg>
        <pc:spChg chg="mod">
          <ac:chgData name="Sarah GAUVARD" userId="4c03e191-e154-482a-88b2-11de19eac96c" providerId="ADAL" clId="{8245CC27-65FB-483E-B8E7-D04039DBA80D}" dt="2021-05-24T16:09:27.793" v="15849" actId="790"/>
          <ac:spMkLst>
            <pc:docMk/>
            <pc:sldMk cId="511254166" sldId="10364"/>
            <ac:spMk id="111" creationId="{9B916422-AB4B-4397-9CE1-E4BDD0AED7FE}"/>
          </ac:spMkLst>
        </pc:spChg>
        <pc:spChg chg="mod">
          <ac:chgData name="Sarah GAUVARD" userId="4c03e191-e154-482a-88b2-11de19eac96c" providerId="ADAL" clId="{8245CC27-65FB-483E-B8E7-D04039DBA80D}" dt="2021-05-24T16:09:27.804" v="15863" actId="790"/>
          <ac:spMkLst>
            <pc:docMk/>
            <pc:sldMk cId="511254166" sldId="10364"/>
            <ac:spMk id="115" creationId="{DC7E2D8A-29A3-44C4-8371-FF818D017905}"/>
          </ac:spMkLst>
        </pc:spChg>
        <pc:spChg chg="mod">
          <ac:chgData name="Sarah GAUVARD" userId="4c03e191-e154-482a-88b2-11de19eac96c" providerId="ADAL" clId="{8245CC27-65FB-483E-B8E7-D04039DBA80D}" dt="2021-05-24T16:09:27.804" v="15864" actId="790"/>
          <ac:spMkLst>
            <pc:docMk/>
            <pc:sldMk cId="511254166" sldId="10364"/>
            <ac:spMk id="116" creationId="{0FD3FE0D-C57C-45A0-B908-600B41E06491}"/>
          </ac:spMkLst>
        </pc:spChg>
        <pc:spChg chg="mod">
          <ac:chgData name="Sarah GAUVARD" userId="4c03e191-e154-482a-88b2-11de19eac96c" providerId="ADAL" clId="{8245CC27-65FB-483E-B8E7-D04039DBA80D}" dt="2021-05-24T16:09:27.804" v="15865" actId="790"/>
          <ac:spMkLst>
            <pc:docMk/>
            <pc:sldMk cId="511254166" sldId="10364"/>
            <ac:spMk id="121" creationId="{E99EBA96-FB36-49CA-ACEA-74F5EC949F8F}"/>
          </ac:spMkLst>
        </pc:spChg>
        <pc:spChg chg="mod">
          <ac:chgData name="Sarah GAUVARD" userId="4c03e191-e154-482a-88b2-11de19eac96c" providerId="ADAL" clId="{8245CC27-65FB-483E-B8E7-D04039DBA80D}" dt="2021-05-24T16:09:27.804" v="15866" actId="790"/>
          <ac:spMkLst>
            <pc:docMk/>
            <pc:sldMk cId="511254166" sldId="10364"/>
            <ac:spMk id="122" creationId="{42742870-E854-4251-A47C-41413DEDB0F1}"/>
          </ac:spMkLst>
        </pc:spChg>
        <pc:spChg chg="mod">
          <ac:chgData name="Sarah GAUVARD" userId="4c03e191-e154-482a-88b2-11de19eac96c" providerId="ADAL" clId="{8245CC27-65FB-483E-B8E7-D04039DBA80D}" dt="2021-05-24T16:09:27.804" v="15867" actId="790"/>
          <ac:spMkLst>
            <pc:docMk/>
            <pc:sldMk cId="511254166" sldId="10364"/>
            <ac:spMk id="123" creationId="{D96542B9-EDC6-4ED8-A3C6-D367FDA0E05C}"/>
          </ac:spMkLst>
        </pc:spChg>
        <pc:spChg chg="mod">
          <ac:chgData name="Sarah GAUVARD" userId="4c03e191-e154-482a-88b2-11de19eac96c" providerId="ADAL" clId="{8245CC27-65FB-483E-B8E7-D04039DBA80D}" dt="2021-05-24T16:09:27.794" v="15850" actId="790"/>
          <ac:spMkLst>
            <pc:docMk/>
            <pc:sldMk cId="511254166" sldId="10364"/>
            <ac:spMk id="132" creationId="{1A3DE5F6-DC50-4B3E-8712-4F7931E9D3D4}"/>
          </ac:spMkLst>
        </pc:spChg>
        <pc:spChg chg="mod">
          <ac:chgData name="Sarah GAUVARD" userId="4c03e191-e154-482a-88b2-11de19eac96c" providerId="ADAL" clId="{8245CC27-65FB-483E-B8E7-D04039DBA80D}" dt="2021-05-24T16:09:27.794" v="15851" actId="790"/>
          <ac:spMkLst>
            <pc:docMk/>
            <pc:sldMk cId="511254166" sldId="10364"/>
            <ac:spMk id="133" creationId="{DC661DF3-2B60-4258-8A3C-6DA55E7974BD}"/>
          </ac:spMkLst>
        </pc:spChg>
        <pc:spChg chg="mod">
          <ac:chgData name="Sarah GAUVARD" userId="4c03e191-e154-482a-88b2-11de19eac96c" providerId="ADAL" clId="{8245CC27-65FB-483E-B8E7-D04039DBA80D}" dt="2021-05-24T16:09:27.794" v="15852" actId="790"/>
          <ac:spMkLst>
            <pc:docMk/>
            <pc:sldMk cId="511254166" sldId="10364"/>
            <ac:spMk id="134" creationId="{D5795A40-7B7E-4315-876A-A38D6610B661}"/>
          </ac:spMkLst>
        </pc:spChg>
        <pc:spChg chg="mod">
          <ac:chgData name="Sarah GAUVARD" userId="4c03e191-e154-482a-88b2-11de19eac96c" providerId="ADAL" clId="{8245CC27-65FB-483E-B8E7-D04039DBA80D}" dt="2021-05-24T16:09:27.804" v="15868" actId="790"/>
          <ac:spMkLst>
            <pc:docMk/>
            <pc:sldMk cId="511254166" sldId="10364"/>
            <ac:spMk id="151" creationId="{945919F5-1F6F-4979-90CA-397384E59334}"/>
          </ac:spMkLst>
        </pc:spChg>
        <pc:graphicFrameChg chg="mod">
          <ac:chgData name="Sarah GAUVARD" userId="4c03e191-e154-482a-88b2-11de19eac96c" providerId="ADAL" clId="{8245CC27-65FB-483E-B8E7-D04039DBA80D}" dt="2021-05-24T15:34:46.078" v="11883"/>
          <ac:graphicFrameMkLst>
            <pc:docMk/>
            <pc:sldMk cId="511254166" sldId="10364"/>
            <ac:graphicFrameMk id="11" creationId="{C48D9184-70C7-408F-A3A8-B9C53D4015EC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913" v="15999" actId="790"/>
        <pc:sldMkLst>
          <pc:docMk/>
          <pc:sldMk cId="3481177109" sldId="10365"/>
        </pc:sldMkLst>
        <pc:spChg chg="mod">
          <ac:chgData name="Sarah GAUVARD" userId="4c03e191-e154-482a-88b2-11de19eac96c" providerId="ADAL" clId="{8245CC27-65FB-483E-B8E7-D04039DBA80D}" dt="2021-05-24T16:09:27.863" v="15937" actId="790"/>
          <ac:spMkLst>
            <pc:docMk/>
            <pc:sldMk cId="3481177109" sldId="10365"/>
            <ac:spMk id="2" creationId="{806A24BD-A309-4114-BCBE-1F8520216A75}"/>
          </ac:spMkLst>
        </pc:spChg>
        <pc:spChg chg="add del mod modVis">
          <ac:chgData name="Sarah GAUVARD" userId="4c03e191-e154-482a-88b2-11de19eac96c" providerId="ADAL" clId="{8245CC27-65FB-483E-B8E7-D04039DBA80D}" dt="2021-05-24T15:34:46.063" v="11873"/>
          <ac:spMkLst>
            <pc:docMk/>
            <pc:sldMk cId="3481177109" sldId="10365"/>
            <ac:spMk id="3" creationId="{C4C36620-4CC0-4AD9-AE7F-9EAEB25DB599}"/>
          </ac:spMkLst>
        </pc:spChg>
        <pc:spChg chg="mod">
          <ac:chgData name="Sarah GAUVARD" userId="4c03e191-e154-482a-88b2-11de19eac96c" providerId="ADAL" clId="{8245CC27-65FB-483E-B8E7-D04039DBA80D}" dt="2021-05-24T16:09:27.885" v="15971" actId="790"/>
          <ac:spMkLst>
            <pc:docMk/>
            <pc:sldMk cId="3481177109" sldId="10365"/>
            <ac:spMk id="5" creationId="{13E5CBFB-209B-4F56-956E-E99A02FE36C6}"/>
          </ac:spMkLst>
        </pc:spChg>
        <pc:spChg chg="mod">
          <ac:chgData name="Sarah GAUVARD" userId="4c03e191-e154-482a-88b2-11de19eac96c" providerId="ADAL" clId="{8245CC27-65FB-483E-B8E7-D04039DBA80D}" dt="2021-05-24T16:09:27.865" v="15938" actId="790"/>
          <ac:spMkLst>
            <pc:docMk/>
            <pc:sldMk cId="3481177109" sldId="10365"/>
            <ac:spMk id="6" creationId="{4E6E5141-7FBC-4E06-91AB-778C41045C7B}"/>
          </ac:spMkLst>
        </pc:spChg>
        <pc:spChg chg="mod">
          <ac:chgData name="Sarah GAUVARD" userId="4c03e191-e154-482a-88b2-11de19eac96c" providerId="ADAL" clId="{8245CC27-65FB-483E-B8E7-D04039DBA80D}" dt="2021-05-24T16:09:27.865" v="15939" actId="790"/>
          <ac:spMkLst>
            <pc:docMk/>
            <pc:sldMk cId="3481177109" sldId="10365"/>
            <ac:spMk id="7" creationId="{8D09AD6F-BFA9-4E94-83DF-0661F98B9019}"/>
          </ac:spMkLst>
        </pc:spChg>
        <pc:spChg chg="mod">
          <ac:chgData name="Sarah GAUVARD" userId="4c03e191-e154-482a-88b2-11de19eac96c" providerId="ADAL" clId="{8245CC27-65FB-483E-B8E7-D04039DBA80D}" dt="2021-05-24T16:09:27.865" v="15940" actId="790"/>
          <ac:spMkLst>
            <pc:docMk/>
            <pc:sldMk cId="3481177109" sldId="10365"/>
            <ac:spMk id="8" creationId="{77A429D6-B3A3-42B0-BAD3-1B353FC28B08}"/>
          </ac:spMkLst>
        </pc:spChg>
        <pc:spChg chg="mod">
          <ac:chgData name="Sarah GAUVARD" userId="4c03e191-e154-482a-88b2-11de19eac96c" providerId="ADAL" clId="{8245CC27-65FB-483E-B8E7-D04039DBA80D}" dt="2021-05-24T16:09:27.865" v="15941" actId="790"/>
          <ac:spMkLst>
            <pc:docMk/>
            <pc:sldMk cId="3481177109" sldId="10365"/>
            <ac:spMk id="9" creationId="{C1790DA0-3655-475E-9CEE-4FBE153BB3F2}"/>
          </ac:spMkLst>
        </pc:spChg>
        <pc:spChg chg="mod">
          <ac:chgData name="Sarah GAUVARD" userId="4c03e191-e154-482a-88b2-11de19eac96c" providerId="ADAL" clId="{8245CC27-65FB-483E-B8E7-D04039DBA80D}" dt="2021-05-24T16:09:27.885" v="15965" actId="790"/>
          <ac:spMkLst>
            <pc:docMk/>
            <pc:sldMk cId="3481177109" sldId="10365"/>
            <ac:spMk id="12" creationId="{D8C440F0-5663-4EAC-8964-248F32036591}"/>
          </ac:spMkLst>
        </pc:spChg>
        <pc:spChg chg="mod">
          <ac:chgData name="Sarah GAUVARD" userId="4c03e191-e154-482a-88b2-11de19eac96c" providerId="ADAL" clId="{8245CC27-65FB-483E-B8E7-D04039DBA80D}" dt="2021-05-24T16:09:27.885" v="15973" actId="790"/>
          <ac:spMkLst>
            <pc:docMk/>
            <pc:sldMk cId="3481177109" sldId="10365"/>
            <ac:spMk id="13" creationId="{58C15C1C-7B0D-4DD0-BF55-D67B02416600}"/>
          </ac:spMkLst>
        </pc:spChg>
        <pc:spChg chg="mod">
          <ac:chgData name="Sarah GAUVARD" userId="4c03e191-e154-482a-88b2-11de19eac96c" providerId="ADAL" clId="{8245CC27-65FB-483E-B8E7-D04039DBA80D}" dt="2021-05-24T16:09:27.865" v="15942" actId="790"/>
          <ac:spMkLst>
            <pc:docMk/>
            <pc:sldMk cId="3481177109" sldId="10365"/>
            <ac:spMk id="14" creationId="{B8D529E0-B56F-42E9-9413-B04B09D1BC35}"/>
          </ac:spMkLst>
        </pc:spChg>
        <pc:spChg chg="mod">
          <ac:chgData name="Sarah GAUVARD" userId="4c03e191-e154-482a-88b2-11de19eac96c" providerId="ADAL" clId="{8245CC27-65FB-483E-B8E7-D04039DBA80D}" dt="2021-05-24T16:09:27.865" v="15943" actId="790"/>
          <ac:spMkLst>
            <pc:docMk/>
            <pc:sldMk cId="3481177109" sldId="10365"/>
            <ac:spMk id="15" creationId="{BD17CEC9-4298-48C2-A07A-B6966AE88E71}"/>
          </ac:spMkLst>
        </pc:spChg>
        <pc:spChg chg="mod">
          <ac:chgData name="Sarah GAUVARD" userId="4c03e191-e154-482a-88b2-11de19eac96c" providerId="ADAL" clId="{8245CC27-65FB-483E-B8E7-D04039DBA80D}" dt="2021-05-24T16:09:27.865" v="15944" actId="790"/>
          <ac:spMkLst>
            <pc:docMk/>
            <pc:sldMk cId="3481177109" sldId="10365"/>
            <ac:spMk id="16" creationId="{B886F05E-DC2A-4B28-89B2-BAEBC0591254}"/>
          </ac:spMkLst>
        </pc:spChg>
        <pc:spChg chg="mod">
          <ac:chgData name="Sarah GAUVARD" userId="4c03e191-e154-482a-88b2-11de19eac96c" providerId="ADAL" clId="{8245CC27-65FB-483E-B8E7-D04039DBA80D}" dt="2021-05-24T16:09:27.865" v="15945" actId="790"/>
          <ac:spMkLst>
            <pc:docMk/>
            <pc:sldMk cId="3481177109" sldId="10365"/>
            <ac:spMk id="17" creationId="{FD9BD1A8-B133-4ED7-9402-59FE79DE23EC}"/>
          </ac:spMkLst>
        </pc:spChg>
        <pc:spChg chg="mod">
          <ac:chgData name="Sarah GAUVARD" userId="4c03e191-e154-482a-88b2-11de19eac96c" providerId="ADAL" clId="{8245CC27-65FB-483E-B8E7-D04039DBA80D}" dt="2021-05-24T16:09:27.865" v="15946" actId="790"/>
          <ac:spMkLst>
            <pc:docMk/>
            <pc:sldMk cId="3481177109" sldId="10365"/>
            <ac:spMk id="18" creationId="{4373ED4E-D1FF-488D-BEFE-69AC7F528CA4}"/>
          </ac:spMkLst>
        </pc:spChg>
        <pc:spChg chg="mod">
          <ac:chgData name="Sarah GAUVARD" userId="4c03e191-e154-482a-88b2-11de19eac96c" providerId="ADAL" clId="{8245CC27-65FB-483E-B8E7-D04039DBA80D}" dt="2021-05-24T16:09:27.865" v="15947" actId="790"/>
          <ac:spMkLst>
            <pc:docMk/>
            <pc:sldMk cId="3481177109" sldId="10365"/>
            <ac:spMk id="19" creationId="{BC760060-ABD5-412D-8045-EF97EC543341}"/>
          </ac:spMkLst>
        </pc:spChg>
        <pc:spChg chg="mod">
          <ac:chgData name="Sarah GAUVARD" userId="4c03e191-e154-482a-88b2-11de19eac96c" providerId="ADAL" clId="{8245CC27-65FB-483E-B8E7-D04039DBA80D}" dt="2021-05-24T16:09:27.865" v="15948" actId="790"/>
          <ac:spMkLst>
            <pc:docMk/>
            <pc:sldMk cId="3481177109" sldId="10365"/>
            <ac:spMk id="20" creationId="{388BECFA-DD33-47B0-8DCF-EFF4D8D243DB}"/>
          </ac:spMkLst>
        </pc:spChg>
        <pc:spChg chg="mod">
          <ac:chgData name="Sarah GAUVARD" userId="4c03e191-e154-482a-88b2-11de19eac96c" providerId="ADAL" clId="{8245CC27-65FB-483E-B8E7-D04039DBA80D}" dt="2021-05-24T16:09:27.865" v="15949" actId="790"/>
          <ac:spMkLst>
            <pc:docMk/>
            <pc:sldMk cId="3481177109" sldId="10365"/>
            <ac:spMk id="21" creationId="{F90680D2-5DA9-4AD6-8E64-FE8EA1410BC0}"/>
          </ac:spMkLst>
        </pc:spChg>
        <pc:spChg chg="mod">
          <ac:chgData name="Sarah GAUVARD" userId="4c03e191-e154-482a-88b2-11de19eac96c" providerId="ADAL" clId="{8245CC27-65FB-483E-B8E7-D04039DBA80D}" dt="2021-05-24T16:09:27.873" v="15950" actId="790"/>
          <ac:spMkLst>
            <pc:docMk/>
            <pc:sldMk cId="3481177109" sldId="10365"/>
            <ac:spMk id="22" creationId="{F54D9E31-C7E1-4619-8AB2-AF3F57E25D8C}"/>
          </ac:spMkLst>
        </pc:spChg>
        <pc:spChg chg="mod">
          <ac:chgData name="Sarah GAUVARD" userId="4c03e191-e154-482a-88b2-11de19eac96c" providerId="ADAL" clId="{8245CC27-65FB-483E-B8E7-D04039DBA80D}" dt="2021-05-24T16:09:27.873" v="15951" actId="790"/>
          <ac:spMkLst>
            <pc:docMk/>
            <pc:sldMk cId="3481177109" sldId="10365"/>
            <ac:spMk id="23" creationId="{E942F219-9D1D-4A73-B97D-EC48BD66AF15}"/>
          </ac:spMkLst>
        </pc:spChg>
        <pc:spChg chg="mod">
          <ac:chgData name="Sarah GAUVARD" userId="4c03e191-e154-482a-88b2-11de19eac96c" providerId="ADAL" clId="{8245CC27-65FB-483E-B8E7-D04039DBA80D}" dt="2021-05-24T16:09:27.875" v="15952" actId="790"/>
          <ac:spMkLst>
            <pc:docMk/>
            <pc:sldMk cId="3481177109" sldId="10365"/>
            <ac:spMk id="24" creationId="{C2FF144E-7C70-4F58-8690-D05F03C7B743}"/>
          </ac:spMkLst>
        </pc:spChg>
        <pc:spChg chg="mod">
          <ac:chgData name="Sarah GAUVARD" userId="4c03e191-e154-482a-88b2-11de19eac96c" providerId="ADAL" clId="{8245CC27-65FB-483E-B8E7-D04039DBA80D}" dt="2021-05-24T16:09:27.885" v="15967" actId="790"/>
          <ac:spMkLst>
            <pc:docMk/>
            <pc:sldMk cId="3481177109" sldId="10365"/>
            <ac:spMk id="25" creationId="{C1B3C97E-2579-4FEA-8968-54D9B75B13A4}"/>
          </ac:spMkLst>
        </pc:spChg>
        <pc:spChg chg="mod">
          <ac:chgData name="Sarah GAUVARD" userId="4c03e191-e154-482a-88b2-11de19eac96c" providerId="ADAL" clId="{8245CC27-65FB-483E-B8E7-D04039DBA80D}" dt="2021-05-24T16:09:27.875" v="15953" actId="790"/>
          <ac:spMkLst>
            <pc:docMk/>
            <pc:sldMk cId="3481177109" sldId="10365"/>
            <ac:spMk id="43" creationId="{C59EF210-5B50-40A7-A6B4-DDAD799020BA}"/>
          </ac:spMkLst>
        </pc:spChg>
        <pc:spChg chg="mod">
          <ac:chgData name="Sarah GAUVARD" userId="4c03e191-e154-482a-88b2-11de19eac96c" providerId="ADAL" clId="{8245CC27-65FB-483E-B8E7-D04039DBA80D}" dt="2021-05-24T16:09:27.875" v="15954" actId="790"/>
          <ac:spMkLst>
            <pc:docMk/>
            <pc:sldMk cId="3481177109" sldId="10365"/>
            <ac:spMk id="45" creationId="{A30046C9-7286-442E-B5D2-9182D2F71B12}"/>
          </ac:spMkLst>
        </pc:spChg>
        <pc:spChg chg="mod">
          <ac:chgData name="Sarah GAUVARD" userId="4c03e191-e154-482a-88b2-11de19eac96c" providerId="ADAL" clId="{8245CC27-65FB-483E-B8E7-D04039DBA80D}" dt="2021-05-24T16:09:27.875" v="15955" actId="790"/>
          <ac:spMkLst>
            <pc:docMk/>
            <pc:sldMk cId="3481177109" sldId="10365"/>
            <ac:spMk id="56" creationId="{F37F2C7C-4651-46F1-B548-F75D15102AEA}"/>
          </ac:spMkLst>
        </pc:spChg>
        <pc:spChg chg="mod">
          <ac:chgData name="Sarah GAUVARD" userId="4c03e191-e154-482a-88b2-11de19eac96c" providerId="ADAL" clId="{8245CC27-65FB-483E-B8E7-D04039DBA80D}" dt="2021-05-24T16:09:27.875" v="15956" actId="790"/>
          <ac:spMkLst>
            <pc:docMk/>
            <pc:sldMk cId="3481177109" sldId="10365"/>
            <ac:spMk id="61" creationId="{86718822-02E2-4F9A-B0D6-5A2C08F0884A}"/>
          </ac:spMkLst>
        </pc:spChg>
        <pc:spChg chg="mod">
          <ac:chgData name="Sarah GAUVARD" userId="4c03e191-e154-482a-88b2-11de19eac96c" providerId="ADAL" clId="{8245CC27-65FB-483E-B8E7-D04039DBA80D}" dt="2021-05-24T16:09:27.875" v="15957" actId="790"/>
          <ac:spMkLst>
            <pc:docMk/>
            <pc:sldMk cId="3481177109" sldId="10365"/>
            <ac:spMk id="74" creationId="{DD8929B4-3FC0-4A80-B005-DECF49E5F03E}"/>
          </ac:spMkLst>
        </pc:spChg>
        <pc:spChg chg="mod">
          <ac:chgData name="Sarah GAUVARD" userId="4c03e191-e154-482a-88b2-11de19eac96c" providerId="ADAL" clId="{8245CC27-65FB-483E-B8E7-D04039DBA80D}" dt="2021-05-24T16:09:27.903" v="15992" actId="790"/>
          <ac:spMkLst>
            <pc:docMk/>
            <pc:sldMk cId="3481177109" sldId="10365"/>
            <ac:spMk id="84" creationId="{F3F4C91C-743E-4444-AECA-0D6841521732}"/>
          </ac:spMkLst>
        </pc:spChg>
        <pc:spChg chg="mod">
          <ac:chgData name="Sarah GAUVARD" userId="4c03e191-e154-482a-88b2-11de19eac96c" providerId="ADAL" clId="{8245CC27-65FB-483E-B8E7-D04039DBA80D}" dt="2021-05-24T16:09:27.875" v="15958" actId="790"/>
          <ac:spMkLst>
            <pc:docMk/>
            <pc:sldMk cId="3481177109" sldId="10365"/>
            <ac:spMk id="85" creationId="{2D2CFECC-1DAE-45A7-BC98-5B3781537431}"/>
          </ac:spMkLst>
        </pc:spChg>
        <pc:spChg chg="mod">
          <ac:chgData name="Sarah GAUVARD" userId="4c03e191-e154-482a-88b2-11de19eac96c" providerId="ADAL" clId="{8245CC27-65FB-483E-B8E7-D04039DBA80D}" dt="2021-05-24T16:09:27.903" v="15993" actId="790"/>
          <ac:spMkLst>
            <pc:docMk/>
            <pc:sldMk cId="3481177109" sldId="10365"/>
            <ac:spMk id="86" creationId="{652974F9-0AD6-4BFB-AFF5-C0C3FC6F5C77}"/>
          </ac:spMkLst>
        </pc:spChg>
        <pc:spChg chg="mod">
          <ac:chgData name="Sarah GAUVARD" userId="4c03e191-e154-482a-88b2-11de19eac96c" providerId="ADAL" clId="{8245CC27-65FB-483E-B8E7-D04039DBA80D}" dt="2021-05-24T16:09:27.895" v="15976" actId="790"/>
          <ac:spMkLst>
            <pc:docMk/>
            <pc:sldMk cId="3481177109" sldId="10365"/>
            <ac:spMk id="89" creationId="{B47A3DB8-9139-48EF-A1D5-332DFA662FE1}"/>
          </ac:spMkLst>
        </pc:spChg>
        <pc:spChg chg="mod">
          <ac:chgData name="Sarah GAUVARD" userId="4c03e191-e154-482a-88b2-11de19eac96c" providerId="ADAL" clId="{8245CC27-65FB-483E-B8E7-D04039DBA80D}" dt="2021-05-24T16:09:27.895" v="15977" actId="790"/>
          <ac:spMkLst>
            <pc:docMk/>
            <pc:sldMk cId="3481177109" sldId="10365"/>
            <ac:spMk id="90" creationId="{C66CF5E1-B6D0-4D96-BE64-98F9EAE4B375}"/>
          </ac:spMkLst>
        </pc:spChg>
        <pc:spChg chg="mod">
          <ac:chgData name="Sarah GAUVARD" userId="4c03e191-e154-482a-88b2-11de19eac96c" providerId="ADAL" clId="{8245CC27-65FB-483E-B8E7-D04039DBA80D}" dt="2021-05-24T16:09:27.875" v="15959" actId="790"/>
          <ac:spMkLst>
            <pc:docMk/>
            <pc:sldMk cId="3481177109" sldId="10365"/>
            <ac:spMk id="91" creationId="{7D5F7D48-55E2-4B20-BCE4-576336C3156A}"/>
          </ac:spMkLst>
        </pc:spChg>
        <pc:spChg chg="mod">
          <ac:chgData name="Sarah GAUVARD" userId="4c03e191-e154-482a-88b2-11de19eac96c" providerId="ADAL" clId="{8245CC27-65FB-483E-B8E7-D04039DBA80D}" dt="2021-05-24T16:09:27.895" v="15978" actId="790"/>
          <ac:spMkLst>
            <pc:docMk/>
            <pc:sldMk cId="3481177109" sldId="10365"/>
            <ac:spMk id="92" creationId="{67FF61C9-18C3-4997-B836-C9A4DE5C0B1A}"/>
          </ac:spMkLst>
        </pc:spChg>
        <pc:spChg chg="mod">
          <ac:chgData name="Sarah GAUVARD" userId="4c03e191-e154-482a-88b2-11de19eac96c" providerId="ADAL" clId="{8245CC27-65FB-483E-B8E7-D04039DBA80D}" dt="2021-05-24T16:09:27.903" v="15994" actId="790"/>
          <ac:spMkLst>
            <pc:docMk/>
            <pc:sldMk cId="3481177109" sldId="10365"/>
            <ac:spMk id="98" creationId="{9CBF02D0-6E6C-443D-BD28-BADFE60CE816}"/>
          </ac:spMkLst>
        </pc:spChg>
        <pc:spChg chg="mod">
          <ac:chgData name="Sarah GAUVARD" userId="4c03e191-e154-482a-88b2-11de19eac96c" providerId="ADAL" clId="{8245CC27-65FB-483E-B8E7-D04039DBA80D}" dt="2021-05-24T16:09:27.903" v="15988" actId="790"/>
          <ac:spMkLst>
            <pc:docMk/>
            <pc:sldMk cId="3481177109" sldId="10365"/>
            <ac:spMk id="99" creationId="{0728E46C-D470-4FB7-8B67-755380F9091D}"/>
          </ac:spMkLst>
        </pc:spChg>
        <pc:spChg chg="mod">
          <ac:chgData name="Sarah GAUVARD" userId="4c03e191-e154-482a-88b2-11de19eac96c" providerId="ADAL" clId="{8245CC27-65FB-483E-B8E7-D04039DBA80D}" dt="2021-05-24T16:09:27.903" v="15989" actId="790"/>
          <ac:spMkLst>
            <pc:docMk/>
            <pc:sldMk cId="3481177109" sldId="10365"/>
            <ac:spMk id="100" creationId="{0A7B2634-5762-429B-9619-91CD098127C7}"/>
          </ac:spMkLst>
        </pc:spChg>
        <pc:spChg chg="mod">
          <ac:chgData name="Sarah GAUVARD" userId="4c03e191-e154-482a-88b2-11de19eac96c" providerId="ADAL" clId="{8245CC27-65FB-483E-B8E7-D04039DBA80D}" dt="2021-05-24T16:09:27.895" v="15979" actId="790"/>
          <ac:spMkLst>
            <pc:docMk/>
            <pc:sldMk cId="3481177109" sldId="10365"/>
            <ac:spMk id="101" creationId="{47E5C573-2437-48D3-83C0-A62206F6167E}"/>
          </ac:spMkLst>
        </pc:spChg>
        <pc:spChg chg="mod">
          <ac:chgData name="Sarah GAUVARD" userId="4c03e191-e154-482a-88b2-11de19eac96c" providerId="ADAL" clId="{8245CC27-65FB-483E-B8E7-D04039DBA80D}" dt="2021-05-24T16:09:27.895" v="15980" actId="790"/>
          <ac:spMkLst>
            <pc:docMk/>
            <pc:sldMk cId="3481177109" sldId="10365"/>
            <ac:spMk id="102" creationId="{0EF112A9-506F-46B1-918C-7F37B35F42FF}"/>
          </ac:spMkLst>
        </pc:spChg>
        <pc:spChg chg="mod">
          <ac:chgData name="Sarah GAUVARD" userId="4c03e191-e154-482a-88b2-11de19eac96c" providerId="ADAL" clId="{8245CC27-65FB-483E-B8E7-D04039DBA80D}" dt="2021-05-24T16:09:27.883" v="15960" actId="790"/>
          <ac:spMkLst>
            <pc:docMk/>
            <pc:sldMk cId="3481177109" sldId="10365"/>
            <ac:spMk id="110" creationId="{D112EAE9-1C24-4AF0-B3DD-273BF2FF5A59}"/>
          </ac:spMkLst>
        </pc:spChg>
        <pc:spChg chg="mod">
          <ac:chgData name="Sarah GAUVARD" userId="4c03e191-e154-482a-88b2-11de19eac96c" providerId="ADAL" clId="{8245CC27-65FB-483E-B8E7-D04039DBA80D}" dt="2021-05-24T16:09:27.883" v="15961" actId="790"/>
          <ac:spMkLst>
            <pc:docMk/>
            <pc:sldMk cId="3481177109" sldId="10365"/>
            <ac:spMk id="111" creationId="{9B916422-AB4B-4397-9CE1-E4BDD0AED7FE}"/>
          </ac:spMkLst>
        </pc:spChg>
        <pc:spChg chg="mod">
          <ac:chgData name="Sarah GAUVARD" userId="4c03e191-e154-482a-88b2-11de19eac96c" providerId="ADAL" clId="{8245CC27-65FB-483E-B8E7-D04039DBA80D}" dt="2021-05-24T16:09:27.903" v="15990" actId="790"/>
          <ac:spMkLst>
            <pc:docMk/>
            <pc:sldMk cId="3481177109" sldId="10365"/>
            <ac:spMk id="112" creationId="{ABC009E4-55F3-444B-BF59-1D6AF27B8ADA}"/>
          </ac:spMkLst>
        </pc:spChg>
        <pc:spChg chg="mod">
          <ac:chgData name="Sarah GAUVARD" userId="4c03e191-e154-482a-88b2-11de19eac96c" providerId="ADAL" clId="{8245CC27-65FB-483E-B8E7-D04039DBA80D}" dt="2021-05-24T16:09:27.895" v="15981" actId="790"/>
          <ac:spMkLst>
            <pc:docMk/>
            <pc:sldMk cId="3481177109" sldId="10365"/>
            <ac:spMk id="113" creationId="{8AB2B031-55F1-456D-A367-EF921531395A}"/>
          </ac:spMkLst>
        </pc:spChg>
        <pc:spChg chg="mod">
          <ac:chgData name="Sarah GAUVARD" userId="4c03e191-e154-482a-88b2-11de19eac96c" providerId="ADAL" clId="{8245CC27-65FB-483E-B8E7-D04039DBA80D}" dt="2021-05-24T16:09:27.903" v="15982" actId="790"/>
          <ac:spMkLst>
            <pc:docMk/>
            <pc:sldMk cId="3481177109" sldId="10365"/>
            <ac:spMk id="114" creationId="{06590379-9741-4022-9133-AEC4DE224495}"/>
          </ac:spMkLst>
        </pc:spChg>
        <pc:spChg chg="mod">
          <ac:chgData name="Sarah GAUVARD" userId="4c03e191-e154-482a-88b2-11de19eac96c" providerId="ADAL" clId="{8245CC27-65FB-483E-B8E7-D04039DBA80D}" dt="2021-05-24T16:09:27.903" v="15991" actId="790"/>
          <ac:spMkLst>
            <pc:docMk/>
            <pc:sldMk cId="3481177109" sldId="10365"/>
            <ac:spMk id="115" creationId="{28E51741-D57B-49B8-9576-30A70003A743}"/>
          </ac:spMkLst>
        </pc:spChg>
        <pc:spChg chg="mod">
          <ac:chgData name="Sarah GAUVARD" userId="4c03e191-e154-482a-88b2-11de19eac96c" providerId="ADAL" clId="{8245CC27-65FB-483E-B8E7-D04039DBA80D}" dt="2021-05-24T16:09:27.903" v="15995" actId="790"/>
          <ac:spMkLst>
            <pc:docMk/>
            <pc:sldMk cId="3481177109" sldId="10365"/>
            <ac:spMk id="116" creationId="{8488B800-D5B0-40AD-B3A9-9617E760D44D}"/>
          </ac:spMkLst>
        </pc:spChg>
        <pc:spChg chg="mod">
          <ac:chgData name="Sarah GAUVARD" userId="4c03e191-e154-482a-88b2-11de19eac96c" providerId="ADAL" clId="{8245CC27-65FB-483E-B8E7-D04039DBA80D}" dt="2021-05-24T16:09:27.903" v="15996" actId="790"/>
          <ac:spMkLst>
            <pc:docMk/>
            <pc:sldMk cId="3481177109" sldId="10365"/>
            <ac:spMk id="117" creationId="{77034DE9-3F95-4BC1-95CC-263F30060D00}"/>
          </ac:spMkLst>
        </pc:spChg>
        <pc:spChg chg="mod">
          <ac:chgData name="Sarah GAUVARD" userId="4c03e191-e154-482a-88b2-11de19eac96c" providerId="ADAL" clId="{8245CC27-65FB-483E-B8E7-D04039DBA80D}" dt="2021-05-24T16:09:27.903" v="15983" actId="790"/>
          <ac:spMkLst>
            <pc:docMk/>
            <pc:sldMk cId="3481177109" sldId="10365"/>
            <ac:spMk id="118" creationId="{0F1E82D3-6478-4EF5-A235-941CA9AC7A9D}"/>
          </ac:spMkLst>
        </pc:spChg>
        <pc:spChg chg="mod">
          <ac:chgData name="Sarah GAUVARD" userId="4c03e191-e154-482a-88b2-11de19eac96c" providerId="ADAL" clId="{8245CC27-65FB-483E-B8E7-D04039DBA80D}" dt="2021-05-24T16:09:27.903" v="15984" actId="790"/>
          <ac:spMkLst>
            <pc:docMk/>
            <pc:sldMk cId="3481177109" sldId="10365"/>
            <ac:spMk id="119" creationId="{B0FD5BF3-7754-42E2-BF6F-CA0E68277C45}"/>
          </ac:spMkLst>
        </pc:spChg>
        <pc:spChg chg="mod">
          <ac:chgData name="Sarah GAUVARD" userId="4c03e191-e154-482a-88b2-11de19eac96c" providerId="ADAL" clId="{8245CC27-65FB-483E-B8E7-D04039DBA80D}" dt="2021-05-24T16:09:27.903" v="15985" actId="790"/>
          <ac:spMkLst>
            <pc:docMk/>
            <pc:sldMk cId="3481177109" sldId="10365"/>
            <ac:spMk id="120" creationId="{69E76E60-0392-4B3A-80C6-9F0B75723180}"/>
          </ac:spMkLst>
        </pc:spChg>
        <pc:spChg chg="mod">
          <ac:chgData name="Sarah GAUVARD" userId="4c03e191-e154-482a-88b2-11de19eac96c" providerId="ADAL" clId="{8245CC27-65FB-483E-B8E7-D04039DBA80D}" dt="2021-05-24T16:09:27.913" v="15997" actId="790"/>
          <ac:spMkLst>
            <pc:docMk/>
            <pc:sldMk cId="3481177109" sldId="10365"/>
            <ac:spMk id="121" creationId="{265FE9A3-D207-4BB8-971F-530C2E3230F4}"/>
          </ac:spMkLst>
        </pc:spChg>
        <pc:spChg chg="mod">
          <ac:chgData name="Sarah GAUVARD" userId="4c03e191-e154-482a-88b2-11de19eac96c" providerId="ADAL" clId="{8245CC27-65FB-483E-B8E7-D04039DBA80D}" dt="2021-05-24T16:09:27.913" v="15998" actId="790"/>
          <ac:spMkLst>
            <pc:docMk/>
            <pc:sldMk cId="3481177109" sldId="10365"/>
            <ac:spMk id="122" creationId="{DA342386-E20C-4E21-A3A1-6FC6959D5FE0}"/>
          </ac:spMkLst>
        </pc:spChg>
        <pc:spChg chg="mod">
          <ac:chgData name="Sarah GAUVARD" userId="4c03e191-e154-482a-88b2-11de19eac96c" providerId="ADAL" clId="{8245CC27-65FB-483E-B8E7-D04039DBA80D}" dt="2021-05-24T16:09:27.913" v="15999" actId="790"/>
          <ac:spMkLst>
            <pc:docMk/>
            <pc:sldMk cId="3481177109" sldId="10365"/>
            <ac:spMk id="123" creationId="{7B7FAAE5-C0B8-4F91-A90C-5DA3A9782F98}"/>
          </ac:spMkLst>
        </pc:spChg>
        <pc:spChg chg="mod">
          <ac:chgData name="Sarah GAUVARD" userId="4c03e191-e154-482a-88b2-11de19eac96c" providerId="ADAL" clId="{8245CC27-65FB-483E-B8E7-D04039DBA80D}" dt="2021-05-24T16:09:27.885" v="15962" actId="790"/>
          <ac:spMkLst>
            <pc:docMk/>
            <pc:sldMk cId="3481177109" sldId="10365"/>
            <ac:spMk id="132" creationId="{1A3DE5F6-DC50-4B3E-8712-4F7931E9D3D4}"/>
          </ac:spMkLst>
        </pc:spChg>
        <pc:spChg chg="mod">
          <ac:chgData name="Sarah GAUVARD" userId="4c03e191-e154-482a-88b2-11de19eac96c" providerId="ADAL" clId="{8245CC27-65FB-483E-B8E7-D04039DBA80D}" dt="2021-05-24T16:09:27.885" v="15963" actId="790"/>
          <ac:spMkLst>
            <pc:docMk/>
            <pc:sldMk cId="3481177109" sldId="10365"/>
            <ac:spMk id="133" creationId="{DC661DF3-2B60-4258-8A3C-6DA55E7974BD}"/>
          </ac:spMkLst>
        </pc:spChg>
        <pc:spChg chg="mod">
          <ac:chgData name="Sarah GAUVARD" userId="4c03e191-e154-482a-88b2-11de19eac96c" providerId="ADAL" clId="{8245CC27-65FB-483E-B8E7-D04039DBA80D}" dt="2021-05-24T16:09:27.885" v="15964" actId="790"/>
          <ac:spMkLst>
            <pc:docMk/>
            <pc:sldMk cId="3481177109" sldId="10365"/>
            <ac:spMk id="134" creationId="{D5795A40-7B7E-4315-876A-A38D6610B661}"/>
          </ac:spMkLst>
        </pc:spChg>
        <pc:spChg chg="mod">
          <ac:chgData name="Sarah GAUVARD" userId="4c03e191-e154-482a-88b2-11de19eac96c" providerId="ADAL" clId="{8245CC27-65FB-483E-B8E7-D04039DBA80D}" dt="2021-05-24T16:09:27.885" v="15970" actId="790"/>
          <ac:spMkLst>
            <pc:docMk/>
            <pc:sldMk cId="3481177109" sldId="10365"/>
            <ac:spMk id="135" creationId="{B7212166-4E04-47ED-9DA9-C1A5FADABEC1}"/>
          </ac:spMkLst>
        </pc:spChg>
        <pc:spChg chg="mod">
          <ac:chgData name="Sarah GAUVARD" userId="4c03e191-e154-482a-88b2-11de19eac96c" providerId="ADAL" clId="{8245CC27-65FB-483E-B8E7-D04039DBA80D}" dt="2021-05-24T16:09:27.885" v="15966" actId="790"/>
          <ac:spMkLst>
            <pc:docMk/>
            <pc:sldMk cId="3481177109" sldId="10365"/>
            <ac:spMk id="137" creationId="{AF67C425-8708-4B3E-9B2A-E5C85D989489}"/>
          </ac:spMkLst>
        </pc:spChg>
        <pc:spChg chg="mod">
          <ac:chgData name="Sarah GAUVARD" userId="4c03e191-e154-482a-88b2-11de19eac96c" providerId="ADAL" clId="{8245CC27-65FB-483E-B8E7-D04039DBA80D}" dt="2021-05-24T16:09:27.885" v="15972" actId="790"/>
          <ac:spMkLst>
            <pc:docMk/>
            <pc:sldMk cId="3481177109" sldId="10365"/>
            <ac:spMk id="144" creationId="{A12B0534-66DF-4768-8E62-0C019FA2B7A6}"/>
          </ac:spMkLst>
        </pc:spChg>
        <pc:spChg chg="mod">
          <ac:chgData name="Sarah GAUVARD" userId="4c03e191-e154-482a-88b2-11de19eac96c" providerId="ADAL" clId="{8245CC27-65FB-483E-B8E7-D04039DBA80D}" dt="2021-05-24T16:09:27.893" v="15974" actId="790"/>
          <ac:spMkLst>
            <pc:docMk/>
            <pc:sldMk cId="3481177109" sldId="10365"/>
            <ac:spMk id="147" creationId="{73C5DEEC-4B4E-4C6B-9A80-A63E183C6F34}"/>
          </ac:spMkLst>
        </pc:spChg>
        <pc:spChg chg="mod">
          <ac:chgData name="Sarah GAUVARD" userId="4c03e191-e154-482a-88b2-11de19eac96c" providerId="ADAL" clId="{8245CC27-65FB-483E-B8E7-D04039DBA80D}" dt="2021-05-24T16:09:27.903" v="15986" actId="790"/>
          <ac:spMkLst>
            <pc:docMk/>
            <pc:sldMk cId="3481177109" sldId="10365"/>
            <ac:spMk id="151" creationId="{945919F5-1F6F-4979-90CA-397384E59334}"/>
          </ac:spMkLst>
        </pc:spChg>
        <pc:spChg chg="mod">
          <ac:chgData name="Sarah GAUVARD" userId="4c03e191-e154-482a-88b2-11de19eac96c" providerId="ADAL" clId="{8245CC27-65FB-483E-B8E7-D04039DBA80D}" dt="2021-05-24T16:09:27.903" v="15987" actId="790"/>
          <ac:spMkLst>
            <pc:docMk/>
            <pc:sldMk cId="3481177109" sldId="10365"/>
            <ac:spMk id="152" creationId="{2D48A5B8-C2CC-4F3A-B66A-BB33615C274E}"/>
          </ac:spMkLst>
        </pc:spChg>
        <pc:spChg chg="mod">
          <ac:chgData name="Sarah GAUVARD" userId="4c03e191-e154-482a-88b2-11de19eac96c" providerId="ADAL" clId="{8245CC27-65FB-483E-B8E7-D04039DBA80D}" dt="2021-05-24T16:09:27.885" v="15968" actId="790"/>
          <ac:spMkLst>
            <pc:docMk/>
            <pc:sldMk cId="3481177109" sldId="10365"/>
            <ac:spMk id="160" creationId="{A8A94204-7780-44D2-9F69-E6D88D81CCC9}"/>
          </ac:spMkLst>
        </pc:spChg>
        <pc:spChg chg="mod">
          <ac:chgData name="Sarah GAUVARD" userId="4c03e191-e154-482a-88b2-11de19eac96c" providerId="ADAL" clId="{8245CC27-65FB-483E-B8E7-D04039DBA80D}" dt="2021-05-24T16:09:27.885" v="15969" actId="790"/>
          <ac:spMkLst>
            <pc:docMk/>
            <pc:sldMk cId="3481177109" sldId="10365"/>
            <ac:spMk id="162" creationId="{7C77AD03-3049-47E7-8DA8-DA2A5283D6AD}"/>
          </ac:spMkLst>
        </pc:spChg>
        <pc:spChg chg="mod">
          <ac:chgData name="Sarah GAUVARD" userId="4c03e191-e154-482a-88b2-11de19eac96c" providerId="ADAL" clId="{8245CC27-65FB-483E-B8E7-D04039DBA80D}" dt="2021-05-24T16:09:27.895" v="15975" actId="790"/>
          <ac:spMkLst>
            <pc:docMk/>
            <pc:sldMk cId="3481177109" sldId="10365"/>
            <ac:spMk id="174" creationId="{12430AE9-0E10-42CC-990F-04E0A3759BB1}"/>
          </ac:spMkLst>
        </pc:spChg>
        <pc:graphicFrameChg chg="mod">
          <ac:chgData name="Sarah GAUVARD" userId="4c03e191-e154-482a-88b2-11de19eac96c" providerId="ADAL" clId="{8245CC27-65FB-483E-B8E7-D04039DBA80D}" dt="2021-05-24T15:34:46.067" v="11875"/>
          <ac:graphicFrameMkLst>
            <pc:docMk/>
            <pc:sldMk cId="3481177109" sldId="10365"/>
            <ac:graphicFrameMk id="11" creationId="{C48D9184-70C7-408F-A3A8-B9C53D4015EC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481" v="15498" actId="790"/>
        <pc:sldMkLst>
          <pc:docMk/>
          <pc:sldMk cId="330702512" sldId="10369"/>
        </pc:sldMkLst>
        <pc:spChg chg="add del mod modVis">
          <ac:chgData name="Sarah GAUVARD" userId="4c03e191-e154-482a-88b2-11de19eac96c" providerId="ADAL" clId="{8245CC27-65FB-483E-B8E7-D04039DBA80D}" dt="2021-05-24T15:34:46.407" v="12043"/>
          <ac:spMkLst>
            <pc:docMk/>
            <pc:sldMk cId="330702512" sldId="10369"/>
            <ac:spMk id="2" creationId="{741BD9FD-A904-437A-9189-55B70A34A8FE}"/>
          </ac:spMkLst>
        </pc:spChg>
        <pc:spChg chg="mod">
          <ac:chgData name="Sarah GAUVARD" userId="4c03e191-e154-482a-88b2-11de19eac96c" providerId="ADAL" clId="{8245CC27-65FB-483E-B8E7-D04039DBA80D}" dt="2021-05-24T16:09:27.471" v="15487" actId="790"/>
          <ac:spMkLst>
            <pc:docMk/>
            <pc:sldMk cId="330702512" sldId="10369"/>
            <ac:spMk id="6" creationId="{32B89438-97F1-4509-BECF-A6230F6CA9E2}"/>
          </ac:spMkLst>
        </pc:spChg>
        <pc:spChg chg="mod">
          <ac:chgData name="Sarah GAUVARD" userId="4c03e191-e154-482a-88b2-11de19eac96c" providerId="ADAL" clId="{8245CC27-65FB-483E-B8E7-D04039DBA80D}" dt="2021-05-24T16:09:27.471" v="15486" actId="790"/>
          <ac:spMkLst>
            <pc:docMk/>
            <pc:sldMk cId="330702512" sldId="10369"/>
            <ac:spMk id="11" creationId="{2FAA6969-30E2-4F5B-AA44-122B557F5258}"/>
          </ac:spMkLst>
        </pc:spChg>
        <pc:spChg chg="mod">
          <ac:chgData name="Sarah GAUVARD" userId="4c03e191-e154-482a-88b2-11de19eac96c" providerId="ADAL" clId="{8245CC27-65FB-483E-B8E7-D04039DBA80D}" dt="2021-05-24T16:09:27.471" v="15488" actId="790"/>
          <ac:spMkLst>
            <pc:docMk/>
            <pc:sldMk cId="330702512" sldId="10369"/>
            <ac:spMk id="12" creationId="{CAE59F71-3A11-45D3-91ED-BB7437BAF64F}"/>
          </ac:spMkLst>
        </pc:spChg>
        <pc:spChg chg="mod">
          <ac:chgData name="Sarah GAUVARD" userId="4c03e191-e154-482a-88b2-11de19eac96c" providerId="ADAL" clId="{8245CC27-65FB-483E-B8E7-D04039DBA80D}" dt="2021-05-24T16:09:27.471" v="15489" actId="790"/>
          <ac:spMkLst>
            <pc:docMk/>
            <pc:sldMk cId="330702512" sldId="10369"/>
            <ac:spMk id="13" creationId="{97B677E7-CA86-4646-8BEC-57A1E9192264}"/>
          </ac:spMkLst>
        </pc:spChg>
        <pc:spChg chg="mod">
          <ac:chgData name="Sarah GAUVARD" userId="4c03e191-e154-482a-88b2-11de19eac96c" providerId="ADAL" clId="{8245CC27-65FB-483E-B8E7-D04039DBA80D}" dt="2021-05-24T16:09:27.471" v="15490" actId="790"/>
          <ac:spMkLst>
            <pc:docMk/>
            <pc:sldMk cId="330702512" sldId="10369"/>
            <ac:spMk id="14" creationId="{26947D34-5013-4CB6-A3AF-DC921FFA9E88}"/>
          </ac:spMkLst>
        </pc:spChg>
        <pc:spChg chg="mod">
          <ac:chgData name="Sarah GAUVARD" userId="4c03e191-e154-482a-88b2-11de19eac96c" providerId="ADAL" clId="{8245CC27-65FB-483E-B8E7-D04039DBA80D}" dt="2021-05-24T16:09:27.471" v="15491" actId="790"/>
          <ac:spMkLst>
            <pc:docMk/>
            <pc:sldMk cId="330702512" sldId="10369"/>
            <ac:spMk id="19" creationId="{75701275-CEEB-4CD6-A422-23B5CDE34CE8}"/>
          </ac:spMkLst>
        </pc:spChg>
        <pc:spChg chg="mod">
          <ac:chgData name="Sarah GAUVARD" userId="4c03e191-e154-482a-88b2-11de19eac96c" providerId="ADAL" clId="{8245CC27-65FB-483E-B8E7-D04039DBA80D}" dt="2021-05-24T16:09:27.471" v="15492" actId="790"/>
          <ac:spMkLst>
            <pc:docMk/>
            <pc:sldMk cId="330702512" sldId="10369"/>
            <ac:spMk id="20" creationId="{92817152-9E7E-48EA-8A2A-34E92B8BB36D}"/>
          </ac:spMkLst>
        </pc:spChg>
        <pc:spChg chg="mod">
          <ac:chgData name="Sarah GAUVARD" userId="4c03e191-e154-482a-88b2-11de19eac96c" providerId="ADAL" clId="{8245CC27-65FB-483E-B8E7-D04039DBA80D}" dt="2021-05-24T16:09:27.479" v="15493" actId="790"/>
          <ac:spMkLst>
            <pc:docMk/>
            <pc:sldMk cId="330702512" sldId="10369"/>
            <ac:spMk id="22" creationId="{8C718D08-FD9C-424C-BFCF-B4F41BB37EAA}"/>
          </ac:spMkLst>
        </pc:spChg>
        <pc:spChg chg="mod">
          <ac:chgData name="Sarah GAUVARD" userId="4c03e191-e154-482a-88b2-11de19eac96c" providerId="ADAL" clId="{8245CC27-65FB-483E-B8E7-D04039DBA80D}" dt="2021-05-24T16:09:27.479" v="15494" actId="790"/>
          <ac:spMkLst>
            <pc:docMk/>
            <pc:sldMk cId="330702512" sldId="10369"/>
            <ac:spMk id="23" creationId="{BDFC3A87-06F7-4E23-859D-9C7286A7466E}"/>
          </ac:spMkLst>
        </pc:spChg>
        <pc:spChg chg="mod">
          <ac:chgData name="Sarah GAUVARD" userId="4c03e191-e154-482a-88b2-11de19eac96c" providerId="ADAL" clId="{8245CC27-65FB-483E-B8E7-D04039DBA80D}" dt="2021-05-24T16:09:27.479" v="15495" actId="790"/>
          <ac:spMkLst>
            <pc:docMk/>
            <pc:sldMk cId="330702512" sldId="10369"/>
            <ac:spMk id="25" creationId="{66B5B82A-38EB-47E4-B4A1-53762F7FFB3D}"/>
          </ac:spMkLst>
        </pc:spChg>
        <pc:spChg chg="mod">
          <ac:chgData name="Sarah GAUVARD" userId="4c03e191-e154-482a-88b2-11de19eac96c" providerId="ADAL" clId="{8245CC27-65FB-483E-B8E7-D04039DBA80D}" dt="2021-05-24T16:09:27.481" v="15496" actId="790"/>
          <ac:spMkLst>
            <pc:docMk/>
            <pc:sldMk cId="330702512" sldId="10369"/>
            <ac:spMk id="27" creationId="{2F8704B1-979B-4AEE-9C6A-D7E18ED9BF30}"/>
          </ac:spMkLst>
        </pc:spChg>
        <pc:spChg chg="mod">
          <ac:chgData name="Sarah GAUVARD" userId="4c03e191-e154-482a-88b2-11de19eac96c" providerId="ADAL" clId="{8245CC27-65FB-483E-B8E7-D04039DBA80D}" dt="2021-05-24T16:09:27.481" v="15497" actId="790"/>
          <ac:spMkLst>
            <pc:docMk/>
            <pc:sldMk cId="330702512" sldId="10369"/>
            <ac:spMk id="28" creationId="{4031FE7F-8E48-42BA-A723-86E4FF433E47}"/>
          </ac:spMkLst>
        </pc:spChg>
        <pc:spChg chg="mod">
          <ac:chgData name="Sarah GAUVARD" userId="4c03e191-e154-482a-88b2-11de19eac96c" providerId="ADAL" clId="{8245CC27-65FB-483E-B8E7-D04039DBA80D}" dt="2021-05-24T16:09:27.481" v="15498" actId="790"/>
          <ac:spMkLst>
            <pc:docMk/>
            <pc:sldMk cId="330702512" sldId="10369"/>
            <ac:spMk id="29" creationId="{D8C804FD-6C95-42A0-97FA-0CBF12409DEE}"/>
          </ac:spMkLst>
        </pc:spChg>
        <pc:graphicFrameChg chg="mod">
          <ac:chgData name="Sarah GAUVARD" userId="4c03e191-e154-482a-88b2-11de19eac96c" providerId="ADAL" clId="{8245CC27-65FB-483E-B8E7-D04039DBA80D}" dt="2021-05-24T15:34:46.411" v="12045"/>
          <ac:graphicFrameMkLst>
            <pc:docMk/>
            <pc:sldMk cId="330702512" sldId="10369"/>
            <ac:graphicFrameMk id="26" creationId="{1E00D69F-B10F-4151-B895-79AA1E0FD75C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542" v="15550" actId="790"/>
        <pc:sldMkLst>
          <pc:docMk/>
          <pc:sldMk cId="2955721572" sldId="10370"/>
        </pc:sldMkLst>
        <pc:spChg chg="add del mod modVis">
          <ac:chgData name="Sarah GAUVARD" userId="4c03e191-e154-482a-88b2-11de19eac96c" providerId="ADAL" clId="{8245CC27-65FB-483E-B8E7-D04039DBA80D}" dt="2021-05-24T15:34:46.283" v="11989"/>
          <ac:spMkLst>
            <pc:docMk/>
            <pc:sldMk cId="2955721572" sldId="10370"/>
            <ac:spMk id="2" creationId="{9133516D-642D-40A2-90E4-348A11881E9D}"/>
          </ac:spMkLst>
        </pc:spChg>
        <pc:spChg chg="mod">
          <ac:chgData name="Sarah GAUVARD" userId="4c03e191-e154-482a-88b2-11de19eac96c" providerId="ADAL" clId="{8245CC27-65FB-483E-B8E7-D04039DBA80D}" dt="2021-05-24T16:09:27.481" v="15501" actId="790"/>
          <ac:spMkLst>
            <pc:docMk/>
            <pc:sldMk cId="2955721572" sldId="10370"/>
            <ac:spMk id="7" creationId="{F59BFDDC-63FF-4CDF-9FA9-5814668C648B}"/>
          </ac:spMkLst>
        </pc:spChg>
        <pc:spChg chg="mod">
          <ac:chgData name="Sarah GAUVARD" userId="4c03e191-e154-482a-88b2-11de19eac96c" providerId="ADAL" clId="{8245CC27-65FB-483E-B8E7-D04039DBA80D}" dt="2021-05-24T16:09:27.489" v="15507" actId="790"/>
          <ac:spMkLst>
            <pc:docMk/>
            <pc:sldMk cId="2955721572" sldId="10370"/>
            <ac:spMk id="15" creationId="{DD93510C-F212-4B9C-B4AA-7688C56AA57B}"/>
          </ac:spMkLst>
        </pc:spChg>
        <pc:spChg chg="mod">
          <ac:chgData name="Sarah GAUVARD" userId="4c03e191-e154-482a-88b2-11de19eac96c" providerId="ADAL" clId="{8245CC27-65FB-483E-B8E7-D04039DBA80D}" dt="2021-05-24T16:09:27.489" v="15508" actId="790"/>
          <ac:spMkLst>
            <pc:docMk/>
            <pc:sldMk cId="2955721572" sldId="10370"/>
            <ac:spMk id="16" creationId="{DD2F7369-0B19-45E4-9E7D-D7A9CBB36DBF}"/>
          </ac:spMkLst>
        </pc:spChg>
        <pc:spChg chg="mod">
          <ac:chgData name="Sarah GAUVARD" userId="4c03e191-e154-482a-88b2-11de19eac96c" providerId="ADAL" clId="{8245CC27-65FB-483E-B8E7-D04039DBA80D}" dt="2021-05-24T16:09:27.491" v="15509" actId="790"/>
          <ac:spMkLst>
            <pc:docMk/>
            <pc:sldMk cId="2955721572" sldId="10370"/>
            <ac:spMk id="17" creationId="{35A2D263-F1E8-4336-805C-3A3C90578B9A}"/>
          </ac:spMkLst>
        </pc:spChg>
        <pc:spChg chg="mod">
          <ac:chgData name="Sarah GAUVARD" userId="4c03e191-e154-482a-88b2-11de19eac96c" providerId="ADAL" clId="{8245CC27-65FB-483E-B8E7-D04039DBA80D}" dt="2021-05-24T16:09:27.481" v="15503" actId="790"/>
          <ac:spMkLst>
            <pc:docMk/>
            <pc:sldMk cId="2955721572" sldId="10370"/>
            <ac:spMk id="30" creationId="{E210ECA7-4EC0-43B6-8991-3EE93D92563A}"/>
          </ac:spMkLst>
        </pc:spChg>
        <pc:spChg chg="mod">
          <ac:chgData name="Sarah GAUVARD" userId="4c03e191-e154-482a-88b2-11de19eac96c" providerId="ADAL" clId="{8245CC27-65FB-483E-B8E7-D04039DBA80D}" dt="2021-05-24T16:09:27.481" v="15504" actId="790"/>
          <ac:spMkLst>
            <pc:docMk/>
            <pc:sldMk cId="2955721572" sldId="10370"/>
            <ac:spMk id="32" creationId="{3D718E0A-6EB5-4EB6-A469-033DED5862ED}"/>
          </ac:spMkLst>
        </pc:spChg>
        <pc:spChg chg="mod">
          <ac:chgData name="Sarah GAUVARD" userId="4c03e191-e154-482a-88b2-11de19eac96c" providerId="ADAL" clId="{8245CC27-65FB-483E-B8E7-D04039DBA80D}" dt="2021-05-24T16:09:27.481" v="15505" actId="790"/>
          <ac:spMkLst>
            <pc:docMk/>
            <pc:sldMk cId="2955721572" sldId="10370"/>
            <ac:spMk id="33" creationId="{1425BC84-9BD6-40AE-8AA7-A449BE2DC074}"/>
          </ac:spMkLst>
        </pc:spChg>
        <pc:spChg chg="mod">
          <ac:chgData name="Sarah GAUVARD" userId="4c03e191-e154-482a-88b2-11de19eac96c" providerId="ADAL" clId="{8245CC27-65FB-483E-B8E7-D04039DBA80D}" dt="2021-05-24T16:09:27.481" v="15506" actId="790"/>
          <ac:spMkLst>
            <pc:docMk/>
            <pc:sldMk cId="2955721572" sldId="10370"/>
            <ac:spMk id="34" creationId="{96BFF402-7EE2-467A-A9EE-FC406996A703}"/>
          </ac:spMkLst>
        </pc:spChg>
        <pc:spChg chg="mod">
          <ac:chgData name="Sarah GAUVARD" userId="4c03e191-e154-482a-88b2-11de19eac96c" providerId="ADAL" clId="{8245CC27-65FB-483E-B8E7-D04039DBA80D}" dt="2021-05-24T16:09:27.491" v="15510" actId="790"/>
          <ac:spMkLst>
            <pc:docMk/>
            <pc:sldMk cId="2955721572" sldId="10370"/>
            <ac:spMk id="35" creationId="{6C60F887-CB3D-485B-83EC-84CECF5356FB}"/>
          </ac:spMkLst>
        </pc:spChg>
        <pc:spChg chg="mod">
          <ac:chgData name="Sarah GAUVARD" userId="4c03e191-e154-482a-88b2-11de19eac96c" providerId="ADAL" clId="{8245CC27-65FB-483E-B8E7-D04039DBA80D}" dt="2021-05-24T16:09:27.491" v="15511" actId="790"/>
          <ac:spMkLst>
            <pc:docMk/>
            <pc:sldMk cId="2955721572" sldId="10370"/>
            <ac:spMk id="36" creationId="{5703B377-341D-4D43-B2C4-5232194F7B9E}"/>
          </ac:spMkLst>
        </pc:spChg>
        <pc:spChg chg="mod">
          <ac:chgData name="Sarah GAUVARD" userId="4c03e191-e154-482a-88b2-11de19eac96c" providerId="ADAL" clId="{8245CC27-65FB-483E-B8E7-D04039DBA80D}" dt="2021-05-24T16:09:27.481" v="15502" actId="790"/>
          <ac:spMkLst>
            <pc:docMk/>
            <pc:sldMk cId="2955721572" sldId="10370"/>
            <ac:spMk id="39" creationId="{E13A1A57-0854-4DD7-BDFE-7BC27BD1A81F}"/>
          </ac:spMkLst>
        </pc:spChg>
        <pc:spChg chg="mod">
          <ac:chgData name="Sarah GAUVARD" userId="4c03e191-e154-482a-88b2-11de19eac96c" providerId="ADAL" clId="{8245CC27-65FB-483E-B8E7-D04039DBA80D}" dt="2021-05-24T16:09:27.481" v="15499" actId="790"/>
          <ac:spMkLst>
            <pc:docMk/>
            <pc:sldMk cId="2955721572" sldId="10370"/>
            <ac:spMk id="40" creationId="{60EEC324-686F-4C2B-9A86-1FD757E7F20F}"/>
          </ac:spMkLst>
        </pc:spChg>
        <pc:spChg chg="mod">
          <ac:chgData name="Sarah GAUVARD" userId="4c03e191-e154-482a-88b2-11de19eac96c" providerId="ADAL" clId="{8245CC27-65FB-483E-B8E7-D04039DBA80D}" dt="2021-05-24T16:09:27.481" v="15500" actId="790"/>
          <ac:spMkLst>
            <pc:docMk/>
            <pc:sldMk cId="2955721572" sldId="10370"/>
            <ac:spMk id="41" creationId="{6D8FCCD4-2F77-45E9-9A16-B87F84493FF2}"/>
          </ac:spMkLst>
        </pc:spChg>
        <pc:spChg chg="mod">
          <ac:chgData name="Sarah GAUVARD" userId="4c03e191-e154-482a-88b2-11de19eac96c" providerId="ADAL" clId="{8245CC27-65FB-483E-B8E7-D04039DBA80D}" dt="2021-05-24T16:09:27.501" v="15512" actId="790"/>
          <ac:spMkLst>
            <pc:docMk/>
            <pc:sldMk cId="2955721572" sldId="10370"/>
            <ac:spMk id="51" creationId="{770595CE-56EA-4DD0-846F-DD1BB6804D57}"/>
          </ac:spMkLst>
        </pc:spChg>
        <pc:spChg chg="mod">
          <ac:chgData name="Sarah GAUVARD" userId="4c03e191-e154-482a-88b2-11de19eac96c" providerId="ADAL" clId="{8245CC27-65FB-483E-B8E7-D04039DBA80D}" dt="2021-05-24T16:09:27.509" v="15513" actId="790"/>
          <ac:spMkLst>
            <pc:docMk/>
            <pc:sldMk cId="2955721572" sldId="10370"/>
            <ac:spMk id="68" creationId="{CB225B7D-E3BA-4249-84F2-8A9A346D1009}"/>
          </ac:spMkLst>
        </pc:spChg>
        <pc:spChg chg="mod">
          <ac:chgData name="Sarah GAUVARD" userId="4c03e191-e154-482a-88b2-11de19eac96c" providerId="ADAL" clId="{8245CC27-65FB-483E-B8E7-D04039DBA80D}" dt="2021-05-24T16:09:27.511" v="15514" actId="790"/>
          <ac:spMkLst>
            <pc:docMk/>
            <pc:sldMk cId="2955721572" sldId="10370"/>
            <ac:spMk id="69" creationId="{4CD8C0CC-AD38-47AC-900B-0B49D1D26529}"/>
          </ac:spMkLst>
        </pc:spChg>
        <pc:spChg chg="mod">
          <ac:chgData name="Sarah GAUVARD" userId="4c03e191-e154-482a-88b2-11de19eac96c" providerId="ADAL" clId="{8245CC27-65FB-483E-B8E7-D04039DBA80D}" dt="2021-05-24T16:09:27.511" v="15515" actId="790"/>
          <ac:spMkLst>
            <pc:docMk/>
            <pc:sldMk cId="2955721572" sldId="10370"/>
            <ac:spMk id="70" creationId="{EE95C7F8-515C-463E-8B44-7A99A290449C}"/>
          </ac:spMkLst>
        </pc:spChg>
        <pc:spChg chg="mod">
          <ac:chgData name="Sarah GAUVARD" userId="4c03e191-e154-482a-88b2-11de19eac96c" providerId="ADAL" clId="{8245CC27-65FB-483E-B8E7-D04039DBA80D}" dt="2021-05-24T16:09:27.511" v="15516" actId="790"/>
          <ac:spMkLst>
            <pc:docMk/>
            <pc:sldMk cId="2955721572" sldId="10370"/>
            <ac:spMk id="71" creationId="{4DCA7A5D-8D39-4876-8242-00D476A95DFD}"/>
          </ac:spMkLst>
        </pc:spChg>
        <pc:spChg chg="mod">
          <ac:chgData name="Sarah GAUVARD" userId="4c03e191-e154-482a-88b2-11de19eac96c" providerId="ADAL" clId="{8245CC27-65FB-483E-B8E7-D04039DBA80D}" dt="2021-05-24T16:09:27.511" v="15517" actId="790"/>
          <ac:spMkLst>
            <pc:docMk/>
            <pc:sldMk cId="2955721572" sldId="10370"/>
            <ac:spMk id="72" creationId="{73813AF5-2244-4CD9-9242-D0A844407EEA}"/>
          </ac:spMkLst>
        </pc:spChg>
        <pc:spChg chg="mod">
          <ac:chgData name="Sarah GAUVARD" userId="4c03e191-e154-482a-88b2-11de19eac96c" providerId="ADAL" clId="{8245CC27-65FB-483E-B8E7-D04039DBA80D}" dt="2021-05-24T16:09:27.511" v="15518" actId="790"/>
          <ac:spMkLst>
            <pc:docMk/>
            <pc:sldMk cId="2955721572" sldId="10370"/>
            <ac:spMk id="73" creationId="{6F8B7784-0C35-461C-98F9-25894FE9E4D7}"/>
          </ac:spMkLst>
        </pc:spChg>
        <pc:spChg chg="mod">
          <ac:chgData name="Sarah GAUVARD" userId="4c03e191-e154-482a-88b2-11de19eac96c" providerId="ADAL" clId="{8245CC27-65FB-483E-B8E7-D04039DBA80D}" dt="2021-05-24T16:09:27.511" v="15519" actId="790"/>
          <ac:spMkLst>
            <pc:docMk/>
            <pc:sldMk cId="2955721572" sldId="10370"/>
            <ac:spMk id="75" creationId="{052AA076-442D-4A70-9110-9952620C7892}"/>
          </ac:spMkLst>
        </pc:spChg>
        <pc:spChg chg="mod">
          <ac:chgData name="Sarah GAUVARD" userId="4c03e191-e154-482a-88b2-11de19eac96c" providerId="ADAL" clId="{8245CC27-65FB-483E-B8E7-D04039DBA80D}" dt="2021-05-24T16:09:27.511" v="15520" actId="790"/>
          <ac:spMkLst>
            <pc:docMk/>
            <pc:sldMk cId="2955721572" sldId="10370"/>
            <ac:spMk id="76" creationId="{0CCE2D43-2F7B-4A75-BB81-6B42A1503859}"/>
          </ac:spMkLst>
        </pc:spChg>
        <pc:spChg chg="mod">
          <ac:chgData name="Sarah GAUVARD" userId="4c03e191-e154-482a-88b2-11de19eac96c" providerId="ADAL" clId="{8245CC27-65FB-483E-B8E7-D04039DBA80D}" dt="2021-05-24T16:09:27.511" v="15521" actId="790"/>
          <ac:spMkLst>
            <pc:docMk/>
            <pc:sldMk cId="2955721572" sldId="10370"/>
            <ac:spMk id="77" creationId="{AA2343ED-B79C-4D54-B7A9-305C67F4F72B}"/>
          </ac:spMkLst>
        </pc:spChg>
        <pc:spChg chg="mod">
          <ac:chgData name="Sarah GAUVARD" userId="4c03e191-e154-482a-88b2-11de19eac96c" providerId="ADAL" clId="{8245CC27-65FB-483E-B8E7-D04039DBA80D}" dt="2021-05-24T16:09:27.511" v="15522" actId="790"/>
          <ac:spMkLst>
            <pc:docMk/>
            <pc:sldMk cId="2955721572" sldId="10370"/>
            <ac:spMk id="78" creationId="{09EB7E70-E288-4D1F-874B-64A138590EE5}"/>
          </ac:spMkLst>
        </pc:spChg>
        <pc:spChg chg="mod">
          <ac:chgData name="Sarah GAUVARD" userId="4c03e191-e154-482a-88b2-11de19eac96c" providerId="ADAL" clId="{8245CC27-65FB-483E-B8E7-D04039DBA80D}" dt="2021-05-24T16:09:27.519" v="15523" actId="790"/>
          <ac:spMkLst>
            <pc:docMk/>
            <pc:sldMk cId="2955721572" sldId="10370"/>
            <ac:spMk id="87" creationId="{D71FFEC0-7794-4D28-981E-1403FA8895E5}"/>
          </ac:spMkLst>
        </pc:spChg>
        <pc:spChg chg="mod">
          <ac:chgData name="Sarah GAUVARD" userId="4c03e191-e154-482a-88b2-11de19eac96c" providerId="ADAL" clId="{8245CC27-65FB-483E-B8E7-D04039DBA80D}" dt="2021-05-24T16:09:27.519" v="15524" actId="790"/>
          <ac:spMkLst>
            <pc:docMk/>
            <pc:sldMk cId="2955721572" sldId="10370"/>
            <ac:spMk id="88" creationId="{DA06BE83-AD0A-48CF-B904-30432E68B274}"/>
          </ac:spMkLst>
        </pc:spChg>
        <pc:spChg chg="mod">
          <ac:chgData name="Sarah GAUVARD" userId="4c03e191-e154-482a-88b2-11de19eac96c" providerId="ADAL" clId="{8245CC27-65FB-483E-B8E7-D04039DBA80D}" dt="2021-05-24T16:09:27.519" v="15525" actId="790"/>
          <ac:spMkLst>
            <pc:docMk/>
            <pc:sldMk cId="2955721572" sldId="10370"/>
            <ac:spMk id="89" creationId="{005E1D50-BFC5-4CA1-B008-782BA0A20D2E}"/>
          </ac:spMkLst>
        </pc:spChg>
        <pc:spChg chg="mod">
          <ac:chgData name="Sarah GAUVARD" userId="4c03e191-e154-482a-88b2-11de19eac96c" providerId="ADAL" clId="{8245CC27-65FB-483E-B8E7-D04039DBA80D}" dt="2021-05-24T16:09:27.519" v="15526" actId="790"/>
          <ac:spMkLst>
            <pc:docMk/>
            <pc:sldMk cId="2955721572" sldId="10370"/>
            <ac:spMk id="90" creationId="{92D1D856-8175-4620-AD40-7791DEAEA0FE}"/>
          </ac:spMkLst>
        </pc:spChg>
        <pc:spChg chg="mod">
          <ac:chgData name="Sarah GAUVARD" userId="4c03e191-e154-482a-88b2-11de19eac96c" providerId="ADAL" clId="{8245CC27-65FB-483E-B8E7-D04039DBA80D}" dt="2021-05-24T16:09:27.519" v="15527" actId="790"/>
          <ac:spMkLst>
            <pc:docMk/>
            <pc:sldMk cId="2955721572" sldId="10370"/>
            <ac:spMk id="91" creationId="{EC8A4F76-FD93-4C6B-934A-FB7C1AC379E2}"/>
          </ac:spMkLst>
        </pc:spChg>
        <pc:spChg chg="mod">
          <ac:chgData name="Sarah GAUVARD" userId="4c03e191-e154-482a-88b2-11de19eac96c" providerId="ADAL" clId="{8245CC27-65FB-483E-B8E7-D04039DBA80D}" dt="2021-05-24T16:09:27.519" v="15528" actId="790"/>
          <ac:spMkLst>
            <pc:docMk/>
            <pc:sldMk cId="2955721572" sldId="10370"/>
            <ac:spMk id="92" creationId="{5DBD9F8B-563B-43A1-B3BB-A3552A3D3A79}"/>
          </ac:spMkLst>
        </pc:spChg>
        <pc:spChg chg="mod">
          <ac:chgData name="Sarah GAUVARD" userId="4c03e191-e154-482a-88b2-11de19eac96c" providerId="ADAL" clId="{8245CC27-65FB-483E-B8E7-D04039DBA80D}" dt="2021-05-24T16:09:27.519" v="15529" actId="790"/>
          <ac:spMkLst>
            <pc:docMk/>
            <pc:sldMk cId="2955721572" sldId="10370"/>
            <ac:spMk id="93" creationId="{DD0AA138-44E1-4579-83DC-80DCF5B37037}"/>
          </ac:spMkLst>
        </pc:spChg>
        <pc:spChg chg="mod">
          <ac:chgData name="Sarah GAUVARD" userId="4c03e191-e154-482a-88b2-11de19eac96c" providerId="ADAL" clId="{8245CC27-65FB-483E-B8E7-D04039DBA80D}" dt="2021-05-24T16:09:27.530" v="15530" actId="790"/>
          <ac:spMkLst>
            <pc:docMk/>
            <pc:sldMk cId="2955721572" sldId="10370"/>
            <ac:spMk id="95" creationId="{1FB352C0-1F8E-4E4D-A3F3-D87C6F1D5C4F}"/>
          </ac:spMkLst>
        </pc:spChg>
        <pc:spChg chg="mod">
          <ac:chgData name="Sarah GAUVARD" userId="4c03e191-e154-482a-88b2-11de19eac96c" providerId="ADAL" clId="{8245CC27-65FB-483E-B8E7-D04039DBA80D}" dt="2021-05-24T16:09:27.530" v="15531" actId="790"/>
          <ac:spMkLst>
            <pc:docMk/>
            <pc:sldMk cId="2955721572" sldId="10370"/>
            <ac:spMk id="97" creationId="{15DB12A6-B5E2-43FF-932E-F0EA8EE26E58}"/>
          </ac:spMkLst>
        </pc:spChg>
        <pc:spChg chg="mod">
          <ac:chgData name="Sarah GAUVARD" userId="4c03e191-e154-482a-88b2-11de19eac96c" providerId="ADAL" clId="{8245CC27-65FB-483E-B8E7-D04039DBA80D}" dt="2021-05-24T16:09:27.532" v="15532" actId="790"/>
          <ac:spMkLst>
            <pc:docMk/>
            <pc:sldMk cId="2955721572" sldId="10370"/>
            <ac:spMk id="99" creationId="{926DA456-7CF3-485F-BCBE-865D187117DA}"/>
          </ac:spMkLst>
        </pc:spChg>
        <pc:spChg chg="mod">
          <ac:chgData name="Sarah GAUVARD" userId="4c03e191-e154-482a-88b2-11de19eac96c" providerId="ADAL" clId="{8245CC27-65FB-483E-B8E7-D04039DBA80D}" dt="2021-05-24T16:09:27.532" v="15533" actId="790"/>
          <ac:spMkLst>
            <pc:docMk/>
            <pc:sldMk cId="2955721572" sldId="10370"/>
            <ac:spMk id="101" creationId="{7F7BB965-1646-4AC3-9773-7C202DC198CB}"/>
          </ac:spMkLst>
        </pc:spChg>
        <pc:spChg chg="mod">
          <ac:chgData name="Sarah GAUVARD" userId="4c03e191-e154-482a-88b2-11de19eac96c" providerId="ADAL" clId="{8245CC27-65FB-483E-B8E7-D04039DBA80D}" dt="2021-05-24T16:09:27.532" v="15534" actId="790"/>
          <ac:spMkLst>
            <pc:docMk/>
            <pc:sldMk cId="2955721572" sldId="10370"/>
            <ac:spMk id="103" creationId="{651785F5-4779-4A80-B920-961EC7066FA3}"/>
          </ac:spMkLst>
        </pc:spChg>
        <pc:spChg chg="mod">
          <ac:chgData name="Sarah GAUVARD" userId="4c03e191-e154-482a-88b2-11de19eac96c" providerId="ADAL" clId="{8245CC27-65FB-483E-B8E7-D04039DBA80D}" dt="2021-05-24T16:09:27.532" v="15535" actId="790"/>
          <ac:spMkLst>
            <pc:docMk/>
            <pc:sldMk cId="2955721572" sldId="10370"/>
            <ac:spMk id="105" creationId="{0ACAFE08-962E-4BC8-8D72-1E07950C5209}"/>
          </ac:spMkLst>
        </pc:spChg>
        <pc:spChg chg="mod">
          <ac:chgData name="Sarah GAUVARD" userId="4c03e191-e154-482a-88b2-11de19eac96c" providerId="ADAL" clId="{8245CC27-65FB-483E-B8E7-D04039DBA80D}" dt="2021-05-24T16:09:27.532" v="15536" actId="790"/>
          <ac:spMkLst>
            <pc:docMk/>
            <pc:sldMk cId="2955721572" sldId="10370"/>
            <ac:spMk id="106" creationId="{415C1887-4D6A-4BFA-A542-AB31F35B094F}"/>
          </ac:spMkLst>
        </pc:spChg>
        <pc:spChg chg="mod">
          <ac:chgData name="Sarah GAUVARD" userId="4c03e191-e154-482a-88b2-11de19eac96c" providerId="ADAL" clId="{8245CC27-65FB-483E-B8E7-D04039DBA80D}" dt="2021-05-24T16:09:27.532" v="15537" actId="790"/>
          <ac:spMkLst>
            <pc:docMk/>
            <pc:sldMk cId="2955721572" sldId="10370"/>
            <ac:spMk id="109" creationId="{36D5C66A-85B6-4A41-A70D-74703A42ADC6}"/>
          </ac:spMkLst>
        </pc:spChg>
        <pc:spChg chg="mod">
          <ac:chgData name="Sarah GAUVARD" userId="4c03e191-e154-482a-88b2-11de19eac96c" providerId="ADAL" clId="{8245CC27-65FB-483E-B8E7-D04039DBA80D}" dt="2021-05-24T16:09:27.532" v="15538" actId="790"/>
          <ac:spMkLst>
            <pc:docMk/>
            <pc:sldMk cId="2955721572" sldId="10370"/>
            <ac:spMk id="110" creationId="{47E92894-6CE3-43BE-80DC-0F76B5DF980F}"/>
          </ac:spMkLst>
        </pc:spChg>
        <pc:spChg chg="mod">
          <ac:chgData name="Sarah GAUVARD" userId="4c03e191-e154-482a-88b2-11de19eac96c" providerId="ADAL" clId="{8245CC27-65FB-483E-B8E7-D04039DBA80D}" dt="2021-05-24T16:09:27.532" v="15539" actId="790"/>
          <ac:spMkLst>
            <pc:docMk/>
            <pc:sldMk cId="2955721572" sldId="10370"/>
            <ac:spMk id="113" creationId="{0C095A33-38E5-462F-8A7A-E62A8E98D55C}"/>
          </ac:spMkLst>
        </pc:spChg>
        <pc:spChg chg="mod">
          <ac:chgData name="Sarah GAUVARD" userId="4c03e191-e154-482a-88b2-11de19eac96c" providerId="ADAL" clId="{8245CC27-65FB-483E-B8E7-D04039DBA80D}" dt="2021-05-24T16:09:27.540" v="15540" actId="790"/>
          <ac:spMkLst>
            <pc:docMk/>
            <pc:sldMk cId="2955721572" sldId="10370"/>
            <ac:spMk id="114" creationId="{A85051FB-B96C-4561-9949-AE0A210DCEF7}"/>
          </ac:spMkLst>
        </pc:spChg>
        <pc:spChg chg="mod">
          <ac:chgData name="Sarah GAUVARD" userId="4c03e191-e154-482a-88b2-11de19eac96c" providerId="ADAL" clId="{8245CC27-65FB-483E-B8E7-D04039DBA80D}" dt="2021-05-24T16:09:27.540" v="15541" actId="790"/>
          <ac:spMkLst>
            <pc:docMk/>
            <pc:sldMk cId="2955721572" sldId="10370"/>
            <ac:spMk id="117" creationId="{DBAD1338-6574-407E-A6BE-CF70C12CF161}"/>
          </ac:spMkLst>
        </pc:spChg>
        <pc:spChg chg="mod">
          <ac:chgData name="Sarah GAUVARD" userId="4c03e191-e154-482a-88b2-11de19eac96c" providerId="ADAL" clId="{8245CC27-65FB-483E-B8E7-D04039DBA80D}" dt="2021-05-24T16:09:27.542" v="15542" actId="790"/>
          <ac:spMkLst>
            <pc:docMk/>
            <pc:sldMk cId="2955721572" sldId="10370"/>
            <ac:spMk id="118" creationId="{6CC80E4F-5AF6-43ED-BF86-E4E441DAE0FE}"/>
          </ac:spMkLst>
        </pc:spChg>
        <pc:spChg chg="mod">
          <ac:chgData name="Sarah GAUVARD" userId="4c03e191-e154-482a-88b2-11de19eac96c" providerId="ADAL" clId="{8245CC27-65FB-483E-B8E7-D04039DBA80D}" dt="2021-05-24T16:09:27.542" v="15543" actId="790"/>
          <ac:spMkLst>
            <pc:docMk/>
            <pc:sldMk cId="2955721572" sldId="10370"/>
            <ac:spMk id="119" creationId="{7C8B8644-EF6E-4905-A0F5-5C2CD0B264C9}"/>
          </ac:spMkLst>
        </pc:spChg>
        <pc:spChg chg="mod">
          <ac:chgData name="Sarah GAUVARD" userId="4c03e191-e154-482a-88b2-11de19eac96c" providerId="ADAL" clId="{8245CC27-65FB-483E-B8E7-D04039DBA80D}" dt="2021-05-24T16:09:27.542" v="15544" actId="790"/>
          <ac:spMkLst>
            <pc:docMk/>
            <pc:sldMk cId="2955721572" sldId="10370"/>
            <ac:spMk id="120" creationId="{EF6A0361-72CE-4976-81E6-23CA720B0E0B}"/>
          </ac:spMkLst>
        </pc:spChg>
        <pc:spChg chg="mod">
          <ac:chgData name="Sarah GAUVARD" userId="4c03e191-e154-482a-88b2-11de19eac96c" providerId="ADAL" clId="{8245CC27-65FB-483E-B8E7-D04039DBA80D}" dt="2021-05-24T16:09:27.542" v="15545" actId="790"/>
          <ac:spMkLst>
            <pc:docMk/>
            <pc:sldMk cId="2955721572" sldId="10370"/>
            <ac:spMk id="121" creationId="{BFDCD2F7-D0DE-423D-8845-692BDD508BA2}"/>
          </ac:spMkLst>
        </pc:spChg>
        <pc:spChg chg="mod">
          <ac:chgData name="Sarah GAUVARD" userId="4c03e191-e154-482a-88b2-11de19eac96c" providerId="ADAL" clId="{8245CC27-65FB-483E-B8E7-D04039DBA80D}" dt="2021-05-24T16:09:27.542" v="15546" actId="790"/>
          <ac:spMkLst>
            <pc:docMk/>
            <pc:sldMk cId="2955721572" sldId="10370"/>
            <ac:spMk id="122" creationId="{C3E37837-414F-4553-98C1-7875D7F39D63}"/>
          </ac:spMkLst>
        </pc:spChg>
        <pc:spChg chg="mod">
          <ac:chgData name="Sarah GAUVARD" userId="4c03e191-e154-482a-88b2-11de19eac96c" providerId="ADAL" clId="{8245CC27-65FB-483E-B8E7-D04039DBA80D}" dt="2021-05-24T16:09:27.542" v="15547" actId="790"/>
          <ac:spMkLst>
            <pc:docMk/>
            <pc:sldMk cId="2955721572" sldId="10370"/>
            <ac:spMk id="123" creationId="{3EAEB141-8F44-4AC0-B379-C26EBB56770F}"/>
          </ac:spMkLst>
        </pc:spChg>
        <pc:spChg chg="mod">
          <ac:chgData name="Sarah GAUVARD" userId="4c03e191-e154-482a-88b2-11de19eac96c" providerId="ADAL" clId="{8245CC27-65FB-483E-B8E7-D04039DBA80D}" dt="2021-05-24T16:09:27.542" v="15548" actId="790"/>
          <ac:spMkLst>
            <pc:docMk/>
            <pc:sldMk cId="2955721572" sldId="10370"/>
            <ac:spMk id="124" creationId="{F8B1BC02-5DA3-4414-A10C-B724559E0F9C}"/>
          </ac:spMkLst>
        </pc:spChg>
        <pc:spChg chg="mod">
          <ac:chgData name="Sarah GAUVARD" userId="4c03e191-e154-482a-88b2-11de19eac96c" providerId="ADAL" clId="{8245CC27-65FB-483E-B8E7-D04039DBA80D}" dt="2021-05-24T16:09:27.542" v="15549" actId="790"/>
          <ac:spMkLst>
            <pc:docMk/>
            <pc:sldMk cId="2955721572" sldId="10370"/>
            <ac:spMk id="125" creationId="{065F8B71-F0F7-4D59-AB65-1218AEE2DAB7}"/>
          </ac:spMkLst>
        </pc:spChg>
        <pc:spChg chg="mod">
          <ac:chgData name="Sarah GAUVARD" userId="4c03e191-e154-482a-88b2-11de19eac96c" providerId="ADAL" clId="{8245CC27-65FB-483E-B8E7-D04039DBA80D}" dt="2021-05-24T16:09:27.542" v="15550" actId="790"/>
          <ac:spMkLst>
            <pc:docMk/>
            <pc:sldMk cId="2955721572" sldId="10370"/>
            <ac:spMk id="126" creationId="{EEE45712-275C-4D06-97CB-221815075B44}"/>
          </ac:spMkLst>
        </pc:spChg>
        <pc:graphicFrameChg chg="mod">
          <ac:chgData name="Sarah GAUVARD" userId="4c03e191-e154-482a-88b2-11de19eac96c" providerId="ADAL" clId="{8245CC27-65FB-483E-B8E7-D04039DBA80D}" dt="2021-05-24T15:34:46.287" v="11991"/>
          <ac:graphicFrameMkLst>
            <pc:docMk/>
            <pc:sldMk cId="2955721572" sldId="10370"/>
            <ac:graphicFrameMk id="74" creationId="{13F87AA8-9D06-4BBE-A4EF-68B245D429DA}"/>
          </ac:graphicFrameMkLst>
        </pc:graphicFrameChg>
      </pc:sldChg>
      <pc:sldChg chg="addSp delSp modSp mod ord">
        <pc:chgData name="Sarah GAUVARD" userId="4c03e191-e154-482a-88b2-11de19eac96c" providerId="ADAL" clId="{8245CC27-65FB-483E-B8E7-D04039DBA80D}" dt="2021-05-24T16:09:28.795" v="16791" actId="790"/>
        <pc:sldMkLst>
          <pc:docMk/>
          <pc:sldMk cId="928014684" sldId="10381"/>
        </pc:sldMkLst>
        <pc:spChg chg="mod">
          <ac:chgData name="Sarah GAUVARD" userId="4c03e191-e154-482a-88b2-11de19eac96c" providerId="ADAL" clId="{8245CC27-65FB-483E-B8E7-D04039DBA80D}" dt="2021-05-24T16:09:28.745" v="16740" actId="790"/>
          <ac:spMkLst>
            <pc:docMk/>
            <pc:sldMk cId="928014684" sldId="10381"/>
            <ac:spMk id="2" creationId="{F650F2D3-501E-420A-B1C2-0C0D75F1F375}"/>
          </ac:spMkLst>
        </pc:spChg>
        <pc:spChg chg="add del mod modVis">
          <ac:chgData name="Sarah GAUVARD" userId="4c03e191-e154-482a-88b2-11de19eac96c" providerId="ADAL" clId="{8245CC27-65FB-483E-B8E7-D04039DBA80D}" dt="2021-05-24T15:34:45.915" v="11788"/>
          <ac:spMkLst>
            <pc:docMk/>
            <pc:sldMk cId="928014684" sldId="10381"/>
            <ac:spMk id="3" creationId="{060FBA2B-DA9B-40FF-BABF-E9033F192AE7}"/>
          </ac:spMkLst>
        </pc:spChg>
        <pc:spChg chg="mod">
          <ac:chgData name="Sarah GAUVARD" userId="4c03e191-e154-482a-88b2-11de19eac96c" providerId="ADAL" clId="{8245CC27-65FB-483E-B8E7-D04039DBA80D}" dt="2021-05-24T16:09:28.755" v="16749" actId="790"/>
          <ac:spMkLst>
            <pc:docMk/>
            <pc:sldMk cId="928014684" sldId="10381"/>
            <ac:spMk id="5" creationId="{8D62D1CB-CECB-4FC8-AC33-69D9825C44E6}"/>
          </ac:spMkLst>
        </pc:spChg>
        <pc:spChg chg="mod">
          <ac:chgData name="Sarah GAUVARD" userId="4c03e191-e154-482a-88b2-11de19eac96c" providerId="ADAL" clId="{8245CC27-65FB-483E-B8E7-D04039DBA80D}" dt="2021-05-24T16:09:28.765" v="16752" actId="790"/>
          <ac:spMkLst>
            <pc:docMk/>
            <pc:sldMk cId="928014684" sldId="10381"/>
            <ac:spMk id="16" creationId="{4097B478-9F5D-45B4-A186-D4A1E6BB7550}"/>
          </ac:spMkLst>
        </pc:spChg>
        <pc:spChg chg="mod">
          <ac:chgData name="Sarah GAUVARD" userId="4c03e191-e154-482a-88b2-11de19eac96c" providerId="ADAL" clId="{8245CC27-65FB-483E-B8E7-D04039DBA80D}" dt="2021-05-24T16:09:28.755" v="16746" actId="790"/>
          <ac:spMkLst>
            <pc:docMk/>
            <pc:sldMk cId="928014684" sldId="10381"/>
            <ac:spMk id="17" creationId="{C0789EFE-9637-4F49-9BF8-ADFC35ADADA8}"/>
          </ac:spMkLst>
        </pc:spChg>
        <pc:spChg chg="mod">
          <ac:chgData name="Sarah GAUVARD" userId="4c03e191-e154-482a-88b2-11de19eac96c" providerId="ADAL" clId="{8245CC27-65FB-483E-B8E7-D04039DBA80D}" dt="2021-05-24T16:09:28.765" v="16753" actId="790"/>
          <ac:spMkLst>
            <pc:docMk/>
            <pc:sldMk cId="928014684" sldId="10381"/>
            <ac:spMk id="23" creationId="{A42B95F8-384C-428D-A9F7-F02119EB93B6}"/>
          </ac:spMkLst>
        </pc:spChg>
        <pc:spChg chg="mod">
          <ac:chgData name="Sarah GAUVARD" userId="4c03e191-e154-482a-88b2-11de19eac96c" providerId="ADAL" clId="{8245CC27-65FB-483E-B8E7-D04039DBA80D}" dt="2021-05-24T16:09:28.755" v="16748" actId="790"/>
          <ac:spMkLst>
            <pc:docMk/>
            <pc:sldMk cId="928014684" sldId="10381"/>
            <ac:spMk id="24" creationId="{FD650C8B-4EE8-4338-B832-2CF0044FDC39}"/>
          </ac:spMkLst>
        </pc:spChg>
        <pc:spChg chg="mod">
          <ac:chgData name="Sarah GAUVARD" userId="4c03e191-e154-482a-88b2-11de19eac96c" providerId="ADAL" clId="{8245CC27-65FB-483E-B8E7-D04039DBA80D}" dt="2021-05-24T16:09:28.765" v="16751" actId="790"/>
          <ac:spMkLst>
            <pc:docMk/>
            <pc:sldMk cId="928014684" sldId="10381"/>
            <ac:spMk id="48" creationId="{09E15757-5F08-4D22-BA2D-052419ABF6DC}"/>
          </ac:spMkLst>
        </pc:spChg>
        <pc:spChg chg="mod">
          <ac:chgData name="Sarah GAUVARD" userId="4c03e191-e154-482a-88b2-11de19eac96c" providerId="ADAL" clId="{8245CC27-65FB-483E-B8E7-D04039DBA80D}" dt="2021-05-24T16:09:28.765" v="16754" actId="790"/>
          <ac:spMkLst>
            <pc:docMk/>
            <pc:sldMk cId="928014684" sldId="10381"/>
            <ac:spMk id="52" creationId="{490B1055-3257-475A-8999-47D9AB2EEC11}"/>
          </ac:spMkLst>
        </pc:spChg>
        <pc:spChg chg="mod">
          <ac:chgData name="Sarah GAUVARD" userId="4c03e191-e154-482a-88b2-11de19eac96c" providerId="ADAL" clId="{8245CC27-65FB-483E-B8E7-D04039DBA80D}" dt="2021-05-24T16:09:28.765" v="16755" actId="790"/>
          <ac:spMkLst>
            <pc:docMk/>
            <pc:sldMk cId="928014684" sldId="10381"/>
            <ac:spMk id="54" creationId="{AEAA66D8-25CA-4D12-93D1-047EE256A639}"/>
          </ac:spMkLst>
        </pc:spChg>
        <pc:spChg chg="mod">
          <ac:chgData name="Sarah GAUVARD" userId="4c03e191-e154-482a-88b2-11de19eac96c" providerId="ADAL" clId="{8245CC27-65FB-483E-B8E7-D04039DBA80D}" dt="2021-05-24T16:09:28.765" v="16756" actId="790"/>
          <ac:spMkLst>
            <pc:docMk/>
            <pc:sldMk cId="928014684" sldId="10381"/>
            <ac:spMk id="55" creationId="{E9B602BB-1502-49FD-8A14-BA77512B9D8E}"/>
          </ac:spMkLst>
        </pc:spChg>
        <pc:spChg chg="mod">
          <ac:chgData name="Sarah GAUVARD" userId="4c03e191-e154-482a-88b2-11de19eac96c" providerId="ADAL" clId="{8245CC27-65FB-483E-B8E7-D04039DBA80D}" dt="2021-05-24T16:09:28.765" v="16757" actId="790"/>
          <ac:spMkLst>
            <pc:docMk/>
            <pc:sldMk cId="928014684" sldId="10381"/>
            <ac:spMk id="56" creationId="{3CC8D01A-4EA7-494E-ACE3-8A0556E31076}"/>
          </ac:spMkLst>
        </pc:spChg>
        <pc:spChg chg="mod">
          <ac:chgData name="Sarah GAUVARD" userId="4c03e191-e154-482a-88b2-11de19eac96c" providerId="ADAL" clId="{8245CC27-65FB-483E-B8E7-D04039DBA80D}" dt="2021-05-24T16:09:28.773" v="16759" actId="790"/>
          <ac:spMkLst>
            <pc:docMk/>
            <pc:sldMk cId="928014684" sldId="10381"/>
            <ac:spMk id="66" creationId="{1EC5F6DB-8E93-48B7-BE1A-16C1C840253A}"/>
          </ac:spMkLst>
        </pc:spChg>
        <pc:spChg chg="mod">
          <ac:chgData name="Sarah GAUVARD" userId="4c03e191-e154-482a-88b2-11de19eac96c" providerId="ADAL" clId="{8245CC27-65FB-483E-B8E7-D04039DBA80D}" dt="2021-05-24T16:09:28.773" v="16758" actId="790"/>
          <ac:spMkLst>
            <pc:docMk/>
            <pc:sldMk cId="928014684" sldId="10381"/>
            <ac:spMk id="67" creationId="{D15C3F86-EA1A-4CD3-8C0D-E4E1EFDD9561}"/>
          </ac:spMkLst>
        </pc:spChg>
        <pc:spChg chg="add mod">
          <ac:chgData name="Sarah GAUVARD" userId="4c03e191-e154-482a-88b2-11de19eac96c" providerId="ADAL" clId="{8245CC27-65FB-483E-B8E7-D04039DBA80D}" dt="2021-05-24T16:09:28.793" v="16782" actId="790"/>
          <ac:spMkLst>
            <pc:docMk/>
            <pc:sldMk cId="928014684" sldId="10381"/>
            <ac:spMk id="74" creationId="{8BB96193-6DD2-4CD8-91F4-2A2DCB0A2B54}"/>
          </ac:spMkLst>
        </pc:spChg>
        <pc:spChg chg="mod">
          <ac:chgData name="Sarah GAUVARD" userId="4c03e191-e154-482a-88b2-11de19eac96c" providerId="ADAL" clId="{8245CC27-65FB-483E-B8E7-D04039DBA80D}" dt="2021-05-24T16:09:28.793" v="16783" actId="790"/>
          <ac:spMkLst>
            <pc:docMk/>
            <pc:sldMk cId="928014684" sldId="10381"/>
            <ac:spMk id="75" creationId="{A120C433-C765-4D27-B52A-61890D6B1F3A}"/>
          </ac:spMkLst>
        </pc:spChg>
        <pc:spChg chg="mod">
          <ac:chgData name="Sarah GAUVARD" userId="4c03e191-e154-482a-88b2-11de19eac96c" providerId="ADAL" clId="{8245CC27-65FB-483E-B8E7-D04039DBA80D}" dt="2021-05-24T16:09:28.773" v="16760" actId="790"/>
          <ac:spMkLst>
            <pc:docMk/>
            <pc:sldMk cId="928014684" sldId="10381"/>
            <ac:spMk id="77" creationId="{AA993906-7B0E-4FA0-A5CC-CB69B9064F5F}"/>
          </ac:spMkLst>
        </pc:spChg>
        <pc:spChg chg="mod">
          <ac:chgData name="Sarah GAUVARD" userId="4c03e191-e154-482a-88b2-11de19eac96c" providerId="ADAL" clId="{8245CC27-65FB-483E-B8E7-D04039DBA80D}" dt="2021-05-24T16:09:28.775" v="16761" actId="790"/>
          <ac:spMkLst>
            <pc:docMk/>
            <pc:sldMk cId="928014684" sldId="10381"/>
            <ac:spMk id="78" creationId="{927B2CF9-23D7-4AC1-896F-53C294D443E0}"/>
          </ac:spMkLst>
        </pc:spChg>
        <pc:spChg chg="mod">
          <ac:chgData name="Sarah GAUVARD" userId="4c03e191-e154-482a-88b2-11de19eac96c" providerId="ADAL" clId="{8245CC27-65FB-483E-B8E7-D04039DBA80D}" dt="2021-05-24T16:09:28.775" v="16762" actId="790"/>
          <ac:spMkLst>
            <pc:docMk/>
            <pc:sldMk cId="928014684" sldId="10381"/>
            <ac:spMk id="79" creationId="{743C0E1C-B0D6-49C7-83DA-2F31332150DB}"/>
          </ac:spMkLst>
        </pc:spChg>
        <pc:spChg chg="mod">
          <ac:chgData name="Sarah GAUVARD" userId="4c03e191-e154-482a-88b2-11de19eac96c" providerId="ADAL" clId="{8245CC27-65FB-483E-B8E7-D04039DBA80D}" dt="2021-05-24T16:09:28.775" v="16763" actId="790"/>
          <ac:spMkLst>
            <pc:docMk/>
            <pc:sldMk cId="928014684" sldId="10381"/>
            <ac:spMk id="82" creationId="{EB785ED8-42ED-404B-B83A-FFB565585F81}"/>
          </ac:spMkLst>
        </pc:spChg>
        <pc:spChg chg="mod">
          <ac:chgData name="Sarah GAUVARD" userId="4c03e191-e154-482a-88b2-11de19eac96c" providerId="ADAL" clId="{8245CC27-65FB-483E-B8E7-D04039DBA80D}" dt="2021-05-24T16:09:28.745" v="16741" actId="790"/>
          <ac:spMkLst>
            <pc:docMk/>
            <pc:sldMk cId="928014684" sldId="10381"/>
            <ac:spMk id="85" creationId="{8A87828B-4DA3-4320-8F89-92B54C4F4105}"/>
          </ac:spMkLst>
        </pc:spChg>
        <pc:spChg chg="mod">
          <ac:chgData name="Sarah GAUVARD" userId="4c03e191-e154-482a-88b2-11de19eac96c" providerId="ADAL" clId="{8245CC27-65FB-483E-B8E7-D04039DBA80D}" dt="2021-05-24T16:09:28.753" v="16742" actId="790"/>
          <ac:spMkLst>
            <pc:docMk/>
            <pc:sldMk cId="928014684" sldId="10381"/>
            <ac:spMk id="94" creationId="{4ED8E281-6E50-4B86-8F57-CE6AF2076C8B}"/>
          </ac:spMkLst>
        </pc:spChg>
        <pc:spChg chg="mod">
          <ac:chgData name="Sarah GAUVARD" userId="4c03e191-e154-482a-88b2-11de19eac96c" providerId="ADAL" clId="{8245CC27-65FB-483E-B8E7-D04039DBA80D}" dt="2021-05-24T16:09:28.753" v="16743" actId="790"/>
          <ac:spMkLst>
            <pc:docMk/>
            <pc:sldMk cId="928014684" sldId="10381"/>
            <ac:spMk id="95" creationId="{955C889B-E359-4C1C-ADE8-61F29406941A}"/>
          </ac:spMkLst>
        </pc:spChg>
        <pc:spChg chg="mod">
          <ac:chgData name="Sarah GAUVARD" userId="4c03e191-e154-482a-88b2-11de19eac96c" providerId="ADAL" clId="{8245CC27-65FB-483E-B8E7-D04039DBA80D}" dt="2021-05-24T16:09:28.755" v="16744" actId="790"/>
          <ac:spMkLst>
            <pc:docMk/>
            <pc:sldMk cId="928014684" sldId="10381"/>
            <ac:spMk id="100" creationId="{EBD54761-3F6A-42C5-A358-9B8C9AE709E6}"/>
          </ac:spMkLst>
        </pc:spChg>
        <pc:spChg chg="mod">
          <ac:chgData name="Sarah GAUVARD" userId="4c03e191-e154-482a-88b2-11de19eac96c" providerId="ADAL" clId="{8245CC27-65FB-483E-B8E7-D04039DBA80D}" dt="2021-05-24T16:09:28.755" v="16745" actId="790"/>
          <ac:spMkLst>
            <pc:docMk/>
            <pc:sldMk cId="928014684" sldId="10381"/>
            <ac:spMk id="101" creationId="{8F0FA4AA-6979-4163-8211-4D3E2504D922}"/>
          </ac:spMkLst>
        </pc:spChg>
        <pc:spChg chg="mod">
          <ac:chgData name="Sarah GAUVARD" userId="4c03e191-e154-482a-88b2-11de19eac96c" providerId="ADAL" clId="{8245CC27-65FB-483E-B8E7-D04039DBA80D}" dt="2021-05-24T16:09:28.755" v="16747" actId="790"/>
          <ac:spMkLst>
            <pc:docMk/>
            <pc:sldMk cId="928014684" sldId="10381"/>
            <ac:spMk id="103" creationId="{8EC109A0-55CE-4037-8B7D-7C591AB7496F}"/>
          </ac:spMkLst>
        </pc:spChg>
        <pc:spChg chg="mod">
          <ac:chgData name="Sarah GAUVARD" userId="4c03e191-e154-482a-88b2-11de19eac96c" providerId="ADAL" clId="{8245CC27-65FB-483E-B8E7-D04039DBA80D}" dt="2021-05-24T16:09:28.775" v="16764" actId="790"/>
          <ac:spMkLst>
            <pc:docMk/>
            <pc:sldMk cId="928014684" sldId="10381"/>
            <ac:spMk id="107" creationId="{AFE04C33-D3C3-4729-B074-628462666000}"/>
          </ac:spMkLst>
        </pc:spChg>
        <pc:spChg chg="mod">
          <ac:chgData name="Sarah GAUVARD" userId="4c03e191-e154-482a-88b2-11de19eac96c" providerId="ADAL" clId="{8245CC27-65FB-483E-B8E7-D04039DBA80D}" dt="2021-05-24T16:09:28.775" v="16765" actId="790"/>
          <ac:spMkLst>
            <pc:docMk/>
            <pc:sldMk cId="928014684" sldId="10381"/>
            <ac:spMk id="108" creationId="{84E50665-CFCF-4CAB-82A5-40ABF0DEBFF0}"/>
          </ac:spMkLst>
        </pc:spChg>
        <pc:spChg chg="mod">
          <ac:chgData name="Sarah GAUVARD" userId="4c03e191-e154-482a-88b2-11de19eac96c" providerId="ADAL" clId="{8245CC27-65FB-483E-B8E7-D04039DBA80D}" dt="2021-05-24T16:09:28.775" v="16766" actId="790"/>
          <ac:spMkLst>
            <pc:docMk/>
            <pc:sldMk cId="928014684" sldId="10381"/>
            <ac:spMk id="109" creationId="{D5717F27-AFA6-482B-876D-BE7AC56A69A2}"/>
          </ac:spMkLst>
        </pc:spChg>
        <pc:spChg chg="mod">
          <ac:chgData name="Sarah GAUVARD" userId="4c03e191-e154-482a-88b2-11de19eac96c" providerId="ADAL" clId="{8245CC27-65FB-483E-B8E7-D04039DBA80D}" dt="2021-05-24T16:09:28.793" v="16784" actId="790"/>
          <ac:spMkLst>
            <pc:docMk/>
            <pc:sldMk cId="928014684" sldId="10381"/>
            <ac:spMk id="112" creationId="{9B79AB7B-0DF7-4BE8-BFE1-5CF5CCEA16CD}"/>
          </ac:spMkLst>
        </pc:spChg>
        <pc:spChg chg="mod">
          <ac:chgData name="Sarah GAUVARD" userId="4c03e191-e154-482a-88b2-11de19eac96c" providerId="ADAL" clId="{8245CC27-65FB-483E-B8E7-D04039DBA80D}" dt="2021-05-24T16:09:28.795" v="16785" actId="790"/>
          <ac:spMkLst>
            <pc:docMk/>
            <pc:sldMk cId="928014684" sldId="10381"/>
            <ac:spMk id="113" creationId="{596CCD33-A7C7-494E-BEA1-04CE3549D870}"/>
          </ac:spMkLst>
        </pc:spChg>
        <pc:spChg chg="mod">
          <ac:chgData name="Sarah GAUVARD" userId="4c03e191-e154-482a-88b2-11de19eac96c" providerId="ADAL" clId="{8245CC27-65FB-483E-B8E7-D04039DBA80D}" dt="2021-05-24T16:09:28.795" v="16786" actId="790"/>
          <ac:spMkLst>
            <pc:docMk/>
            <pc:sldMk cId="928014684" sldId="10381"/>
            <ac:spMk id="114" creationId="{340CF0E8-5223-42E1-9FA5-DD02FA53A141}"/>
          </ac:spMkLst>
        </pc:spChg>
        <pc:spChg chg="mod">
          <ac:chgData name="Sarah GAUVARD" userId="4c03e191-e154-482a-88b2-11de19eac96c" providerId="ADAL" clId="{8245CC27-65FB-483E-B8E7-D04039DBA80D}" dt="2021-05-24T16:09:28.795" v="16787" actId="790"/>
          <ac:spMkLst>
            <pc:docMk/>
            <pc:sldMk cId="928014684" sldId="10381"/>
            <ac:spMk id="115" creationId="{A5AE030B-FE2B-4CE6-8F9C-42DE1D8C00F5}"/>
          </ac:spMkLst>
        </pc:spChg>
        <pc:spChg chg="mod">
          <ac:chgData name="Sarah GAUVARD" userId="4c03e191-e154-482a-88b2-11de19eac96c" providerId="ADAL" clId="{8245CC27-65FB-483E-B8E7-D04039DBA80D}" dt="2021-05-24T16:09:28.795" v="16788" actId="790"/>
          <ac:spMkLst>
            <pc:docMk/>
            <pc:sldMk cId="928014684" sldId="10381"/>
            <ac:spMk id="116" creationId="{3E9E5527-D18B-4C0F-9033-768C7E712997}"/>
          </ac:spMkLst>
        </pc:spChg>
        <pc:spChg chg="mod">
          <ac:chgData name="Sarah GAUVARD" userId="4c03e191-e154-482a-88b2-11de19eac96c" providerId="ADAL" clId="{8245CC27-65FB-483E-B8E7-D04039DBA80D}" dt="2021-05-24T16:09:28.795" v="16789" actId="790"/>
          <ac:spMkLst>
            <pc:docMk/>
            <pc:sldMk cId="928014684" sldId="10381"/>
            <ac:spMk id="117" creationId="{11321080-4DD2-4C51-B8C1-29C7DA0514AA}"/>
          </ac:spMkLst>
        </pc:spChg>
        <pc:spChg chg="mod">
          <ac:chgData name="Sarah GAUVARD" userId="4c03e191-e154-482a-88b2-11de19eac96c" providerId="ADAL" clId="{8245CC27-65FB-483E-B8E7-D04039DBA80D}" dt="2021-05-24T16:09:28.795" v="16790" actId="790"/>
          <ac:spMkLst>
            <pc:docMk/>
            <pc:sldMk cId="928014684" sldId="10381"/>
            <ac:spMk id="118" creationId="{F630FA7E-91CE-41ED-A13A-54AF98443939}"/>
          </ac:spMkLst>
        </pc:spChg>
        <pc:spChg chg="mod">
          <ac:chgData name="Sarah GAUVARD" userId="4c03e191-e154-482a-88b2-11de19eac96c" providerId="ADAL" clId="{8245CC27-65FB-483E-B8E7-D04039DBA80D}" dt="2021-05-24T16:09:28.795" v="16791" actId="790"/>
          <ac:spMkLst>
            <pc:docMk/>
            <pc:sldMk cId="928014684" sldId="10381"/>
            <ac:spMk id="119" creationId="{D7C1FB58-C6AB-4DA9-ADF8-A8F064F8DB5C}"/>
          </ac:spMkLst>
        </pc:spChg>
        <pc:spChg chg="mod">
          <ac:chgData name="Sarah GAUVARD" userId="4c03e191-e154-482a-88b2-11de19eac96c" providerId="ADAL" clId="{8245CC27-65FB-483E-B8E7-D04039DBA80D}" dt="2021-05-24T16:09:28.775" v="16767" actId="790"/>
          <ac:spMkLst>
            <pc:docMk/>
            <pc:sldMk cId="928014684" sldId="10381"/>
            <ac:spMk id="133" creationId="{D4DB8A5D-4BC4-4B09-91B3-B431A56ADCF9}"/>
          </ac:spMkLst>
        </pc:spChg>
        <pc:spChg chg="mod">
          <ac:chgData name="Sarah GAUVARD" userId="4c03e191-e154-482a-88b2-11de19eac96c" providerId="ADAL" clId="{8245CC27-65FB-483E-B8E7-D04039DBA80D}" dt="2021-05-24T16:09:28.775" v="16768" actId="790"/>
          <ac:spMkLst>
            <pc:docMk/>
            <pc:sldMk cId="928014684" sldId="10381"/>
            <ac:spMk id="134" creationId="{FAF0EF8E-999F-4DCA-8CCA-19966A02C618}"/>
          </ac:spMkLst>
        </pc:spChg>
        <pc:spChg chg="mod">
          <ac:chgData name="Sarah GAUVARD" userId="4c03e191-e154-482a-88b2-11de19eac96c" providerId="ADAL" clId="{8245CC27-65FB-483E-B8E7-D04039DBA80D}" dt="2021-05-24T16:09:28.783" v="16769" actId="790"/>
          <ac:spMkLst>
            <pc:docMk/>
            <pc:sldMk cId="928014684" sldId="10381"/>
            <ac:spMk id="135" creationId="{43E6C2D0-9928-431F-937D-615E132EB4BF}"/>
          </ac:spMkLst>
        </pc:spChg>
        <pc:spChg chg="mod">
          <ac:chgData name="Sarah GAUVARD" userId="4c03e191-e154-482a-88b2-11de19eac96c" providerId="ADAL" clId="{8245CC27-65FB-483E-B8E7-D04039DBA80D}" dt="2021-05-24T16:09:28.783" v="16770" actId="790"/>
          <ac:spMkLst>
            <pc:docMk/>
            <pc:sldMk cId="928014684" sldId="10381"/>
            <ac:spMk id="136" creationId="{366D0170-AB64-4883-B9AA-312F182F8513}"/>
          </ac:spMkLst>
        </pc:spChg>
        <pc:spChg chg="mod">
          <ac:chgData name="Sarah GAUVARD" userId="4c03e191-e154-482a-88b2-11de19eac96c" providerId="ADAL" clId="{8245CC27-65FB-483E-B8E7-D04039DBA80D}" dt="2021-05-24T16:09:28.783" v="16771" actId="790"/>
          <ac:spMkLst>
            <pc:docMk/>
            <pc:sldMk cId="928014684" sldId="10381"/>
            <ac:spMk id="137" creationId="{20E1541B-CD49-4DC3-A47D-9BF3BEE5D76B}"/>
          </ac:spMkLst>
        </pc:spChg>
        <pc:spChg chg="mod">
          <ac:chgData name="Sarah GAUVARD" userId="4c03e191-e154-482a-88b2-11de19eac96c" providerId="ADAL" clId="{8245CC27-65FB-483E-B8E7-D04039DBA80D}" dt="2021-05-24T16:09:28.785" v="16772" actId="790"/>
          <ac:spMkLst>
            <pc:docMk/>
            <pc:sldMk cId="928014684" sldId="10381"/>
            <ac:spMk id="138" creationId="{6566282D-6A08-4D37-9C6F-C0144233C521}"/>
          </ac:spMkLst>
        </pc:spChg>
        <pc:spChg chg="mod">
          <ac:chgData name="Sarah GAUVARD" userId="4c03e191-e154-482a-88b2-11de19eac96c" providerId="ADAL" clId="{8245CC27-65FB-483E-B8E7-D04039DBA80D}" dt="2021-05-24T16:09:28.785" v="16773" actId="790"/>
          <ac:spMkLst>
            <pc:docMk/>
            <pc:sldMk cId="928014684" sldId="10381"/>
            <ac:spMk id="139" creationId="{DD4D1A13-04C6-45D7-A267-260B6125490C}"/>
          </ac:spMkLst>
        </pc:spChg>
        <pc:spChg chg="mod">
          <ac:chgData name="Sarah GAUVARD" userId="4c03e191-e154-482a-88b2-11de19eac96c" providerId="ADAL" clId="{8245CC27-65FB-483E-B8E7-D04039DBA80D}" dt="2021-05-24T16:09:28.785" v="16774" actId="790"/>
          <ac:spMkLst>
            <pc:docMk/>
            <pc:sldMk cId="928014684" sldId="10381"/>
            <ac:spMk id="140" creationId="{123053B8-DBB1-4ACD-9BF9-D3394E0F671C}"/>
          </ac:spMkLst>
        </pc:spChg>
        <pc:spChg chg="mod">
          <ac:chgData name="Sarah GAUVARD" userId="4c03e191-e154-482a-88b2-11de19eac96c" providerId="ADAL" clId="{8245CC27-65FB-483E-B8E7-D04039DBA80D}" dt="2021-05-24T16:09:28.785" v="16775" actId="790"/>
          <ac:spMkLst>
            <pc:docMk/>
            <pc:sldMk cId="928014684" sldId="10381"/>
            <ac:spMk id="141" creationId="{0E9BA964-4A8C-48D4-BF3B-82E4163F61C8}"/>
          </ac:spMkLst>
        </pc:spChg>
        <pc:spChg chg="mod">
          <ac:chgData name="Sarah GAUVARD" userId="4c03e191-e154-482a-88b2-11de19eac96c" providerId="ADAL" clId="{8245CC27-65FB-483E-B8E7-D04039DBA80D}" dt="2021-05-24T16:09:28.785" v="16776" actId="790"/>
          <ac:spMkLst>
            <pc:docMk/>
            <pc:sldMk cId="928014684" sldId="10381"/>
            <ac:spMk id="142" creationId="{22F1D114-F450-40E1-8AED-90C2B1CFD597}"/>
          </ac:spMkLst>
        </pc:spChg>
        <pc:spChg chg="mod">
          <ac:chgData name="Sarah GAUVARD" userId="4c03e191-e154-482a-88b2-11de19eac96c" providerId="ADAL" clId="{8245CC27-65FB-483E-B8E7-D04039DBA80D}" dt="2021-05-24T16:09:28.763" v="16750" actId="790"/>
          <ac:spMkLst>
            <pc:docMk/>
            <pc:sldMk cId="928014684" sldId="10381"/>
            <ac:spMk id="164" creationId="{DA05F630-FFE9-4248-BE36-AE488020EDEB}"/>
          </ac:spMkLst>
        </pc:spChg>
        <pc:spChg chg="mod">
          <ac:chgData name="Sarah GAUVARD" userId="4c03e191-e154-482a-88b2-11de19eac96c" providerId="ADAL" clId="{8245CC27-65FB-483E-B8E7-D04039DBA80D}" dt="2021-05-24T16:09:28.785" v="16777" actId="790"/>
          <ac:spMkLst>
            <pc:docMk/>
            <pc:sldMk cId="928014684" sldId="10381"/>
            <ac:spMk id="214" creationId="{B892CA1A-6DD2-47AE-9A86-98AF5DFD08BF}"/>
          </ac:spMkLst>
        </pc:spChg>
        <pc:spChg chg="mod">
          <ac:chgData name="Sarah GAUVARD" userId="4c03e191-e154-482a-88b2-11de19eac96c" providerId="ADAL" clId="{8245CC27-65FB-483E-B8E7-D04039DBA80D}" dt="2021-05-24T16:09:28.785" v="16778" actId="790"/>
          <ac:spMkLst>
            <pc:docMk/>
            <pc:sldMk cId="928014684" sldId="10381"/>
            <ac:spMk id="215" creationId="{9F3BC7FC-64FE-4264-9C2D-E28C85C00F3A}"/>
          </ac:spMkLst>
        </pc:spChg>
        <pc:spChg chg="mod">
          <ac:chgData name="Sarah GAUVARD" userId="4c03e191-e154-482a-88b2-11de19eac96c" providerId="ADAL" clId="{8245CC27-65FB-483E-B8E7-D04039DBA80D}" dt="2021-05-24T16:09:28.785" v="16779" actId="790"/>
          <ac:spMkLst>
            <pc:docMk/>
            <pc:sldMk cId="928014684" sldId="10381"/>
            <ac:spMk id="216" creationId="{5994B9E0-8703-4DC8-AD95-9850C41AC14F}"/>
          </ac:spMkLst>
        </pc:spChg>
        <pc:spChg chg="mod">
          <ac:chgData name="Sarah GAUVARD" userId="4c03e191-e154-482a-88b2-11de19eac96c" providerId="ADAL" clId="{8245CC27-65FB-483E-B8E7-D04039DBA80D}" dt="2021-05-24T16:09:28.785" v="16780" actId="790"/>
          <ac:spMkLst>
            <pc:docMk/>
            <pc:sldMk cId="928014684" sldId="10381"/>
            <ac:spMk id="217" creationId="{04205482-E273-4AE6-A802-6F85111ADD10}"/>
          </ac:spMkLst>
        </pc:spChg>
        <pc:spChg chg="mod">
          <ac:chgData name="Sarah GAUVARD" userId="4c03e191-e154-482a-88b2-11de19eac96c" providerId="ADAL" clId="{8245CC27-65FB-483E-B8E7-D04039DBA80D}" dt="2021-05-24T16:09:28.785" v="16781" actId="790"/>
          <ac:spMkLst>
            <pc:docMk/>
            <pc:sldMk cId="928014684" sldId="10381"/>
            <ac:spMk id="218" creationId="{4E614FE6-7DC1-4158-A187-FB12FDC67AA7}"/>
          </ac:spMkLst>
        </pc:spChg>
        <pc:graphicFrameChg chg="mod">
          <ac:chgData name="Sarah GAUVARD" userId="4c03e191-e154-482a-88b2-11de19eac96c" providerId="ADAL" clId="{8245CC27-65FB-483E-B8E7-D04039DBA80D}" dt="2021-05-24T15:34:45.918" v="11790"/>
          <ac:graphicFrameMkLst>
            <pc:docMk/>
            <pc:sldMk cId="928014684" sldId="10381"/>
            <ac:graphicFrameMk id="12" creationId="{87D5C6DE-3ECD-402A-B887-7E2C12F1C83E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8.119" v="16196" actId="790"/>
        <pc:sldMkLst>
          <pc:docMk/>
          <pc:sldMk cId="177760136" sldId="10387"/>
        </pc:sldMkLst>
        <pc:spChg chg="mod">
          <ac:chgData name="Sarah GAUVARD" userId="4c03e191-e154-482a-88b2-11de19eac96c" providerId="ADAL" clId="{8245CC27-65FB-483E-B8E7-D04039DBA80D}" dt="2021-05-24T16:09:28.097" v="16177" actId="790"/>
          <ac:spMkLst>
            <pc:docMk/>
            <pc:sldMk cId="177760136" sldId="10387"/>
            <ac:spMk id="2" creationId="{436F6B45-BA2B-4C85-B5B6-28EC178522DD}"/>
          </ac:spMkLst>
        </pc:spChg>
        <pc:spChg chg="add del mod modVis">
          <ac:chgData name="Sarah GAUVARD" userId="4c03e191-e154-482a-88b2-11de19eac96c" providerId="ADAL" clId="{8245CC27-65FB-483E-B8E7-D04039DBA80D}" dt="2021-05-24T15:34:46.431" v="12055"/>
          <ac:spMkLst>
            <pc:docMk/>
            <pc:sldMk cId="177760136" sldId="10387"/>
            <ac:spMk id="3" creationId="{10285BBF-5B98-49B0-AB95-C702C93CAE37}"/>
          </ac:spMkLst>
        </pc:spChg>
        <pc:spChg chg="mod">
          <ac:chgData name="Sarah GAUVARD" userId="4c03e191-e154-482a-88b2-11de19eac96c" providerId="ADAL" clId="{8245CC27-65FB-483E-B8E7-D04039DBA80D}" dt="2021-05-24T16:09:28.097" v="16178" actId="790"/>
          <ac:spMkLst>
            <pc:docMk/>
            <pc:sldMk cId="177760136" sldId="10387"/>
            <ac:spMk id="10" creationId="{A1B2D03C-5DB5-4B41-ACB2-17648D06B456}"/>
          </ac:spMkLst>
        </pc:spChg>
        <pc:spChg chg="mod">
          <ac:chgData name="Sarah GAUVARD" userId="4c03e191-e154-482a-88b2-11de19eac96c" providerId="ADAL" clId="{8245CC27-65FB-483E-B8E7-D04039DBA80D}" dt="2021-05-24T16:09:28.099" v="16179" actId="790"/>
          <ac:spMkLst>
            <pc:docMk/>
            <pc:sldMk cId="177760136" sldId="10387"/>
            <ac:spMk id="11" creationId="{B49118EE-CD7D-4A57-BFCC-CCA3BFA5EA0C}"/>
          </ac:spMkLst>
        </pc:spChg>
        <pc:spChg chg="mod">
          <ac:chgData name="Sarah GAUVARD" userId="4c03e191-e154-482a-88b2-11de19eac96c" providerId="ADAL" clId="{8245CC27-65FB-483E-B8E7-D04039DBA80D}" dt="2021-05-24T16:09:28.099" v="16180" actId="790"/>
          <ac:spMkLst>
            <pc:docMk/>
            <pc:sldMk cId="177760136" sldId="10387"/>
            <ac:spMk id="12" creationId="{FEB1B1AD-9BFF-4534-9FA2-838BF0A5FAA4}"/>
          </ac:spMkLst>
        </pc:spChg>
        <pc:spChg chg="mod">
          <ac:chgData name="Sarah GAUVARD" userId="4c03e191-e154-482a-88b2-11de19eac96c" providerId="ADAL" clId="{8245CC27-65FB-483E-B8E7-D04039DBA80D}" dt="2021-05-24T16:09:28.099" v="16181" actId="790"/>
          <ac:spMkLst>
            <pc:docMk/>
            <pc:sldMk cId="177760136" sldId="10387"/>
            <ac:spMk id="14" creationId="{7BDDF5AD-5B37-4B7B-8C30-7E5CA6CB4043}"/>
          </ac:spMkLst>
        </pc:spChg>
        <pc:spChg chg="mod">
          <ac:chgData name="Sarah GAUVARD" userId="4c03e191-e154-482a-88b2-11de19eac96c" providerId="ADAL" clId="{8245CC27-65FB-483E-B8E7-D04039DBA80D}" dt="2021-05-24T16:09:28.099" v="16182" actId="790"/>
          <ac:spMkLst>
            <pc:docMk/>
            <pc:sldMk cId="177760136" sldId="10387"/>
            <ac:spMk id="16" creationId="{6AFB6F3B-617C-4E9A-BDB1-E66CE5E7BAF2}"/>
          </ac:spMkLst>
        </pc:spChg>
        <pc:spChg chg="mod">
          <ac:chgData name="Sarah GAUVARD" userId="4c03e191-e154-482a-88b2-11de19eac96c" providerId="ADAL" clId="{8245CC27-65FB-483E-B8E7-D04039DBA80D}" dt="2021-05-24T16:09:28.099" v="16183" actId="790"/>
          <ac:spMkLst>
            <pc:docMk/>
            <pc:sldMk cId="177760136" sldId="10387"/>
            <ac:spMk id="19" creationId="{73CC2FF0-1620-4B7A-843B-3D3C2AE458FE}"/>
          </ac:spMkLst>
        </pc:spChg>
        <pc:spChg chg="mod">
          <ac:chgData name="Sarah GAUVARD" userId="4c03e191-e154-482a-88b2-11de19eac96c" providerId="ADAL" clId="{8245CC27-65FB-483E-B8E7-D04039DBA80D}" dt="2021-05-24T16:09:28.099" v="16184" actId="790"/>
          <ac:spMkLst>
            <pc:docMk/>
            <pc:sldMk cId="177760136" sldId="10387"/>
            <ac:spMk id="20" creationId="{8EC25760-36A2-4025-9B9B-299007EC8CF7}"/>
          </ac:spMkLst>
        </pc:spChg>
        <pc:spChg chg="mod">
          <ac:chgData name="Sarah GAUVARD" userId="4c03e191-e154-482a-88b2-11de19eac96c" providerId="ADAL" clId="{8245CC27-65FB-483E-B8E7-D04039DBA80D}" dt="2021-05-24T16:09:28.107" v="16185" actId="790"/>
          <ac:spMkLst>
            <pc:docMk/>
            <pc:sldMk cId="177760136" sldId="10387"/>
            <ac:spMk id="21" creationId="{20863C10-21C2-486C-936F-F9040E9C8476}"/>
          </ac:spMkLst>
        </pc:spChg>
        <pc:spChg chg="mod">
          <ac:chgData name="Sarah GAUVARD" userId="4c03e191-e154-482a-88b2-11de19eac96c" providerId="ADAL" clId="{8245CC27-65FB-483E-B8E7-D04039DBA80D}" dt="2021-05-24T16:09:28.107" v="16186" actId="790"/>
          <ac:spMkLst>
            <pc:docMk/>
            <pc:sldMk cId="177760136" sldId="10387"/>
            <ac:spMk id="22" creationId="{117F0456-6AAE-46E2-83E3-977665874781}"/>
          </ac:spMkLst>
        </pc:spChg>
        <pc:spChg chg="mod">
          <ac:chgData name="Sarah GAUVARD" userId="4c03e191-e154-482a-88b2-11de19eac96c" providerId="ADAL" clId="{8245CC27-65FB-483E-B8E7-D04039DBA80D}" dt="2021-05-24T16:09:28.109" v="16187" actId="790"/>
          <ac:spMkLst>
            <pc:docMk/>
            <pc:sldMk cId="177760136" sldId="10387"/>
            <ac:spMk id="23" creationId="{1BFA432E-B00A-410E-968D-9E0C6059E2B0}"/>
          </ac:spMkLst>
        </pc:spChg>
        <pc:spChg chg="mod">
          <ac:chgData name="Sarah GAUVARD" userId="4c03e191-e154-482a-88b2-11de19eac96c" providerId="ADAL" clId="{8245CC27-65FB-483E-B8E7-D04039DBA80D}" dt="2021-05-24T16:09:28.109" v="16188" actId="790"/>
          <ac:spMkLst>
            <pc:docMk/>
            <pc:sldMk cId="177760136" sldId="10387"/>
            <ac:spMk id="24" creationId="{4D142772-C0FC-4E1B-8722-0710CB2D6A27}"/>
          </ac:spMkLst>
        </pc:spChg>
        <pc:spChg chg="mod">
          <ac:chgData name="Sarah GAUVARD" userId="4c03e191-e154-482a-88b2-11de19eac96c" providerId="ADAL" clId="{8245CC27-65FB-483E-B8E7-D04039DBA80D}" dt="2021-05-24T16:09:28.109" v="16189" actId="790"/>
          <ac:spMkLst>
            <pc:docMk/>
            <pc:sldMk cId="177760136" sldId="10387"/>
            <ac:spMk id="25" creationId="{F7E3780D-07E3-49CB-A488-8D48D2DD727B}"/>
          </ac:spMkLst>
        </pc:spChg>
        <pc:spChg chg="mod">
          <ac:chgData name="Sarah GAUVARD" userId="4c03e191-e154-482a-88b2-11de19eac96c" providerId="ADAL" clId="{8245CC27-65FB-483E-B8E7-D04039DBA80D}" dt="2021-05-24T16:09:28.109" v="16190" actId="790"/>
          <ac:spMkLst>
            <pc:docMk/>
            <pc:sldMk cId="177760136" sldId="10387"/>
            <ac:spMk id="26" creationId="{06355F29-BF53-45D1-8A9B-DD83D357F34D}"/>
          </ac:spMkLst>
        </pc:spChg>
        <pc:spChg chg="mod">
          <ac:chgData name="Sarah GAUVARD" userId="4c03e191-e154-482a-88b2-11de19eac96c" providerId="ADAL" clId="{8245CC27-65FB-483E-B8E7-D04039DBA80D}" dt="2021-05-24T16:09:28.109" v="16191" actId="790"/>
          <ac:spMkLst>
            <pc:docMk/>
            <pc:sldMk cId="177760136" sldId="10387"/>
            <ac:spMk id="30" creationId="{242F26BC-48D8-467A-A6CD-331EC9B568C9}"/>
          </ac:spMkLst>
        </pc:spChg>
        <pc:spChg chg="mod">
          <ac:chgData name="Sarah GAUVARD" userId="4c03e191-e154-482a-88b2-11de19eac96c" providerId="ADAL" clId="{8245CC27-65FB-483E-B8E7-D04039DBA80D}" dt="2021-05-24T16:09:28.109" v="16192" actId="790"/>
          <ac:spMkLst>
            <pc:docMk/>
            <pc:sldMk cId="177760136" sldId="10387"/>
            <ac:spMk id="33" creationId="{0C42220C-E0C0-4442-8C78-C607D32D7C6A}"/>
          </ac:spMkLst>
        </pc:spChg>
        <pc:spChg chg="mod">
          <ac:chgData name="Sarah GAUVARD" userId="4c03e191-e154-482a-88b2-11de19eac96c" providerId="ADAL" clId="{8245CC27-65FB-483E-B8E7-D04039DBA80D}" dt="2021-05-24T16:09:28.109" v="16193" actId="790"/>
          <ac:spMkLst>
            <pc:docMk/>
            <pc:sldMk cId="177760136" sldId="10387"/>
            <ac:spMk id="34" creationId="{C83894F5-3A2A-4D54-AE15-3AE551436F84}"/>
          </ac:spMkLst>
        </pc:spChg>
        <pc:spChg chg="mod">
          <ac:chgData name="Sarah GAUVARD" userId="4c03e191-e154-482a-88b2-11de19eac96c" providerId="ADAL" clId="{8245CC27-65FB-483E-B8E7-D04039DBA80D}" dt="2021-05-24T16:09:28.119" v="16194" actId="790"/>
          <ac:spMkLst>
            <pc:docMk/>
            <pc:sldMk cId="177760136" sldId="10387"/>
            <ac:spMk id="35" creationId="{6E7DE376-6590-44EF-AE1D-4EFDD8EAD509}"/>
          </ac:spMkLst>
        </pc:spChg>
        <pc:spChg chg="mod">
          <ac:chgData name="Sarah GAUVARD" userId="4c03e191-e154-482a-88b2-11de19eac96c" providerId="ADAL" clId="{8245CC27-65FB-483E-B8E7-D04039DBA80D}" dt="2021-05-24T16:09:28.119" v="16195" actId="790"/>
          <ac:spMkLst>
            <pc:docMk/>
            <pc:sldMk cId="177760136" sldId="10387"/>
            <ac:spMk id="40" creationId="{7E1EA942-DCE8-4CB4-A6CD-F002A4046CDC}"/>
          </ac:spMkLst>
        </pc:spChg>
        <pc:spChg chg="mod">
          <ac:chgData name="Sarah GAUVARD" userId="4c03e191-e154-482a-88b2-11de19eac96c" providerId="ADAL" clId="{8245CC27-65FB-483E-B8E7-D04039DBA80D}" dt="2021-05-24T16:09:28.119" v="16196" actId="790"/>
          <ac:spMkLst>
            <pc:docMk/>
            <pc:sldMk cId="177760136" sldId="10387"/>
            <ac:spMk id="41" creationId="{543133D6-14FE-4614-9937-A1C6BE4F5B59}"/>
          </ac:spMkLst>
        </pc:spChg>
        <pc:graphicFrameChg chg="mod">
          <ac:chgData name="Sarah GAUVARD" userId="4c03e191-e154-482a-88b2-11de19eac96c" providerId="ADAL" clId="{8245CC27-65FB-483E-B8E7-D04039DBA80D}" dt="2021-05-24T15:34:46.435" v="12057"/>
          <ac:graphicFrameMkLst>
            <pc:docMk/>
            <pc:sldMk cId="177760136" sldId="10387"/>
            <ac:graphicFrameMk id="7" creationId="{27A143E5-1B56-49B8-BE74-B0DBB734F36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8.088" v="16176" actId="790"/>
        <pc:sldMkLst>
          <pc:docMk/>
          <pc:sldMk cId="2528439242" sldId="10388"/>
        </pc:sldMkLst>
        <pc:spChg chg="mod">
          <ac:chgData name="Sarah GAUVARD" userId="4c03e191-e154-482a-88b2-11de19eac96c" providerId="ADAL" clId="{8245CC27-65FB-483E-B8E7-D04039DBA80D}" dt="2021-05-24T16:09:28.048" v="16151" actId="790"/>
          <ac:spMkLst>
            <pc:docMk/>
            <pc:sldMk cId="2528439242" sldId="10388"/>
            <ac:spMk id="2" creationId="{3B352272-A751-4371-9AD1-0EDAA488B5E8}"/>
          </ac:spMkLst>
        </pc:spChg>
        <pc:spChg chg="add del mod modVis">
          <ac:chgData name="Sarah GAUVARD" userId="4c03e191-e154-482a-88b2-11de19eac96c" providerId="ADAL" clId="{8245CC27-65FB-483E-B8E7-D04039DBA80D}" dt="2021-05-24T15:34:46.041" v="11857"/>
          <ac:spMkLst>
            <pc:docMk/>
            <pc:sldMk cId="2528439242" sldId="10388"/>
            <ac:spMk id="3" creationId="{0CFBD887-40B3-41B3-994B-D9778056D447}"/>
          </ac:spMkLst>
        </pc:spChg>
        <pc:spChg chg="mod">
          <ac:chgData name="Sarah GAUVARD" userId="4c03e191-e154-482a-88b2-11de19eac96c" providerId="ADAL" clId="{8245CC27-65FB-483E-B8E7-D04039DBA80D}" dt="2021-05-24T16:09:28.068" v="16152" actId="790"/>
          <ac:spMkLst>
            <pc:docMk/>
            <pc:sldMk cId="2528439242" sldId="10388"/>
            <ac:spMk id="5" creationId="{75A23189-992A-44C6-A85B-8751CD441843}"/>
          </ac:spMkLst>
        </pc:spChg>
        <pc:spChg chg="mod">
          <ac:chgData name="Sarah GAUVARD" userId="4c03e191-e154-482a-88b2-11de19eac96c" providerId="ADAL" clId="{8245CC27-65FB-483E-B8E7-D04039DBA80D}" dt="2021-05-24T16:09:28.068" v="16153" actId="790"/>
          <ac:spMkLst>
            <pc:docMk/>
            <pc:sldMk cId="2528439242" sldId="10388"/>
            <ac:spMk id="10" creationId="{3CD560AD-8D0B-419C-AA90-58F40CB49620}"/>
          </ac:spMkLst>
        </pc:spChg>
        <pc:spChg chg="mod">
          <ac:chgData name="Sarah GAUVARD" userId="4c03e191-e154-482a-88b2-11de19eac96c" providerId="ADAL" clId="{8245CC27-65FB-483E-B8E7-D04039DBA80D}" dt="2021-05-24T16:09:28.068" v="16154" actId="790"/>
          <ac:spMkLst>
            <pc:docMk/>
            <pc:sldMk cId="2528439242" sldId="10388"/>
            <ac:spMk id="44" creationId="{825CF11B-020D-44AE-8B0F-94296B87E5E2}"/>
          </ac:spMkLst>
        </pc:spChg>
        <pc:spChg chg="mod">
          <ac:chgData name="Sarah GAUVARD" userId="4c03e191-e154-482a-88b2-11de19eac96c" providerId="ADAL" clId="{8245CC27-65FB-483E-B8E7-D04039DBA80D}" dt="2021-05-24T16:09:28.068" v="16155" actId="790"/>
          <ac:spMkLst>
            <pc:docMk/>
            <pc:sldMk cId="2528439242" sldId="10388"/>
            <ac:spMk id="45" creationId="{19C7679B-BDAB-4644-A933-4403268C4016}"/>
          </ac:spMkLst>
        </pc:spChg>
        <pc:spChg chg="mod">
          <ac:chgData name="Sarah GAUVARD" userId="4c03e191-e154-482a-88b2-11de19eac96c" providerId="ADAL" clId="{8245CC27-65FB-483E-B8E7-D04039DBA80D}" dt="2021-05-24T16:09:28.068" v="16156" actId="790"/>
          <ac:spMkLst>
            <pc:docMk/>
            <pc:sldMk cId="2528439242" sldId="10388"/>
            <ac:spMk id="47" creationId="{C0C9DCEC-47A0-4811-8A76-D04843C86F35}"/>
          </ac:spMkLst>
        </pc:spChg>
        <pc:spChg chg="mod">
          <ac:chgData name="Sarah GAUVARD" userId="4c03e191-e154-482a-88b2-11de19eac96c" providerId="ADAL" clId="{8245CC27-65FB-483E-B8E7-D04039DBA80D}" dt="2021-05-24T16:09:28.068" v="16157" actId="790"/>
          <ac:spMkLst>
            <pc:docMk/>
            <pc:sldMk cId="2528439242" sldId="10388"/>
            <ac:spMk id="48" creationId="{ED2AA03F-F69F-4109-991C-D4EA22467928}"/>
          </ac:spMkLst>
        </pc:spChg>
        <pc:spChg chg="mod">
          <ac:chgData name="Sarah GAUVARD" userId="4c03e191-e154-482a-88b2-11de19eac96c" providerId="ADAL" clId="{8245CC27-65FB-483E-B8E7-D04039DBA80D}" dt="2021-05-24T16:09:28.068" v="16158" actId="790"/>
          <ac:spMkLst>
            <pc:docMk/>
            <pc:sldMk cId="2528439242" sldId="10388"/>
            <ac:spMk id="49" creationId="{E292EA57-219F-446B-84E6-3859851D00A6}"/>
          </ac:spMkLst>
        </pc:spChg>
        <pc:spChg chg="mod">
          <ac:chgData name="Sarah GAUVARD" userId="4c03e191-e154-482a-88b2-11de19eac96c" providerId="ADAL" clId="{8245CC27-65FB-483E-B8E7-D04039DBA80D}" dt="2021-05-24T16:09:28.068" v="16159" actId="790"/>
          <ac:spMkLst>
            <pc:docMk/>
            <pc:sldMk cId="2528439242" sldId="10388"/>
            <ac:spMk id="50" creationId="{4CC5E3A4-CFC1-47E7-85E4-E4EFAE07F51B}"/>
          </ac:spMkLst>
        </pc:spChg>
        <pc:spChg chg="mod">
          <ac:chgData name="Sarah GAUVARD" userId="4c03e191-e154-482a-88b2-11de19eac96c" providerId="ADAL" clId="{8245CC27-65FB-483E-B8E7-D04039DBA80D}" dt="2021-05-24T16:09:28.068" v="16160" actId="790"/>
          <ac:spMkLst>
            <pc:docMk/>
            <pc:sldMk cId="2528439242" sldId="10388"/>
            <ac:spMk id="53" creationId="{8BC60B44-FC35-49C3-A67D-8C09E11BF871}"/>
          </ac:spMkLst>
        </pc:spChg>
        <pc:spChg chg="mod">
          <ac:chgData name="Sarah GAUVARD" userId="4c03e191-e154-482a-88b2-11de19eac96c" providerId="ADAL" clId="{8245CC27-65FB-483E-B8E7-D04039DBA80D}" dt="2021-05-24T16:09:28.076" v="16161" actId="790"/>
          <ac:spMkLst>
            <pc:docMk/>
            <pc:sldMk cId="2528439242" sldId="10388"/>
            <ac:spMk id="60" creationId="{42959E40-E36F-47FF-AC7E-ABFFED50E051}"/>
          </ac:spMkLst>
        </pc:spChg>
        <pc:spChg chg="mod">
          <ac:chgData name="Sarah GAUVARD" userId="4c03e191-e154-482a-88b2-11de19eac96c" providerId="ADAL" clId="{8245CC27-65FB-483E-B8E7-D04039DBA80D}" dt="2021-05-24T16:09:28.076" v="16162" actId="790"/>
          <ac:spMkLst>
            <pc:docMk/>
            <pc:sldMk cId="2528439242" sldId="10388"/>
            <ac:spMk id="75" creationId="{AC8EE432-C25E-45E1-A3C2-234AD2EA8AAD}"/>
          </ac:spMkLst>
        </pc:spChg>
        <pc:spChg chg="mod">
          <ac:chgData name="Sarah GAUVARD" userId="4c03e191-e154-482a-88b2-11de19eac96c" providerId="ADAL" clId="{8245CC27-65FB-483E-B8E7-D04039DBA80D}" dt="2021-05-24T16:09:28.078" v="16163" actId="790"/>
          <ac:spMkLst>
            <pc:docMk/>
            <pc:sldMk cId="2528439242" sldId="10388"/>
            <ac:spMk id="81" creationId="{4B3A7871-D042-41DF-9E79-7E565E264575}"/>
          </ac:spMkLst>
        </pc:spChg>
        <pc:spChg chg="mod">
          <ac:chgData name="Sarah GAUVARD" userId="4c03e191-e154-482a-88b2-11de19eac96c" providerId="ADAL" clId="{8245CC27-65FB-483E-B8E7-D04039DBA80D}" dt="2021-05-24T16:09:28.078" v="16164" actId="790"/>
          <ac:spMkLst>
            <pc:docMk/>
            <pc:sldMk cId="2528439242" sldId="10388"/>
            <ac:spMk id="86" creationId="{647AB55A-67E0-4E8B-BAEA-FB47DB36A6B9}"/>
          </ac:spMkLst>
        </pc:spChg>
        <pc:spChg chg="mod">
          <ac:chgData name="Sarah GAUVARD" userId="4c03e191-e154-482a-88b2-11de19eac96c" providerId="ADAL" clId="{8245CC27-65FB-483E-B8E7-D04039DBA80D}" dt="2021-05-24T16:09:28.048" v="16150" actId="790"/>
          <ac:spMkLst>
            <pc:docMk/>
            <pc:sldMk cId="2528439242" sldId="10388"/>
            <ac:spMk id="87" creationId="{C9E07055-AC48-4337-B5C4-6806E36F3F9E}"/>
          </ac:spMkLst>
        </pc:spChg>
        <pc:spChg chg="mod">
          <ac:chgData name="Sarah GAUVARD" userId="4c03e191-e154-482a-88b2-11de19eac96c" providerId="ADAL" clId="{8245CC27-65FB-483E-B8E7-D04039DBA80D}" dt="2021-05-24T16:09:28.078" v="16165" actId="790"/>
          <ac:spMkLst>
            <pc:docMk/>
            <pc:sldMk cId="2528439242" sldId="10388"/>
            <ac:spMk id="88" creationId="{9D09228C-7646-4BC5-BAD2-2D61E3E54D79}"/>
          </ac:spMkLst>
        </pc:spChg>
        <pc:spChg chg="mod">
          <ac:chgData name="Sarah GAUVARD" userId="4c03e191-e154-482a-88b2-11de19eac96c" providerId="ADAL" clId="{8245CC27-65FB-483E-B8E7-D04039DBA80D}" dt="2021-05-24T16:09:28.078" v="16166" actId="790"/>
          <ac:spMkLst>
            <pc:docMk/>
            <pc:sldMk cId="2528439242" sldId="10388"/>
            <ac:spMk id="89" creationId="{C5E212F5-085B-4C52-B70C-29F107B2D040}"/>
          </ac:spMkLst>
        </pc:spChg>
        <pc:spChg chg="mod">
          <ac:chgData name="Sarah GAUVARD" userId="4c03e191-e154-482a-88b2-11de19eac96c" providerId="ADAL" clId="{8245CC27-65FB-483E-B8E7-D04039DBA80D}" dt="2021-05-24T16:09:28.086" v="16167" actId="790"/>
          <ac:spMkLst>
            <pc:docMk/>
            <pc:sldMk cId="2528439242" sldId="10388"/>
            <ac:spMk id="90" creationId="{AA7DC620-97D4-48DE-A664-29FE4FE4CEE0}"/>
          </ac:spMkLst>
        </pc:spChg>
        <pc:spChg chg="mod">
          <ac:chgData name="Sarah GAUVARD" userId="4c03e191-e154-482a-88b2-11de19eac96c" providerId="ADAL" clId="{8245CC27-65FB-483E-B8E7-D04039DBA80D}" dt="2021-05-24T16:09:28.088" v="16168" actId="790"/>
          <ac:spMkLst>
            <pc:docMk/>
            <pc:sldMk cId="2528439242" sldId="10388"/>
            <ac:spMk id="91" creationId="{7DB27FE9-EB88-44E0-94CE-3C9F00A5A79B}"/>
          </ac:spMkLst>
        </pc:spChg>
        <pc:spChg chg="mod">
          <ac:chgData name="Sarah GAUVARD" userId="4c03e191-e154-482a-88b2-11de19eac96c" providerId="ADAL" clId="{8245CC27-65FB-483E-B8E7-D04039DBA80D}" dt="2021-05-24T16:09:28.088" v="16169" actId="790"/>
          <ac:spMkLst>
            <pc:docMk/>
            <pc:sldMk cId="2528439242" sldId="10388"/>
            <ac:spMk id="93" creationId="{A2D207EF-8BD0-44D3-A624-1DFFE05EABF1}"/>
          </ac:spMkLst>
        </pc:spChg>
        <pc:spChg chg="mod">
          <ac:chgData name="Sarah GAUVARD" userId="4c03e191-e154-482a-88b2-11de19eac96c" providerId="ADAL" clId="{8245CC27-65FB-483E-B8E7-D04039DBA80D}" dt="2021-05-24T16:09:28.088" v="16170" actId="790"/>
          <ac:spMkLst>
            <pc:docMk/>
            <pc:sldMk cId="2528439242" sldId="10388"/>
            <ac:spMk id="94" creationId="{80AADE10-9CDF-44C5-9D0C-F4BE5573C2CB}"/>
          </ac:spMkLst>
        </pc:spChg>
        <pc:spChg chg="mod">
          <ac:chgData name="Sarah GAUVARD" userId="4c03e191-e154-482a-88b2-11de19eac96c" providerId="ADAL" clId="{8245CC27-65FB-483E-B8E7-D04039DBA80D}" dt="2021-05-24T16:09:28.088" v="16171" actId="790"/>
          <ac:spMkLst>
            <pc:docMk/>
            <pc:sldMk cId="2528439242" sldId="10388"/>
            <ac:spMk id="95" creationId="{30A06502-CA72-44B0-9989-88A02C62242D}"/>
          </ac:spMkLst>
        </pc:spChg>
        <pc:spChg chg="mod">
          <ac:chgData name="Sarah GAUVARD" userId="4c03e191-e154-482a-88b2-11de19eac96c" providerId="ADAL" clId="{8245CC27-65FB-483E-B8E7-D04039DBA80D}" dt="2021-05-24T16:09:28.088" v="16175" actId="790"/>
          <ac:spMkLst>
            <pc:docMk/>
            <pc:sldMk cId="2528439242" sldId="10388"/>
            <ac:spMk id="96" creationId="{11D4BEF8-7D64-4110-B927-2D2241B2ACD1}"/>
          </ac:spMkLst>
        </pc:spChg>
        <pc:spChg chg="mod">
          <ac:chgData name="Sarah GAUVARD" userId="4c03e191-e154-482a-88b2-11de19eac96c" providerId="ADAL" clId="{8245CC27-65FB-483E-B8E7-D04039DBA80D}" dt="2021-05-24T16:09:28.088" v="16176" actId="790"/>
          <ac:spMkLst>
            <pc:docMk/>
            <pc:sldMk cId="2528439242" sldId="10388"/>
            <ac:spMk id="97" creationId="{515D236C-2659-4BD5-937E-79D9E704302D}"/>
          </ac:spMkLst>
        </pc:spChg>
        <pc:spChg chg="mod">
          <ac:chgData name="Sarah GAUVARD" userId="4c03e191-e154-482a-88b2-11de19eac96c" providerId="ADAL" clId="{8245CC27-65FB-483E-B8E7-D04039DBA80D}" dt="2021-05-24T16:09:28.088" v="16172" actId="790"/>
          <ac:spMkLst>
            <pc:docMk/>
            <pc:sldMk cId="2528439242" sldId="10388"/>
            <ac:spMk id="98" creationId="{05365063-0175-4B93-AFCD-4B0E8A70538E}"/>
          </ac:spMkLst>
        </pc:spChg>
        <pc:spChg chg="mod">
          <ac:chgData name="Sarah GAUVARD" userId="4c03e191-e154-482a-88b2-11de19eac96c" providerId="ADAL" clId="{8245CC27-65FB-483E-B8E7-D04039DBA80D}" dt="2021-05-24T16:09:28.088" v="16173" actId="790"/>
          <ac:spMkLst>
            <pc:docMk/>
            <pc:sldMk cId="2528439242" sldId="10388"/>
            <ac:spMk id="104" creationId="{29510A5E-9BDC-4463-8D19-55AB8604B20E}"/>
          </ac:spMkLst>
        </pc:spChg>
        <pc:spChg chg="mod">
          <ac:chgData name="Sarah GAUVARD" userId="4c03e191-e154-482a-88b2-11de19eac96c" providerId="ADAL" clId="{8245CC27-65FB-483E-B8E7-D04039DBA80D}" dt="2021-05-24T16:09:28.088" v="16174" actId="790"/>
          <ac:spMkLst>
            <pc:docMk/>
            <pc:sldMk cId="2528439242" sldId="10388"/>
            <ac:spMk id="107" creationId="{E622BEC9-977B-45CD-8F2B-0CBF440BC9B1}"/>
          </ac:spMkLst>
        </pc:spChg>
        <pc:graphicFrameChg chg="mod">
          <ac:chgData name="Sarah GAUVARD" userId="4c03e191-e154-482a-88b2-11de19eac96c" providerId="ADAL" clId="{8245CC27-65FB-483E-B8E7-D04039DBA80D}" dt="2021-05-24T15:34:46.044" v="11859"/>
          <ac:graphicFrameMkLst>
            <pc:docMk/>
            <pc:sldMk cId="2528439242" sldId="10388"/>
            <ac:graphicFrameMk id="6" creationId="{DD54D905-BBC0-4CCC-BEDA-1A4DE21D540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8.170" v="16238" actId="790"/>
        <pc:sldMkLst>
          <pc:docMk/>
          <pc:sldMk cId="2291217259" sldId="10389"/>
        </pc:sldMkLst>
        <pc:spChg chg="mod">
          <ac:chgData name="Sarah GAUVARD" userId="4c03e191-e154-482a-88b2-11de19eac96c" providerId="ADAL" clId="{8245CC27-65FB-483E-B8E7-D04039DBA80D}" dt="2021-05-24T16:09:28.150" v="16226" actId="790"/>
          <ac:spMkLst>
            <pc:docMk/>
            <pc:sldMk cId="2291217259" sldId="10389"/>
            <ac:spMk id="2" creationId="{3B352272-A751-4371-9AD1-0EDAA488B5E8}"/>
          </ac:spMkLst>
        </pc:spChg>
        <pc:spChg chg="mod">
          <ac:chgData name="Sarah GAUVARD" userId="4c03e191-e154-482a-88b2-11de19eac96c" providerId="ADAL" clId="{8245CC27-65FB-483E-B8E7-D04039DBA80D}" dt="2021-05-24T16:09:28.158" v="16227" actId="790"/>
          <ac:spMkLst>
            <pc:docMk/>
            <pc:sldMk cId="2291217259" sldId="10389"/>
            <ac:spMk id="3" creationId="{12B1867D-7FC0-41D7-B16A-252CAC322DC3}"/>
          </ac:spMkLst>
        </pc:spChg>
        <pc:spChg chg="add del mod modVis">
          <ac:chgData name="Sarah GAUVARD" userId="4c03e191-e154-482a-88b2-11de19eac96c" providerId="ADAL" clId="{8245CC27-65FB-483E-B8E7-D04039DBA80D}" dt="2021-05-24T15:34:46.452" v="12065"/>
          <ac:spMkLst>
            <pc:docMk/>
            <pc:sldMk cId="2291217259" sldId="10389"/>
            <ac:spMk id="4" creationId="{9240A1CA-6584-442C-A75D-54FBAF777CF8}"/>
          </ac:spMkLst>
        </pc:spChg>
        <pc:spChg chg="mod">
          <ac:chgData name="Sarah GAUVARD" userId="4c03e191-e154-482a-88b2-11de19eac96c" providerId="ADAL" clId="{8245CC27-65FB-483E-B8E7-D04039DBA80D}" dt="2021-05-24T16:09:28.160" v="16228" actId="790"/>
          <ac:spMkLst>
            <pc:docMk/>
            <pc:sldMk cId="2291217259" sldId="10389"/>
            <ac:spMk id="8" creationId="{978B0D85-EA24-49FC-AC13-F92A746B9E0F}"/>
          </ac:spMkLst>
        </pc:spChg>
        <pc:spChg chg="mod">
          <ac:chgData name="Sarah GAUVARD" userId="4c03e191-e154-482a-88b2-11de19eac96c" providerId="ADAL" clId="{8245CC27-65FB-483E-B8E7-D04039DBA80D}" dt="2021-05-24T16:09:28.160" v="16229" actId="790"/>
          <ac:spMkLst>
            <pc:docMk/>
            <pc:sldMk cId="2291217259" sldId="10389"/>
            <ac:spMk id="9" creationId="{9A6993AB-2507-445A-85BB-0A267AF64F0A}"/>
          </ac:spMkLst>
        </pc:spChg>
        <pc:spChg chg="mod">
          <ac:chgData name="Sarah GAUVARD" userId="4c03e191-e154-482a-88b2-11de19eac96c" providerId="ADAL" clId="{8245CC27-65FB-483E-B8E7-D04039DBA80D}" dt="2021-05-24T16:09:28.160" v="16230" actId="790"/>
          <ac:spMkLst>
            <pc:docMk/>
            <pc:sldMk cId="2291217259" sldId="10389"/>
            <ac:spMk id="12" creationId="{3F2CDE39-4AC6-4699-8B07-1ABF26133FE5}"/>
          </ac:spMkLst>
        </pc:spChg>
        <pc:spChg chg="mod">
          <ac:chgData name="Sarah GAUVARD" userId="4c03e191-e154-482a-88b2-11de19eac96c" providerId="ADAL" clId="{8245CC27-65FB-483E-B8E7-D04039DBA80D}" dt="2021-05-24T16:09:28.160" v="16231" actId="790"/>
          <ac:spMkLst>
            <pc:docMk/>
            <pc:sldMk cId="2291217259" sldId="10389"/>
            <ac:spMk id="13" creationId="{64367A5B-BB94-4167-9C66-8135A52BBE42}"/>
          </ac:spMkLst>
        </pc:spChg>
        <pc:spChg chg="mod">
          <ac:chgData name="Sarah GAUVARD" userId="4c03e191-e154-482a-88b2-11de19eac96c" providerId="ADAL" clId="{8245CC27-65FB-483E-B8E7-D04039DBA80D}" dt="2021-05-24T16:09:28.160" v="16232" actId="790"/>
          <ac:spMkLst>
            <pc:docMk/>
            <pc:sldMk cId="2291217259" sldId="10389"/>
            <ac:spMk id="24" creationId="{57ABB67D-0AFF-4868-A992-707AE87BE54E}"/>
          </ac:spMkLst>
        </pc:spChg>
        <pc:spChg chg="mod">
          <ac:chgData name="Sarah GAUVARD" userId="4c03e191-e154-482a-88b2-11de19eac96c" providerId="ADAL" clId="{8245CC27-65FB-483E-B8E7-D04039DBA80D}" dt="2021-05-24T16:09:28.168" v="16233" actId="790"/>
          <ac:spMkLst>
            <pc:docMk/>
            <pc:sldMk cId="2291217259" sldId="10389"/>
            <ac:spMk id="25" creationId="{7CD32595-D728-448F-9B85-F3CA600A3C2B}"/>
          </ac:spMkLst>
        </pc:spChg>
        <pc:spChg chg="mod">
          <ac:chgData name="Sarah GAUVARD" userId="4c03e191-e154-482a-88b2-11de19eac96c" providerId="ADAL" clId="{8245CC27-65FB-483E-B8E7-D04039DBA80D}" dt="2021-05-24T16:09:28.168" v="16234" actId="790"/>
          <ac:spMkLst>
            <pc:docMk/>
            <pc:sldMk cId="2291217259" sldId="10389"/>
            <ac:spMk id="26" creationId="{4B825778-5C85-4371-8748-208C09A2BE6D}"/>
          </ac:spMkLst>
        </pc:spChg>
        <pc:spChg chg="mod">
          <ac:chgData name="Sarah GAUVARD" userId="4c03e191-e154-482a-88b2-11de19eac96c" providerId="ADAL" clId="{8245CC27-65FB-483E-B8E7-D04039DBA80D}" dt="2021-05-24T16:09:28.170" v="16235" actId="790"/>
          <ac:spMkLst>
            <pc:docMk/>
            <pc:sldMk cId="2291217259" sldId="10389"/>
            <ac:spMk id="27" creationId="{553FE55F-4861-49E1-8748-B6AA0F422D3C}"/>
          </ac:spMkLst>
        </pc:spChg>
        <pc:spChg chg="mod">
          <ac:chgData name="Sarah GAUVARD" userId="4c03e191-e154-482a-88b2-11de19eac96c" providerId="ADAL" clId="{8245CC27-65FB-483E-B8E7-D04039DBA80D}" dt="2021-05-24T16:09:28.170" v="16236" actId="790"/>
          <ac:spMkLst>
            <pc:docMk/>
            <pc:sldMk cId="2291217259" sldId="10389"/>
            <ac:spMk id="28" creationId="{2948C625-FF0D-4674-B942-3B8C1142FD9E}"/>
          </ac:spMkLst>
        </pc:spChg>
        <pc:spChg chg="mod">
          <ac:chgData name="Sarah GAUVARD" userId="4c03e191-e154-482a-88b2-11de19eac96c" providerId="ADAL" clId="{8245CC27-65FB-483E-B8E7-D04039DBA80D}" dt="2021-05-24T16:09:28.170" v="16237" actId="790"/>
          <ac:spMkLst>
            <pc:docMk/>
            <pc:sldMk cId="2291217259" sldId="10389"/>
            <ac:spMk id="32" creationId="{87DC370F-246E-49A6-9BEE-38641DE2212A}"/>
          </ac:spMkLst>
        </pc:spChg>
        <pc:spChg chg="mod">
          <ac:chgData name="Sarah GAUVARD" userId="4c03e191-e154-482a-88b2-11de19eac96c" providerId="ADAL" clId="{8245CC27-65FB-483E-B8E7-D04039DBA80D}" dt="2021-05-24T16:09:28.170" v="16238" actId="790"/>
          <ac:spMkLst>
            <pc:docMk/>
            <pc:sldMk cId="2291217259" sldId="10389"/>
            <ac:spMk id="33" creationId="{333F0985-FD07-4FC4-ABD0-0CA27B7F45F6}"/>
          </ac:spMkLst>
        </pc:spChg>
        <pc:graphicFrameChg chg="mod">
          <ac:chgData name="Sarah GAUVARD" userId="4c03e191-e154-482a-88b2-11de19eac96c" providerId="ADAL" clId="{8245CC27-65FB-483E-B8E7-D04039DBA80D}" dt="2021-05-24T15:34:46.457" v="12067"/>
          <ac:graphicFrameMkLst>
            <pc:docMk/>
            <pc:sldMk cId="2291217259" sldId="10389"/>
            <ac:graphicFrameMk id="6" creationId="{DD54D905-BBC0-4CCC-BEDA-1A4DE21D540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0:00:20.160" v="19358" actId="207"/>
        <pc:sldMkLst>
          <pc:docMk/>
          <pc:sldMk cId="1963154161" sldId="10390"/>
        </pc:sldMkLst>
        <pc:spChg chg="mod">
          <ac:chgData name="Sarah GAUVARD" userId="4c03e191-e154-482a-88b2-11de19eac96c" providerId="ADAL" clId="{8245CC27-65FB-483E-B8E7-D04039DBA80D}" dt="2021-05-24T16:09:28.007" v="16116" actId="790"/>
          <ac:spMkLst>
            <pc:docMk/>
            <pc:sldMk cId="1963154161" sldId="10390"/>
            <ac:spMk id="2" creationId="{3B352272-A751-4371-9AD1-0EDAA488B5E8}"/>
          </ac:spMkLst>
        </pc:spChg>
        <pc:spChg chg="add del mod modVis">
          <ac:chgData name="Sarah GAUVARD" userId="4c03e191-e154-482a-88b2-11de19eac96c" providerId="ADAL" clId="{8245CC27-65FB-483E-B8E7-D04039DBA80D}" dt="2021-05-24T15:34:46.414" v="12047"/>
          <ac:spMkLst>
            <pc:docMk/>
            <pc:sldMk cId="1963154161" sldId="10390"/>
            <ac:spMk id="3" creationId="{BECCFAF1-998A-4DB9-A318-37581752DAA2}"/>
          </ac:spMkLst>
        </pc:spChg>
        <pc:spChg chg="mod">
          <ac:chgData name="Sarah GAUVARD" userId="4c03e191-e154-482a-88b2-11de19eac96c" providerId="ADAL" clId="{8245CC27-65FB-483E-B8E7-D04039DBA80D}" dt="2021-05-24T16:09:28.007" v="16117" actId="790"/>
          <ac:spMkLst>
            <pc:docMk/>
            <pc:sldMk cId="1963154161" sldId="10390"/>
            <ac:spMk id="27" creationId="{82A97B99-F7FE-4B4A-8D64-80E6C8EF07CA}"/>
          </ac:spMkLst>
        </pc:spChg>
        <pc:spChg chg="mod">
          <ac:chgData name="Sarah GAUVARD" userId="4c03e191-e154-482a-88b2-11de19eac96c" providerId="ADAL" clId="{8245CC27-65FB-483E-B8E7-D04039DBA80D}" dt="2021-05-24T16:09:28.007" v="16118" actId="790"/>
          <ac:spMkLst>
            <pc:docMk/>
            <pc:sldMk cId="1963154161" sldId="10390"/>
            <ac:spMk id="28" creationId="{19518F5B-5922-4379-B8C3-76136ADF97B5}"/>
          </ac:spMkLst>
        </pc:spChg>
        <pc:spChg chg="mod">
          <ac:chgData name="Sarah GAUVARD" userId="4c03e191-e154-482a-88b2-11de19eac96c" providerId="ADAL" clId="{8245CC27-65FB-483E-B8E7-D04039DBA80D}" dt="2021-05-24T16:09:28.007" v="16119" actId="790"/>
          <ac:spMkLst>
            <pc:docMk/>
            <pc:sldMk cId="1963154161" sldId="10390"/>
            <ac:spMk id="30" creationId="{77660FB8-EA69-47A9-AEA2-E46F353BFB2B}"/>
          </ac:spMkLst>
        </pc:spChg>
        <pc:spChg chg="mod">
          <ac:chgData name="Sarah GAUVARD" userId="4c03e191-e154-482a-88b2-11de19eac96c" providerId="ADAL" clId="{8245CC27-65FB-483E-B8E7-D04039DBA80D}" dt="2021-05-24T16:09:28.007" v="16120" actId="790"/>
          <ac:spMkLst>
            <pc:docMk/>
            <pc:sldMk cId="1963154161" sldId="10390"/>
            <ac:spMk id="31" creationId="{2945FCFB-194B-4D8E-9287-57E6954828F4}"/>
          </ac:spMkLst>
        </pc:spChg>
        <pc:spChg chg="mod">
          <ac:chgData name="Sarah GAUVARD" userId="4c03e191-e154-482a-88b2-11de19eac96c" providerId="ADAL" clId="{8245CC27-65FB-483E-B8E7-D04039DBA80D}" dt="2021-05-24T16:09:28.015" v="16121" actId="790"/>
          <ac:spMkLst>
            <pc:docMk/>
            <pc:sldMk cId="1963154161" sldId="10390"/>
            <ac:spMk id="32" creationId="{14904770-A5AE-43F0-8FD2-DB1AA1533E73}"/>
          </ac:spMkLst>
        </pc:spChg>
        <pc:spChg chg="mod">
          <ac:chgData name="Sarah GAUVARD" userId="4c03e191-e154-482a-88b2-11de19eac96c" providerId="ADAL" clId="{8245CC27-65FB-483E-B8E7-D04039DBA80D}" dt="2021-05-24T16:09:28.015" v="16122" actId="790"/>
          <ac:spMkLst>
            <pc:docMk/>
            <pc:sldMk cId="1963154161" sldId="10390"/>
            <ac:spMk id="33" creationId="{19D9E617-B15A-4755-83E0-08BA2DC4E237}"/>
          </ac:spMkLst>
        </pc:spChg>
        <pc:spChg chg="mod">
          <ac:chgData name="Sarah GAUVARD" userId="4c03e191-e154-482a-88b2-11de19eac96c" providerId="ADAL" clId="{8245CC27-65FB-483E-B8E7-D04039DBA80D}" dt="2021-05-24T16:09:28.025" v="16133" actId="790"/>
          <ac:spMkLst>
            <pc:docMk/>
            <pc:sldMk cId="1963154161" sldId="10390"/>
            <ac:spMk id="41" creationId="{54C6D71C-835B-41AF-BD7B-F25384D089AB}"/>
          </ac:spMkLst>
        </pc:spChg>
        <pc:spChg chg="mod">
          <ac:chgData name="Sarah GAUVARD" userId="4c03e191-e154-482a-88b2-11de19eac96c" providerId="ADAL" clId="{8245CC27-65FB-483E-B8E7-D04039DBA80D}" dt="2021-05-24T16:09:28.015" v="16123" actId="790"/>
          <ac:spMkLst>
            <pc:docMk/>
            <pc:sldMk cId="1963154161" sldId="10390"/>
            <ac:spMk id="43" creationId="{92F77E9E-DEF8-4DA4-9D26-0AE70C9DE90E}"/>
          </ac:spMkLst>
        </pc:spChg>
        <pc:spChg chg="mod">
          <ac:chgData name="Sarah GAUVARD" userId="4c03e191-e154-482a-88b2-11de19eac96c" providerId="ADAL" clId="{8245CC27-65FB-483E-B8E7-D04039DBA80D}" dt="2021-05-24T16:09:28.017" v="16128" actId="790"/>
          <ac:spMkLst>
            <pc:docMk/>
            <pc:sldMk cId="1963154161" sldId="10390"/>
            <ac:spMk id="44" creationId="{116EFBFE-5EFB-41E3-95D1-78CE66639AD5}"/>
          </ac:spMkLst>
        </pc:spChg>
        <pc:spChg chg="mod">
          <ac:chgData name="Sarah GAUVARD" userId="4c03e191-e154-482a-88b2-11de19eac96c" providerId="ADAL" clId="{8245CC27-65FB-483E-B8E7-D04039DBA80D}" dt="2021-05-24T16:09:28.017" v="16124" actId="790"/>
          <ac:spMkLst>
            <pc:docMk/>
            <pc:sldMk cId="1963154161" sldId="10390"/>
            <ac:spMk id="45" creationId="{2628F15C-FA42-46CA-A5D0-B427ED91699B}"/>
          </ac:spMkLst>
        </pc:spChg>
        <pc:spChg chg="mod">
          <ac:chgData name="Sarah GAUVARD" userId="4c03e191-e154-482a-88b2-11de19eac96c" providerId="ADAL" clId="{8245CC27-65FB-483E-B8E7-D04039DBA80D}" dt="2021-05-24T16:09:28.017" v="16125" actId="790"/>
          <ac:spMkLst>
            <pc:docMk/>
            <pc:sldMk cId="1963154161" sldId="10390"/>
            <ac:spMk id="46" creationId="{36D9C9E6-524B-49C2-AA2D-02E040F87033}"/>
          </ac:spMkLst>
        </pc:spChg>
        <pc:spChg chg="mod">
          <ac:chgData name="Sarah GAUVARD" userId="4c03e191-e154-482a-88b2-11de19eac96c" providerId="ADAL" clId="{8245CC27-65FB-483E-B8E7-D04039DBA80D}" dt="2021-05-24T16:09:28.017" v="16126" actId="790"/>
          <ac:spMkLst>
            <pc:docMk/>
            <pc:sldMk cId="1963154161" sldId="10390"/>
            <ac:spMk id="47" creationId="{DD7C368F-0FEE-4F0D-8F9C-DBA7253E24B1}"/>
          </ac:spMkLst>
        </pc:spChg>
        <pc:spChg chg="mod">
          <ac:chgData name="Sarah GAUVARD" userId="4c03e191-e154-482a-88b2-11de19eac96c" providerId="ADAL" clId="{8245CC27-65FB-483E-B8E7-D04039DBA80D}" dt="2021-05-24T16:09:28.017" v="16127" actId="790"/>
          <ac:spMkLst>
            <pc:docMk/>
            <pc:sldMk cId="1963154161" sldId="10390"/>
            <ac:spMk id="52" creationId="{B16F1296-3CA8-4D05-A0CB-EB1F1345CE9D}"/>
          </ac:spMkLst>
        </pc:spChg>
        <pc:spChg chg="mod">
          <ac:chgData name="Sarah GAUVARD" userId="4c03e191-e154-482a-88b2-11de19eac96c" providerId="ADAL" clId="{8245CC27-65FB-483E-B8E7-D04039DBA80D}" dt="2021-05-24T16:09:28.017" v="16129" actId="790"/>
          <ac:spMkLst>
            <pc:docMk/>
            <pc:sldMk cId="1963154161" sldId="10390"/>
            <ac:spMk id="54" creationId="{A2082C76-78A8-4C37-BB51-E0C640F2292A}"/>
          </ac:spMkLst>
        </pc:spChg>
        <pc:spChg chg="mod">
          <ac:chgData name="Sarah GAUVARD" userId="4c03e191-e154-482a-88b2-11de19eac96c" providerId="ADAL" clId="{8245CC27-65FB-483E-B8E7-D04039DBA80D}" dt="2021-05-24T16:09:28.017" v="16130" actId="790"/>
          <ac:spMkLst>
            <pc:docMk/>
            <pc:sldMk cId="1963154161" sldId="10390"/>
            <ac:spMk id="55" creationId="{C6C920E7-246D-45F6-B655-A54B6C35E79B}"/>
          </ac:spMkLst>
        </pc:spChg>
        <pc:spChg chg="mod">
          <ac:chgData name="Sarah GAUVARD" userId="4c03e191-e154-482a-88b2-11de19eac96c" providerId="ADAL" clId="{8245CC27-65FB-483E-B8E7-D04039DBA80D}" dt="2021-05-24T16:09:28.017" v="16131" actId="790"/>
          <ac:spMkLst>
            <pc:docMk/>
            <pc:sldMk cId="1963154161" sldId="10390"/>
            <ac:spMk id="56" creationId="{8DCB1BB5-D1C7-480F-B436-01199E4277B0}"/>
          </ac:spMkLst>
        </pc:spChg>
        <pc:spChg chg="mod">
          <ac:chgData name="Sarah GAUVARD" userId="4c03e191-e154-482a-88b2-11de19eac96c" providerId="ADAL" clId="{8245CC27-65FB-483E-B8E7-D04039DBA80D}" dt="2021-05-24T16:09:28.025" v="16132" actId="790"/>
          <ac:spMkLst>
            <pc:docMk/>
            <pc:sldMk cId="1963154161" sldId="10390"/>
            <ac:spMk id="57" creationId="{B7C8E92E-FAA7-4F80-A624-AB8657706AFA}"/>
          </ac:spMkLst>
        </pc:spChg>
        <pc:spChg chg="mod">
          <ac:chgData name="Sarah GAUVARD" userId="4c03e191-e154-482a-88b2-11de19eac96c" providerId="ADAL" clId="{8245CC27-65FB-483E-B8E7-D04039DBA80D}" dt="2021-05-24T16:09:28.027" v="16134" actId="790"/>
          <ac:spMkLst>
            <pc:docMk/>
            <pc:sldMk cId="1963154161" sldId="10390"/>
            <ac:spMk id="58" creationId="{7EC3C80C-8342-4DA2-BB03-07D115C0D737}"/>
          </ac:spMkLst>
        </pc:spChg>
        <pc:spChg chg="mod">
          <ac:chgData name="Sarah GAUVARD" userId="4c03e191-e154-482a-88b2-11de19eac96c" providerId="ADAL" clId="{8245CC27-65FB-483E-B8E7-D04039DBA80D}" dt="2021-05-24T16:09:28.027" v="16135" actId="790"/>
          <ac:spMkLst>
            <pc:docMk/>
            <pc:sldMk cId="1963154161" sldId="10390"/>
            <ac:spMk id="59" creationId="{D718E44E-FCF2-4E7F-B0E0-D177DAD0F758}"/>
          </ac:spMkLst>
        </pc:spChg>
        <pc:spChg chg="mod">
          <ac:chgData name="Sarah GAUVARD" userId="4c03e191-e154-482a-88b2-11de19eac96c" providerId="ADAL" clId="{8245CC27-65FB-483E-B8E7-D04039DBA80D}" dt="2021-05-24T16:09:28.027" v="16136" actId="790"/>
          <ac:spMkLst>
            <pc:docMk/>
            <pc:sldMk cId="1963154161" sldId="10390"/>
            <ac:spMk id="62" creationId="{5F61D7DE-7D72-4337-85CA-0C48811AC112}"/>
          </ac:spMkLst>
        </pc:spChg>
        <pc:spChg chg="mod">
          <ac:chgData name="Sarah GAUVARD" userId="4c03e191-e154-482a-88b2-11de19eac96c" providerId="ADAL" clId="{8245CC27-65FB-483E-B8E7-D04039DBA80D}" dt="2021-05-24T16:09:28.027" v="16137" actId="790"/>
          <ac:spMkLst>
            <pc:docMk/>
            <pc:sldMk cId="1963154161" sldId="10390"/>
            <ac:spMk id="63" creationId="{22E66DAA-CD24-43AB-BE5E-780D7BC379AE}"/>
          </ac:spMkLst>
        </pc:spChg>
        <pc:spChg chg="mod">
          <ac:chgData name="Sarah GAUVARD" userId="4c03e191-e154-482a-88b2-11de19eac96c" providerId="ADAL" clId="{8245CC27-65FB-483E-B8E7-D04039DBA80D}" dt="2021-05-24T16:09:28.027" v="16138" actId="790"/>
          <ac:spMkLst>
            <pc:docMk/>
            <pc:sldMk cId="1963154161" sldId="10390"/>
            <ac:spMk id="64" creationId="{6CC9CC00-4FC8-4B17-BD89-326E74CBFC14}"/>
          </ac:spMkLst>
        </pc:spChg>
        <pc:spChg chg="mod">
          <ac:chgData name="Sarah GAUVARD" userId="4c03e191-e154-482a-88b2-11de19eac96c" providerId="ADAL" clId="{8245CC27-65FB-483E-B8E7-D04039DBA80D}" dt="2021-05-24T16:09:28.048" v="16147" actId="790"/>
          <ac:spMkLst>
            <pc:docMk/>
            <pc:sldMk cId="1963154161" sldId="10390"/>
            <ac:spMk id="65" creationId="{BD22A475-DE7F-4951-9178-30B1FB2E070D}"/>
          </ac:spMkLst>
        </pc:spChg>
        <pc:spChg chg="mod">
          <ac:chgData name="Sarah GAUVARD" userId="4c03e191-e154-482a-88b2-11de19eac96c" providerId="ADAL" clId="{8245CC27-65FB-483E-B8E7-D04039DBA80D}" dt="2021-05-25T10:00:20.160" v="19358" actId="207"/>
          <ac:spMkLst>
            <pc:docMk/>
            <pc:sldMk cId="1963154161" sldId="10390"/>
            <ac:spMk id="67" creationId="{5A2EED6F-A68C-4C8B-9058-933E554A3399}"/>
          </ac:spMkLst>
        </pc:spChg>
        <pc:spChg chg="mod">
          <ac:chgData name="Sarah GAUVARD" userId="4c03e191-e154-482a-88b2-11de19eac96c" providerId="ADAL" clId="{8245CC27-65FB-483E-B8E7-D04039DBA80D}" dt="2021-05-24T16:09:28.040" v="16140" actId="790"/>
          <ac:spMkLst>
            <pc:docMk/>
            <pc:sldMk cId="1963154161" sldId="10390"/>
            <ac:spMk id="69" creationId="{9426D2C0-7317-4715-89A4-B73DFFD9C218}"/>
          </ac:spMkLst>
        </pc:spChg>
        <pc:spChg chg="mod">
          <ac:chgData name="Sarah GAUVARD" userId="4c03e191-e154-482a-88b2-11de19eac96c" providerId="ADAL" clId="{8245CC27-65FB-483E-B8E7-D04039DBA80D}" dt="2021-05-24T16:09:28.041" v="16141" actId="790"/>
          <ac:spMkLst>
            <pc:docMk/>
            <pc:sldMk cId="1963154161" sldId="10390"/>
            <ac:spMk id="71" creationId="{FCCA4A3B-0ACB-40EF-A467-43534267466C}"/>
          </ac:spMkLst>
        </pc:spChg>
        <pc:spChg chg="mod">
          <ac:chgData name="Sarah GAUVARD" userId="4c03e191-e154-482a-88b2-11de19eac96c" providerId="ADAL" clId="{8245CC27-65FB-483E-B8E7-D04039DBA80D}" dt="2021-05-24T16:09:28.043" v="16142" actId="790"/>
          <ac:spMkLst>
            <pc:docMk/>
            <pc:sldMk cId="1963154161" sldId="10390"/>
            <ac:spMk id="74" creationId="{F88E2EA3-6091-4A8A-994C-49E2EB973B35}"/>
          </ac:spMkLst>
        </pc:spChg>
        <pc:spChg chg="mod">
          <ac:chgData name="Sarah GAUVARD" userId="4c03e191-e154-482a-88b2-11de19eac96c" providerId="ADAL" clId="{8245CC27-65FB-483E-B8E7-D04039DBA80D}" dt="2021-05-24T16:09:28.044" v="16143" actId="790"/>
          <ac:spMkLst>
            <pc:docMk/>
            <pc:sldMk cId="1963154161" sldId="10390"/>
            <ac:spMk id="75" creationId="{16DB687C-AA72-473D-A094-DCD0C5C16671}"/>
          </ac:spMkLst>
        </pc:spChg>
        <pc:spChg chg="mod">
          <ac:chgData name="Sarah GAUVARD" userId="4c03e191-e154-482a-88b2-11de19eac96c" providerId="ADAL" clId="{8245CC27-65FB-483E-B8E7-D04039DBA80D}" dt="2021-05-24T16:09:28.044" v="16144" actId="790"/>
          <ac:spMkLst>
            <pc:docMk/>
            <pc:sldMk cId="1963154161" sldId="10390"/>
            <ac:spMk id="79" creationId="{FE04AFC6-9715-4315-A93E-ABC27CEE6560}"/>
          </ac:spMkLst>
        </pc:spChg>
        <pc:spChg chg="mod">
          <ac:chgData name="Sarah GAUVARD" userId="4c03e191-e154-482a-88b2-11de19eac96c" providerId="ADAL" clId="{8245CC27-65FB-483E-B8E7-D04039DBA80D}" dt="2021-05-24T16:09:28.046" v="16145" actId="790"/>
          <ac:spMkLst>
            <pc:docMk/>
            <pc:sldMk cId="1963154161" sldId="10390"/>
            <ac:spMk id="84" creationId="{56A6BEE0-27B6-4F24-BF86-F23470581D0F}"/>
          </ac:spMkLst>
        </pc:spChg>
        <pc:spChg chg="mod">
          <ac:chgData name="Sarah GAUVARD" userId="4c03e191-e154-482a-88b2-11de19eac96c" providerId="ADAL" clId="{8245CC27-65FB-483E-B8E7-D04039DBA80D}" dt="2021-05-24T16:09:28.046" v="16146" actId="790"/>
          <ac:spMkLst>
            <pc:docMk/>
            <pc:sldMk cId="1963154161" sldId="10390"/>
            <ac:spMk id="89" creationId="{707E897B-BB28-4ADF-8F14-A1011D93E6D0}"/>
          </ac:spMkLst>
        </pc:spChg>
        <pc:spChg chg="mod">
          <ac:chgData name="Sarah GAUVARD" userId="4c03e191-e154-482a-88b2-11de19eac96c" providerId="ADAL" clId="{8245CC27-65FB-483E-B8E7-D04039DBA80D}" dt="2021-05-24T16:09:28.048" v="16148" actId="790"/>
          <ac:spMkLst>
            <pc:docMk/>
            <pc:sldMk cId="1963154161" sldId="10390"/>
            <ac:spMk id="119" creationId="{B53369F6-F9C6-416E-8F1A-870B940A0116}"/>
          </ac:spMkLst>
        </pc:spChg>
        <pc:spChg chg="mod">
          <ac:chgData name="Sarah GAUVARD" userId="4c03e191-e154-482a-88b2-11de19eac96c" providerId="ADAL" clId="{8245CC27-65FB-483E-B8E7-D04039DBA80D}" dt="2021-05-24T16:09:28.048" v="16149" actId="790"/>
          <ac:spMkLst>
            <pc:docMk/>
            <pc:sldMk cId="1963154161" sldId="10390"/>
            <ac:spMk id="120" creationId="{6B6976CB-6637-41B9-8C38-9423EB049FAD}"/>
          </ac:spMkLst>
        </pc:spChg>
        <pc:graphicFrameChg chg="mod">
          <ac:chgData name="Sarah GAUVARD" userId="4c03e191-e154-482a-88b2-11de19eac96c" providerId="ADAL" clId="{8245CC27-65FB-483E-B8E7-D04039DBA80D}" dt="2021-05-24T15:34:46.419" v="12049"/>
          <ac:graphicFrameMkLst>
            <pc:docMk/>
            <pc:sldMk cId="1963154161" sldId="10390"/>
            <ac:graphicFrameMk id="6" creationId="{DD54D905-BBC0-4CCC-BEDA-1A4DE21D540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0:51:57.282" v="19600" actId="20577"/>
        <pc:sldMkLst>
          <pc:docMk/>
          <pc:sldMk cId="957352529" sldId="10393"/>
        </pc:sldMkLst>
        <pc:spChg chg="mod">
          <ac:chgData name="Sarah GAUVARD" userId="4c03e191-e154-482a-88b2-11de19eac96c" providerId="ADAL" clId="{8245CC27-65FB-483E-B8E7-D04039DBA80D}" dt="2021-05-24T16:09:28.664" v="16650" actId="790"/>
          <ac:spMkLst>
            <pc:docMk/>
            <pc:sldMk cId="957352529" sldId="10393"/>
            <ac:spMk id="2" creationId="{F86535CF-1A65-469E-AB4E-24F3D533381F}"/>
          </ac:spMkLst>
        </pc:spChg>
        <pc:spChg chg="add del mod modVis">
          <ac:chgData name="Sarah GAUVARD" userId="4c03e191-e154-482a-88b2-11de19eac96c" providerId="ADAL" clId="{8245CC27-65FB-483E-B8E7-D04039DBA80D}" dt="2021-05-24T15:34:45.898" v="11772"/>
          <ac:spMkLst>
            <pc:docMk/>
            <pc:sldMk cId="957352529" sldId="10393"/>
            <ac:spMk id="3" creationId="{C115A1C7-ABC2-4D61-9F4B-5BAA2819F0BB}"/>
          </ac:spMkLst>
        </pc:spChg>
        <pc:spChg chg="mod">
          <ac:chgData name="Sarah GAUVARD" userId="4c03e191-e154-482a-88b2-11de19eac96c" providerId="ADAL" clId="{8245CC27-65FB-483E-B8E7-D04039DBA80D}" dt="2021-05-24T16:09:28.664" v="16652" actId="790"/>
          <ac:spMkLst>
            <pc:docMk/>
            <pc:sldMk cId="957352529" sldId="10393"/>
            <ac:spMk id="4" creationId="{8D0673D8-58F3-4C92-BE58-BE86886857C4}"/>
          </ac:spMkLst>
        </pc:spChg>
        <pc:spChg chg="mod">
          <ac:chgData name="Sarah GAUVARD" userId="4c03e191-e154-482a-88b2-11de19eac96c" providerId="ADAL" clId="{8245CC27-65FB-483E-B8E7-D04039DBA80D}" dt="2021-05-25T10:51:09.008" v="19585" actId="1076"/>
          <ac:spMkLst>
            <pc:docMk/>
            <pc:sldMk cId="957352529" sldId="10393"/>
            <ac:spMk id="26" creationId="{4D39C270-ACE8-427E-A326-79B07CDDAE45}"/>
          </ac:spMkLst>
        </pc:spChg>
        <pc:spChg chg="mod">
          <ac:chgData name="Sarah GAUVARD" userId="4c03e191-e154-482a-88b2-11de19eac96c" providerId="ADAL" clId="{8245CC27-65FB-483E-B8E7-D04039DBA80D}" dt="2021-05-24T16:09:28.672" v="16655" actId="790"/>
          <ac:spMkLst>
            <pc:docMk/>
            <pc:sldMk cId="957352529" sldId="10393"/>
            <ac:spMk id="27" creationId="{F0173EF8-3180-4C30-B0B4-4238F39A038B}"/>
          </ac:spMkLst>
        </pc:spChg>
        <pc:spChg chg="del">
          <ac:chgData name="Sarah GAUVARD" userId="4c03e191-e154-482a-88b2-11de19eac96c" providerId="ADAL" clId="{8245CC27-65FB-483E-B8E7-D04039DBA80D}" dt="2021-05-24T13:56:44.445" v="4362" actId="478"/>
          <ac:spMkLst>
            <pc:docMk/>
            <pc:sldMk cId="957352529" sldId="10393"/>
            <ac:spMk id="35" creationId="{5D0A497A-2FD1-4BE6-A861-C6BC98729253}"/>
          </ac:spMkLst>
        </pc:spChg>
        <pc:spChg chg="mod">
          <ac:chgData name="Sarah GAUVARD" userId="4c03e191-e154-482a-88b2-11de19eac96c" providerId="ADAL" clId="{8245CC27-65FB-483E-B8E7-D04039DBA80D}" dt="2021-05-24T16:09:28.672" v="16653" actId="790"/>
          <ac:spMkLst>
            <pc:docMk/>
            <pc:sldMk cId="957352529" sldId="10393"/>
            <ac:spMk id="61" creationId="{3A77C3B4-4234-494E-B3AF-E2D230D559B9}"/>
          </ac:spMkLst>
        </pc:spChg>
        <pc:spChg chg="mod">
          <ac:chgData name="Sarah GAUVARD" userId="4c03e191-e154-482a-88b2-11de19eac96c" providerId="ADAL" clId="{8245CC27-65FB-483E-B8E7-D04039DBA80D}" dt="2021-05-24T16:09:28.674" v="16656" actId="790"/>
          <ac:spMkLst>
            <pc:docMk/>
            <pc:sldMk cId="957352529" sldId="10393"/>
            <ac:spMk id="64" creationId="{691BA92F-2D07-4894-BC16-248A09E7B8E7}"/>
          </ac:spMkLst>
        </pc:spChg>
        <pc:spChg chg="mod">
          <ac:chgData name="Sarah GAUVARD" userId="4c03e191-e154-482a-88b2-11de19eac96c" providerId="ADAL" clId="{8245CC27-65FB-483E-B8E7-D04039DBA80D}" dt="2021-05-24T16:09:28.672" v="16654" actId="790"/>
          <ac:spMkLst>
            <pc:docMk/>
            <pc:sldMk cId="957352529" sldId="10393"/>
            <ac:spMk id="65" creationId="{76ED0108-7E7B-4C9D-89F2-A614F653A231}"/>
          </ac:spMkLst>
        </pc:spChg>
        <pc:spChg chg="mod">
          <ac:chgData name="Sarah GAUVARD" userId="4c03e191-e154-482a-88b2-11de19eac96c" providerId="ADAL" clId="{8245CC27-65FB-483E-B8E7-D04039DBA80D}" dt="2021-05-24T16:09:28.674" v="16657" actId="790"/>
          <ac:spMkLst>
            <pc:docMk/>
            <pc:sldMk cId="957352529" sldId="10393"/>
            <ac:spMk id="67" creationId="{2F88E149-890C-439D-A411-E74C5028D4DB}"/>
          </ac:spMkLst>
        </pc:spChg>
        <pc:spChg chg="mod">
          <ac:chgData name="Sarah GAUVARD" userId="4c03e191-e154-482a-88b2-11de19eac96c" providerId="ADAL" clId="{8245CC27-65FB-483E-B8E7-D04039DBA80D}" dt="2021-05-24T16:09:28.674" v="16658" actId="790"/>
          <ac:spMkLst>
            <pc:docMk/>
            <pc:sldMk cId="957352529" sldId="10393"/>
            <ac:spMk id="68" creationId="{2DC6D0C2-73C5-4906-ADC1-16EE93DFC98A}"/>
          </ac:spMkLst>
        </pc:spChg>
        <pc:spChg chg="mod">
          <ac:chgData name="Sarah GAUVARD" userId="4c03e191-e154-482a-88b2-11de19eac96c" providerId="ADAL" clId="{8245CC27-65FB-483E-B8E7-D04039DBA80D}" dt="2021-05-24T16:09:28.674" v="16659" actId="790"/>
          <ac:spMkLst>
            <pc:docMk/>
            <pc:sldMk cId="957352529" sldId="10393"/>
            <ac:spMk id="69" creationId="{5EBB11DB-C104-4333-8834-EAE667C89105}"/>
          </ac:spMkLst>
        </pc:spChg>
        <pc:spChg chg="add del mod">
          <ac:chgData name="Sarah GAUVARD" userId="4c03e191-e154-482a-88b2-11de19eac96c" providerId="ADAL" clId="{8245CC27-65FB-483E-B8E7-D04039DBA80D}" dt="2021-05-25T10:51:10.748" v="19586" actId="478"/>
          <ac:spMkLst>
            <pc:docMk/>
            <pc:sldMk cId="957352529" sldId="10393"/>
            <ac:spMk id="71" creationId="{EC13907E-038C-4C5C-B33D-BB19EB055994}"/>
          </ac:spMkLst>
        </pc:spChg>
        <pc:spChg chg="mod">
          <ac:chgData name="Sarah GAUVARD" userId="4c03e191-e154-482a-88b2-11de19eac96c" providerId="ADAL" clId="{8245CC27-65FB-483E-B8E7-D04039DBA80D}" dt="2021-05-24T16:09:28.674" v="16660" actId="790"/>
          <ac:spMkLst>
            <pc:docMk/>
            <pc:sldMk cId="957352529" sldId="10393"/>
            <ac:spMk id="81" creationId="{0FBF1E32-B6D0-4348-A648-BF12F780300D}"/>
          </ac:spMkLst>
        </pc:spChg>
        <pc:spChg chg="mod">
          <ac:chgData name="Sarah GAUVARD" userId="4c03e191-e154-482a-88b2-11de19eac96c" providerId="ADAL" clId="{8245CC27-65FB-483E-B8E7-D04039DBA80D}" dt="2021-05-24T16:09:28.674" v="16661" actId="790"/>
          <ac:spMkLst>
            <pc:docMk/>
            <pc:sldMk cId="957352529" sldId="10393"/>
            <ac:spMk id="82" creationId="{B7B8953C-D149-47D5-960F-235DAF55AECF}"/>
          </ac:spMkLst>
        </pc:spChg>
        <pc:spChg chg="mod">
          <ac:chgData name="Sarah GAUVARD" userId="4c03e191-e154-482a-88b2-11de19eac96c" providerId="ADAL" clId="{8245CC27-65FB-483E-B8E7-D04039DBA80D}" dt="2021-05-24T16:09:28.674" v="16662" actId="790"/>
          <ac:spMkLst>
            <pc:docMk/>
            <pc:sldMk cId="957352529" sldId="10393"/>
            <ac:spMk id="83" creationId="{B26FA1B6-823F-4D05-9001-5B804381DFBA}"/>
          </ac:spMkLst>
        </pc:spChg>
        <pc:spChg chg="mod">
          <ac:chgData name="Sarah GAUVARD" userId="4c03e191-e154-482a-88b2-11de19eac96c" providerId="ADAL" clId="{8245CC27-65FB-483E-B8E7-D04039DBA80D}" dt="2021-05-24T16:09:28.674" v="16663" actId="790"/>
          <ac:spMkLst>
            <pc:docMk/>
            <pc:sldMk cId="957352529" sldId="10393"/>
            <ac:spMk id="84" creationId="{D880890D-D484-44B2-A230-177108C3F1BC}"/>
          </ac:spMkLst>
        </pc:spChg>
        <pc:spChg chg="mod">
          <ac:chgData name="Sarah GAUVARD" userId="4c03e191-e154-482a-88b2-11de19eac96c" providerId="ADAL" clId="{8245CC27-65FB-483E-B8E7-D04039DBA80D}" dt="2021-05-24T16:09:28.674" v="16664" actId="790"/>
          <ac:spMkLst>
            <pc:docMk/>
            <pc:sldMk cId="957352529" sldId="10393"/>
            <ac:spMk id="85" creationId="{FB985EB4-EFAF-4CFE-AAC8-3BFEF86CD305}"/>
          </ac:spMkLst>
        </pc:spChg>
        <pc:spChg chg="mod">
          <ac:chgData name="Sarah GAUVARD" userId="4c03e191-e154-482a-88b2-11de19eac96c" providerId="ADAL" clId="{8245CC27-65FB-483E-B8E7-D04039DBA80D}" dt="2021-05-24T16:09:28.674" v="16665" actId="790"/>
          <ac:spMkLst>
            <pc:docMk/>
            <pc:sldMk cId="957352529" sldId="10393"/>
            <ac:spMk id="86" creationId="{D33079FA-0FE4-4F50-9CB5-E57CCD4A3E6D}"/>
          </ac:spMkLst>
        </pc:spChg>
        <pc:spChg chg="mod">
          <ac:chgData name="Sarah GAUVARD" userId="4c03e191-e154-482a-88b2-11de19eac96c" providerId="ADAL" clId="{8245CC27-65FB-483E-B8E7-D04039DBA80D}" dt="2021-05-24T16:09:28.682" v="16666" actId="790"/>
          <ac:spMkLst>
            <pc:docMk/>
            <pc:sldMk cId="957352529" sldId="10393"/>
            <ac:spMk id="87" creationId="{D0C7EF25-F41C-4D5A-8D5F-89222470364F}"/>
          </ac:spMkLst>
        </pc:spChg>
        <pc:spChg chg="mod">
          <ac:chgData name="Sarah GAUVARD" userId="4c03e191-e154-482a-88b2-11de19eac96c" providerId="ADAL" clId="{8245CC27-65FB-483E-B8E7-D04039DBA80D}" dt="2021-05-24T16:09:28.682" v="16667" actId="790"/>
          <ac:spMkLst>
            <pc:docMk/>
            <pc:sldMk cId="957352529" sldId="10393"/>
            <ac:spMk id="88" creationId="{33CC15C5-E426-425E-8CA8-58B5F0AF7407}"/>
          </ac:spMkLst>
        </pc:spChg>
        <pc:graphicFrameChg chg="mod">
          <ac:chgData name="Sarah GAUVARD" userId="4c03e191-e154-482a-88b2-11de19eac96c" providerId="ADAL" clId="{8245CC27-65FB-483E-B8E7-D04039DBA80D}" dt="2021-05-24T15:34:45.900" v="11774"/>
          <ac:graphicFrameMkLst>
            <pc:docMk/>
            <pc:sldMk cId="957352529" sldId="10393"/>
            <ac:graphicFrameMk id="5" creationId="{973664F8-DF86-4225-8CB9-42E888DA9E93}"/>
          </ac:graphicFrameMkLst>
        </pc:graphicFrameChg>
        <pc:graphicFrameChg chg="mod modGraphic">
          <ac:chgData name="Sarah GAUVARD" userId="4c03e191-e154-482a-88b2-11de19eac96c" providerId="ADAL" clId="{8245CC27-65FB-483E-B8E7-D04039DBA80D}" dt="2021-05-25T10:51:57.282" v="19600" actId="20577"/>
          <ac:graphicFrameMkLst>
            <pc:docMk/>
            <pc:sldMk cId="957352529" sldId="10393"/>
            <ac:graphicFrameMk id="15" creationId="{9F498932-4CCF-4B8A-8787-99F5420B02A5}"/>
          </ac:graphicFrameMkLst>
        </pc:graphicFrameChg>
        <pc:picChg chg="mod">
          <ac:chgData name="Sarah GAUVARD" userId="4c03e191-e154-482a-88b2-11de19eac96c" providerId="ADAL" clId="{8245CC27-65FB-483E-B8E7-D04039DBA80D}" dt="2021-05-24T13:56:14.425" v="4360" actId="1076"/>
          <ac:picMkLst>
            <pc:docMk/>
            <pc:sldMk cId="957352529" sldId="10393"/>
            <ac:picMk id="24" creationId="{0FE180EE-9F62-44E8-B008-7AD4A4BB49FF}"/>
          </ac:picMkLst>
        </pc:picChg>
        <pc:picChg chg="mod">
          <ac:chgData name="Sarah GAUVARD" userId="4c03e191-e154-482a-88b2-11de19eac96c" providerId="ADAL" clId="{8245CC27-65FB-483E-B8E7-D04039DBA80D}" dt="2021-05-24T13:55:28.701" v="4355" actId="1076"/>
          <ac:picMkLst>
            <pc:docMk/>
            <pc:sldMk cId="957352529" sldId="10393"/>
            <ac:picMk id="39" creationId="{3B198D7F-6286-4E77-8887-0C4F375EE2D1}"/>
          </ac:picMkLst>
        </pc:picChg>
        <pc:picChg chg="mod">
          <ac:chgData name="Sarah GAUVARD" userId="4c03e191-e154-482a-88b2-11de19eac96c" providerId="ADAL" clId="{8245CC27-65FB-483E-B8E7-D04039DBA80D}" dt="2021-05-24T13:55:28.701" v="4355" actId="1076"/>
          <ac:picMkLst>
            <pc:docMk/>
            <pc:sldMk cId="957352529" sldId="10393"/>
            <ac:picMk id="42" creationId="{9414FE26-F27C-4762-A453-7A3C591EE144}"/>
          </ac:picMkLst>
        </pc:picChg>
        <pc:picChg chg="mod">
          <ac:chgData name="Sarah GAUVARD" userId="4c03e191-e154-482a-88b2-11de19eac96c" providerId="ADAL" clId="{8245CC27-65FB-483E-B8E7-D04039DBA80D}" dt="2021-05-24T13:55:28.701" v="4355" actId="1076"/>
          <ac:picMkLst>
            <pc:docMk/>
            <pc:sldMk cId="957352529" sldId="10393"/>
            <ac:picMk id="47" creationId="{C347B97F-F6EB-4F05-B89A-E6F01F0D0640}"/>
          </ac:picMkLst>
        </pc:picChg>
        <pc:picChg chg="mod">
          <ac:chgData name="Sarah GAUVARD" userId="4c03e191-e154-482a-88b2-11de19eac96c" providerId="ADAL" clId="{8245CC27-65FB-483E-B8E7-D04039DBA80D}" dt="2021-05-24T13:56:14.425" v="4360" actId="1076"/>
          <ac:picMkLst>
            <pc:docMk/>
            <pc:sldMk cId="957352529" sldId="10393"/>
            <ac:picMk id="50" creationId="{D0383DAB-FE4A-49F5-8551-FCE2308E61CA}"/>
          </ac:picMkLst>
        </pc:picChg>
        <pc:picChg chg="mod">
          <ac:chgData name="Sarah GAUVARD" userId="4c03e191-e154-482a-88b2-11de19eac96c" providerId="ADAL" clId="{8245CC27-65FB-483E-B8E7-D04039DBA80D}" dt="2021-05-24T13:56:14.425" v="4360" actId="1076"/>
          <ac:picMkLst>
            <pc:docMk/>
            <pc:sldMk cId="957352529" sldId="10393"/>
            <ac:picMk id="51" creationId="{E3091DF1-A5EA-4472-9D4D-AF46F1D944C7}"/>
          </ac:picMkLst>
        </pc:picChg>
        <pc:picChg chg="mod">
          <ac:chgData name="Sarah GAUVARD" userId="4c03e191-e154-482a-88b2-11de19eac96c" providerId="ADAL" clId="{8245CC27-65FB-483E-B8E7-D04039DBA80D}" dt="2021-05-24T13:56:14.425" v="4360" actId="1076"/>
          <ac:picMkLst>
            <pc:docMk/>
            <pc:sldMk cId="957352529" sldId="10393"/>
            <ac:picMk id="52" creationId="{9C5661FE-0B5A-4B3B-B9B1-352415FA3C3F}"/>
          </ac:picMkLst>
        </pc:picChg>
        <pc:picChg chg="mod">
          <ac:chgData name="Sarah GAUVARD" userId="4c03e191-e154-482a-88b2-11de19eac96c" providerId="ADAL" clId="{8245CC27-65FB-483E-B8E7-D04039DBA80D}" dt="2021-05-24T13:56:14.425" v="4360" actId="1076"/>
          <ac:picMkLst>
            <pc:docMk/>
            <pc:sldMk cId="957352529" sldId="10393"/>
            <ac:picMk id="55" creationId="{1EFD0AF7-5E14-4F43-BC97-4675CD67E22A}"/>
          </ac:picMkLst>
        </pc:picChg>
        <pc:picChg chg="mod">
          <ac:chgData name="Sarah GAUVARD" userId="4c03e191-e154-482a-88b2-11de19eac96c" providerId="ADAL" clId="{8245CC27-65FB-483E-B8E7-D04039DBA80D}" dt="2021-05-24T13:56:14.425" v="4360" actId="1076"/>
          <ac:picMkLst>
            <pc:docMk/>
            <pc:sldMk cId="957352529" sldId="10393"/>
            <ac:picMk id="56" creationId="{1033EDCC-699D-4D7B-A796-6755D3AEFE70}"/>
          </ac:picMkLst>
        </pc:picChg>
        <pc:picChg chg="mod">
          <ac:chgData name="Sarah GAUVARD" userId="4c03e191-e154-482a-88b2-11de19eac96c" providerId="ADAL" clId="{8245CC27-65FB-483E-B8E7-D04039DBA80D}" dt="2021-05-24T13:56:14.425" v="4360" actId="1076"/>
          <ac:picMkLst>
            <pc:docMk/>
            <pc:sldMk cId="957352529" sldId="10393"/>
            <ac:picMk id="57" creationId="{899E1F5A-CFA2-4CAB-80BC-AE0988095B71}"/>
          </ac:picMkLst>
        </pc:picChg>
        <pc:picChg chg="mod">
          <ac:chgData name="Sarah GAUVARD" userId="4c03e191-e154-482a-88b2-11de19eac96c" providerId="ADAL" clId="{8245CC27-65FB-483E-B8E7-D04039DBA80D}" dt="2021-05-24T13:55:28.701" v="4355" actId="1076"/>
          <ac:picMkLst>
            <pc:docMk/>
            <pc:sldMk cId="957352529" sldId="10393"/>
            <ac:picMk id="60" creationId="{414E5A9A-2BDD-4112-BCA0-A9FAB60A6FE5}"/>
          </ac:picMkLst>
        </pc:picChg>
      </pc:sldChg>
      <pc:sldChg chg="addSp delSp modSp del mod modTransition modShow">
        <pc:chgData name="Sarah GAUVARD" userId="4c03e191-e154-482a-88b2-11de19eac96c" providerId="ADAL" clId="{8245CC27-65FB-483E-B8E7-D04039DBA80D}" dt="2021-05-25T15:12:53.893" v="27577" actId="47"/>
        <pc:sldMkLst>
          <pc:docMk/>
          <pc:sldMk cId="3996239782" sldId="10399"/>
        </pc:sldMkLst>
        <pc:spChg chg="mod">
          <ac:chgData name="Sarah GAUVARD" userId="4c03e191-e154-482a-88b2-11de19eac96c" providerId="ADAL" clId="{8245CC27-65FB-483E-B8E7-D04039DBA80D}" dt="2021-05-25T12:45:33.852" v="22108" actId="948"/>
          <ac:spMkLst>
            <pc:docMk/>
            <pc:sldMk cId="3996239782" sldId="10399"/>
            <ac:spMk id="2" creationId="{8ECED2BA-32CC-4045-8D14-78B10AEA12FB}"/>
          </ac:spMkLst>
        </pc:spChg>
        <pc:spChg chg="mod">
          <ac:chgData name="Sarah GAUVARD" userId="4c03e191-e154-482a-88b2-11de19eac96c" providerId="ADAL" clId="{8245CC27-65FB-483E-B8E7-D04039DBA80D}" dt="2021-05-25T13:02:03.237" v="22840" actId="108"/>
          <ac:spMkLst>
            <pc:docMk/>
            <pc:sldMk cId="3996239782" sldId="10399"/>
            <ac:spMk id="3" creationId="{B501C848-A2DC-4147-8A2D-73995C4BC00F}"/>
          </ac:spMkLst>
        </pc:spChg>
        <pc:spChg chg="mod">
          <ac:chgData name="Sarah GAUVARD" userId="4c03e191-e154-482a-88b2-11de19eac96c" providerId="ADAL" clId="{8245CC27-65FB-483E-B8E7-D04039DBA80D}" dt="2021-05-24T16:09:28.470" v="16470" actId="790"/>
          <ac:spMkLst>
            <pc:docMk/>
            <pc:sldMk cId="3996239782" sldId="10399"/>
            <ac:spMk id="4" creationId="{F7D6FC23-B579-4054-8BE5-06AAB333B6F1}"/>
          </ac:spMkLst>
        </pc:spChg>
        <pc:spChg chg="mod">
          <ac:chgData name="Sarah GAUVARD" userId="4c03e191-e154-482a-88b2-11de19eac96c" providerId="ADAL" clId="{8245CC27-65FB-483E-B8E7-D04039DBA80D}" dt="2021-05-25T13:02:04.860" v="22841" actId="108"/>
          <ac:spMkLst>
            <pc:docMk/>
            <pc:sldMk cId="3996239782" sldId="10399"/>
            <ac:spMk id="5" creationId="{E05AFE09-2ECE-45A0-B1A6-917994C4A573}"/>
          </ac:spMkLst>
        </pc:spChg>
        <pc:spChg chg="mod">
          <ac:chgData name="Sarah GAUVARD" userId="4c03e191-e154-482a-88b2-11de19eac96c" providerId="ADAL" clId="{8245CC27-65FB-483E-B8E7-D04039DBA80D}" dt="2021-05-24T16:09:28.472" v="16472" actId="790"/>
          <ac:spMkLst>
            <pc:docMk/>
            <pc:sldMk cId="3996239782" sldId="10399"/>
            <ac:spMk id="6" creationId="{97ECC932-E904-4A9B-8E43-A105D088ABBA}"/>
          </ac:spMkLst>
        </pc:spChg>
        <pc:spChg chg="mod">
          <ac:chgData name="Sarah GAUVARD" userId="4c03e191-e154-482a-88b2-11de19eac96c" providerId="ADAL" clId="{8245CC27-65FB-483E-B8E7-D04039DBA80D}" dt="2021-05-24T16:09:28.472" v="16473" actId="790"/>
          <ac:spMkLst>
            <pc:docMk/>
            <pc:sldMk cId="3996239782" sldId="10399"/>
            <ac:spMk id="7" creationId="{7F4369D1-89B8-488C-A693-6DCA73F7A083}"/>
          </ac:spMkLst>
        </pc:spChg>
        <pc:spChg chg="mod">
          <ac:chgData name="Sarah GAUVARD" userId="4c03e191-e154-482a-88b2-11de19eac96c" providerId="ADAL" clId="{8245CC27-65FB-483E-B8E7-D04039DBA80D}" dt="2021-05-24T16:09:28.483" v="16484" actId="790"/>
          <ac:spMkLst>
            <pc:docMk/>
            <pc:sldMk cId="3996239782" sldId="10399"/>
            <ac:spMk id="8" creationId="{BE20C05E-1A26-46E6-973C-A1D4EAEA014C}"/>
          </ac:spMkLst>
        </pc:spChg>
        <pc:spChg chg="mod">
          <ac:chgData name="Sarah GAUVARD" userId="4c03e191-e154-482a-88b2-11de19eac96c" providerId="ADAL" clId="{8245CC27-65FB-483E-B8E7-D04039DBA80D}" dt="2021-05-25T13:02:42.975" v="22847" actId="1076"/>
          <ac:spMkLst>
            <pc:docMk/>
            <pc:sldMk cId="3996239782" sldId="10399"/>
            <ac:spMk id="10" creationId="{BAC2F0DB-4A90-42A5-824F-1E510EB9DCB5}"/>
          </ac:spMkLst>
        </pc:spChg>
        <pc:spChg chg="add del mod modVis">
          <ac:chgData name="Sarah GAUVARD" userId="4c03e191-e154-482a-88b2-11de19eac96c" providerId="ADAL" clId="{8245CC27-65FB-483E-B8E7-D04039DBA80D}" dt="2021-05-24T15:34:45.883" v="11756"/>
          <ac:spMkLst>
            <pc:docMk/>
            <pc:sldMk cId="3996239782" sldId="10399"/>
            <ac:spMk id="11" creationId="{5731C729-C060-4F36-AA2E-8E7FB9F0ED90}"/>
          </ac:spMkLst>
        </pc:spChg>
        <pc:spChg chg="add mod">
          <ac:chgData name="Sarah GAUVARD" userId="4c03e191-e154-482a-88b2-11de19eac96c" providerId="ADAL" clId="{8245CC27-65FB-483E-B8E7-D04039DBA80D}" dt="2021-05-25T12:46:16.303" v="22259" actId="20577"/>
          <ac:spMkLst>
            <pc:docMk/>
            <pc:sldMk cId="3996239782" sldId="10399"/>
            <ac:spMk id="11" creationId="{669A30B9-8D4D-449C-8474-C2D581AE0841}"/>
          </ac:spMkLst>
        </pc:spChg>
        <pc:spChg chg="mod">
          <ac:chgData name="Sarah GAUVARD" userId="4c03e191-e154-482a-88b2-11de19eac96c" providerId="ADAL" clId="{8245CC27-65FB-483E-B8E7-D04039DBA80D}" dt="2021-05-24T16:09:28.472" v="16475" actId="790"/>
          <ac:spMkLst>
            <pc:docMk/>
            <pc:sldMk cId="3996239782" sldId="10399"/>
            <ac:spMk id="12" creationId="{B3C0B329-0DB4-4820-80B0-697179429242}"/>
          </ac:spMkLst>
        </pc:spChg>
        <pc:spChg chg="mod">
          <ac:chgData name="Sarah GAUVARD" userId="4c03e191-e154-482a-88b2-11de19eac96c" providerId="ADAL" clId="{8245CC27-65FB-483E-B8E7-D04039DBA80D}" dt="2021-05-24T16:09:28.472" v="16476" actId="790"/>
          <ac:spMkLst>
            <pc:docMk/>
            <pc:sldMk cId="3996239782" sldId="10399"/>
            <ac:spMk id="13" creationId="{1465C513-F61B-493B-A85C-0744F92F52A3}"/>
          </ac:spMkLst>
        </pc:spChg>
        <pc:spChg chg="mod">
          <ac:chgData name="Sarah GAUVARD" userId="4c03e191-e154-482a-88b2-11de19eac96c" providerId="ADAL" clId="{8245CC27-65FB-483E-B8E7-D04039DBA80D}" dt="2021-05-25T13:02:42.975" v="22847" actId="1076"/>
          <ac:spMkLst>
            <pc:docMk/>
            <pc:sldMk cId="3996239782" sldId="10399"/>
            <ac:spMk id="14" creationId="{6F40B73C-ED48-415F-9826-3160F048C49D}"/>
          </ac:spMkLst>
        </pc:spChg>
        <pc:spChg chg="mod">
          <ac:chgData name="Sarah GAUVARD" userId="4c03e191-e154-482a-88b2-11de19eac96c" providerId="ADAL" clId="{8245CC27-65FB-483E-B8E7-D04039DBA80D}" dt="2021-05-25T13:02:29.213" v="22846"/>
          <ac:spMkLst>
            <pc:docMk/>
            <pc:sldMk cId="3996239782" sldId="10399"/>
            <ac:spMk id="15" creationId="{1EAFF699-192B-46E9-B8E8-C0838CC08C2C}"/>
          </ac:spMkLst>
        </pc:spChg>
        <pc:spChg chg="add del mod modVis">
          <ac:chgData name="Sarah GAUVARD" userId="4c03e191-e154-482a-88b2-11de19eac96c" providerId="ADAL" clId="{8245CC27-65FB-483E-B8E7-D04039DBA80D}" dt="2021-05-25T12:45:33.895" v="22148"/>
          <ac:spMkLst>
            <pc:docMk/>
            <pc:sldMk cId="3996239782" sldId="10399"/>
            <ac:spMk id="16" creationId="{CA06277E-5F8B-4DF5-A05E-EAAE939AFCCF}"/>
          </ac:spMkLst>
        </pc:spChg>
        <pc:spChg chg="mod">
          <ac:chgData name="Sarah GAUVARD" userId="4c03e191-e154-482a-88b2-11de19eac96c" providerId="ADAL" clId="{8245CC27-65FB-483E-B8E7-D04039DBA80D}" dt="2021-05-24T16:09:28.483" v="16479" actId="790"/>
          <ac:spMkLst>
            <pc:docMk/>
            <pc:sldMk cId="3996239782" sldId="10399"/>
            <ac:spMk id="17" creationId="{8D2A536B-772E-484E-8D44-1AC57A161AF0}"/>
          </ac:spMkLst>
        </pc:spChg>
        <pc:spChg chg="mod">
          <ac:chgData name="Sarah GAUVARD" userId="4c03e191-e154-482a-88b2-11de19eac96c" providerId="ADAL" clId="{8245CC27-65FB-483E-B8E7-D04039DBA80D}" dt="2021-05-25T13:02:42.975" v="22847" actId="1076"/>
          <ac:spMkLst>
            <pc:docMk/>
            <pc:sldMk cId="3996239782" sldId="10399"/>
            <ac:spMk id="18" creationId="{C87F9580-72EF-4198-9D8A-320AB7543801}"/>
          </ac:spMkLst>
        </pc:spChg>
        <pc:spChg chg="mod">
          <ac:chgData name="Sarah GAUVARD" userId="4c03e191-e154-482a-88b2-11de19eac96c" providerId="ADAL" clId="{8245CC27-65FB-483E-B8E7-D04039DBA80D}" dt="2021-05-25T13:02:12.930" v="22843" actId="20577"/>
          <ac:spMkLst>
            <pc:docMk/>
            <pc:sldMk cId="3996239782" sldId="10399"/>
            <ac:spMk id="19" creationId="{FBC7EDC3-999F-41DB-BAE4-EC07B2C7B35B}"/>
          </ac:spMkLst>
        </pc:spChg>
        <pc:spChg chg="mod">
          <ac:chgData name="Sarah GAUVARD" userId="4c03e191-e154-482a-88b2-11de19eac96c" providerId="ADAL" clId="{8245CC27-65FB-483E-B8E7-D04039DBA80D}" dt="2021-05-25T13:02:42.975" v="22847" actId="1076"/>
          <ac:spMkLst>
            <pc:docMk/>
            <pc:sldMk cId="3996239782" sldId="10399"/>
            <ac:spMk id="21" creationId="{1B0FB440-CD14-4D76-8D20-CF2F87E8BD3F}"/>
          </ac:spMkLst>
        </pc:spChg>
        <pc:spChg chg="mod">
          <ac:chgData name="Sarah GAUVARD" userId="4c03e191-e154-482a-88b2-11de19eac96c" providerId="ADAL" clId="{8245CC27-65FB-483E-B8E7-D04039DBA80D}" dt="2021-05-25T13:01:33.039" v="22837" actId="207"/>
          <ac:spMkLst>
            <pc:docMk/>
            <pc:sldMk cId="3996239782" sldId="10399"/>
            <ac:spMk id="23" creationId="{7A7B45BB-0C39-4952-96D9-943DAC289519}"/>
          </ac:spMkLst>
        </pc:spChg>
        <pc:spChg chg="mod">
          <ac:chgData name="Sarah GAUVARD" userId="4c03e191-e154-482a-88b2-11de19eac96c" providerId="ADAL" clId="{8245CC27-65FB-483E-B8E7-D04039DBA80D}" dt="2021-05-24T16:09:28.493" v="16487" actId="790"/>
          <ac:spMkLst>
            <pc:docMk/>
            <pc:sldMk cId="3996239782" sldId="10399"/>
            <ac:spMk id="27" creationId="{499E31EE-17B3-461E-BC6B-3A41D42EEEAA}"/>
          </ac:spMkLst>
        </pc:spChg>
        <pc:spChg chg="mod">
          <ac:chgData name="Sarah GAUVARD" userId="4c03e191-e154-482a-88b2-11de19eac96c" providerId="ADAL" clId="{8245CC27-65FB-483E-B8E7-D04039DBA80D}" dt="2021-05-24T14:45:25.811" v="4998" actId="1035"/>
          <ac:spMkLst>
            <pc:docMk/>
            <pc:sldMk cId="3996239782" sldId="10399"/>
            <ac:spMk id="38" creationId="{F60DA25A-7861-492E-9269-7E316A01F15B}"/>
          </ac:spMkLst>
        </pc:spChg>
        <pc:spChg chg="mod">
          <ac:chgData name="Sarah GAUVARD" userId="4c03e191-e154-482a-88b2-11de19eac96c" providerId="ADAL" clId="{8245CC27-65FB-483E-B8E7-D04039DBA80D}" dt="2021-05-24T14:45:25.811" v="4998" actId="1035"/>
          <ac:spMkLst>
            <pc:docMk/>
            <pc:sldMk cId="3996239782" sldId="10399"/>
            <ac:spMk id="39" creationId="{0D99218A-B653-4648-81AD-7809D4792725}"/>
          </ac:spMkLst>
        </pc:spChg>
        <pc:spChg chg="mod">
          <ac:chgData name="Sarah GAUVARD" userId="4c03e191-e154-482a-88b2-11de19eac96c" providerId="ADAL" clId="{8245CC27-65FB-483E-B8E7-D04039DBA80D}" dt="2021-05-24T14:45:25.811" v="4998" actId="1035"/>
          <ac:spMkLst>
            <pc:docMk/>
            <pc:sldMk cId="3996239782" sldId="10399"/>
            <ac:spMk id="41" creationId="{7B79FE8C-0661-4BE0-835D-A6CA266F56DA}"/>
          </ac:spMkLst>
        </pc:spChg>
        <pc:spChg chg="mod">
          <ac:chgData name="Sarah GAUVARD" userId="4c03e191-e154-482a-88b2-11de19eac96c" providerId="ADAL" clId="{8245CC27-65FB-483E-B8E7-D04039DBA80D}" dt="2021-05-24T14:45:25.811" v="4998" actId="1035"/>
          <ac:spMkLst>
            <pc:docMk/>
            <pc:sldMk cId="3996239782" sldId="10399"/>
            <ac:spMk id="42" creationId="{40EF8EA4-9F4A-4872-900A-C88C57267EA7}"/>
          </ac:spMkLst>
        </pc:spChg>
        <pc:spChg chg="mod">
          <ac:chgData name="Sarah GAUVARD" userId="4c03e191-e154-482a-88b2-11de19eac96c" providerId="ADAL" clId="{8245CC27-65FB-483E-B8E7-D04039DBA80D}" dt="2021-05-24T16:09:28.493" v="16488" actId="790"/>
          <ac:spMkLst>
            <pc:docMk/>
            <pc:sldMk cId="3996239782" sldId="10399"/>
            <ac:spMk id="43" creationId="{EB6DEF52-496A-402C-8CF6-A5A3BF00AE8F}"/>
          </ac:spMkLst>
        </pc:spChg>
        <pc:spChg chg="mod">
          <ac:chgData name="Sarah GAUVARD" userId="4c03e191-e154-482a-88b2-11de19eac96c" providerId="ADAL" clId="{8245CC27-65FB-483E-B8E7-D04039DBA80D}" dt="2021-05-24T16:09:28.483" v="16482" actId="790"/>
          <ac:spMkLst>
            <pc:docMk/>
            <pc:sldMk cId="3996239782" sldId="10399"/>
            <ac:spMk id="47" creationId="{C9CE8351-A7D3-4CFD-BA79-B676ED4E43BC}"/>
          </ac:spMkLst>
        </pc:spChg>
        <pc:spChg chg="mod">
          <ac:chgData name="Sarah GAUVARD" userId="4c03e191-e154-482a-88b2-11de19eac96c" providerId="ADAL" clId="{8245CC27-65FB-483E-B8E7-D04039DBA80D}" dt="2021-05-24T16:09:28.483" v="16483" actId="790"/>
          <ac:spMkLst>
            <pc:docMk/>
            <pc:sldMk cId="3996239782" sldId="10399"/>
            <ac:spMk id="48" creationId="{751D535F-DDDF-4312-8041-6ED9DE21949C}"/>
          </ac:spMkLst>
        </pc:spChg>
        <pc:spChg chg="add del mod">
          <ac:chgData name="Sarah GAUVARD" userId="4c03e191-e154-482a-88b2-11de19eac96c" providerId="ADAL" clId="{8245CC27-65FB-483E-B8E7-D04039DBA80D}" dt="2021-05-25T13:02:06.428" v="22842" actId="478"/>
          <ac:spMkLst>
            <pc:docMk/>
            <pc:sldMk cId="3996239782" sldId="10399"/>
            <ac:spMk id="50" creationId="{C8D6F073-9978-4AA4-AE25-B97ADEBE0139}"/>
          </ac:spMkLst>
        </pc:spChg>
        <pc:spChg chg="add del mod">
          <ac:chgData name="Sarah GAUVARD" userId="4c03e191-e154-482a-88b2-11de19eac96c" providerId="ADAL" clId="{8245CC27-65FB-483E-B8E7-D04039DBA80D}" dt="2021-05-25T13:02:49.056" v="22848" actId="478"/>
          <ac:spMkLst>
            <pc:docMk/>
            <pc:sldMk cId="3996239782" sldId="10399"/>
            <ac:spMk id="51" creationId="{E786821F-AF96-47CB-A259-68F8C3446EC9}"/>
          </ac:spMkLst>
        </pc:spChg>
        <pc:spChg chg="add del mod">
          <ac:chgData name="Sarah GAUVARD" userId="4c03e191-e154-482a-88b2-11de19eac96c" providerId="ADAL" clId="{8245CC27-65FB-483E-B8E7-D04039DBA80D}" dt="2021-05-25T13:02:49.056" v="22848" actId="478"/>
          <ac:spMkLst>
            <pc:docMk/>
            <pc:sldMk cId="3996239782" sldId="10399"/>
            <ac:spMk id="52" creationId="{C55F1A3D-B6CF-43C2-B344-E9A70A9E2CD2}"/>
          </ac:spMkLst>
        </pc:spChg>
        <pc:spChg chg="mod">
          <ac:chgData name="Sarah GAUVARD" userId="4c03e191-e154-482a-88b2-11de19eac96c" providerId="ADAL" clId="{8245CC27-65FB-483E-B8E7-D04039DBA80D}" dt="2021-05-25T15:10:26.199" v="27563" actId="1076"/>
          <ac:spMkLst>
            <pc:docMk/>
            <pc:sldMk cId="3996239782" sldId="10399"/>
            <ac:spMk id="60" creationId="{E0DD7ACC-B725-4FC3-ACD8-42B4184CF801}"/>
          </ac:spMkLst>
        </pc:spChg>
        <pc:spChg chg="mod">
          <ac:chgData name="Sarah GAUVARD" userId="4c03e191-e154-482a-88b2-11de19eac96c" providerId="ADAL" clId="{8245CC27-65FB-483E-B8E7-D04039DBA80D}" dt="2021-05-24T16:09:28.493" v="16489" actId="790"/>
          <ac:spMkLst>
            <pc:docMk/>
            <pc:sldMk cId="3996239782" sldId="10399"/>
            <ac:spMk id="68" creationId="{7A0E9054-E8C7-4D89-AED5-21A5A47ECB5B}"/>
          </ac:spMkLst>
        </pc:spChg>
        <pc:spChg chg="mod">
          <ac:chgData name="Sarah GAUVARD" userId="4c03e191-e154-482a-88b2-11de19eac96c" providerId="ADAL" clId="{8245CC27-65FB-483E-B8E7-D04039DBA80D}" dt="2021-05-24T16:09:28.501" v="16490" actId="790"/>
          <ac:spMkLst>
            <pc:docMk/>
            <pc:sldMk cId="3996239782" sldId="10399"/>
            <ac:spMk id="69" creationId="{7497476F-1859-47B9-BCF8-67A2268B9A1F}"/>
          </ac:spMkLst>
        </pc:spChg>
        <pc:spChg chg="mod">
          <ac:chgData name="Sarah GAUVARD" userId="4c03e191-e154-482a-88b2-11de19eac96c" providerId="ADAL" clId="{8245CC27-65FB-483E-B8E7-D04039DBA80D}" dt="2021-05-24T16:09:28.501" v="16491" actId="790"/>
          <ac:spMkLst>
            <pc:docMk/>
            <pc:sldMk cId="3996239782" sldId="10399"/>
            <ac:spMk id="70" creationId="{14E0C41D-AF18-41C8-A46E-8B942505D65B}"/>
          </ac:spMkLst>
        </pc:spChg>
        <pc:spChg chg="mod">
          <ac:chgData name="Sarah GAUVARD" userId="4c03e191-e154-482a-88b2-11de19eac96c" providerId="ADAL" clId="{8245CC27-65FB-483E-B8E7-D04039DBA80D}" dt="2021-05-24T16:09:28.501" v="16492" actId="790"/>
          <ac:spMkLst>
            <pc:docMk/>
            <pc:sldMk cId="3996239782" sldId="10399"/>
            <ac:spMk id="71" creationId="{E8DB25C9-8D61-4C6E-A043-BF4F36BB95D2}"/>
          </ac:spMkLst>
        </pc:spChg>
        <pc:spChg chg="mod">
          <ac:chgData name="Sarah GAUVARD" userId="4c03e191-e154-482a-88b2-11de19eac96c" providerId="ADAL" clId="{8245CC27-65FB-483E-B8E7-D04039DBA80D}" dt="2021-05-24T16:09:28.503" v="16493" actId="790"/>
          <ac:spMkLst>
            <pc:docMk/>
            <pc:sldMk cId="3996239782" sldId="10399"/>
            <ac:spMk id="72" creationId="{9256FAB5-A77F-46FC-93D8-5ACC6BBDC974}"/>
          </ac:spMkLst>
        </pc:spChg>
        <pc:spChg chg="mod">
          <ac:chgData name="Sarah GAUVARD" userId="4c03e191-e154-482a-88b2-11de19eac96c" providerId="ADAL" clId="{8245CC27-65FB-483E-B8E7-D04039DBA80D}" dt="2021-05-24T16:09:28.503" v="16494" actId="790"/>
          <ac:spMkLst>
            <pc:docMk/>
            <pc:sldMk cId="3996239782" sldId="10399"/>
            <ac:spMk id="73" creationId="{037F449A-FF6C-47AD-9DF0-3D3F42AA0A9E}"/>
          </ac:spMkLst>
        </pc:spChg>
        <pc:spChg chg="mod">
          <ac:chgData name="Sarah GAUVARD" userId="4c03e191-e154-482a-88b2-11de19eac96c" providerId="ADAL" clId="{8245CC27-65FB-483E-B8E7-D04039DBA80D}" dt="2021-05-24T16:09:28.503" v="16495" actId="790"/>
          <ac:spMkLst>
            <pc:docMk/>
            <pc:sldMk cId="3996239782" sldId="10399"/>
            <ac:spMk id="74" creationId="{492B8667-47D0-4BC8-8302-691C476C84F1}"/>
          </ac:spMkLst>
        </pc:spChg>
        <pc:spChg chg="mod">
          <ac:chgData name="Sarah GAUVARD" userId="4c03e191-e154-482a-88b2-11de19eac96c" providerId="ADAL" clId="{8245CC27-65FB-483E-B8E7-D04039DBA80D}" dt="2021-05-24T16:09:28.503" v="16496" actId="790"/>
          <ac:spMkLst>
            <pc:docMk/>
            <pc:sldMk cId="3996239782" sldId="10399"/>
            <ac:spMk id="75" creationId="{028D7A65-FC0A-4EB4-B1D9-02D68DCE6F27}"/>
          </ac:spMkLst>
        </pc:spChg>
        <pc:grpChg chg="del mod">
          <ac:chgData name="Sarah GAUVARD" userId="4c03e191-e154-482a-88b2-11de19eac96c" providerId="ADAL" clId="{8245CC27-65FB-483E-B8E7-D04039DBA80D}" dt="2021-05-25T13:02:23.679" v="22845" actId="478"/>
          <ac:grpSpMkLst>
            <pc:docMk/>
            <pc:sldMk cId="3996239782" sldId="10399"/>
            <ac:grpSpMk id="37" creationId="{CA5A18F9-9654-4E50-8922-F5C376DE72D4}"/>
          </ac:grpSpMkLst>
        </pc:grpChg>
        <pc:grpChg chg="del mod">
          <ac:chgData name="Sarah GAUVARD" userId="4c03e191-e154-482a-88b2-11de19eac96c" providerId="ADAL" clId="{8245CC27-65FB-483E-B8E7-D04039DBA80D}" dt="2021-05-25T13:02:21.485" v="22844" actId="478"/>
          <ac:grpSpMkLst>
            <pc:docMk/>
            <pc:sldMk cId="3996239782" sldId="10399"/>
            <ac:grpSpMk id="40" creationId="{92DBA8B0-655C-4235-AAA9-7505BBEDAFF0}"/>
          </ac:grpSpMkLst>
        </pc:grpChg>
        <pc:graphicFrameChg chg="mod">
          <ac:chgData name="Sarah GAUVARD" userId="4c03e191-e154-482a-88b2-11de19eac96c" providerId="ADAL" clId="{8245CC27-65FB-483E-B8E7-D04039DBA80D}" dt="2021-05-25T12:45:33.897" v="22150"/>
          <ac:graphicFrameMkLst>
            <pc:docMk/>
            <pc:sldMk cId="3996239782" sldId="10399"/>
            <ac:graphicFrameMk id="9" creationId="{4C9211EC-3DF0-469A-9BEA-6F9A1A2A7E7A}"/>
          </ac:graphicFrameMkLst>
        </pc:graphicFrameChg>
      </pc:sldChg>
      <pc:sldChg chg="addSp modSp mod">
        <pc:chgData name="Sarah GAUVARD" userId="4c03e191-e154-482a-88b2-11de19eac96c" providerId="ADAL" clId="{8245CC27-65FB-483E-B8E7-D04039DBA80D}" dt="2021-05-24T16:09:27.552" v="15558" actId="790"/>
        <pc:sldMkLst>
          <pc:docMk/>
          <pc:sldMk cId="2944806386" sldId="10400"/>
        </pc:sldMkLst>
        <pc:spChg chg="mod">
          <ac:chgData name="Sarah GAUVARD" userId="4c03e191-e154-482a-88b2-11de19eac96c" providerId="ADAL" clId="{8245CC27-65FB-483E-B8E7-D04039DBA80D}" dt="2021-05-24T16:09:27.550" v="15551" actId="790"/>
          <ac:spMkLst>
            <pc:docMk/>
            <pc:sldMk cId="2944806386" sldId="10400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7.552" v="15552" actId="790"/>
          <ac:spMkLst>
            <pc:docMk/>
            <pc:sldMk cId="2944806386" sldId="10400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7.552" v="15553" actId="790"/>
          <ac:spMkLst>
            <pc:docMk/>
            <pc:sldMk cId="2944806386" sldId="10400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7.552" v="15558" actId="790"/>
          <ac:spMkLst>
            <pc:docMk/>
            <pc:sldMk cId="2944806386" sldId="10400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7.552" v="15554" actId="790"/>
          <ac:spMkLst>
            <pc:docMk/>
            <pc:sldMk cId="2944806386" sldId="10400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7.552" v="15555" actId="790"/>
          <ac:spMkLst>
            <pc:docMk/>
            <pc:sldMk cId="2944806386" sldId="10400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7.552" v="15556" actId="790"/>
          <ac:spMkLst>
            <pc:docMk/>
            <pc:sldMk cId="2944806386" sldId="10400"/>
            <ac:spMk id="22" creationId="{C002634F-3FA9-4AC3-90E2-0D253FC97BF7}"/>
          </ac:spMkLst>
        </pc:spChg>
        <pc:spChg chg="mod">
          <ac:chgData name="Sarah GAUVARD" userId="4c03e191-e154-482a-88b2-11de19eac96c" providerId="ADAL" clId="{8245CC27-65FB-483E-B8E7-D04039DBA80D}" dt="2021-05-24T16:09:27.552" v="15557" actId="790"/>
          <ac:spMkLst>
            <pc:docMk/>
            <pc:sldMk cId="2944806386" sldId="10400"/>
            <ac:spMk id="24" creationId="{9523976D-7994-4445-A7A3-F04F6C533708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395" v="12037"/>
          <ac:graphicFrameMkLst>
            <pc:docMk/>
            <pc:sldMk cId="2944806386" sldId="10400"/>
            <ac:graphicFrameMk id="2" creationId="{D07CDB35-9DAF-4C2A-8083-D3E9B9FF4958}"/>
          </ac:graphicFrameMkLst>
        </pc:graphicFrameChg>
      </pc:sldChg>
      <pc:sldChg chg="addSp modSp mod">
        <pc:chgData name="Sarah GAUVARD" userId="4c03e191-e154-482a-88b2-11de19eac96c" providerId="ADAL" clId="{8245CC27-65FB-483E-B8E7-D04039DBA80D}" dt="2021-05-24T16:09:28.180" v="16246" actId="790"/>
        <pc:sldMkLst>
          <pc:docMk/>
          <pc:sldMk cId="184650485" sldId="10401"/>
        </pc:sldMkLst>
        <pc:spChg chg="mod">
          <ac:chgData name="Sarah GAUVARD" userId="4c03e191-e154-482a-88b2-11de19eac96c" providerId="ADAL" clId="{8245CC27-65FB-483E-B8E7-D04039DBA80D}" dt="2021-05-24T16:09:28.170" v="16239" actId="790"/>
          <ac:spMkLst>
            <pc:docMk/>
            <pc:sldMk cId="184650485" sldId="10401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8.170" v="16240" actId="790"/>
          <ac:spMkLst>
            <pc:docMk/>
            <pc:sldMk cId="184650485" sldId="10401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8.170" v="16241" actId="790"/>
          <ac:spMkLst>
            <pc:docMk/>
            <pc:sldMk cId="184650485" sldId="10401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8.180" v="16246" actId="790"/>
          <ac:spMkLst>
            <pc:docMk/>
            <pc:sldMk cId="184650485" sldId="10401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8.170" v="16242" actId="790"/>
          <ac:spMkLst>
            <pc:docMk/>
            <pc:sldMk cId="184650485" sldId="10401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8.178" v="16243" actId="790"/>
          <ac:spMkLst>
            <pc:docMk/>
            <pc:sldMk cId="184650485" sldId="10401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8.180" v="16244" actId="790"/>
          <ac:spMkLst>
            <pc:docMk/>
            <pc:sldMk cId="184650485" sldId="10401"/>
            <ac:spMk id="22" creationId="{C002634F-3FA9-4AC3-90E2-0D253FC97BF7}"/>
          </ac:spMkLst>
        </pc:spChg>
        <pc:spChg chg="mod">
          <ac:chgData name="Sarah GAUVARD" userId="4c03e191-e154-482a-88b2-11de19eac96c" providerId="ADAL" clId="{8245CC27-65FB-483E-B8E7-D04039DBA80D}" dt="2021-05-24T16:09:28.180" v="16245" actId="790"/>
          <ac:spMkLst>
            <pc:docMk/>
            <pc:sldMk cId="184650485" sldId="10401"/>
            <ac:spMk id="24" creationId="{9523976D-7994-4445-A7A3-F04F6C533708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034" v="11851"/>
          <ac:graphicFrameMkLst>
            <pc:docMk/>
            <pc:sldMk cId="184650485" sldId="10401"/>
            <ac:graphicFrameMk id="2" creationId="{2F126586-1C67-41DD-AA9F-63FAB59DFDCE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4T16:09:28.604" v="16593" actId="790"/>
        <pc:sldMkLst>
          <pc:docMk/>
          <pc:sldMk cId="1205771456" sldId="10404"/>
        </pc:sldMkLst>
        <pc:spChg chg="mod">
          <ac:chgData name="Sarah GAUVARD" userId="4c03e191-e154-482a-88b2-11de19eac96c" providerId="ADAL" clId="{8245CC27-65FB-483E-B8E7-D04039DBA80D}" dt="2021-05-24T16:09:28.594" v="16587" actId="790"/>
          <ac:spMkLst>
            <pc:docMk/>
            <pc:sldMk cId="1205771456" sldId="10404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8.594" v="16588" actId="790"/>
          <ac:spMkLst>
            <pc:docMk/>
            <pc:sldMk cId="1205771456" sldId="10404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8.594" v="16589" actId="790"/>
          <ac:spMkLst>
            <pc:docMk/>
            <pc:sldMk cId="1205771456" sldId="10404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8.594" v="16590" actId="790"/>
          <ac:spMkLst>
            <pc:docMk/>
            <pc:sldMk cId="1205771456" sldId="10404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8.602" v="16591" actId="790"/>
          <ac:spMkLst>
            <pc:docMk/>
            <pc:sldMk cId="1205771456" sldId="10404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8.604" v="16592" actId="790"/>
          <ac:spMkLst>
            <pc:docMk/>
            <pc:sldMk cId="1205771456" sldId="10404"/>
            <ac:spMk id="24" creationId="{9523976D-7994-4445-A7A3-F04F6C533708}"/>
          </ac:spMkLst>
        </pc:spChg>
        <pc:spChg chg="mod">
          <ac:chgData name="Sarah GAUVARD" userId="4c03e191-e154-482a-88b2-11de19eac96c" providerId="ADAL" clId="{8245CC27-65FB-483E-B8E7-D04039DBA80D}" dt="2021-05-24T16:09:28.604" v="16593" actId="790"/>
          <ac:spMkLst>
            <pc:docMk/>
            <pc:sldMk cId="1205771456" sldId="10404"/>
            <ac:spMk id="26" creationId="{D70D99D8-5440-4867-B8A0-57942A3EA3D2}"/>
          </ac:spMkLst>
        </pc:spChg>
      </pc:sldChg>
      <pc:sldChg chg="addSp modSp mod">
        <pc:chgData name="Sarah GAUVARD" userId="4c03e191-e154-482a-88b2-11de19eac96c" providerId="ADAL" clId="{8245CC27-65FB-483E-B8E7-D04039DBA80D}" dt="2021-05-24T16:09:29.080" v="17052" actId="790"/>
        <pc:sldMkLst>
          <pc:docMk/>
          <pc:sldMk cId="1339838536" sldId="10405"/>
        </pc:sldMkLst>
        <pc:spChg chg="mod">
          <ac:chgData name="Sarah GAUVARD" userId="4c03e191-e154-482a-88b2-11de19eac96c" providerId="ADAL" clId="{8245CC27-65FB-483E-B8E7-D04039DBA80D}" dt="2021-05-24T16:09:29.070" v="17045" actId="790"/>
          <ac:spMkLst>
            <pc:docMk/>
            <pc:sldMk cId="1339838536" sldId="10405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9.070" v="17046" actId="790"/>
          <ac:spMkLst>
            <pc:docMk/>
            <pc:sldMk cId="1339838536" sldId="10405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9.070" v="17047" actId="790"/>
          <ac:spMkLst>
            <pc:docMk/>
            <pc:sldMk cId="1339838536" sldId="10405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9.080" v="17052" actId="790"/>
          <ac:spMkLst>
            <pc:docMk/>
            <pc:sldMk cId="1339838536" sldId="10405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9.070" v="17048" actId="790"/>
          <ac:spMkLst>
            <pc:docMk/>
            <pc:sldMk cId="1339838536" sldId="10405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9.078" v="17049" actId="790"/>
          <ac:spMkLst>
            <pc:docMk/>
            <pc:sldMk cId="1339838536" sldId="10405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9.078" v="17050" actId="790"/>
          <ac:spMkLst>
            <pc:docMk/>
            <pc:sldMk cId="1339838536" sldId="10405"/>
            <ac:spMk id="24" creationId="{9523976D-7994-4445-A7A3-F04F6C533708}"/>
          </ac:spMkLst>
        </pc:spChg>
        <pc:spChg chg="mod">
          <ac:chgData name="Sarah GAUVARD" userId="4c03e191-e154-482a-88b2-11de19eac96c" providerId="ADAL" clId="{8245CC27-65FB-483E-B8E7-D04039DBA80D}" dt="2021-05-24T16:09:29.080" v="17051" actId="790"/>
          <ac:spMkLst>
            <pc:docMk/>
            <pc:sldMk cId="1339838536" sldId="10405"/>
            <ac:spMk id="26" creationId="{D70D99D8-5440-4867-B8A0-57942A3EA3D2}"/>
          </ac:spMkLst>
        </pc:spChg>
        <pc:graphicFrameChg chg="add mod ord modVis">
          <ac:chgData name="Sarah GAUVARD" userId="4c03e191-e154-482a-88b2-11de19eac96c" providerId="ADAL" clId="{8245CC27-65FB-483E-B8E7-D04039DBA80D}" dt="2021-05-24T15:34:45.996" v="11824"/>
          <ac:graphicFrameMkLst>
            <pc:docMk/>
            <pc:sldMk cId="1339838536" sldId="10405"/>
            <ac:graphicFrameMk id="2" creationId="{54323815-DC6A-4061-B1C8-1AEE2EB32F40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0:47:43.233" v="19571" actId="1076"/>
        <pc:sldMkLst>
          <pc:docMk/>
          <pc:sldMk cId="2868900962" sldId="10407"/>
        </pc:sldMkLst>
        <pc:spChg chg="mod">
          <ac:chgData name="Sarah GAUVARD" userId="4c03e191-e154-482a-88b2-11de19eac96c" providerId="ADAL" clId="{8245CC27-65FB-483E-B8E7-D04039DBA80D}" dt="2021-05-24T16:09:26.532" v="14575" actId="790"/>
          <ac:spMkLst>
            <pc:docMk/>
            <pc:sldMk cId="2868900962" sldId="10407"/>
            <ac:spMk id="2" creationId="{6141F854-3009-40D7-9038-56590105A49E}"/>
          </ac:spMkLst>
        </pc:spChg>
        <pc:spChg chg="mod">
          <ac:chgData name="Sarah GAUVARD" userId="4c03e191-e154-482a-88b2-11de19eac96c" providerId="ADAL" clId="{8245CC27-65FB-483E-B8E7-D04039DBA80D}" dt="2021-05-24T16:09:26.552" v="14598" actId="790"/>
          <ac:spMkLst>
            <pc:docMk/>
            <pc:sldMk cId="2868900962" sldId="10407"/>
            <ac:spMk id="3" creationId="{4FAF7BC9-62CE-4C21-8936-6030B817531A}"/>
          </ac:spMkLst>
        </pc:spChg>
        <pc:spChg chg="mod">
          <ac:chgData name="Sarah GAUVARD" userId="4c03e191-e154-482a-88b2-11de19eac96c" providerId="ADAL" clId="{8245CC27-65FB-483E-B8E7-D04039DBA80D}" dt="2021-05-24T16:09:26.562" v="14603" actId="790"/>
          <ac:spMkLst>
            <pc:docMk/>
            <pc:sldMk cId="2868900962" sldId="10407"/>
            <ac:spMk id="4" creationId="{6846C837-D7D3-4E93-997C-80DC509A1088}"/>
          </ac:spMkLst>
        </pc:spChg>
        <pc:spChg chg="add mod">
          <ac:chgData name="Sarah GAUVARD" userId="4c03e191-e154-482a-88b2-11de19eac96c" providerId="ADAL" clId="{8245CC27-65FB-483E-B8E7-D04039DBA80D}" dt="2021-05-25T10:47:43.233" v="19571" actId="1076"/>
          <ac:spMkLst>
            <pc:docMk/>
            <pc:sldMk cId="2868900962" sldId="10407"/>
            <ac:spMk id="6" creationId="{2BCBEB73-6F79-423F-848C-986ECE1C5C9E}"/>
          </ac:spMkLst>
        </pc:spChg>
        <pc:spChg chg="add del mod modVis">
          <ac:chgData name="Sarah GAUVARD" userId="4c03e191-e154-482a-88b2-11de19eac96c" providerId="ADAL" clId="{8245CC27-65FB-483E-B8E7-D04039DBA80D}" dt="2021-05-24T15:34:46.564" v="12108"/>
          <ac:spMkLst>
            <pc:docMk/>
            <pc:sldMk cId="2868900962" sldId="10407"/>
            <ac:spMk id="6" creationId="{84E684DD-3613-42DD-B254-7C3CCAB86A90}"/>
          </ac:spMkLst>
        </pc:spChg>
        <pc:spChg chg="mod">
          <ac:chgData name="Sarah GAUVARD" userId="4c03e191-e154-482a-88b2-11de19eac96c" providerId="ADAL" clId="{8245CC27-65FB-483E-B8E7-D04039DBA80D}" dt="2021-05-24T16:09:26.532" v="14576" actId="790"/>
          <ac:spMkLst>
            <pc:docMk/>
            <pc:sldMk cId="2868900962" sldId="10407"/>
            <ac:spMk id="8" creationId="{850EB23D-4D8A-4214-A83F-5AE74846D409}"/>
          </ac:spMkLst>
        </pc:spChg>
        <pc:spChg chg="mod">
          <ac:chgData name="Sarah GAUVARD" userId="4c03e191-e154-482a-88b2-11de19eac96c" providerId="ADAL" clId="{8245CC27-65FB-483E-B8E7-D04039DBA80D}" dt="2021-05-24T16:09:26.532" v="14577" actId="790"/>
          <ac:spMkLst>
            <pc:docMk/>
            <pc:sldMk cId="2868900962" sldId="10407"/>
            <ac:spMk id="11" creationId="{6CEA6CC3-5999-43BB-B318-05D09C7CD7DD}"/>
          </ac:spMkLst>
        </pc:spChg>
        <pc:spChg chg="mod">
          <ac:chgData name="Sarah GAUVARD" userId="4c03e191-e154-482a-88b2-11de19eac96c" providerId="ADAL" clId="{8245CC27-65FB-483E-B8E7-D04039DBA80D}" dt="2021-05-24T16:09:26.532" v="14578" actId="790"/>
          <ac:spMkLst>
            <pc:docMk/>
            <pc:sldMk cId="2868900962" sldId="10407"/>
            <ac:spMk id="12" creationId="{D9771A74-F8F4-4744-B254-8782BC2FE79C}"/>
          </ac:spMkLst>
        </pc:spChg>
        <pc:spChg chg="mod">
          <ac:chgData name="Sarah GAUVARD" userId="4c03e191-e154-482a-88b2-11de19eac96c" providerId="ADAL" clId="{8245CC27-65FB-483E-B8E7-D04039DBA80D}" dt="2021-05-24T16:09:26.532" v="14579" actId="790"/>
          <ac:spMkLst>
            <pc:docMk/>
            <pc:sldMk cId="2868900962" sldId="10407"/>
            <ac:spMk id="13" creationId="{ED00158F-1B0C-4AFB-8236-4FE970EA41BF}"/>
          </ac:spMkLst>
        </pc:spChg>
        <pc:spChg chg="mod">
          <ac:chgData name="Sarah GAUVARD" userId="4c03e191-e154-482a-88b2-11de19eac96c" providerId="ADAL" clId="{8245CC27-65FB-483E-B8E7-D04039DBA80D}" dt="2021-05-25T10:46:58.270" v="19544" actId="20577"/>
          <ac:spMkLst>
            <pc:docMk/>
            <pc:sldMk cId="2868900962" sldId="10407"/>
            <ac:spMk id="14" creationId="{94C97159-324B-456C-8BF0-974011EE92EC}"/>
          </ac:spMkLst>
        </pc:spChg>
        <pc:spChg chg="mod">
          <ac:chgData name="Sarah GAUVARD" userId="4c03e191-e154-482a-88b2-11de19eac96c" providerId="ADAL" clId="{8245CC27-65FB-483E-B8E7-D04039DBA80D}" dt="2021-05-24T16:09:26.532" v="14581" actId="790"/>
          <ac:spMkLst>
            <pc:docMk/>
            <pc:sldMk cId="2868900962" sldId="10407"/>
            <ac:spMk id="15" creationId="{7FBAD714-395A-454F-A09A-8BB691E0D21B}"/>
          </ac:spMkLst>
        </pc:spChg>
        <pc:spChg chg="mod">
          <ac:chgData name="Sarah GAUVARD" userId="4c03e191-e154-482a-88b2-11de19eac96c" providerId="ADAL" clId="{8245CC27-65FB-483E-B8E7-D04039DBA80D}" dt="2021-05-24T16:09:26.532" v="14582" actId="790"/>
          <ac:spMkLst>
            <pc:docMk/>
            <pc:sldMk cId="2868900962" sldId="10407"/>
            <ac:spMk id="16" creationId="{0F308A78-2D0E-4E1C-9132-A405BCD25727}"/>
          </ac:spMkLst>
        </pc:spChg>
        <pc:spChg chg="mod">
          <ac:chgData name="Sarah GAUVARD" userId="4c03e191-e154-482a-88b2-11de19eac96c" providerId="ADAL" clId="{8245CC27-65FB-483E-B8E7-D04039DBA80D}" dt="2021-05-24T16:09:26.532" v="14583" actId="790"/>
          <ac:spMkLst>
            <pc:docMk/>
            <pc:sldMk cId="2868900962" sldId="10407"/>
            <ac:spMk id="19" creationId="{1DDBE6AD-B865-45EC-BC21-2763DDC2E241}"/>
          </ac:spMkLst>
        </pc:spChg>
        <pc:spChg chg="mod">
          <ac:chgData name="Sarah GAUVARD" userId="4c03e191-e154-482a-88b2-11de19eac96c" providerId="ADAL" clId="{8245CC27-65FB-483E-B8E7-D04039DBA80D}" dt="2021-05-24T16:09:26.542" v="14584" actId="790"/>
          <ac:spMkLst>
            <pc:docMk/>
            <pc:sldMk cId="2868900962" sldId="10407"/>
            <ac:spMk id="28" creationId="{5132A318-B22A-4F36-9405-A99D72FA81A6}"/>
          </ac:spMkLst>
        </pc:spChg>
        <pc:spChg chg="mod">
          <ac:chgData name="Sarah GAUVARD" userId="4c03e191-e154-482a-88b2-11de19eac96c" providerId="ADAL" clId="{8245CC27-65FB-483E-B8E7-D04039DBA80D}" dt="2021-05-24T16:09:26.542" v="14585" actId="790"/>
          <ac:spMkLst>
            <pc:docMk/>
            <pc:sldMk cId="2868900962" sldId="10407"/>
            <ac:spMk id="29" creationId="{A6A3E1CF-720D-4C9A-BD7F-8C50E0341DDB}"/>
          </ac:spMkLst>
        </pc:spChg>
        <pc:spChg chg="mod">
          <ac:chgData name="Sarah GAUVARD" userId="4c03e191-e154-482a-88b2-11de19eac96c" providerId="ADAL" clId="{8245CC27-65FB-483E-B8E7-D04039DBA80D}" dt="2021-05-24T16:09:26.542" v="14586" actId="790"/>
          <ac:spMkLst>
            <pc:docMk/>
            <pc:sldMk cId="2868900962" sldId="10407"/>
            <ac:spMk id="30" creationId="{0E7628E6-82F2-4F4F-ACCC-E9F81D4D2637}"/>
          </ac:spMkLst>
        </pc:spChg>
        <pc:spChg chg="mod">
          <ac:chgData name="Sarah GAUVARD" userId="4c03e191-e154-482a-88b2-11de19eac96c" providerId="ADAL" clId="{8245CC27-65FB-483E-B8E7-D04039DBA80D}" dt="2021-05-24T16:09:26.542" v="14587" actId="790"/>
          <ac:spMkLst>
            <pc:docMk/>
            <pc:sldMk cId="2868900962" sldId="10407"/>
            <ac:spMk id="32" creationId="{372AE45B-A900-460B-8494-80A452387A0C}"/>
          </ac:spMkLst>
        </pc:spChg>
        <pc:spChg chg="mod">
          <ac:chgData name="Sarah GAUVARD" userId="4c03e191-e154-482a-88b2-11de19eac96c" providerId="ADAL" clId="{8245CC27-65FB-483E-B8E7-D04039DBA80D}" dt="2021-05-24T16:09:26.542" v="14588" actId="790"/>
          <ac:spMkLst>
            <pc:docMk/>
            <pc:sldMk cId="2868900962" sldId="10407"/>
            <ac:spMk id="35" creationId="{2632F02D-3B5C-472B-898A-E24B4D548E15}"/>
          </ac:spMkLst>
        </pc:spChg>
        <pc:spChg chg="mod">
          <ac:chgData name="Sarah GAUVARD" userId="4c03e191-e154-482a-88b2-11de19eac96c" providerId="ADAL" clId="{8245CC27-65FB-483E-B8E7-D04039DBA80D}" dt="2021-05-24T16:09:26.542" v="14589" actId="790"/>
          <ac:spMkLst>
            <pc:docMk/>
            <pc:sldMk cId="2868900962" sldId="10407"/>
            <ac:spMk id="37" creationId="{78536066-311C-4011-B0A3-1470929016BB}"/>
          </ac:spMkLst>
        </pc:spChg>
        <pc:spChg chg="mod">
          <ac:chgData name="Sarah GAUVARD" userId="4c03e191-e154-482a-88b2-11de19eac96c" providerId="ADAL" clId="{8245CC27-65FB-483E-B8E7-D04039DBA80D}" dt="2021-05-24T16:09:26.542" v="14590" actId="790"/>
          <ac:spMkLst>
            <pc:docMk/>
            <pc:sldMk cId="2868900962" sldId="10407"/>
            <ac:spMk id="38" creationId="{F5422B6B-E913-4A42-BE1F-CB551CBE99DE}"/>
          </ac:spMkLst>
        </pc:spChg>
        <pc:spChg chg="mod">
          <ac:chgData name="Sarah GAUVARD" userId="4c03e191-e154-482a-88b2-11de19eac96c" providerId="ADAL" clId="{8245CC27-65FB-483E-B8E7-D04039DBA80D}" dt="2021-05-24T16:09:26.542" v="14591" actId="790"/>
          <ac:spMkLst>
            <pc:docMk/>
            <pc:sldMk cId="2868900962" sldId="10407"/>
            <ac:spMk id="43" creationId="{FE6CE972-C96F-452A-B9C9-3811D3474DE1}"/>
          </ac:spMkLst>
        </pc:spChg>
        <pc:spChg chg="mod">
          <ac:chgData name="Sarah GAUVARD" userId="4c03e191-e154-482a-88b2-11de19eac96c" providerId="ADAL" clId="{8245CC27-65FB-483E-B8E7-D04039DBA80D}" dt="2021-05-24T16:09:26.542" v="14592" actId="790"/>
          <ac:spMkLst>
            <pc:docMk/>
            <pc:sldMk cId="2868900962" sldId="10407"/>
            <ac:spMk id="44" creationId="{200F0176-D12F-460A-A395-7B5AB6EFEEB8}"/>
          </ac:spMkLst>
        </pc:spChg>
        <pc:spChg chg="mod">
          <ac:chgData name="Sarah GAUVARD" userId="4c03e191-e154-482a-88b2-11de19eac96c" providerId="ADAL" clId="{8245CC27-65FB-483E-B8E7-D04039DBA80D}" dt="2021-05-24T16:09:26.542" v="14593" actId="790"/>
          <ac:spMkLst>
            <pc:docMk/>
            <pc:sldMk cId="2868900962" sldId="10407"/>
            <ac:spMk id="52" creationId="{EC70FE7A-A694-4850-8F53-4FDEA21664B5}"/>
          </ac:spMkLst>
        </pc:spChg>
        <pc:spChg chg="mod">
          <ac:chgData name="Sarah GAUVARD" userId="4c03e191-e154-482a-88b2-11de19eac96c" providerId="ADAL" clId="{8245CC27-65FB-483E-B8E7-D04039DBA80D}" dt="2021-05-24T16:09:26.550" v="14594" actId="790"/>
          <ac:spMkLst>
            <pc:docMk/>
            <pc:sldMk cId="2868900962" sldId="10407"/>
            <ac:spMk id="53" creationId="{AC0356E8-225D-4F4D-9A4F-CF0C676DF73E}"/>
          </ac:spMkLst>
        </pc:spChg>
        <pc:spChg chg="mod">
          <ac:chgData name="Sarah GAUVARD" userId="4c03e191-e154-482a-88b2-11de19eac96c" providerId="ADAL" clId="{8245CC27-65FB-483E-B8E7-D04039DBA80D}" dt="2021-05-24T16:09:26.552" v="14597" actId="790"/>
          <ac:spMkLst>
            <pc:docMk/>
            <pc:sldMk cId="2868900962" sldId="10407"/>
            <ac:spMk id="61" creationId="{07F35A51-7B62-4B76-9D30-07EE2C092125}"/>
          </ac:spMkLst>
        </pc:spChg>
        <pc:spChg chg="mod">
          <ac:chgData name="Sarah GAUVARD" userId="4c03e191-e154-482a-88b2-11de19eac96c" providerId="ADAL" clId="{8245CC27-65FB-483E-B8E7-D04039DBA80D}" dt="2021-05-24T16:09:26.552" v="14599" actId="790"/>
          <ac:spMkLst>
            <pc:docMk/>
            <pc:sldMk cId="2868900962" sldId="10407"/>
            <ac:spMk id="63" creationId="{78B151F9-8055-4877-8C39-D1FB2BC8D110}"/>
          </ac:spMkLst>
        </pc:spChg>
        <pc:spChg chg="mod">
          <ac:chgData name="Sarah GAUVARD" userId="4c03e191-e154-482a-88b2-11de19eac96c" providerId="ADAL" clId="{8245CC27-65FB-483E-B8E7-D04039DBA80D}" dt="2021-05-24T16:09:26.550" v="14595" actId="790"/>
          <ac:spMkLst>
            <pc:docMk/>
            <pc:sldMk cId="2868900962" sldId="10407"/>
            <ac:spMk id="64" creationId="{24E63172-5657-470E-BCC7-1C550822C97F}"/>
          </ac:spMkLst>
        </pc:spChg>
        <pc:spChg chg="mod">
          <ac:chgData name="Sarah GAUVARD" userId="4c03e191-e154-482a-88b2-11de19eac96c" providerId="ADAL" clId="{8245CC27-65FB-483E-B8E7-D04039DBA80D}" dt="2021-05-24T16:09:26.552" v="14600" actId="790"/>
          <ac:spMkLst>
            <pc:docMk/>
            <pc:sldMk cId="2868900962" sldId="10407"/>
            <ac:spMk id="65" creationId="{C9948D29-691C-4040-9006-9DD667687950}"/>
          </ac:spMkLst>
        </pc:spChg>
        <pc:spChg chg="mod">
          <ac:chgData name="Sarah GAUVARD" userId="4c03e191-e154-482a-88b2-11de19eac96c" providerId="ADAL" clId="{8245CC27-65FB-483E-B8E7-D04039DBA80D}" dt="2021-05-24T16:09:26.552" v="14601" actId="790"/>
          <ac:spMkLst>
            <pc:docMk/>
            <pc:sldMk cId="2868900962" sldId="10407"/>
            <ac:spMk id="67" creationId="{5CB5CAFD-CBF6-4B09-9206-7594602E4B1E}"/>
          </ac:spMkLst>
        </pc:spChg>
        <pc:spChg chg="mod">
          <ac:chgData name="Sarah GAUVARD" userId="4c03e191-e154-482a-88b2-11de19eac96c" providerId="ADAL" clId="{8245CC27-65FB-483E-B8E7-D04039DBA80D}" dt="2021-05-24T09:48:06.438" v="212" actId="108"/>
          <ac:spMkLst>
            <pc:docMk/>
            <pc:sldMk cId="2868900962" sldId="10407"/>
            <ac:spMk id="68" creationId="{CC5E7179-D37D-4404-8895-56FAE0A2838D}"/>
          </ac:spMkLst>
        </pc:spChg>
        <pc:spChg chg="mod">
          <ac:chgData name="Sarah GAUVARD" userId="4c03e191-e154-482a-88b2-11de19eac96c" providerId="ADAL" clId="{8245CC27-65FB-483E-B8E7-D04039DBA80D}" dt="2021-05-24T16:09:26.552" v="14602" actId="790"/>
          <ac:spMkLst>
            <pc:docMk/>
            <pc:sldMk cId="2868900962" sldId="10407"/>
            <ac:spMk id="69" creationId="{BA031102-DBA3-46AB-8D83-EF3A8C254D33}"/>
          </ac:spMkLst>
        </pc:spChg>
        <pc:spChg chg="mod">
          <ac:chgData name="Sarah GAUVARD" userId="4c03e191-e154-482a-88b2-11de19eac96c" providerId="ADAL" clId="{8245CC27-65FB-483E-B8E7-D04039DBA80D}" dt="2021-05-24T09:48:31.172" v="218" actId="113"/>
          <ac:spMkLst>
            <pc:docMk/>
            <pc:sldMk cId="2868900962" sldId="10407"/>
            <ac:spMk id="70" creationId="{06F17509-A6C5-4D10-AD95-E46357A3BBF3}"/>
          </ac:spMkLst>
        </pc:spChg>
        <pc:spChg chg="mod">
          <ac:chgData name="Sarah GAUVARD" userId="4c03e191-e154-482a-88b2-11de19eac96c" providerId="ADAL" clId="{8245CC27-65FB-483E-B8E7-D04039DBA80D}" dt="2021-05-24T09:48:15.014" v="214" actId="207"/>
          <ac:spMkLst>
            <pc:docMk/>
            <pc:sldMk cId="2868900962" sldId="10407"/>
            <ac:spMk id="74" creationId="{56CC9A29-3A02-4509-9F73-0CD74BA0A581}"/>
          </ac:spMkLst>
        </pc:spChg>
        <pc:spChg chg="mod">
          <ac:chgData name="Sarah GAUVARD" userId="4c03e191-e154-482a-88b2-11de19eac96c" providerId="ADAL" clId="{8245CC27-65FB-483E-B8E7-D04039DBA80D}" dt="2021-05-24T09:48:33.549" v="221" actId="20577"/>
          <ac:spMkLst>
            <pc:docMk/>
            <pc:sldMk cId="2868900962" sldId="10407"/>
            <ac:spMk id="75" creationId="{7EEB6FE9-F79C-4FC5-BA87-817705044AE1}"/>
          </ac:spMkLst>
        </pc:spChg>
        <pc:spChg chg="mod">
          <ac:chgData name="Sarah GAUVARD" userId="4c03e191-e154-482a-88b2-11de19eac96c" providerId="ADAL" clId="{8245CC27-65FB-483E-B8E7-D04039DBA80D}" dt="2021-05-24T16:09:26.562" v="14604" actId="790"/>
          <ac:spMkLst>
            <pc:docMk/>
            <pc:sldMk cId="2868900962" sldId="10407"/>
            <ac:spMk id="76" creationId="{5F4FFF79-371E-4E5E-99B3-677CD02E93F1}"/>
          </ac:spMkLst>
        </pc:spChg>
        <pc:spChg chg="mod">
          <ac:chgData name="Sarah GAUVARD" userId="4c03e191-e154-482a-88b2-11de19eac96c" providerId="ADAL" clId="{8245CC27-65FB-483E-B8E7-D04039DBA80D}" dt="2021-05-24T16:09:26.562" v="14605" actId="790"/>
          <ac:spMkLst>
            <pc:docMk/>
            <pc:sldMk cId="2868900962" sldId="10407"/>
            <ac:spMk id="77" creationId="{0F6E568C-FF1A-45D1-9296-A25B68BC83AD}"/>
          </ac:spMkLst>
        </pc:spChg>
        <pc:spChg chg="mod">
          <ac:chgData name="Sarah GAUVARD" userId="4c03e191-e154-482a-88b2-11de19eac96c" providerId="ADAL" clId="{8245CC27-65FB-483E-B8E7-D04039DBA80D}" dt="2021-05-24T16:09:26.562" v="14606" actId="790"/>
          <ac:spMkLst>
            <pc:docMk/>
            <pc:sldMk cId="2868900962" sldId="10407"/>
            <ac:spMk id="78" creationId="{427C8590-C704-4B01-A689-71A872DD9101}"/>
          </ac:spMkLst>
        </pc:spChg>
        <pc:spChg chg="mod">
          <ac:chgData name="Sarah GAUVARD" userId="4c03e191-e154-482a-88b2-11de19eac96c" providerId="ADAL" clId="{8245CC27-65FB-483E-B8E7-D04039DBA80D}" dt="2021-05-24T16:09:26.562" v="14607" actId="790"/>
          <ac:spMkLst>
            <pc:docMk/>
            <pc:sldMk cId="2868900962" sldId="10407"/>
            <ac:spMk id="84" creationId="{2E352F39-712F-4BC9-ADA9-781EF77D1FBB}"/>
          </ac:spMkLst>
        </pc:spChg>
        <pc:spChg chg="mod">
          <ac:chgData name="Sarah GAUVARD" userId="4c03e191-e154-482a-88b2-11de19eac96c" providerId="ADAL" clId="{8245CC27-65FB-483E-B8E7-D04039DBA80D}" dt="2021-05-24T16:09:26.570" v="14608" actId="790"/>
          <ac:spMkLst>
            <pc:docMk/>
            <pc:sldMk cId="2868900962" sldId="10407"/>
            <ac:spMk id="86" creationId="{B979ACF7-2B50-45DA-A1E7-FA45C7BF35F4}"/>
          </ac:spMkLst>
        </pc:spChg>
        <pc:spChg chg="mod">
          <ac:chgData name="Sarah GAUVARD" userId="4c03e191-e154-482a-88b2-11de19eac96c" providerId="ADAL" clId="{8245CC27-65FB-483E-B8E7-D04039DBA80D}" dt="2021-05-24T16:09:26.570" v="14609" actId="790"/>
          <ac:spMkLst>
            <pc:docMk/>
            <pc:sldMk cId="2868900962" sldId="10407"/>
            <ac:spMk id="87" creationId="{849ACC58-2FA5-43E2-8089-59CB8D7ED689}"/>
          </ac:spMkLst>
        </pc:spChg>
        <pc:spChg chg="mod">
          <ac:chgData name="Sarah GAUVARD" userId="4c03e191-e154-482a-88b2-11de19eac96c" providerId="ADAL" clId="{8245CC27-65FB-483E-B8E7-D04039DBA80D}" dt="2021-05-24T16:09:26.570" v="14610" actId="790"/>
          <ac:spMkLst>
            <pc:docMk/>
            <pc:sldMk cId="2868900962" sldId="10407"/>
            <ac:spMk id="88" creationId="{433BFCD4-9B08-4FA8-AD94-D7A4FAAB81BD}"/>
          </ac:spMkLst>
        </pc:spChg>
        <pc:spChg chg="mod">
          <ac:chgData name="Sarah GAUVARD" userId="4c03e191-e154-482a-88b2-11de19eac96c" providerId="ADAL" clId="{8245CC27-65FB-483E-B8E7-D04039DBA80D}" dt="2021-05-24T16:09:26.572" v="14611" actId="790"/>
          <ac:spMkLst>
            <pc:docMk/>
            <pc:sldMk cId="2868900962" sldId="10407"/>
            <ac:spMk id="89" creationId="{1EC9526A-D5E0-463C-A078-93D5223027DB}"/>
          </ac:spMkLst>
        </pc:spChg>
        <pc:spChg chg="mod">
          <ac:chgData name="Sarah GAUVARD" userId="4c03e191-e154-482a-88b2-11de19eac96c" providerId="ADAL" clId="{8245CC27-65FB-483E-B8E7-D04039DBA80D}" dt="2021-05-24T16:09:26.572" v="14612" actId="790"/>
          <ac:spMkLst>
            <pc:docMk/>
            <pc:sldMk cId="2868900962" sldId="10407"/>
            <ac:spMk id="90" creationId="{8FFAFC9E-8713-4870-8CEE-C202596A4DF6}"/>
          </ac:spMkLst>
        </pc:spChg>
        <pc:spChg chg="mod">
          <ac:chgData name="Sarah GAUVARD" userId="4c03e191-e154-482a-88b2-11de19eac96c" providerId="ADAL" clId="{8245CC27-65FB-483E-B8E7-D04039DBA80D}" dt="2021-05-24T16:09:26.572" v="14613" actId="790"/>
          <ac:spMkLst>
            <pc:docMk/>
            <pc:sldMk cId="2868900962" sldId="10407"/>
            <ac:spMk id="91" creationId="{9EB3F53F-B3B4-4889-B966-F7AD5A1A15C6}"/>
          </ac:spMkLst>
        </pc:spChg>
        <pc:spChg chg="mod">
          <ac:chgData name="Sarah GAUVARD" userId="4c03e191-e154-482a-88b2-11de19eac96c" providerId="ADAL" clId="{8245CC27-65FB-483E-B8E7-D04039DBA80D}" dt="2021-05-24T16:09:26.552" v="14596" actId="790"/>
          <ac:spMkLst>
            <pc:docMk/>
            <pc:sldMk cId="2868900962" sldId="10407"/>
            <ac:spMk id="102" creationId="{A2834B24-514E-43C3-B8D2-8BF2673C78D1}"/>
          </ac:spMkLst>
        </pc:spChg>
        <pc:graphicFrameChg chg="mod">
          <ac:chgData name="Sarah GAUVARD" userId="4c03e191-e154-482a-88b2-11de19eac96c" providerId="ADAL" clId="{8245CC27-65FB-483E-B8E7-D04039DBA80D}" dt="2021-05-24T15:34:46.569" v="12110"/>
          <ac:graphicFrameMkLst>
            <pc:docMk/>
            <pc:sldMk cId="2868900962" sldId="10407"/>
            <ac:graphicFrameMk id="5" creationId="{58F89C0C-E0E8-4876-A98A-438F18CAD39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5:14:01.634" v="27587" actId="208"/>
        <pc:sldMkLst>
          <pc:docMk/>
          <pc:sldMk cId="407516052" sldId="10409"/>
        </pc:sldMkLst>
        <pc:spChg chg="mod">
          <ac:chgData name="Sarah GAUVARD" userId="4c03e191-e154-482a-88b2-11de19eac96c" providerId="ADAL" clId="{8245CC27-65FB-483E-B8E7-D04039DBA80D}" dt="2021-05-24T16:09:28.855" v="16844" actId="790"/>
          <ac:spMkLst>
            <pc:docMk/>
            <pc:sldMk cId="407516052" sldId="10409"/>
            <ac:spMk id="2" creationId="{1B8B41D0-3B5A-41F2-BD36-274CA5605C3A}"/>
          </ac:spMkLst>
        </pc:spChg>
        <pc:spChg chg="mod">
          <ac:chgData name="Sarah GAUVARD" userId="4c03e191-e154-482a-88b2-11de19eac96c" providerId="ADAL" clId="{8245CC27-65FB-483E-B8E7-D04039DBA80D}" dt="2021-05-24T16:09:28.847" v="16841" actId="790"/>
          <ac:spMkLst>
            <pc:docMk/>
            <pc:sldMk cId="407516052" sldId="10409"/>
            <ac:spMk id="3" creationId="{F2961EB7-FC0B-4AEF-8BF3-7969101BE0A7}"/>
          </ac:spMkLst>
        </pc:spChg>
        <pc:spChg chg="mod">
          <ac:chgData name="Sarah GAUVARD" userId="4c03e191-e154-482a-88b2-11de19eac96c" providerId="ADAL" clId="{8245CC27-65FB-483E-B8E7-D04039DBA80D}" dt="2021-05-24T16:09:28.877" v="16870" actId="790"/>
          <ac:spMkLst>
            <pc:docMk/>
            <pc:sldMk cId="407516052" sldId="10409"/>
            <ac:spMk id="4" creationId="{43E0D5C7-0986-42B1-8E8C-7B58D0CBD773}"/>
          </ac:spMkLst>
        </pc:spChg>
        <pc:spChg chg="mod">
          <ac:chgData name="Sarah GAUVARD" userId="4c03e191-e154-482a-88b2-11de19eac96c" providerId="ADAL" clId="{8245CC27-65FB-483E-B8E7-D04039DBA80D}" dt="2021-05-24T16:09:28.857" v="16845" actId="790"/>
          <ac:spMkLst>
            <pc:docMk/>
            <pc:sldMk cId="407516052" sldId="10409"/>
            <ac:spMk id="5" creationId="{32E0BE14-B2E8-4A96-ADE4-0BE247A47D79}"/>
          </ac:spMkLst>
        </pc:spChg>
        <pc:spChg chg="mod">
          <ac:chgData name="Sarah GAUVARD" userId="4c03e191-e154-482a-88b2-11de19eac96c" providerId="ADAL" clId="{8245CC27-65FB-483E-B8E7-D04039DBA80D}" dt="2021-05-24T16:09:28.857" v="16846" actId="790"/>
          <ac:spMkLst>
            <pc:docMk/>
            <pc:sldMk cId="407516052" sldId="10409"/>
            <ac:spMk id="6" creationId="{8AEA1672-C0F9-4DB2-A6F4-76831980F749}"/>
          </ac:spMkLst>
        </pc:spChg>
        <pc:spChg chg="mod">
          <ac:chgData name="Sarah GAUVARD" userId="4c03e191-e154-482a-88b2-11de19eac96c" providerId="ADAL" clId="{8245CC27-65FB-483E-B8E7-D04039DBA80D}" dt="2021-05-24T16:09:28.847" v="16843" actId="790"/>
          <ac:spMkLst>
            <pc:docMk/>
            <pc:sldMk cId="407516052" sldId="10409"/>
            <ac:spMk id="7" creationId="{064EAC16-1947-4EB5-B699-F79BA984701D}"/>
          </ac:spMkLst>
        </pc:spChg>
        <pc:spChg chg="mod">
          <ac:chgData name="Sarah GAUVARD" userId="4c03e191-e154-482a-88b2-11de19eac96c" providerId="ADAL" clId="{8245CC27-65FB-483E-B8E7-D04039DBA80D}" dt="2021-05-24T16:09:28.867" v="16860" actId="790"/>
          <ac:spMkLst>
            <pc:docMk/>
            <pc:sldMk cId="407516052" sldId="10409"/>
            <ac:spMk id="8" creationId="{17235FB0-B480-4F11-BAB2-ECCE97A0AE35}"/>
          </ac:spMkLst>
        </pc:spChg>
        <pc:spChg chg="mod">
          <ac:chgData name="Sarah GAUVARD" userId="4c03e191-e154-482a-88b2-11de19eac96c" providerId="ADAL" clId="{8245CC27-65FB-483E-B8E7-D04039DBA80D}" dt="2021-05-24T16:09:28.857" v="16847" actId="790"/>
          <ac:spMkLst>
            <pc:docMk/>
            <pc:sldMk cId="407516052" sldId="10409"/>
            <ac:spMk id="9" creationId="{E57AC7D2-FC03-4826-B2B4-B86B10C8A912}"/>
          </ac:spMkLst>
        </pc:spChg>
        <pc:spChg chg="mod">
          <ac:chgData name="Sarah GAUVARD" userId="4c03e191-e154-482a-88b2-11de19eac96c" providerId="ADAL" clId="{8245CC27-65FB-483E-B8E7-D04039DBA80D}" dt="2021-05-24T16:09:28.847" v="16833" actId="790"/>
          <ac:spMkLst>
            <pc:docMk/>
            <pc:sldMk cId="407516052" sldId="10409"/>
            <ac:spMk id="10" creationId="{EC4BC8E5-CDE6-4BDA-8B1B-E89284306AC8}"/>
          </ac:spMkLst>
        </pc:spChg>
        <pc:spChg chg="add mod">
          <ac:chgData name="Sarah GAUVARD" userId="4c03e191-e154-482a-88b2-11de19eac96c" providerId="ADAL" clId="{8245CC27-65FB-483E-B8E7-D04039DBA80D}" dt="2021-05-24T12:13:12.713" v="3145" actId="207"/>
          <ac:spMkLst>
            <pc:docMk/>
            <pc:sldMk cId="407516052" sldId="10409"/>
            <ac:spMk id="11" creationId="{0416FF5A-62B4-4A51-9CD4-96B43F5F5980}"/>
          </ac:spMkLst>
        </pc:spChg>
        <pc:spChg chg="mod">
          <ac:chgData name="Sarah GAUVARD" userId="4c03e191-e154-482a-88b2-11de19eac96c" providerId="ADAL" clId="{8245CC27-65FB-483E-B8E7-D04039DBA80D}" dt="2021-05-24T16:09:28.867" v="16861" actId="790"/>
          <ac:spMkLst>
            <pc:docMk/>
            <pc:sldMk cId="407516052" sldId="10409"/>
            <ac:spMk id="12" creationId="{06146879-726F-492D-B854-B9E140208671}"/>
          </ac:spMkLst>
        </pc:spChg>
        <pc:spChg chg="mod">
          <ac:chgData name="Sarah GAUVARD" userId="4c03e191-e154-482a-88b2-11de19eac96c" providerId="ADAL" clId="{8245CC27-65FB-483E-B8E7-D04039DBA80D}" dt="2021-05-24T16:09:28.877" v="16866" actId="790"/>
          <ac:spMkLst>
            <pc:docMk/>
            <pc:sldMk cId="407516052" sldId="10409"/>
            <ac:spMk id="13" creationId="{E9F049B4-9F79-4754-AA4A-B557B2A6D3C9}"/>
          </ac:spMkLst>
        </pc:spChg>
        <pc:spChg chg="mod">
          <ac:chgData name="Sarah GAUVARD" userId="4c03e191-e154-482a-88b2-11de19eac96c" providerId="ADAL" clId="{8245CC27-65FB-483E-B8E7-D04039DBA80D}" dt="2021-05-24T16:09:28.867" v="16859" actId="790"/>
          <ac:spMkLst>
            <pc:docMk/>
            <pc:sldMk cId="407516052" sldId="10409"/>
            <ac:spMk id="14" creationId="{0AF44C45-BA78-4B2B-8163-11B42E3CF6BE}"/>
          </ac:spMkLst>
        </pc:spChg>
        <pc:spChg chg="add del mod">
          <ac:chgData name="Sarah GAUVARD" userId="4c03e191-e154-482a-88b2-11de19eac96c" providerId="ADAL" clId="{8245CC27-65FB-483E-B8E7-D04039DBA80D}" dt="2021-05-24T14:43:56.805" v="4979" actId="478"/>
          <ac:spMkLst>
            <pc:docMk/>
            <pc:sldMk cId="407516052" sldId="10409"/>
            <ac:spMk id="16" creationId="{548BCF2C-4AC4-4516-AE96-8786F2D96BFA}"/>
          </ac:spMkLst>
        </pc:spChg>
        <pc:spChg chg="mod">
          <ac:chgData name="Sarah GAUVARD" userId="4c03e191-e154-482a-88b2-11de19eac96c" providerId="ADAL" clId="{8245CC27-65FB-483E-B8E7-D04039DBA80D}" dt="2021-05-24T16:09:28.867" v="16853" actId="790"/>
          <ac:spMkLst>
            <pc:docMk/>
            <pc:sldMk cId="407516052" sldId="10409"/>
            <ac:spMk id="18" creationId="{E5E5B17C-AF5B-4FCB-935E-796FE66056AC}"/>
          </ac:spMkLst>
        </pc:spChg>
        <pc:spChg chg="mod">
          <ac:chgData name="Sarah GAUVARD" userId="4c03e191-e154-482a-88b2-11de19eac96c" providerId="ADAL" clId="{8245CC27-65FB-483E-B8E7-D04039DBA80D}" dt="2021-05-24T16:09:28.857" v="16848" actId="790"/>
          <ac:spMkLst>
            <pc:docMk/>
            <pc:sldMk cId="407516052" sldId="10409"/>
            <ac:spMk id="19" creationId="{D183DC4A-A310-4818-8DE5-DD81DA31ACA2}"/>
          </ac:spMkLst>
        </pc:spChg>
        <pc:spChg chg="mod">
          <ac:chgData name="Sarah GAUVARD" userId="4c03e191-e154-482a-88b2-11de19eac96c" providerId="ADAL" clId="{8245CC27-65FB-483E-B8E7-D04039DBA80D}" dt="2021-05-24T16:09:28.877" v="16867" actId="790"/>
          <ac:spMkLst>
            <pc:docMk/>
            <pc:sldMk cId="407516052" sldId="10409"/>
            <ac:spMk id="20" creationId="{54E8F179-87EF-4A92-9C29-92D7E20EB946}"/>
          </ac:spMkLst>
        </pc:spChg>
        <pc:spChg chg="mod">
          <ac:chgData name="Sarah GAUVARD" userId="4c03e191-e154-482a-88b2-11de19eac96c" providerId="ADAL" clId="{8245CC27-65FB-483E-B8E7-D04039DBA80D}" dt="2021-05-24T16:09:28.877" v="16871" actId="790"/>
          <ac:spMkLst>
            <pc:docMk/>
            <pc:sldMk cId="407516052" sldId="10409"/>
            <ac:spMk id="21" creationId="{44BA4EC0-19D7-41DC-B319-396D8267BC37}"/>
          </ac:spMkLst>
        </pc:spChg>
        <pc:spChg chg="mod">
          <ac:chgData name="Sarah GAUVARD" userId="4c03e191-e154-482a-88b2-11de19eac96c" providerId="ADAL" clId="{8245CC27-65FB-483E-B8E7-D04039DBA80D}" dt="2021-05-24T16:09:28.877" v="16869" actId="790"/>
          <ac:spMkLst>
            <pc:docMk/>
            <pc:sldMk cId="407516052" sldId="10409"/>
            <ac:spMk id="22" creationId="{43B8FABF-5816-42AC-8939-29224794884E}"/>
          </ac:spMkLst>
        </pc:spChg>
        <pc:spChg chg="add del mod modVis">
          <ac:chgData name="Sarah GAUVARD" userId="4c03e191-e154-482a-88b2-11de19eac96c" providerId="ADAL" clId="{8245CC27-65FB-483E-B8E7-D04039DBA80D}" dt="2021-05-24T15:34:45.894" v="11768"/>
          <ac:spMkLst>
            <pc:docMk/>
            <pc:sldMk cId="407516052" sldId="10409"/>
            <ac:spMk id="23" creationId="{67A5FBE3-1ABF-4B65-92F8-131D470A4133}"/>
          </ac:spMkLst>
        </pc:spChg>
        <pc:spChg chg="mod">
          <ac:chgData name="Sarah GAUVARD" userId="4c03e191-e154-482a-88b2-11de19eac96c" providerId="ADAL" clId="{8245CC27-65FB-483E-B8E7-D04039DBA80D}" dt="2021-05-24T16:09:28.845" v="16831" actId="790"/>
          <ac:spMkLst>
            <pc:docMk/>
            <pc:sldMk cId="407516052" sldId="10409"/>
            <ac:spMk id="33" creationId="{243F8FAD-0118-4F1B-B40B-A7D84FD36396}"/>
          </ac:spMkLst>
        </pc:spChg>
        <pc:spChg chg="mod">
          <ac:chgData name="Sarah GAUVARD" userId="4c03e191-e154-482a-88b2-11de19eac96c" providerId="ADAL" clId="{8245CC27-65FB-483E-B8E7-D04039DBA80D}" dt="2021-05-24T16:09:28.877" v="16868" actId="790"/>
          <ac:spMkLst>
            <pc:docMk/>
            <pc:sldMk cId="407516052" sldId="10409"/>
            <ac:spMk id="47" creationId="{9E10C541-E455-4AF2-AA1A-715E3DF2DDC1}"/>
          </ac:spMkLst>
        </pc:spChg>
        <pc:spChg chg="mod">
          <ac:chgData name="Sarah GAUVARD" userId="4c03e191-e154-482a-88b2-11de19eac96c" providerId="ADAL" clId="{8245CC27-65FB-483E-B8E7-D04039DBA80D}" dt="2021-05-24T16:09:28.857" v="16849" actId="790"/>
          <ac:spMkLst>
            <pc:docMk/>
            <pc:sldMk cId="407516052" sldId="10409"/>
            <ac:spMk id="49" creationId="{B10468A4-1BAC-4153-BC9A-99B8715C0AD1}"/>
          </ac:spMkLst>
        </pc:spChg>
        <pc:spChg chg="mod">
          <ac:chgData name="Sarah GAUVARD" userId="4c03e191-e154-482a-88b2-11de19eac96c" providerId="ADAL" clId="{8245CC27-65FB-483E-B8E7-D04039DBA80D}" dt="2021-05-24T16:09:28.847" v="16842" actId="790"/>
          <ac:spMkLst>
            <pc:docMk/>
            <pc:sldMk cId="407516052" sldId="10409"/>
            <ac:spMk id="50" creationId="{06AD3339-7557-4559-B2EA-6A391CF2BF0C}"/>
          </ac:spMkLst>
        </pc:spChg>
        <pc:spChg chg="mod">
          <ac:chgData name="Sarah GAUVARD" userId="4c03e191-e154-482a-88b2-11de19eac96c" providerId="ADAL" clId="{8245CC27-65FB-483E-B8E7-D04039DBA80D}" dt="2021-05-24T16:09:28.845" v="16832" actId="790"/>
          <ac:spMkLst>
            <pc:docMk/>
            <pc:sldMk cId="407516052" sldId="10409"/>
            <ac:spMk id="88" creationId="{336D463B-B815-4500-8F61-78A091129044}"/>
          </ac:spMkLst>
        </pc:spChg>
        <pc:spChg chg="mod">
          <ac:chgData name="Sarah GAUVARD" userId="4c03e191-e154-482a-88b2-11de19eac96c" providerId="ADAL" clId="{8245CC27-65FB-483E-B8E7-D04039DBA80D}" dt="2021-05-24T16:09:28.847" v="16835" actId="790"/>
          <ac:spMkLst>
            <pc:docMk/>
            <pc:sldMk cId="407516052" sldId="10409"/>
            <ac:spMk id="90" creationId="{C1682200-357E-4434-8AD7-5A0786BF6D1B}"/>
          </ac:spMkLst>
        </pc:spChg>
        <pc:spChg chg="mod">
          <ac:chgData name="Sarah GAUVARD" userId="4c03e191-e154-482a-88b2-11de19eac96c" providerId="ADAL" clId="{8245CC27-65FB-483E-B8E7-D04039DBA80D}" dt="2021-05-24T16:09:28.875" v="16864" actId="790"/>
          <ac:spMkLst>
            <pc:docMk/>
            <pc:sldMk cId="407516052" sldId="10409"/>
            <ac:spMk id="96" creationId="{5BB653FA-7502-456B-9DD5-1867522D3A88}"/>
          </ac:spMkLst>
        </pc:spChg>
        <pc:spChg chg="mod">
          <ac:chgData name="Sarah GAUVARD" userId="4c03e191-e154-482a-88b2-11de19eac96c" providerId="ADAL" clId="{8245CC27-65FB-483E-B8E7-D04039DBA80D}" dt="2021-05-24T16:09:28.857" v="16850" actId="790"/>
          <ac:spMkLst>
            <pc:docMk/>
            <pc:sldMk cId="407516052" sldId="10409"/>
            <ac:spMk id="100" creationId="{EF6C7B41-C54E-4684-BB9A-36701E115EBF}"/>
          </ac:spMkLst>
        </pc:spChg>
        <pc:spChg chg="mod">
          <ac:chgData name="Sarah GAUVARD" userId="4c03e191-e154-482a-88b2-11de19eac96c" providerId="ADAL" clId="{8245CC27-65FB-483E-B8E7-D04039DBA80D}" dt="2021-05-24T16:09:28.847" v="16839" actId="790"/>
          <ac:spMkLst>
            <pc:docMk/>
            <pc:sldMk cId="407516052" sldId="10409"/>
            <ac:spMk id="107" creationId="{31D0AEAA-51DD-4312-8DD3-D5664A3B479D}"/>
          </ac:spMkLst>
        </pc:spChg>
        <pc:spChg chg="mod">
          <ac:chgData name="Sarah GAUVARD" userId="4c03e191-e154-482a-88b2-11de19eac96c" providerId="ADAL" clId="{8245CC27-65FB-483E-B8E7-D04039DBA80D}" dt="2021-05-24T16:09:28.847" v="16837" actId="790"/>
          <ac:spMkLst>
            <pc:docMk/>
            <pc:sldMk cId="407516052" sldId="10409"/>
            <ac:spMk id="108" creationId="{B4E79E7D-0395-4CE2-8F8E-F7FFDE4BA106}"/>
          </ac:spMkLst>
        </pc:spChg>
        <pc:spChg chg="mod">
          <ac:chgData name="Sarah GAUVARD" userId="4c03e191-e154-482a-88b2-11de19eac96c" providerId="ADAL" clId="{8245CC27-65FB-483E-B8E7-D04039DBA80D}" dt="2021-05-24T16:12:22.507" v="17495" actId="13926"/>
          <ac:spMkLst>
            <pc:docMk/>
            <pc:sldMk cId="407516052" sldId="10409"/>
            <ac:spMk id="117" creationId="{FB5E74AA-473E-4A0F-97C6-4BAE2E9C9474}"/>
          </ac:spMkLst>
        </pc:spChg>
        <pc:spChg chg="mod">
          <ac:chgData name="Sarah GAUVARD" userId="4c03e191-e154-482a-88b2-11de19eac96c" providerId="ADAL" clId="{8245CC27-65FB-483E-B8E7-D04039DBA80D}" dt="2021-05-24T16:09:28.847" v="16834" actId="790"/>
          <ac:spMkLst>
            <pc:docMk/>
            <pc:sldMk cId="407516052" sldId="10409"/>
            <ac:spMk id="119" creationId="{EEF55E94-FD53-41D7-A423-6B56C40D88A1}"/>
          </ac:spMkLst>
        </pc:spChg>
        <pc:spChg chg="mod">
          <ac:chgData name="Sarah GAUVARD" userId="4c03e191-e154-482a-88b2-11de19eac96c" providerId="ADAL" clId="{8245CC27-65FB-483E-B8E7-D04039DBA80D}" dt="2021-05-24T16:09:28.875" v="16863" actId="790"/>
          <ac:spMkLst>
            <pc:docMk/>
            <pc:sldMk cId="407516052" sldId="10409"/>
            <ac:spMk id="120" creationId="{697B9F9F-BFD2-4BBC-A2BC-06F0D17B4298}"/>
          </ac:spMkLst>
        </pc:spChg>
        <pc:spChg chg="mod">
          <ac:chgData name="Sarah GAUVARD" userId="4c03e191-e154-482a-88b2-11de19eac96c" providerId="ADAL" clId="{8245CC27-65FB-483E-B8E7-D04039DBA80D}" dt="2021-05-24T16:09:28.875" v="16862" actId="790"/>
          <ac:spMkLst>
            <pc:docMk/>
            <pc:sldMk cId="407516052" sldId="10409"/>
            <ac:spMk id="122" creationId="{7ED4A8D8-06EE-4620-B65B-5E3B52A3ABAE}"/>
          </ac:spMkLst>
        </pc:spChg>
        <pc:spChg chg="mod">
          <ac:chgData name="Sarah GAUVARD" userId="4c03e191-e154-482a-88b2-11de19eac96c" providerId="ADAL" clId="{8245CC27-65FB-483E-B8E7-D04039DBA80D}" dt="2021-05-24T16:09:28.877" v="16865" actId="790"/>
          <ac:spMkLst>
            <pc:docMk/>
            <pc:sldMk cId="407516052" sldId="10409"/>
            <ac:spMk id="123" creationId="{CCD5F39F-64EB-4F4E-BE6B-002C617492EF}"/>
          </ac:spMkLst>
        </pc:spChg>
        <pc:spChg chg="mod">
          <ac:chgData name="Sarah GAUVARD" userId="4c03e191-e154-482a-88b2-11de19eac96c" providerId="ADAL" clId="{8245CC27-65FB-483E-B8E7-D04039DBA80D}" dt="2021-05-24T14:43:54.594" v="4978" actId="1076"/>
          <ac:spMkLst>
            <pc:docMk/>
            <pc:sldMk cId="407516052" sldId="10409"/>
            <ac:spMk id="124" creationId="{B5E63115-060E-4DBF-B5B6-F1A47C7E9F98}"/>
          </ac:spMkLst>
        </pc:spChg>
        <pc:spChg chg="mod">
          <ac:chgData name="Sarah GAUVARD" userId="4c03e191-e154-482a-88b2-11de19eac96c" providerId="ADAL" clId="{8245CC27-65FB-483E-B8E7-D04039DBA80D}" dt="2021-05-24T16:09:28.897" v="16878" actId="790"/>
          <ac:spMkLst>
            <pc:docMk/>
            <pc:sldMk cId="407516052" sldId="10409"/>
            <ac:spMk id="126" creationId="{B775FA57-09F4-4478-A0A7-34027B888D82}"/>
          </ac:spMkLst>
        </pc:spChg>
        <pc:spChg chg="mod">
          <ac:chgData name="Sarah GAUVARD" userId="4c03e191-e154-482a-88b2-11de19eac96c" providerId="ADAL" clId="{8245CC27-65FB-483E-B8E7-D04039DBA80D}" dt="2021-05-24T14:43:54.594" v="4978" actId="1076"/>
          <ac:spMkLst>
            <pc:docMk/>
            <pc:sldMk cId="407516052" sldId="10409"/>
            <ac:spMk id="134" creationId="{AD1E0C09-6330-4FF3-AFB6-EE4F9C5C23BF}"/>
          </ac:spMkLst>
        </pc:spChg>
        <pc:spChg chg="mod">
          <ac:chgData name="Sarah GAUVARD" userId="4c03e191-e154-482a-88b2-11de19eac96c" providerId="ADAL" clId="{8245CC27-65FB-483E-B8E7-D04039DBA80D}" dt="2021-05-24T16:09:28.885" v="16872" actId="790"/>
          <ac:spMkLst>
            <pc:docMk/>
            <pc:sldMk cId="407516052" sldId="10409"/>
            <ac:spMk id="154" creationId="{A7269958-7FC5-479F-B17B-49D115F118B6}"/>
          </ac:spMkLst>
        </pc:spChg>
        <pc:spChg chg="mod">
          <ac:chgData name="Sarah GAUVARD" userId="4c03e191-e154-482a-88b2-11de19eac96c" providerId="ADAL" clId="{8245CC27-65FB-483E-B8E7-D04039DBA80D}" dt="2021-05-24T16:09:28.897" v="16879" actId="790"/>
          <ac:spMkLst>
            <pc:docMk/>
            <pc:sldMk cId="407516052" sldId="10409"/>
            <ac:spMk id="163" creationId="{3A0D07FC-22C9-49A2-8495-E4477EFA8AD7}"/>
          </ac:spMkLst>
        </pc:spChg>
        <pc:spChg chg="mod">
          <ac:chgData name="Sarah GAUVARD" userId="4c03e191-e154-482a-88b2-11de19eac96c" providerId="ADAL" clId="{8245CC27-65FB-483E-B8E7-D04039DBA80D}" dt="2021-05-24T16:09:28.897" v="16880" actId="790"/>
          <ac:spMkLst>
            <pc:docMk/>
            <pc:sldMk cId="407516052" sldId="10409"/>
            <ac:spMk id="164" creationId="{45B3DC26-1827-4A19-9BB9-1F3BBFDB5426}"/>
          </ac:spMkLst>
        </pc:spChg>
        <pc:spChg chg="mod">
          <ac:chgData name="Sarah GAUVARD" userId="4c03e191-e154-482a-88b2-11de19eac96c" providerId="ADAL" clId="{8245CC27-65FB-483E-B8E7-D04039DBA80D}" dt="2021-05-24T16:09:28.867" v="16854" actId="790"/>
          <ac:spMkLst>
            <pc:docMk/>
            <pc:sldMk cId="407516052" sldId="10409"/>
            <ac:spMk id="165" creationId="{C389F3EC-7313-454E-9942-F14FD0BD4C77}"/>
          </ac:spMkLst>
        </pc:spChg>
        <pc:spChg chg="mod">
          <ac:chgData name="Sarah GAUVARD" userId="4c03e191-e154-482a-88b2-11de19eac96c" providerId="ADAL" clId="{8245CC27-65FB-483E-B8E7-D04039DBA80D}" dt="2021-05-24T16:09:28.867" v="16855" actId="790"/>
          <ac:spMkLst>
            <pc:docMk/>
            <pc:sldMk cId="407516052" sldId="10409"/>
            <ac:spMk id="166" creationId="{A3938D6F-1923-42FF-B2ED-6C2BEA79BA03}"/>
          </ac:spMkLst>
        </pc:spChg>
        <pc:spChg chg="mod">
          <ac:chgData name="Sarah GAUVARD" userId="4c03e191-e154-482a-88b2-11de19eac96c" providerId="ADAL" clId="{8245CC27-65FB-483E-B8E7-D04039DBA80D}" dt="2021-05-24T16:09:28.867" v="16856" actId="790"/>
          <ac:spMkLst>
            <pc:docMk/>
            <pc:sldMk cId="407516052" sldId="10409"/>
            <ac:spMk id="168" creationId="{C423BD9F-9E4A-46B8-89D7-67C1FE84B168}"/>
          </ac:spMkLst>
        </pc:spChg>
        <pc:spChg chg="mod">
          <ac:chgData name="Sarah GAUVARD" userId="4c03e191-e154-482a-88b2-11de19eac96c" providerId="ADAL" clId="{8245CC27-65FB-483E-B8E7-D04039DBA80D}" dt="2021-05-24T16:09:28.847" v="16838" actId="790"/>
          <ac:spMkLst>
            <pc:docMk/>
            <pc:sldMk cId="407516052" sldId="10409"/>
            <ac:spMk id="169" creationId="{7881ABC3-A97B-4E90-939F-E48D9595FFFF}"/>
          </ac:spMkLst>
        </pc:spChg>
        <pc:spChg chg="mod">
          <ac:chgData name="Sarah GAUVARD" userId="4c03e191-e154-482a-88b2-11de19eac96c" providerId="ADAL" clId="{8245CC27-65FB-483E-B8E7-D04039DBA80D}" dt="2021-05-24T16:09:28.847" v="16836" actId="790"/>
          <ac:spMkLst>
            <pc:docMk/>
            <pc:sldMk cId="407516052" sldId="10409"/>
            <ac:spMk id="170" creationId="{A886CA56-9620-415B-9489-A004AB6EB706}"/>
          </ac:spMkLst>
        </pc:spChg>
        <pc:spChg chg="mod">
          <ac:chgData name="Sarah GAUVARD" userId="4c03e191-e154-482a-88b2-11de19eac96c" providerId="ADAL" clId="{8245CC27-65FB-483E-B8E7-D04039DBA80D}" dt="2021-05-24T16:09:28.867" v="16857" actId="790"/>
          <ac:spMkLst>
            <pc:docMk/>
            <pc:sldMk cId="407516052" sldId="10409"/>
            <ac:spMk id="171" creationId="{BCC6DEFD-6FEB-4777-9432-E3B2F5C51000}"/>
          </ac:spMkLst>
        </pc:spChg>
        <pc:spChg chg="mod">
          <ac:chgData name="Sarah GAUVARD" userId="4c03e191-e154-482a-88b2-11de19eac96c" providerId="ADAL" clId="{8245CC27-65FB-483E-B8E7-D04039DBA80D}" dt="2021-05-24T16:09:28.867" v="16858" actId="790"/>
          <ac:spMkLst>
            <pc:docMk/>
            <pc:sldMk cId="407516052" sldId="10409"/>
            <ac:spMk id="172" creationId="{04568322-5012-422B-991D-C9A4712E25C9}"/>
          </ac:spMkLst>
        </pc:spChg>
        <pc:spChg chg="mod">
          <ac:chgData name="Sarah GAUVARD" userId="4c03e191-e154-482a-88b2-11de19eac96c" providerId="ADAL" clId="{8245CC27-65FB-483E-B8E7-D04039DBA80D}" dt="2021-05-24T16:09:28.897" v="16881" actId="790"/>
          <ac:spMkLst>
            <pc:docMk/>
            <pc:sldMk cId="407516052" sldId="10409"/>
            <ac:spMk id="173" creationId="{8CD6CBBD-11CE-42DF-84FB-AADE7AE166F4}"/>
          </ac:spMkLst>
        </pc:spChg>
        <pc:spChg chg="mod">
          <ac:chgData name="Sarah GAUVARD" userId="4c03e191-e154-482a-88b2-11de19eac96c" providerId="ADAL" clId="{8245CC27-65FB-483E-B8E7-D04039DBA80D}" dt="2021-05-24T16:09:28.897" v="16882" actId="790"/>
          <ac:spMkLst>
            <pc:docMk/>
            <pc:sldMk cId="407516052" sldId="10409"/>
            <ac:spMk id="174" creationId="{291707F1-A86E-4428-9CA3-A2CF01A2E4E6}"/>
          </ac:spMkLst>
        </pc:spChg>
        <pc:spChg chg="mod">
          <ac:chgData name="Sarah GAUVARD" userId="4c03e191-e154-482a-88b2-11de19eac96c" providerId="ADAL" clId="{8245CC27-65FB-483E-B8E7-D04039DBA80D}" dt="2021-05-24T16:09:28.897" v="16883" actId="790"/>
          <ac:spMkLst>
            <pc:docMk/>
            <pc:sldMk cId="407516052" sldId="10409"/>
            <ac:spMk id="175" creationId="{1C503FC7-4ED7-4733-917B-304AB825202B}"/>
          </ac:spMkLst>
        </pc:spChg>
        <pc:spChg chg="mod">
          <ac:chgData name="Sarah GAUVARD" userId="4c03e191-e154-482a-88b2-11de19eac96c" providerId="ADAL" clId="{8245CC27-65FB-483E-B8E7-D04039DBA80D}" dt="2021-05-24T16:09:28.897" v="16884" actId="790"/>
          <ac:spMkLst>
            <pc:docMk/>
            <pc:sldMk cId="407516052" sldId="10409"/>
            <ac:spMk id="176" creationId="{E97BB183-A78F-41E4-B6CF-95563991C411}"/>
          </ac:spMkLst>
        </pc:spChg>
        <pc:spChg chg="mod">
          <ac:chgData name="Sarah GAUVARD" userId="4c03e191-e154-482a-88b2-11de19eac96c" providerId="ADAL" clId="{8245CC27-65FB-483E-B8E7-D04039DBA80D}" dt="2021-05-24T16:09:28.897" v="16885" actId="790"/>
          <ac:spMkLst>
            <pc:docMk/>
            <pc:sldMk cId="407516052" sldId="10409"/>
            <ac:spMk id="177" creationId="{2B68C32F-C2AD-400A-8C8D-B9682D57B838}"/>
          </ac:spMkLst>
        </pc:spChg>
        <pc:spChg chg="mod">
          <ac:chgData name="Sarah GAUVARD" userId="4c03e191-e154-482a-88b2-11de19eac96c" providerId="ADAL" clId="{8245CC27-65FB-483E-B8E7-D04039DBA80D}" dt="2021-05-24T16:09:28.897" v="16886" actId="790"/>
          <ac:spMkLst>
            <pc:docMk/>
            <pc:sldMk cId="407516052" sldId="10409"/>
            <ac:spMk id="178" creationId="{5A8AC7B5-F0BC-495E-BDDE-31227A11846F}"/>
          </ac:spMkLst>
        </pc:spChg>
        <pc:spChg chg="mod">
          <ac:chgData name="Sarah GAUVARD" userId="4c03e191-e154-482a-88b2-11de19eac96c" providerId="ADAL" clId="{8245CC27-65FB-483E-B8E7-D04039DBA80D}" dt="2021-05-24T16:09:28.895" v="16876" actId="790"/>
          <ac:spMkLst>
            <pc:docMk/>
            <pc:sldMk cId="407516052" sldId="10409"/>
            <ac:spMk id="188" creationId="{3D8A8032-97B9-4BBE-B927-45BC220C8D1A}"/>
          </ac:spMkLst>
        </pc:spChg>
        <pc:spChg chg="mod">
          <ac:chgData name="Sarah GAUVARD" userId="4c03e191-e154-482a-88b2-11de19eac96c" providerId="ADAL" clId="{8245CC27-65FB-483E-B8E7-D04039DBA80D}" dt="2021-05-24T16:09:28.897" v="16877" actId="790"/>
          <ac:spMkLst>
            <pc:docMk/>
            <pc:sldMk cId="407516052" sldId="10409"/>
            <ac:spMk id="189" creationId="{56497B0A-483E-4AAB-905A-C3F0FDEC0D02}"/>
          </ac:spMkLst>
        </pc:spChg>
        <pc:spChg chg="mod">
          <ac:chgData name="Sarah GAUVARD" userId="4c03e191-e154-482a-88b2-11de19eac96c" providerId="ADAL" clId="{8245CC27-65FB-483E-B8E7-D04039DBA80D}" dt="2021-05-24T16:09:28.885" v="16873" actId="790"/>
          <ac:spMkLst>
            <pc:docMk/>
            <pc:sldMk cId="407516052" sldId="10409"/>
            <ac:spMk id="197" creationId="{EB1ED8EE-1371-4F31-B475-A7FD22F01C88}"/>
          </ac:spMkLst>
        </pc:spChg>
        <pc:spChg chg="mod">
          <ac:chgData name="Sarah GAUVARD" userId="4c03e191-e154-482a-88b2-11de19eac96c" providerId="ADAL" clId="{8245CC27-65FB-483E-B8E7-D04039DBA80D}" dt="2021-05-24T16:09:28.885" v="16874" actId="790"/>
          <ac:spMkLst>
            <pc:docMk/>
            <pc:sldMk cId="407516052" sldId="10409"/>
            <ac:spMk id="212" creationId="{F492C173-DFD6-47CF-9BB4-C8925127E1EE}"/>
          </ac:spMkLst>
        </pc:spChg>
        <pc:spChg chg="mod">
          <ac:chgData name="Sarah GAUVARD" userId="4c03e191-e154-482a-88b2-11de19eac96c" providerId="ADAL" clId="{8245CC27-65FB-483E-B8E7-D04039DBA80D}" dt="2021-05-24T16:09:28.867" v="16851" actId="790"/>
          <ac:spMkLst>
            <pc:docMk/>
            <pc:sldMk cId="407516052" sldId="10409"/>
            <ac:spMk id="1031" creationId="{A3845A5C-C65F-4C44-AE3B-D3285DF51268}"/>
          </ac:spMkLst>
        </pc:spChg>
        <pc:spChg chg="mod">
          <ac:chgData name="Sarah GAUVARD" userId="4c03e191-e154-482a-88b2-11de19eac96c" providerId="ADAL" clId="{8245CC27-65FB-483E-B8E7-D04039DBA80D}" dt="2021-05-24T16:09:28.867" v="16852" actId="790"/>
          <ac:spMkLst>
            <pc:docMk/>
            <pc:sldMk cId="407516052" sldId="10409"/>
            <ac:spMk id="1035" creationId="{9164A53F-4711-41A4-BE3D-8D2F4243A495}"/>
          </ac:spMkLst>
        </pc:spChg>
        <pc:spChg chg="mod">
          <ac:chgData name="Sarah GAUVARD" userId="4c03e191-e154-482a-88b2-11de19eac96c" providerId="ADAL" clId="{8245CC27-65FB-483E-B8E7-D04039DBA80D}" dt="2021-05-24T16:09:28.847" v="16840" actId="790"/>
          <ac:spMkLst>
            <pc:docMk/>
            <pc:sldMk cId="407516052" sldId="10409"/>
            <ac:spMk id="4107" creationId="{EBC573C8-C4E3-432A-81F7-B99236DF594A}"/>
          </ac:spMkLst>
        </pc:spChg>
        <pc:grpChg chg="mod">
          <ac:chgData name="Sarah GAUVARD" userId="4c03e191-e154-482a-88b2-11de19eac96c" providerId="ADAL" clId="{8245CC27-65FB-483E-B8E7-D04039DBA80D}" dt="2021-05-24T14:43:54.594" v="4978" actId="1076"/>
          <ac:grpSpMkLst>
            <pc:docMk/>
            <pc:sldMk cId="407516052" sldId="10409"/>
            <ac:grpSpMk id="118" creationId="{BC25C9F3-79A7-4095-AE8A-647B9EB47ED2}"/>
          </ac:grpSpMkLst>
        </pc:grpChg>
        <pc:graphicFrameChg chg="mod">
          <ac:chgData name="Sarah GAUVARD" userId="4c03e191-e154-482a-88b2-11de19eac96c" providerId="ADAL" clId="{8245CC27-65FB-483E-B8E7-D04039DBA80D}" dt="2021-05-24T15:34:45.897" v="11770"/>
          <ac:graphicFrameMkLst>
            <pc:docMk/>
            <pc:sldMk cId="407516052" sldId="10409"/>
            <ac:graphicFrameMk id="17" creationId="{FF44A7FF-DA1D-48E9-88AF-BFA57A1D74D1}"/>
          </ac:graphicFrameMkLst>
        </pc:graphicFrameChg>
        <pc:cxnChg chg="mod">
          <ac:chgData name="Sarah GAUVARD" userId="4c03e191-e154-482a-88b2-11de19eac96c" providerId="ADAL" clId="{8245CC27-65FB-483E-B8E7-D04039DBA80D}" dt="2021-05-25T15:14:01.634" v="27587" actId="208"/>
          <ac:cxnSpMkLst>
            <pc:docMk/>
            <pc:sldMk cId="407516052" sldId="10409"/>
            <ac:cxnSpMk id="63" creationId="{72DCBA9D-CCF5-4471-A961-C9AA259894A1}"/>
          </ac:cxnSpMkLst>
        </pc:cxnChg>
        <pc:cxnChg chg="mod">
          <ac:chgData name="Sarah GAUVARD" userId="4c03e191-e154-482a-88b2-11de19eac96c" providerId="ADAL" clId="{8245CC27-65FB-483E-B8E7-D04039DBA80D}" dt="2021-05-25T15:14:00.382" v="27586" actId="208"/>
          <ac:cxnSpMkLst>
            <pc:docMk/>
            <pc:sldMk cId="407516052" sldId="10409"/>
            <ac:cxnSpMk id="125" creationId="{381F0FDF-7736-40B2-9322-BFC2F9BA5EF3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5T15:13:28.928" v="27581" actId="208"/>
        <pc:sldMkLst>
          <pc:docMk/>
          <pc:sldMk cId="4003625964" sldId="10410"/>
        </pc:sldMkLst>
        <pc:spChg chg="mod">
          <ac:chgData name="Sarah GAUVARD" userId="4c03e191-e154-482a-88b2-11de19eac96c" providerId="ADAL" clId="{8245CC27-65FB-483E-B8E7-D04039DBA80D}" dt="2021-05-24T16:09:28.352" v="16389" actId="790"/>
          <ac:spMkLst>
            <pc:docMk/>
            <pc:sldMk cId="4003625964" sldId="10410"/>
            <ac:spMk id="2" creationId="{1B8B41D0-3B5A-41F2-BD36-274CA5605C3A}"/>
          </ac:spMkLst>
        </pc:spChg>
        <pc:spChg chg="mod">
          <ac:chgData name="Sarah GAUVARD" userId="4c03e191-e154-482a-88b2-11de19eac96c" providerId="ADAL" clId="{8245CC27-65FB-483E-B8E7-D04039DBA80D}" dt="2021-05-24T16:09:28.342" v="16379" actId="790"/>
          <ac:spMkLst>
            <pc:docMk/>
            <pc:sldMk cId="4003625964" sldId="10410"/>
            <ac:spMk id="3" creationId="{F2961EB7-FC0B-4AEF-8BF3-7969101BE0A7}"/>
          </ac:spMkLst>
        </pc:spChg>
        <pc:spChg chg="mod">
          <ac:chgData name="Sarah GAUVARD" userId="4c03e191-e154-482a-88b2-11de19eac96c" providerId="ADAL" clId="{8245CC27-65FB-483E-B8E7-D04039DBA80D}" dt="2021-05-24T16:09:28.372" v="16409" actId="790"/>
          <ac:spMkLst>
            <pc:docMk/>
            <pc:sldMk cId="4003625964" sldId="10410"/>
            <ac:spMk id="4" creationId="{43E0D5C7-0986-42B1-8E8C-7B58D0CBD773}"/>
          </ac:spMkLst>
        </pc:spChg>
        <pc:spChg chg="mod">
          <ac:chgData name="Sarah GAUVARD" userId="4c03e191-e154-482a-88b2-11de19eac96c" providerId="ADAL" clId="{8245CC27-65FB-483E-B8E7-D04039DBA80D}" dt="2021-05-24T16:09:28.352" v="16390" actId="790"/>
          <ac:spMkLst>
            <pc:docMk/>
            <pc:sldMk cId="4003625964" sldId="10410"/>
            <ac:spMk id="5" creationId="{32E0BE14-B2E8-4A96-ADE4-0BE247A47D79}"/>
          </ac:spMkLst>
        </pc:spChg>
        <pc:spChg chg="mod">
          <ac:chgData name="Sarah GAUVARD" userId="4c03e191-e154-482a-88b2-11de19eac96c" providerId="ADAL" clId="{8245CC27-65FB-483E-B8E7-D04039DBA80D}" dt="2021-05-24T16:09:28.352" v="16391" actId="790"/>
          <ac:spMkLst>
            <pc:docMk/>
            <pc:sldMk cId="4003625964" sldId="10410"/>
            <ac:spMk id="6" creationId="{8AEA1672-C0F9-4DB2-A6F4-76831980F749}"/>
          </ac:spMkLst>
        </pc:spChg>
        <pc:spChg chg="mod">
          <ac:chgData name="Sarah GAUVARD" userId="4c03e191-e154-482a-88b2-11de19eac96c" providerId="ADAL" clId="{8245CC27-65FB-483E-B8E7-D04039DBA80D}" dt="2021-05-24T16:09:28.362" v="16401" actId="790"/>
          <ac:spMkLst>
            <pc:docMk/>
            <pc:sldMk cId="4003625964" sldId="10410"/>
            <ac:spMk id="7" creationId="{064EAC16-1947-4EB5-B699-F79BA984701D}"/>
          </ac:spMkLst>
        </pc:spChg>
        <pc:spChg chg="mod">
          <ac:chgData name="Sarah GAUVARD" userId="4c03e191-e154-482a-88b2-11de19eac96c" providerId="ADAL" clId="{8245CC27-65FB-483E-B8E7-D04039DBA80D}" dt="2021-05-24T16:09:28.362" v="16402" actId="790"/>
          <ac:spMkLst>
            <pc:docMk/>
            <pc:sldMk cId="4003625964" sldId="10410"/>
            <ac:spMk id="8" creationId="{17235FB0-B480-4F11-BAB2-ECCE97A0AE35}"/>
          </ac:spMkLst>
        </pc:spChg>
        <pc:spChg chg="mod">
          <ac:chgData name="Sarah GAUVARD" userId="4c03e191-e154-482a-88b2-11de19eac96c" providerId="ADAL" clId="{8245CC27-65FB-483E-B8E7-D04039DBA80D}" dt="2021-05-24T16:09:28.352" v="16392" actId="790"/>
          <ac:spMkLst>
            <pc:docMk/>
            <pc:sldMk cId="4003625964" sldId="10410"/>
            <ac:spMk id="9" creationId="{E57AC7D2-FC03-4826-B2B4-B86B10C8A912}"/>
          </ac:spMkLst>
        </pc:spChg>
        <pc:spChg chg="mod">
          <ac:chgData name="Sarah GAUVARD" userId="4c03e191-e154-482a-88b2-11de19eac96c" providerId="ADAL" clId="{8245CC27-65FB-483E-B8E7-D04039DBA80D}" dt="2021-05-24T16:09:28.380" v="16417" actId="790"/>
          <ac:spMkLst>
            <pc:docMk/>
            <pc:sldMk cId="4003625964" sldId="10410"/>
            <ac:spMk id="10" creationId="{EC4BC8E5-CDE6-4BDA-8B1B-E89284306AC8}"/>
          </ac:spMkLst>
        </pc:spChg>
        <pc:spChg chg="mod">
          <ac:chgData name="Sarah GAUVARD" userId="4c03e191-e154-482a-88b2-11de19eac96c" providerId="ADAL" clId="{8245CC27-65FB-483E-B8E7-D04039DBA80D}" dt="2021-05-24T16:09:28.342" v="16380" actId="790"/>
          <ac:spMkLst>
            <pc:docMk/>
            <pc:sldMk cId="4003625964" sldId="10410"/>
            <ac:spMk id="12" creationId="{06146879-726F-492D-B854-B9E140208671}"/>
          </ac:spMkLst>
        </pc:spChg>
        <pc:spChg chg="mod">
          <ac:chgData name="Sarah GAUVARD" userId="4c03e191-e154-482a-88b2-11de19eac96c" providerId="ADAL" clId="{8245CC27-65FB-483E-B8E7-D04039DBA80D}" dt="2021-05-24T16:09:28.350" v="16386" actId="790"/>
          <ac:spMkLst>
            <pc:docMk/>
            <pc:sldMk cId="4003625964" sldId="10410"/>
            <ac:spMk id="13" creationId="{E9F049B4-9F79-4754-AA4A-B557B2A6D3C9}"/>
          </ac:spMkLst>
        </pc:spChg>
        <pc:spChg chg="mod">
          <ac:chgData name="Sarah GAUVARD" userId="4c03e191-e154-482a-88b2-11de19eac96c" providerId="ADAL" clId="{8245CC27-65FB-483E-B8E7-D04039DBA80D}" dt="2021-05-24T16:09:28.382" v="16419" actId="790"/>
          <ac:spMkLst>
            <pc:docMk/>
            <pc:sldMk cId="4003625964" sldId="10410"/>
            <ac:spMk id="14" creationId="{FB5075C0-EB15-41D7-9CC4-B64837E153D1}"/>
          </ac:spMkLst>
        </pc:spChg>
        <pc:spChg chg="mod">
          <ac:chgData name="Sarah GAUVARD" userId="4c03e191-e154-482a-88b2-11de19eac96c" providerId="ADAL" clId="{8245CC27-65FB-483E-B8E7-D04039DBA80D}" dt="2021-05-24T16:09:28.362" v="16396" actId="790"/>
          <ac:spMkLst>
            <pc:docMk/>
            <pc:sldMk cId="4003625964" sldId="10410"/>
            <ac:spMk id="18" creationId="{E5E5B17C-AF5B-4FCB-935E-796FE66056AC}"/>
          </ac:spMkLst>
        </pc:spChg>
        <pc:spChg chg="mod">
          <ac:chgData name="Sarah GAUVARD" userId="4c03e191-e154-482a-88b2-11de19eac96c" providerId="ADAL" clId="{8245CC27-65FB-483E-B8E7-D04039DBA80D}" dt="2021-05-24T16:09:28.362" v="16403" actId="790"/>
          <ac:spMkLst>
            <pc:docMk/>
            <pc:sldMk cId="4003625964" sldId="10410"/>
            <ac:spMk id="19" creationId="{D183DC4A-A310-4818-8DE5-DD81DA31ACA2}"/>
          </ac:spMkLst>
        </pc:spChg>
        <pc:spChg chg="mod">
          <ac:chgData name="Sarah GAUVARD" userId="4c03e191-e154-482a-88b2-11de19eac96c" providerId="ADAL" clId="{8245CC27-65FB-483E-B8E7-D04039DBA80D}" dt="2021-05-24T16:09:28.372" v="16407" actId="790"/>
          <ac:spMkLst>
            <pc:docMk/>
            <pc:sldMk cId="4003625964" sldId="10410"/>
            <ac:spMk id="20" creationId="{54E8F179-87EF-4A92-9C29-92D7E20EB946}"/>
          </ac:spMkLst>
        </pc:spChg>
        <pc:spChg chg="mod">
          <ac:chgData name="Sarah GAUVARD" userId="4c03e191-e154-482a-88b2-11de19eac96c" providerId="ADAL" clId="{8245CC27-65FB-483E-B8E7-D04039DBA80D}" dt="2021-05-24T16:09:28.372" v="16410" actId="790"/>
          <ac:spMkLst>
            <pc:docMk/>
            <pc:sldMk cId="4003625964" sldId="10410"/>
            <ac:spMk id="21" creationId="{44BA4EC0-19D7-41DC-B319-396D8267BC37}"/>
          </ac:spMkLst>
        </pc:spChg>
        <pc:spChg chg="mod">
          <ac:chgData name="Sarah GAUVARD" userId="4c03e191-e154-482a-88b2-11de19eac96c" providerId="ADAL" clId="{8245CC27-65FB-483E-B8E7-D04039DBA80D}" dt="2021-05-24T16:09:28.370" v="16404" actId="790"/>
          <ac:spMkLst>
            <pc:docMk/>
            <pc:sldMk cId="4003625964" sldId="10410"/>
            <ac:spMk id="22" creationId="{43B8FABF-5816-42AC-8939-29224794884E}"/>
          </ac:spMkLst>
        </pc:spChg>
        <pc:spChg chg="add del mod modVis">
          <ac:chgData name="Sarah GAUVARD" userId="4c03e191-e154-482a-88b2-11de19eac96c" providerId="ADAL" clId="{8245CC27-65FB-483E-B8E7-D04039DBA80D}" dt="2021-05-24T15:34:46.045" v="11861"/>
          <ac:spMkLst>
            <pc:docMk/>
            <pc:sldMk cId="4003625964" sldId="10410"/>
            <ac:spMk id="26" creationId="{538905E7-53C4-44AD-B0B5-AC8F9E7AE1CC}"/>
          </ac:spMkLst>
        </pc:spChg>
        <pc:spChg chg="mod">
          <ac:chgData name="Sarah GAUVARD" userId="4c03e191-e154-482a-88b2-11de19eac96c" providerId="ADAL" clId="{8245CC27-65FB-483E-B8E7-D04039DBA80D}" dt="2021-05-24T16:09:28.372" v="16414" actId="790"/>
          <ac:spMkLst>
            <pc:docMk/>
            <pc:sldMk cId="4003625964" sldId="10410"/>
            <ac:spMk id="33" creationId="{243F8FAD-0118-4F1B-B40B-A7D84FD36396}"/>
          </ac:spMkLst>
        </pc:spChg>
        <pc:spChg chg="mod">
          <ac:chgData name="Sarah GAUVARD" userId="4c03e191-e154-482a-88b2-11de19eac96c" providerId="ADAL" clId="{8245CC27-65FB-483E-B8E7-D04039DBA80D}" dt="2021-05-24T16:09:28.372" v="16408" actId="790"/>
          <ac:spMkLst>
            <pc:docMk/>
            <pc:sldMk cId="4003625964" sldId="10410"/>
            <ac:spMk id="47" creationId="{9E10C541-E455-4AF2-AA1A-715E3DF2DDC1}"/>
          </ac:spMkLst>
        </pc:spChg>
        <pc:spChg chg="mod">
          <ac:chgData name="Sarah GAUVARD" userId="4c03e191-e154-482a-88b2-11de19eac96c" providerId="ADAL" clId="{8245CC27-65FB-483E-B8E7-D04039DBA80D}" dt="2021-05-24T16:09:28.352" v="16393" actId="790"/>
          <ac:spMkLst>
            <pc:docMk/>
            <pc:sldMk cId="4003625964" sldId="10410"/>
            <ac:spMk id="49" creationId="{B10468A4-1BAC-4153-BC9A-99B8715C0AD1}"/>
          </ac:spMkLst>
        </pc:spChg>
        <pc:spChg chg="mod">
          <ac:chgData name="Sarah GAUVARD" userId="4c03e191-e154-482a-88b2-11de19eac96c" providerId="ADAL" clId="{8245CC27-65FB-483E-B8E7-D04039DBA80D}" dt="2021-05-24T16:09:28.342" v="16381" actId="790"/>
          <ac:spMkLst>
            <pc:docMk/>
            <pc:sldMk cId="4003625964" sldId="10410"/>
            <ac:spMk id="50" creationId="{06AD3339-7557-4559-B2EA-6A391CF2BF0C}"/>
          </ac:spMkLst>
        </pc:spChg>
        <pc:spChg chg="mod">
          <ac:chgData name="Sarah GAUVARD" userId="4c03e191-e154-482a-88b2-11de19eac96c" providerId="ADAL" clId="{8245CC27-65FB-483E-B8E7-D04039DBA80D}" dt="2021-05-24T16:09:28.380" v="16416" actId="790"/>
          <ac:spMkLst>
            <pc:docMk/>
            <pc:sldMk cId="4003625964" sldId="10410"/>
            <ac:spMk id="88" creationId="{336D463B-B815-4500-8F61-78A091129044}"/>
          </ac:spMkLst>
        </pc:spChg>
        <pc:spChg chg="mod">
          <ac:chgData name="Sarah GAUVARD" userId="4c03e191-e154-482a-88b2-11de19eac96c" providerId="ADAL" clId="{8245CC27-65FB-483E-B8E7-D04039DBA80D}" dt="2021-05-24T16:09:28.342" v="16384" actId="790"/>
          <ac:spMkLst>
            <pc:docMk/>
            <pc:sldMk cId="4003625964" sldId="10410"/>
            <ac:spMk id="96" creationId="{5BB653FA-7502-456B-9DD5-1867522D3A88}"/>
          </ac:spMkLst>
        </pc:spChg>
        <pc:spChg chg="mod">
          <ac:chgData name="Sarah GAUVARD" userId="4c03e191-e154-482a-88b2-11de19eac96c" providerId="ADAL" clId="{8245CC27-65FB-483E-B8E7-D04039DBA80D}" dt="2021-05-24T16:09:28.352" v="16394" actId="790"/>
          <ac:spMkLst>
            <pc:docMk/>
            <pc:sldMk cId="4003625964" sldId="10410"/>
            <ac:spMk id="100" creationId="{EF6C7B41-C54E-4684-BB9A-36701E115EBF}"/>
          </ac:spMkLst>
        </pc:spChg>
        <pc:spChg chg="mod">
          <ac:chgData name="Sarah GAUVARD" userId="4c03e191-e154-482a-88b2-11de19eac96c" providerId="ADAL" clId="{8245CC27-65FB-483E-B8E7-D04039DBA80D}" dt="2021-05-24T16:09:28.352" v="16388" actId="790"/>
          <ac:spMkLst>
            <pc:docMk/>
            <pc:sldMk cId="4003625964" sldId="10410"/>
            <ac:spMk id="107" creationId="{31D0AEAA-51DD-4312-8DD3-D5664A3B479D}"/>
          </ac:spMkLst>
        </pc:spChg>
        <pc:spChg chg="mod">
          <ac:chgData name="Sarah GAUVARD" userId="4c03e191-e154-482a-88b2-11de19eac96c" providerId="ADAL" clId="{8245CC27-65FB-483E-B8E7-D04039DBA80D}" dt="2021-05-24T16:09:28.380" v="16415" actId="790"/>
          <ac:spMkLst>
            <pc:docMk/>
            <pc:sldMk cId="4003625964" sldId="10410"/>
            <ac:spMk id="108" creationId="{B4E79E7D-0395-4CE2-8F8E-F7FFDE4BA106}"/>
          </ac:spMkLst>
        </pc:spChg>
        <pc:spChg chg="mod">
          <ac:chgData name="Sarah GAUVARD" userId="4c03e191-e154-482a-88b2-11de19eac96c" providerId="ADAL" clId="{8245CC27-65FB-483E-B8E7-D04039DBA80D}" dt="2021-05-24T16:09:28.382" v="16418" actId="790"/>
          <ac:spMkLst>
            <pc:docMk/>
            <pc:sldMk cId="4003625964" sldId="10410"/>
            <ac:spMk id="119" creationId="{EEF55E94-FD53-41D7-A423-6B56C40D88A1}"/>
          </ac:spMkLst>
        </pc:spChg>
        <pc:spChg chg="mod">
          <ac:chgData name="Sarah GAUVARD" userId="4c03e191-e154-482a-88b2-11de19eac96c" providerId="ADAL" clId="{8245CC27-65FB-483E-B8E7-D04039DBA80D}" dt="2021-05-24T16:09:28.342" v="16383" actId="790"/>
          <ac:spMkLst>
            <pc:docMk/>
            <pc:sldMk cId="4003625964" sldId="10410"/>
            <ac:spMk id="120" creationId="{697B9F9F-BFD2-4BBC-A2BC-06F0D17B4298}"/>
          </ac:spMkLst>
        </pc:spChg>
        <pc:spChg chg="mod">
          <ac:chgData name="Sarah GAUVARD" userId="4c03e191-e154-482a-88b2-11de19eac96c" providerId="ADAL" clId="{8245CC27-65FB-483E-B8E7-D04039DBA80D}" dt="2021-05-24T16:09:28.342" v="16382" actId="790"/>
          <ac:spMkLst>
            <pc:docMk/>
            <pc:sldMk cId="4003625964" sldId="10410"/>
            <ac:spMk id="122" creationId="{7ED4A8D8-06EE-4620-B65B-5E3B52A3ABAE}"/>
          </ac:spMkLst>
        </pc:spChg>
        <pc:spChg chg="mod">
          <ac:chgData name="Sarah GAUVARD" userId="4c03e191-e154-482a-88b2-11de19eac96c" providerId="ADAL" clId="{8245CC27-65FB-483E-B8E7-D04039DBA80D}" dt="2021-05-24T16:09:28.342" v="16385" actId="790"/>
          <ac:spMkLst>
            <pc:docMk/>
            <pc:sldMk cId="4003625964" sldId="10410"/>
            <ac:spMk id="123" creationId="{CCD5F39F-64EB-4F4E-BE6B-002C617492EF}"/>
          </ac:spMkLst>
        </pc:spChg>
        <pc:spChg chg="mod">
          <ac:chgData name="Sarah GAUVARD" userId="4c03e191-e154-482a-88b2-11de19eac96c" providerId="ADAL" clId="{8245CC27-65FB-483E-B8E7-D04039DBA80D}" dt="2021-05-24T16:09:28.390" v="16423" actId="790"/>
          <ac:spMkLst>
            <pc:docMk/>
            <pc:sldMk cId="4003625964" sldId="10410"/>
            <ac:spMk id="124" creationId="{D6C1E53A-55EC-4A78-A526-02C0AC2C60BB}"/>
          </ac:spMkLst>
        </pc:spChg>
        <pc:spChg chg="mod">
          <ac:chgData name="Sarah GAUVARD" userId="4c03e191-e154-482a-88b2-11de19eac96c" providerId="ADAL" clId="{8245CC27-65FB-483E-B8E7-D04039DBA80D}" dt="2021-05-24T16:09:28.362" v="16399" actId="790"/>
          <ac:spMkLst>
            <pc:docMk/>
            <pc:sldMk cId="4003625964" sldId="10410"/>
            <ac:spMk id="125" creationId="{D74D7498-92CD-485E-B64F-458B030E1CC2}"/>
          </ac:spMkLst>
        </pc:spChg>
        <pc:spChg chg="mod">
          <ac:chgData name="Sarah GAUVARD" userId="4c03e191-e154-482a-88b2-11de19eac96c" providerId="ADAL" clId="{8245CC27-65FB-483E-B8E7-D04039DBA80D}" dt="2021-05-24T16:09:28.390" v="16424" actId="790"/>
          <ac:spMkLst>
            <pc:docMk/>
            <pc:sldMk cId="4003625964" sldId="10410"/>
            <ac:spMk id="126" creationId="{ED54800C-53A0-4A95-B01D-6800A323DD3B}"/>
          </ac:spMkLst>
        </pc:spChg>
        <pc:spChg chg="mod">
          <ac:chgData name="Sarah GAUVARD" userId="4c03e191-e154-482a-88b2-11de19eac96c" providerId="ADAL" clId="{8245CC27-65FB-483E-B8E7-D04039DBA80D}" dt="2021-05-24T16:09:28.390" v="16425" actId="790"/>
          <ac:spMkLst>
            <pc:docMk/>
            <pc:sldMk cId="4003625964" sldId="10410"/>
            <ac:spMk id="136" creationId="{84C28327-00A2-4711-A8BF-996CFA88AC98}"/>
          </ac:spMkLst>
        </pc:spChg>
        <pc:spChg chg="mod">
          <ac:chgData name="Sarah GAUVARD" userId="4c03e191-e154-482a-88b2-11de19eac96c" providerId="ADAL" clId="{8245CC27-65FB-483E-B8E7-D04039DBA80D}" dt="2021-05-24T16:09:28.390" v="16426" actId="790"/>
          <ac:spMkLst>
            <pc:docMk/>
            <pc:sldMk cId="4003625964" sldId="10410"/>
            <ac:spMk id="137" creationId="{AEE977AB-712C-41D1-AD50-0C0BDEF0923D}"/>
          </ac:spMkLst>
        </pc:spChg>
        <pc:spChg chg="mod">
          <ac:chgData name="Sarah GAUVARD" userId="4c03e191-e154-482a-88b2-11de19eac96c" providerId="ADAL" clId="{8245CC27-65FB-483E-B8E7-D04039DBA80D}" dt="2021-05-24T16:09:28.390" v="16427" actId="790"/>
          <ac:spMkLst>
            <pc:docMk/>
            <pc:sldMk cId="4003625964" sldId="10410"/>
            <ac:spMk id="138" creationId="{3ED5E0DD-7898-41FC-9518-B99CF6724888}"/>
          </ac:spMkLst>
        </pc:spChg>
        <pc:spChg chg="mod">
          <ac:chgData name="Sarah GAUVARD" userId="4c03e191-e154-482a-88b2-11de19eac96c" providerId="ADAL" clId="{8245CC27-65FB-483E-B8E7-D04039DBA80D}" dt="2021-05-24T16:09:28.372" v="16411" actId="790"/>
          <ac:spMkLst>
            <pc:docMk/>
            <pc:sldMk cId="4003625964" sldId="10410"/>
            <ac:spMk id="154" creationId="{A7269958-7FC5-479F-B17B-49D115F118B6}"/>
          </ac:spMkLst>
        </pc:spChg>
        <pc:spChg chg="mod">
          <ac:chgData name="Sarah GAUVARD" userId="4c03e191-e154-482a-88b2-11de19eac96c" providerId="ADAL" clId="{8245CC27-65FB-483E-B8E7-D04039DBA80D}" dt="2021-05-24T16:09:28.362" v="16397" actId="790"/>
          <ac:spMkLst>
            <pc:docMk/>
            <pc:sldMk cId="4003625964" sldId="10410"/>
            <ac:spMk id="165" creationId="{C389F3EC-7313-454E-9942-F14FD0BD4C77}"/>
          </ac:spMkLst>
        </pc:spChg>
        <pc:spChg chg="mod">
          <ac:chgData name="Sarah GAUVARD" userId="4c03e191-e154-482a-88b2-11de19eac96c" providerId="ADAL" clId="{8245CC27-65FB-483E-B8E7-D04039DBA80D}" dt="2021-05-24T16:09:28.370" v="16406" actId="790"/>
          <ac:spMkLst>
            <pc:docMk/>
            <pc:sldMk cId="4003625964" sldId="10410"/>
            <ac:spMk id="166" creationId="{A3938D6F-1923-42FF-B2ED-6C2BEA79BA03}"/>
          </ac:spMkLst>
        </pc:spChg>
        <pc:spChg chg="mod">
          <ac:chgData name="Sarah GAUVARD" userId="4c03e191-e154-482a-88b2-11de19eac96c" providerId="ADAL" clId="{8245CC27-65FB-483E-B8E7-D04039DBA80D}" dt="2021-05-24T16:09:28.350" v="16387" actId="790"/>
          <ac:spMkLst>
            <pc:docMk/>
            <pc:sldMk cId="4003625964" sldId="10410"/>
            <ac:spMk id="168" creationId="{C423BD9F-9E4A-46B8-89D7-67C1FE84B168}"/>
          </ac:spMkLst>
        </pc:spChg>
        <pc:spChg chg="mod">
          <ac:chgData name="Sarah GAUVARD" userId="4c03e191-e154-482a-88b2-11de19eac96c" providerId="ADAL" clId="{8245CC27-65FB-483E-B8E7-D04039DBA80D}" dt="2021-05-24T16:09:28.362" v="16398" actId="790"/>
          <ac:spMkLst>
            <pc:docMk/>
            <pc:sldMk cId="4003625964" sldId="10410"/>
            <ac:spMk id="171" creationId="{BCC6DEFD-6FEB-4777-9432-E3B2F5C51000}"/>
          </ac:spMkLst>
        </pc:spChg>
        <pc:spChg chg="mod">
          <ac:chgData name="Sarah GAUVARD" userId="4c03e191-e154-482a-88b2-11de19eac96c" providerId="ADAL" clId="{8245CC27-65FB-483E-B8E7-D04039DBA80D}" dt="2021-05-24T16:09:28.390" v="16420" actId="790"/>
          <ac:spMkLst>
            <pc:docMk/>
            <pc:sldMk cId="4003625964" sldId="10410"/>
            <ac:spMk id="173" creationId="{BE452BF0-402D-4BCD-91A6-3CEC4D05BAD1}"/>
          </ac:spMkLst>
        </pc:spChg>
        <pc:spChg chg="mod">
          <ac:chgData name="Sarah GAUVARD" userId="4c03e191-e154-482a-88b2-11de19eac96c" providerId="ADAL" clId="{8245CC27-65FB-483E-B8E7-D04039DBA80D}" dt="2021-05-24T16:09:28.390" v="16421" actId="790"/>
          <ac:spMkLst>
            <pc:docMk/>
            <pc:sldMk cId="4003625964" sldId="10410"/>
            <ac:spMk id="184" creationId="{2D6BD341-2669-45B8-8E10-F13130479C8B}"/>
          </ac:spMkLst>
        </pc:spChg>
        <pc:spChg chg="mod">
          <ac:chgData name="Sarah GAUVARD" userId="4c03e191-e154-482a-88b2-11de19eac96c" providerId="ADAL" clId="{8245CC27-65FB-483E-B8E7-D04039DBA80D}" dt="2021-05-24T16:09:28.390" v="16422" actId="790"/>
          <ac:spMkLst>
            <pc:docMk/>
            <pc:sldMk cId="4003625964" sldId="10410"/>
            <ac:spMk id="185" creationId="{5AE57E1A-6506-4F9C-A94E-27A1D75F149A}"/>
          </ac:spMkLst>
        </pc:spChg>
        <pc:spChg chg="mod">
          <ac:chgData name="Sarah GAUVARD" userId="4c03e191-e154-482a-88b2-11de19eac96c" providerId="ADAL" clId="{8245CC27-65FB-483E-B8E7-D04039DBA80D}" dt="2021-05-24T16:09:28.372" v="16412" actId="790"/>
          <ac:spMkLst>
            <pc:docMk/>
            <pc:sldMk cId="4003625964" sldId="10410"/>
            <ac:spMk id="197" creationId="{EB1ED8EE-1371-4F31-B475-A7FD22F01C88}"/>
          </ac:spMkLst>
        </pc:spChg>
        <pc:spChg chg="mod">
          <ac:chgData name="Sarah GAUVARD" userId="4c03e191-e154-482a-88b2-11de19eac96c" providerId="ADAL" clId="{8245CC27-65FB-483E-B8E7-D04039DBA80D}" dt="2021-05-24T16:09:28.400" v="16428" actId="790"/>
          <ac:spMkLst>
            <pc:docMk/>
            <pc:sldMk cId="4003625964" sldId="10410"/>
            <ac:spMk id="204" creationId="{6CC6C49E-D434-403F-BE50-A7622E04ADF6}"/>
          </ac:spMkLst>
        </pc:spChg>
        <pc:spChg chg="mod">
          <ac:chgData name="Sarah GAUVARD" userId="4c03e191-e154-482a-88b2-11de19eac96c" providerId="ADAL" clId="{8245CC27-65FB-483E-B8E7-D04039DBA80D}" dt="2021-05-24T16:09:28.400" v="16429" actId="790"/>
          <ac:spMkLst>
            <pc:docMk/>
            <pc:sldMk cId="4003625964" sldId="10410"/>
            <ac:spMk id="205" creationId="{32F079B9-FFF1-42AB-9B15-BC9184FFBCAF}"/>
          </ac:spMkLst>
        </pc:spChg>
        <pc:spChg chg="mod">
          <ac:chgData name="Sarah GAUVARD" userId="4c03e191-e154-482a-88b2-11de19eac96c" providerId="ADAL" clId="{8245CC27-65FB-483E-B8E7-D04039DBA80D}" dt="2021-05-24T16:09:28.400" v="16430" actId="790"/>
          <ac:spMkLst>
            <pc:docMk/>
            <pc:sldMk cId="4003625964" sldId="10410"/>
            <ac:spMk id="206" creationId="{89686EE2-3C88-4AA0-87A1-4BC04B48AB02}"/>
          </ac:spMkLst>
        </pc:spChg>
        <pc:spChg chg="mod">
          <ac:chgData name="Sarah GAUVARD" userId="4c03e191-e154-482a-88b2-11de19eac96c" providerId="ADAL" clId="{8245CC27-65FB-483E-B8E7-D04039DBA80D}" dt="2021-05-24T16:09:28.402" v="16431" actId="790"/>
          <ac:spMkLst>
            <pc:docMk/>
            <pc:sldMk cId="4003625964" sldId="10410"/>
            <ac:spMk id="207" creationId="{AC37BD0B-23A7-4DB4-B2F5-65C70DADE73C}"/>
          </ac:spMkLst>
        </pc:spChg>
        <pc:spChg chg="mod">
          <ac:chgData name="Sarah GAUVARD" userId="4c03e191-e154-482a-88b2-11de19eac96c" providerId="ADAL" clId="{8245CC27-65FB-483E-B8E7-D04039DBA80D}" dt="2021-05-24T16:09:28.402" v="16432" actId="790"/>
          <ac:spMkLst>
            <pc:docMk/>
            <pc:sldMk cId="4003625964" sldId="10410"/>
            <ac:spMk id="208" creationId="{742E52DF-B90F-44D4-9B0A-5774B4121BA9}"/>
          </ac:spMkLst>
        </pc:spChg>
        <pc:spChg chg="mod">
          <ac:chgData name="Sarah GAUVARD" userId="4c03e191-e154-482a-88b2-11de19eac96c" providerId="ADAL" clId="{8245CC27-65FB-483E-B8E7-D04039DBA80D}" dt="2021-05-24T16:09:28.402" v="16433" actId="790"/>
          <ac:spMkLst>
            <pc:docMk/>
            <pc:sldMk cId="4003625964" sldId="10410"/>
            <ac:spMk id="209" creationId="{FE8ADA23-A482-4A71-B96C-4FF784FF76A5}"/>
          </ac:spMkLst>
        </pc:spChg>
        <pc:spChg chg="mod">
          <ac:chgData name="Sarah GAUVARD" userId="4c03e191-e154-482a-88b2-11de19eac96c" providerId="ADAL" clId="{8245CC27-65FB-483E-B8E7-D04039DBA80D}" dt="2021-05-24T16:09:28.402" v="16434" actId="790"/>
          <ac:spMkLst>
            <pc:docMk/>
            <pc:sldMk cId="4003625964" sldId="10410"/>
            <ac:spMk id="210" creationId="{F8F6D5DC-83D8-4EDF-96BE-EA0B142DCE81}"/>
          </ac:spMkLst>
        </pc:spChg>
        <pc:spChg chg="mod">
          <ac:chgData name="Sarah GAUVARD" userId="4c03e191-e154-482a-88b2-11de19eac96c" providerId="ADAL" clId="{8245CC27-65FB-483E-B8E7-D04039DBA80D}" dt="2021-05-24T16:09:28.402" v="16435" actId="790"/>
          <ac:spMkLst>
            <pc:docMk/>
            <pc:sldMk cId="4003625964" sldId="10410"/>
            <ac:spMk id="211" creationId="{03AEBBA0-73DD-4747-AD0F-3B8EC27C90DB}"/>
          </ac:spMkLst>
        </pc:spChg>
        <pc:spChg chg="mod">
          <ac:chgData name="Sarah GAUVARD" userId="4c03e191-e154-482a-88b2-11de19eac96c" providerId="ADAL" clId="{8245CC27-65FB-483E-B8E7-D04039DBA80D}" dt="2021-05-24T16:09:28.372" v="16413" actId="790"/>
          <ac:spMkLst>
            <pc:docMk/>
            <pc:sldMk cId="4003625964" sldId="10410"/>
            <ac:spMk id="212" creationId="{F492C173-DFD6-47CF-9BB4-C8925127E1EE}"/>
          </ac:spMkLst>
        </pc:spChg>
        <pc:spChg chg="mod">
          <ac:chgData name="Sarah GAUVARD" userId="4c03e191-e154-482a-88b2-11de19eac96c" providerId="ADAL" clId="{8245CC27-65FB-483E-B8E7-D04039DBA80D}" dt="2021-05-24T16:09:28.362" v="16395" actId="790"/>
          <ac:spMkLst>
            <pc:docMk/>
            <pc:sldMk cId="4003625964" sldId="10410"/>
            <ac:spMk id="1031" creationId="{A3845A5C-C65F-4C44-AE3B-D3285DF51268}"/>
          </ac:spMkLst>
        </pc:spChg>
        <pc:spChg chg="mod">
          <ac:chgData name="Sarah GAUVARD" userId="4c03e191-e154-482a-88b2-11de19eac96c" providerId="ADAL" clId="{8245CC27-65FB-483E-B8E7-D04039DBA80D}" dt="2021-05-24T16:09:28.370" v="16405" actId="790"/>
          <ac:spMkLst>
            <pc:docMk/>
            <pc:sldMk cId="4003625964" sldId="10410"/>
            <ac:spMk id="1035" creationId="{9164A53F-4711-41A4-BE3D-8D2F4243A495}"/>
          </ac:spMkLst>
        </pc:spChg>
        <pc:spChg chg="mod">
          <ac:chgData name="Sarah GAUVARD" userId="4c03e191-e154-482a-88b2-11de19eac96c" providerId="ADAL" clId="{8245CC27-65FB-483E-B8E7-D04039DBA80D}" dt="2021-05-24T16:09:28.362" v="16400" actId="790"/>
          <ac:spMkLst>
            <pc:docMk/>
            <pc:sldMk cId="4003625964" sldId="10410"/>
            <ac:spMk id="4107" creationId="{EBC573C8-C4E3-432A-81F7-B99236DF594A}"/>
          </ac:spMkLst>
        </pc:spChg>
        <pc:graphicFrameChg chg="mod">
          <ac:chgData name="Sarah GAUVARD" userId="4c03e191-e154-482a-88b2-11de19eac96c" providerId="ADAL" clId="{8245CC27-65FB-483E-B8E7-D04039DBA80D}" dt="2021-05-24T15:34:46.049" v="11863"/>
          <ac:graphicFrameMkLst>
            <pc:docMk/>
            <pc:sldMk cId="4003625964" sldId="10410"/>
            <ac:graphicFrameMk id="17" creationId="{FF44A7FF-DA1D-48E9-88AF-BFA57A1D74D1}"/>
          </ac:graphicFrameMkLst>
        </pc:graphicFrameChg>
        <pc:cxnChg chg="mod">
          <ac:chgData name="Sarah GAUVARD" userId="4c03e191-e154-482a-88b2-11de19eac96c" providerId="ADAL" clId="{8245CC27-65FB-483E-B8E7-D04039DBA80D}" dt="2021-05-25T15:13:26.987" v="27580" actId="208"/>
          <ac:cxnSpMkLst>
            <pc:docMk/>
            <pc:sldMk cId="4003625964" sldId="10410"/>
            <ac:cxnSpMk id="93" creationId="{9A7811CB-A29B-4C81-9EFA-7BEDF5F2E0C2}"/>
          </ac:cxnSpMkLst>
        </pc:cxnChg>
        <pc:cxnChg chg="mod">
          <ac:chgData name="Sarah GAUVARD" userId="4c03e191-e154-482a-88b2-11de19eac96c" providerId="ADAL" clId="{8245CC27-65FB-483E-B8E7-D04039DBA80D}" dt="2021-05-25T15:13:28.928" v="27581" actId="208"/>
          <ac:cxnSpMkLst>
            <pc:docMk/>
            <pc:sldMk cId="4003625964" sldId="10410"/>
            <ac:cxnSpMk id="176" creationId="{FA713B8B-5302-426B-AA78-F5CF2D25B675}"/>
          </ac:cxnSpMkLst>
        </pc:cxnChg>
        <pc:cxnChg chg="mod">
          <ac:chgData name="Sarah GAUVARD" userId="4c03e191-e154-482a-88b2-11de19eac96c" providerId="ADAL" clId="{8245CC27-65FB-483E-B8E7-D04039DBA80D}" dt="2021-05-25T15:13:21.562" v="27578" actId="208"/>
          <ac:cxnSpMkLst>
            <pc:docMk/>
            <pc:sldMk cId="4003625964" sldId="10410"/>
            <ac:cxnSpMk id="4116" creationId="{42B6CE9C-6923-4A06-B3FD-418AA9659E67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5T15:13:49.674" v="27585" actId="208"/>
        <pc:sldMkLst>
          <pc:docMk/>
          <pc:sldMk cId="3428758149" sldId="10411"/>
        </pc:sldMkLst>
        <pc:spChg chg="mod">
          <ac:chgData name="Sarah GAUVARD" userId="4c03e191-e154-482a-88b2-11de19eac96c" providerId="ADAL" clId="{8245CC27-65FB-483E-B8E7-D04039DBA80D}" dt="2021-05-24T16:09:28.612" v="16599" actId="790"/>
          <ac:spMkLst>
            <pc:docMk/>
            <pc:sldMk cId="3428758149" sldId="10411"/>
            <ac:spMk id="2" creationId="{1B8B41D0-3B5A-41F2-BD36-274CA5605C3A}"/>
          </ac:spMkLst>
        </pc:spChg>
        <pc:spChg chg="add del mod modVis">
          <ac:chgData name="Sarah GAUVARD" userId="4c03e191-e154-482a-88b2-11de19eac96c" providerId="ADAL" clId="{8245CC27-65FB-483E-B8E7-D04039DBA80D}" dt="2021-05-24T15:34:45.890" v="11764"/>
          <ac:spMkLst>
            <pc:docMk/>
            <pc:sldMk cId="3428758149" sldId="10411"/>
            <ac:spMk id="3" creationId="{55AC3D98-1FB8-42EC-95BF-8076188D5EA4}"/>
          </ac:spMkLst>
        </pc:spChg>
        <pc:spChg chg="mod">
          <ac:chgData name="Sarah GAUVARD" userId="4c03e191-e154-482a-88b2-11de19eac96c" providerId="ADAL" clId="{8245CC27-65FB-483E-B8E7-D04039DBA80D}" dt="2021-05-24T16:09:28.604" v="16594" actId="790"/>
          <ac:spMkLst>
            <pc:docMk/>
            <pc:sldMk cId="3428758149" sldId="10411"/>
            <ac:spMk id="4" creationId="{43E0D5C7-0986-42B1-8E8C-7B58D0CBD773}"/>
          </ac:spMkLst>
        </pc:spChg>
        <pc:spChg chg="mod">
          <ac:chgData name="Sarah GAUVARD" userId="4c03e191-e154-482a-88b2-11de19eac96c" providerId="ADAL" clId="{8245CC27-65FB-483E-B8E7-D04039DBA80D}" dt="2021-05-24T16:09:28.612" v="16600" actId="790"/>
          <ac:spMkLst>
            <pc:docMk/>
            <pc:sldMk cId="3428758149" sldId="10411"/>
            <ac:spMk id="5" creationId="{32E0BE14-B2E8-4A96-ADE4-0BE247A47D79}"/>
          </ac:spMkLst>
        </pc:spChg>
        <pc:spChg chg="mod">
          <ac:chgData name="Sarah GAUVARD" userId="4c03e191-e154-482a-88b2-11de19eac96c" providerId="ADAL" clId="{8245CC27-65FB-483E-B8E7-D04039DBA80D}" dt="2021-05-24T16:09:28.634" v="16625" actId="790"/>
          <ac:spMkLst>
            <pc:docMk/>
            <pc:sldMk cId="3428758149" sldId="10411"/>
            <ac:spMk id="6" creationId="{8AEA1672-C0F9-4DB2-A6F4-76831980F749}"/>
          </ac:spMkLst>
        </pc:spChg>
        <pc:spChg chg="mod">
          <ac:chgData name="Sarah GAUVARD" userId="4c03e191-e154-482a-88b2-11de19eac96c" providerId="ADAL" clId="{8245CC27-65FB-483E-B8E7-D04039DBA80D}" dt="2021-05-24T16:09:28.604" v="16597" actId="790"/>
          <ac:spMkLst>
            <pc:docMk/>
            <pc:sldMk cId="3428758149" sldId="10411"/>
            <ac:spMk id="7" creationId="{064EAC16-1947-4EB5-B699-F79BA984701D}"/>
          </ac:spMkLst>
        </pc:spChg>
        <pc:spChg chg="mod">
          <ac:chgData name="Sarah GAUVARD" userId="4c03e191-e154-482a-88b2-11de19eac96c" providerId="ADAL" clId="{8245CC27-65FB-483E-B8E7-D04039DBA80D}" dt="2021-05-24T16:09:28.604" v="16598" actId="790"/>
          <ac:spMkLst>
            <pc:docMk/>
            <pc:sldMk cId="3428758149" sldId="10411"/>
            <ac:spMk id="8" creationId="{17235FB0-B480-4F11-BAB2-ECCE97A0AE35}"/>
          </ac:spMkLst>
        </pc:spChg>
        <pc:spChg chg="mod">
          <ac:chgData name="Sarah GAUVARD" userId="4c03e191-e154-482a-88b2-11de19eac96c" providerId="ADAL" clId="{8245CC27-65FB-483E-B8E7-D04039DBA80D}" dt="2021-05-24T16:09:28.634" v="16624" actId="790"/>
          <ac:spMkLst>
            <pc:docMk/>
            <pc:sldMk cId="3428758149" sldId="10411"/>
            <ac:spMk id="9" creationId="{E57AC7D2-FC03-4826-B2B4-B86B10C8A912}"/>
          </ac:spMkLst>
        </pc:spChg>
        <pc:spChg chg="mod">
          <ac:chgData name="Sarah GAUVARD" userId="4c03e191-e154-482a-88b2-11de19eac96c" providerId="ADAL" clId="{8245CC27-65FB-483E-B8E7-D04039DBA80D}" dt="2021-05-24T16:09:28.624" v="16611" actId="790"/>
          <ac:spMkLst>
            <pc:docMk/>
            <pc:sldMk cId="3428758149" sldId="10411"/>
            <ac:spMk id="10" creationId="{EC4BC8E5-CDE6-4BDA-8B1B-E89284306AC8}"/>
          </ac:spMkLst>
        </pc:spChg>
        <pc:spChg chg="mod">
          <ac:chgData name="Sarah GAUVARD" userId="4c03e191-e154-482a-88b2-11de19eac96c" providerId="ADAL" clId="{8245CC27-65FB-483E-B8E7-D04039DBA80D}" dt="2021-05-24T16:09:28.614" v="16607" actId="790"/>
          <ac:spMkLst>
            <pc:docMk/>
            <pc:sldMk cId="3428758149" sldId="10411"/>
            <ac:spMk id="18" creationId="{E5E5B17C-AF5B-4FCB-935E-796FE66056AC}"/>
          </ac:spMkLst>
        </pc:spChg>
        <pc:spChg chg="mod">
          <ac:chgData name="Sarah GAUVARD" userId="4c03e191-e154-482a-88b2-11de19eac96c" providerId="ADAL" clId="{8245CC27-65FB-483E-B8E7-D04039DBA80D}" dt="2021-05-24T16:09:28.614" v="16601" actId="790"/>
          <ac:spMkLst>
            <pc:docMk/>
            <pc:sldMk cId="3428758149" sldId="10411"/>
            <ac:spMk id="19" creationId="{D183DC4A-A310-4818-8DE5-DD81DA31ACA2}"/>
          </ac:spMkLst>
        </pc:spChg>
        <pc:spChg chg="mod">
          <ac:chgData name="Sarah GAUVARD" userId="4c03e191-e154-482a-88b2-11de19eac96c" providerId="ADAL" clId="{8245CC27-65FB-483E-B8E7-D04039DBA80D}" dt="2021-05-24T16:09:28.614" v="16602" actId="790"/>
          <ac:spMkLst>
            <pc:docMk/>
            <pc:sldMk cId="3428758149" sldId="10411"/>
            <ac:spMk id="20" creationId="{54E8F179-87EF-4A92-9C29-92D7E20EB946}"/>
          </ac:spMkLst>
        </pc:spChg>
        <pc:spChg chg="mod">
          <ac:chgData name="Sarah GAUVARD" userId="4c03e191-e154-482a-88b2-11de19eac96c" providerId="ADAL" clId="{8245CC27-65FB-483E-B8E7-D04039DBA80D}" dt="2021-05-24T16:09:28.634" v="16627" actId="790"/>
          <ac:spMkLst>
            <pc:docMk/>
            <pc:sldMk cId="3428758149" sldId="10411"/>
            <ac:spMk id="21" creationId="{44BA4EC0-19D7-41DC-B319-396D8267BC37}"/>
          </ac:spMkLst>
        </pc:spChg>
        <pc:spChg chg="mod">
          <ac:chgData name="Sarah GAUVARD" userId="4c03e191-e154-482a-88b2-11de19eac96c" providerId="ADAL" clId="{8245CC27-65FB-483E-B8E7-D04039DBA80D}" dt="2021-05-24T16:09:28.642" v="16628" actId="790"/>
          <ac:spMkLst>
            <pc:docMk/>
            <pc:sldMk cId="3428758149" sldId="10411"/>
            <ac:spMk id="22" creationId="{43B8FABF-5816-42AC-8939-29224794884E}"/>
          </ac:spMkLst>
        </pc:spChg>
        <pc:spChg chg="mod">
          <ac:chgData name="Sarah GAUVARD" userId="4c03e191-e154-482a-88b2-11de19eac96c" providerId="ADAL" clId="{8245CC27-65FB-483E-B8E7-D04039DBA80D}" dt="2021-05-24T16:09:28.622" v="16608" actId="790"/>
          <ac:spMkLst>
            <pc:docMk/>
            <pc:sldMk cId="3428758149" sldId="10411"/>
            <ac:spMk id="33" creationId="{243F8FAD-0118-4F1B-B40B-A7D84FD36396}"/>
          </ac:spMkLst>
        </pc:spChg>
        <pc:spChg chg="mod">
          <ac:chgData name="Sarah GAUVARD" userId="4c03e191-e154-482a-88b2-11de19eac96c" providerId="ADAL" clId="{8245CC27-65FB-483E-B8E7-D04039DBA80D}" dt="2021-05-24T16:09:28.614" v="16603" actId="790"/>
          <ac:spMkLst>
            <pc:docMk/>
            <pc:sldMk cId="3428758149" sldId="10411"/>
            <ac:spMk id="47" creationId="{9E10C541-E455-4AF2-AA1A-715E3DF2DDC1}"/>
          </ac:spMkLst>
        </pc:spChg>
        <pc:spChg chg="mod">
          <ac:chgData name="Sarah GAUVARD" userId="4c03e191-e154-482a-88b2-11de19eac96c" providerId="ADAL" clId="{8245CC27-65FB-483E-B8E7-D04039DBA80D}" dt="2021-05-24T16:09:28.634" v="16626" actId="790"/>
          <ac:spMkLst>
            <pc:docMk/>
            <pc:sldMk cId="3428758149" sldId="10411"/>
            <ac:spMk id="49" creationId="{B10468A4-1BAC-4153-BC9A-99B8715C0AD1}"/>
          </ac:spMkLst>
        </pc:spChg>
        <pc:spChg chg="mod">
          <ac:chgData name="Sarah GAUVARD" userId="4c03e191-e154-482a-88b2-11de19eac96c" providerId="ADAL" clId="{8245CC27-65FB-483E-B8E7-D04039DBA80D}" dt="2021-05-24T16:09:28.622" v="16609" actId="790"/>
          <ac:spMkLst>
            <pc:docMk/>
            <pc:sldMk cId="3428758149" sldId="10411"/>
            <ac:spMk id="88" creationId="{336D463B-B815-4500-8F61-78A091129044}"/>
          </ac:spMkLst>
        </pc:spChg>
        <pc:spChg chg="mod">
          <ac:chgData name="Sarah GAUVARD" userId="4c03e191-e154-482a-88b2-11de19eac96c" providerId="ADAL" clId="{8245CC27-65FB-483E-B8E7-D04039DBA80D}" dt="2021-05-24T16:09:28.624" v="16613" actId="790"/>
          <ac:spMkLst>
            <pc:docMk/>
            <pc:sldMk cId="3428758149" sldId="10411"/>
            <ac:spMk id="90" creationId="{C1682200-357E-4434-8AD7-5A0786BF6D1B}"/>
          </ac:spMkLst>
        </pc:spChg>
        <pc:spChg chg="mod">
          <ac:chgData name="Sarah GAUVARD" userId="4c03e191-e154-482a-88b2-11de19eac96c" providerId="ADAL" clId="{8245CC27-65FB-483E-B8E7-D04039DBA80D}" dt="2021-05-24T16:09:28.614" v="16604" actId="790"/>
          <ac:spMkLst>
            <pc:docMk/>
            <pc:sldMk cId="3428758149" sldId="10411"/>
            <ac:spMk id="100" creationId="{EF6C7B41-C54E-4684-BB9A-36701E115EBF}"/>
          </ac:spMkLst>
        </pc:spChg>
        <pc:spChg chg="mod">
          <ac:chgData name="Sarah GAUVARD" userId="4c03e191-e154-482a-88b2-11de19eac96c" providerId="ADAL" clId="{8245CC27-65FB-483E-B8E7-D04039DBA80D}" dt="2021-05-24T16:09:28.604" v="16595" actId="790"/>
          <ac:spMkLst>
            <pc:docMk/>
            <pc:sldMk cId="3428758149" sldId="10411"/>
            <ac:spMk id="107" creationId="{31D0AEAA-51DD-4312-8DD3-D5664A3B479D}"/>
          </ac:spMkLst>
        </pc:spChg>
        <pc:spChg chg="mod">
          <ac:chgData name="Sarah GAUVARD" userId="4c03e191-e154-482a-88b2-11de19eac96c" providerId="ADAL" clId="{8245CC27-65FB-483E-B8E7-D04039DBA80D}" dt="2021-05-24T16:09:28.624" v="16610" actId="790"/>
          <ac:spMkLst>
            <pc:docMk/>
            <pc:sldMk cId="3428758149" sldId="10411"/>
            <ac:spMk id="108" creationId="{B4E79E7D-0395-4CE2-8F8E-F7FFDE4BA106}"/>
          </ac:spMkLst>
        </pc:spChg>
        <pc:spChg chg="mod">
          <ac:chgData name="Sarah GAUVARD" userId="4c03e191-e154-482a-88b2-11de19eac96c" providerId="ADAL" clId="{8245CC27-65FB-483E-B8E7-D04039DBA80D}" dt="2021-05-24T16:09:28.642" v="16629" actId="790"/>
          <ac:spMkLst>
            <pc:docMk/>
            <pc:sldMk cId="3428758149" sldId="10411"/>
            <ac:spMk id="111" creationId="{A662E706-32F2-41FE-9B2F-D2BD0E0EC661}"/>
          </ac:spMkLst>
        </pc:spChg>
        <pc:spChg chg="mod">
          <ac:chgData name="Sarah GAUVARD" userId="4c03e191-e154-482a-88b2-11de19eac96c" providerId="ADAL" clId="{8245CC27-65FB-483E-B8E7-D04039DBA80D}" dt="2021-05-24T16:09:28.624" v="16612" actId="790"/>
          <ac:spMkLst>
            <pc:docMk/>
            <pc:sldMk cId="3428758149" sldId="10411"/>
            <ac:spMk id="119" creationId="{EEF55E94-FD53-41D7-A423-6B56C40D88A1}"/>
          </ac:spMkLst>
        </pc:spChg>
        <pc:spChg chg="mod">
          <ac:chgData name="Sarah GAUVARD" userId="4c03e191-e154-482a-88b2-11de19eac96c" providerId="ADAL" clId="{8245CC27-65FB-483E-B8E7-D04039DBA80D}" dt="2021-05-24T16:09:28.654" v="16641" actId="790"/>
          <ac:spMkLst>
            <pc:docMk/>
            <pc:sldMk cId="3428758149" sldId="10411"/>
            <ac:spMk id="120" creationId="{4343EB7A-018D-484E-A28E-992B43E9083C}"/>
          </ac:spMkLst>
        </pc:spChg>
        <pc:spChg chg="mod">
          <ac:chgData name="Sarah GAUVARD" userId="4c03e191-e154-482a-88b2-11de19eac96c" providerId="ADAL" clId="{8245CC27-65FB-483E-B8E7-D04039DBA80D}" dt="2021-05-24T16:09:28.632" v="16623" actId="790"/>
          <ac:spMkLst>
            <pc:docMk/>
            <pc:sldMk cId="3428758149" sldId="10411"/>
            <ac:spMk id="125" creationId="{7652A19C-0208-4FCF-97AA-2B30A8201430}"/>
          </ac:spMkLst>
        </pc:spChg>
        <pc:spChg chg="mod">
          <ac:chgData name="Sarah GAUVARD" userId="4c03e191-e154-482a-88b2-11de19eac96c" providerId="ADAL" clId="{8245CC27-65FB-483E-B8E7-D04039DBA80D}" dt="2021-05-24T16:09:28.644" v="16630" actId="790"/>
          <ac:spMkLst>
            <pc:docMk/>
            <pc:sldMk cId="3428758149" sldId="10411"/>
            <ac:spMk id="126" creationId="{63942540-A317-4743-AF4A-188E27B880D4}"/>
          </ac:spMkLst>
        </pc:spChg>
        <pc:spChg chg="mod">
          <ac:chgData name="Sarah GAUVARD" userId="4c03e191-e154-482a-88b2-11de19eac96c" providerId="ADAL" clId="{8245CC27-65FB-483E-B8E7-D04039DBA80D}" dt="2021-05-24T16:09:28.644" v="16631" actId="790"/>
          <ac:spMkLst>
            <pc:docMk/>
            <pc:sldMk cId="3428758149" sldId="10411"/>
            <ac:spMk id="133" creationId="{2F686D82-55D3-442D-9909-5BB89A5A42F7}"/>
          </ac:spMkLst>
        </pc:spChg>
        <pc:spChg chg="mod">
          <ac:chgData name="Sarah GAUVARD" userId="4c03e191-e154-482a-88b2-11de19eac96c" providerId="ADAL" clId="{8245CC27-65FB-483E-B8E7-D04039DBA80D}" dt="2021-05-24T16:09:28.644" v="16632" actId="790"/>
          <ac:spMkLst>
            <pc:docMk/>
            <pc:sldMk cId="3428758149" sldId="10411"/>
            <ac:spMk id="138" creationId="{BDFF2A30-FC85-494F-A8BE-68AC12D0664F}"/>
          </ac:spMkLst>
        </pc:spChg>
        <pc:spChg chg="mod">
          <ac:chgData name="Sarah GAUVARD" userId="4c03e191-e154-482a-88b2-11de19eac96c" providerId="ADAL" clId="{8245CC27-65FB-483E-B8E7-D04039DBA80D}" dt="2021-05-24T16:09:28.644" v="16633" actId="790"/>
          <ac:spMkLst>
            <pc:docMk/>
            <pc:sldMk cId="3428758149" sldId="10411"/>
            <ac:spMk id="139" creationId="{DFFB6080-1942-420C-9ED6-1272BD476178}"/>
          </ac:spMkLst>
        </pc:spChg>
        <pc:spChg chg="mod">
          <ac:chgData name="Sarah GAUVARD" userId="4c03e191-e154-482a-88b2-11de19eac96c" providerId="ADAL" clId="{8245CC27-65FB-483E-B8E7-D04039DBA80D}" dt="2021-05-24T16:09:28.644" v="16634" actId="790"/>
          <ac:spMkLst>
            <pc:docMk/>
            <pc:sldMk cId="3428758149" sldId="10411"/>
            <ac:spMk id="153" creationId="{56FADE7A-92EF-4552-9F92-BBA0DF83B829}"/>
          </ac:spMkLst>
        </pc:spChg>
        <pc:spChg chg="mod">
          <ac:chgData name="Sarah GAUVARD" userId="4c03e191-e154-482a-88b2-11de19eac96c" providerId="ADAL" clId="{8245CC27-65FB-483E-B8E7-D04039DBA80D}" dt="2021-05-24T16:09:28.624" v="16620" actId="790"/>
          <ac:spMkLst>
            <pc:docMk/>
            <pc:sldMk cId="3428758149" sldId="10411"/>
            <ac:spMk id="154" creationId="{A7269958-7FC5-479F-B17B-49D115F118B6}"/>
          </ac:spMkLst>
        </pc:spChg>
        <pc:spChg chg="mod">
          <ac:chgData name="Sarah GAUVARD" userId="4c03e191-e154-482a-88b2-11de19eac96c" providerId="ADAL" clId="{8245CC27-65FB-483E-B8E7-D04039DBA80D}" dt="2021-05-24T16:09:28.644" v="16635" actId="790"/>
          <ac:spMkLst>
            <pc:docMk/>
            <pc:sldMk cId="3428758149" sldId="10411"/>
            <ac:spMk id="155" creationId="{66D6DDD8-3ED4-4381-AC07-6CD1ABBD4DA9}"/>
          </ac:spMkLst>
        </pc:spChg>
        <pc:spChg chg="mod">
          <ac:chgData name="Sarah GAUVARD" userId="4c03e191-e154-482a-88b2-11de19eac96c" providerId="ADAL" clId="{8245CC27-65FB-483E-B8E7-D04039DBA80D}" dt="2021-05-24T16:09:28.644" v="16636" actId="790"/>
          <ac:spMkLst>
            <pc:docMk/>
            <pc:sldMk cId="3428758149" sldId="10411"/>
            <ac:spMk id="156" creationId="{8E7AC4C0-9393-4F3D-AD60-8422C9B33945}"/>
          </ac:spMkLst>
        </pc:spChg>
        <pc:spChg chg="mod">
          <ac:chgData name="Sarah GAUVARD" userId="4c03e191-e154-482a-88b2-11de19eac96c" providerId="ADAL" clId="{8245CC27-65FB-483E-B8E7-D04039DBA80D}" dt="2021-05-24T16:09:28.644" v="16637" actId="790"/>
          <ac:spMkLst>
            <pc:docMk/>
            <pc:sldMk cId="3428758149" sldId="10411"/>
            <ac:spMk id="160" creationId="{65DDC353-B250-4B5B-B85A-6A6AB046332A}"/>
          </ac:spMkLst>
        </pc:spChg>
        <pc:spChg chg="mod">
          <ac:chgData name="Sarah GAUVARD" userId="4c03e191-e154-482a-88b2-11de19eac96c" providerId="ADAL" clId="{8245CC27-65FB-483E-B8E7-D04039DBA80D}" dt="2021-05-24T16:09:28.624" v="16614" actId="790"/>
          <ac:spMkLst>
            <pc:docMk/>
            <pc:sldMk cId="3428758149" sldId="10411"/>
            <ac:spMk id="165" creationId="{C389F3EC-7313-454E-9942-F14FD0BD4C77}"/>
          </ac:spMkLst>
        </pc:spChg>
        <pc:spChg chg="mod">
          <ac:chgData name="Sarah GAUVARD" userId="4c03e191-e154-482a-88b2-11de19eac96c" providerId="ADAL" clId="{8245CC27-65FB-483E-B8E7-D04039DBA80D}" dt="2021-05-24T16:09:28.624" v="16615" actId="790"/>
          <ac:spMkLst>
            <pc:docMk/>
            <pc:sldMk cId="3428758149" sldId="10411"/>
            <ac:spMk id="166" creationId="{A3938D6F-1923-42FF-B2ED-6C2BEA79BA03}"/>
          </ac:spMkLst>
        </pc:spChg>
        <pc:spChg chg="mod">
          <ac:chgData name="Sarah GAUVARD" userId="4c03e191-e154-482a-88b2-11de19eac96c" providerId="ADAL" clId="{8245CC27-65FB-483E-B8E7-D04039DBA80D}" dt="2021-05-24T16:09:28.624" v="16616" actId="790"/>
          <ac:spMkLst>
            <pc:docMk/>
            <pc:sldMk cId="3428758149" sldId="10411"/>
            <ac:spMk id="169" creationId="{7881ABC3-A97B-4E90-939F-E48D9595FFFF}"/>
          </ac:spMkLst>
        </pc:spChg>
        <pc:spChg chg="mod">
          <ac:chgData name="Sarah GAUVARD" userId="4c03e191-e154-482a-88b2-11de19eac96c" providerId="ADAL" clId="{8245CC27-65FB-483E-B8E7-D04039DBA80D}" dt="2021-05-24T16:09:28.624" v="16617" actId="790"/>
          <ac:spMkLst>
            <pc:docMk/>
            <pc:sldMk cId="3428758149" sldId="10411"/>
            <ac:spMk id="170" creationId="{A886CA56-9620-415B-9489-A004AB6EB706}"/>
          </ac:spMkLst>
        </pc:spChg>
        <pc:spChg chg="mod">
          <ac:chgData name="Sarah GAUVARD" userId="4c03e191-e154-482a-88b2-11de19eac96c" providerId="ADAL" clId="{8245CC27-65FB-483E-B8E7-D04039DBA80D}" dt="2021-05-24T16:09:28.624" v="16618" actId="790"/>
          <ac:spMkLst>
            <pc:docMk/>
            <pc:sldMk cId="3428758149" sldId="10411"/>
            <ac:spMk id="171" creationId="{BCC6DEFD-6FEB-4777-9432-E3B2F5C51000}"/>
          </ac:spMkLst>
        </pc:spChg>
        <pc:spChg chg="mod">
          <ac:chgData name="Sarah GAUVARD" userId="4c03e191-e154-482a-88b2-11de19eac96c" providerId="ADAL" clId="{8245CC27-65FB-483E-B8E7-D04039DBA80D}" dt="2021-05-24T16:09:28.624" v="16619" actId="790"/>
          <ac:spMkLst>
            <pc:docMk/>
            <pc:sldMk cId="3428758149" sldId="10411"/>
            <ac:spMk id="172" creationId="{04568322-5012-422B-991D-C9A4712E25C9}"/>
          </ac:spMkLst>
        </pc:spChg>
        <pc:spChg chg="mod">
          <ac:chgData name="Sarah GAUVARD" userId="4c03e191-e154-482a-88b2-11de19eac96c" providerId="ADAL" clId="{8245CC27-65FB-483E-B8E7-D04039DBA80D}" dt="2021-05-24T16:09:28.654" v="16638" actId="790"/>
          <ac:spMkLst>
            <pc:docMk/>
            <pc:sldMk cId="3428758149" sldId="10411"/>
            <ac:spMk id="182" creationId="{A076D8FE-B37B-4946-B8B8-0EDB06F5AC05}"/>
          </ac:spMkLst>
        </pc:spChg>
        <pc:spChg chg="mod">
          <ac:chgData name="Sarah GAUVARD" userId="4c03e191-e154-482a-88b2-11de19eac96c" providerId="ADAL" clId="{8245CC27-65FB-483E-B8E7-D04039DBA80D}" dt="2021-05-24T16:09:28.662" v="16642" actId="790"/>
          <ac:spMkLst>
            <pc:docMk/>
            <pc:sldMk cId="3428758149" sldId="10411"/>
            <ac:spMk id="189" creationId="{7A2C2269-A033-4F79-A009-25900D3441B1}"/>
          </ac:spMkLst>
        </pc:spChg>
        <pc:spChg chg="mod">
          <ac:chgData name="Sarah GAUVARD" userId="4c03e191-e154-482a-88b2-11de19eac96c" providerId="ADAL" clId="{8245CC27-65FB-483E-B8E7-D04039DBA80D}" dt="2021-05-24T16:09:28.662" v="16643" actId="790"/>
          <ac:spMkLst>
            <pc:docMk/>
            <pc:sldMk cId="3428758149" sldId="10411"/>
            <ac:spMk id="190" creationId="{FA3A6E33-C7E6-414E-9791-7BE8447D706F}"/>
          </ac:spMkLst>
        </pc:spChg>
        <pc:spChg chg="mod">
          <ac:chgData name="Sarah GAUVARD" userId="4c03e191-e154-482a-88b2-11de19eac96c" providerId="ADAL" clId="{8245CC27-65FB-483E-B8E7-D04039DBA80D}" dt="2021-05-24T16:09:28.662" v="16644" actId="790"/>
          <ac:spMkLst>
            <pc:docMk/>
            <pc:sldMk cId="3428758149" sldId="10411"/>
            <ac:spMk id="191" creationId="{DBBC3D5B-EC57-49B3-B205-C41618E3396A}"/>
          </ac:spMkLst>
        </pc:spChg>
        <pc:spChg chg="mod">
          <ac:chgData name="Sarah GAUVARD" userId="4c03e191-e154-482a-88b2-11de19eac96c" providerId="ADAL" clId="{8245CC27-65FB-483E-B8E7-D04039DBA80D}" dt="2021-05-24T16:09:28.664" v="16645" actId="790"/>
          <ac:spMkLst>
            <pc:docMk/>
            <pc:sldMk cId="3428758149" sldId="10411"/>
            <ac:spMk id="192" creationId="{BF3302B9-47A5-4467-AA31-76ED8B771FC9}"/>
          </ac:spMkLst>
        </pc:spChg>
        <pc:spChg chg="mod">
          <ac:chgData name="Sarah GAUVARD" userId="4c03e191-e154-482a-88b2-11de19eac96c" providerId="ADAL" clId="{8245CC27-65FB-483E-B8E7-D04039DBA80D}" dt="2021-05-24T16:09:28.664" v="16646" actId="790"/>
          <ac:spMkLst>
            <pc:docMk/>
            <pc:sldMk cId="3428758149" sldId="10411"/>
            <ac:spMk id="193" creationId="{B1694CCA-F107-47BD-AAA1-047996B236B4}"/>
          </ac:spMkLst>
        </pc:spChg>
        <pc:spChg chg="mod">
          <ac:chgData name="Sarah GAUVARD" userId="4c03e191-e154-482a-88b2-11de19eac96c" providerId="ADAL" clId="{8245CC27-65FB-483E-B8E7-D04039DBA80D}" dt="2021-05-24T16:09:28.664" v="16647" actId="790"/>
          <ac:spMkLst>
            <pc:docMk/>
            <pc:sldMk cId="3428758149" sldId="10411"/>
            <ac:spMk id="194" creationId="{4431F41C-8189-4C12-A87E-2AFCFB166EE8}"/>
          </ac:spMkLst>
        </pc:spChg>
        <pc:spChg chg="mod">
          <ac:chgData name="Sarah GAUVARD" userId="4c03e191-e154-482a-88b2-11de19eac96c" providerId="ADAL" clId="{8245CC27-65FB-483E-B8E7-D04039DBA80D}" dt="2021-05-24T16:09:28.664" v="16648" actId="790"/>
          <ac:spMkLst>
            <pc:docMk/>
            <pc:sldMk cId="3428758149" sldId="10411"/>
            <ac:spMk id="195" creationId="{15043260-4F88-47EB-9EC9-BE6BDA2C35AD}"/>
          </ac:spMkLst>
        </pc:spChg>
        <pc:spChg chg="mod">
          <ac:chgData name="Sarah GAUVARD" userId="4c03e191-e154-482a-88b2-11de19eac96c" providerId="ADAL" clId="{8245CC27-65FB-483E-B8E7-D04039DBA80D}" dt="2021-05-24T16:09:28.664" v="16649" actId="790"/>
          <ac:spMkLst>
            <pc:docMk/>
            <pc:sldMk cId="3428758149" sldId="10411"/>
            <ac:spMk id="196" creationId="{EC3A5484-F35D-4036-8453-B5110A822440}"/>
          </ac:spMkLst>
        </pc:spChg>
        <pc:spChg chg="mod">
          <ac:chgData name="Sarah GAUVARD" userId="4c03e191-e154-482a-88b2-11de19eac96c" providerId="ADAL" clId="{8245CC27-65FB-483E-B8E7-D04039DBA80D}" dt="2021-05-24T16:09:28.632" v="16621" actId="790"/>
          <ac:spMkLst>
            <pc:docMk/>
            <pc:sldMk cId="3428758149" sldId="10411"/>
            <ac:spMk id="197" creationId="{EB1ED8EE-1371-4F31-B475-A7FD22F01C88}"/>
          </ac:spMkLst>
        </pc:spChg>
        <pc:spChg chg="mod">
          <ac:chgData name="Sarah GAUVARD" userId="4c03e191-e154-482a-88b2-11de19eac96c" providerId="ADAL" clId="{8245CC27-65FB-483E-B8E7-D04039DBA80D}" dt="2021-05-24T16:09:28.654" v="16639" actId="790"/>
          <ac:spMkLst>
            <pc:docMk/>
            <pc:sldMk cId="3428758149" sldId="10411"/>
            <ac:spMk id="205" creationId="{37EA9042-0B3D-4B94-9CA6-80C07ADCB11E}"/>
          </ac:spMkLst>
        </pc:spChg>
        <pc:spChg chg="mod">
          <ac:chgData name="Sarah GAUVARD" userId="4c03e191-e154-482a-88b2-11de19eac96c" providerId="ADAL" clId="{8245CC27-65FB-483E-B8E7-D04039DBA80D}" dt="2021-05-24T16:09:28.654" v="16640" actId="790"/>
          <ac:spMkLst>
            <pc:docMk/>
            <pc:sldMk cId="3428758149" sldId="10411"/>
            <ac:spMk id="206" creationId="{F197933B-7850-4DCD-909F-F5A7B675B649}"/>
          </ac:spMkLst>
        </pc:spChg>
        <pc:spChg chg="mod">
          <ac:chgData name="Sarah GAUVARD" userId="4c03e191-e154-482a-88b2-11de19eac96c" providerId="ADAL" clId="{8245CC27-65FB-483E-B8E7-D04039DBA80D}" dt="2021-05-24T16:09:28.632" v="16622" actId="790"/>
          <ac:spMkLst>
            <pc:docMk/>
            <pc:sldMk cId="3428758149" sldId="10411"/>
            <ac:spMk id="212" creationId="{F492C173-DFD6-47CF-9BB4-C8925127E1EE}"/>
          </ac:spMkLst>
        </pc:spChg>
        <pc:spChg chg="mod">
          <ac:chgData name="Sarah GAUVARD" userId="4c03e191-e154-482a-88b2-11de19eac96c" providerId="ADAL" clId="{8245CC27-65FB-483E-B8E7-D04039DBA80D}" dt="2021-05-24T16:09:28.614" v="16605" actId="790"/>
          <ac:spMkLst>
            <pc:docMk/>
            <pc:sldMk cId="3428758149" sldId="10411"/>
            <ac:spMk id="1031" creationId="{A3845A5C-C65F-4C44-AE3B-D3285DF51268}"/>
          </ac:spMkLst>
        </pc:spChg>
        <pc:spChg chg="mod">
          <ac:chgData name="Sarah GAUVARD" userId="4c03e191-e154-482a-88b2-11de19eac96c" providerId="ADAL" clId="{8245CC27-65FB-483E-B8E7-D04039DBA80D}" dt="2021-05-24T16:09:28.614" v="16606" actId="790"/>
          <ac:spMkLst>
            <pc:docMk/>
            <pc:sldMk cId="3428758149" sldId="10411"/>
            <ac:spMk id="1035" creationId="{9164A53F-4711-41A4-BE3D-8D2F4243A495}"/>
          </ac:spMkLst>
        </pc:spChg>
        <pc:spChg chg="mod">
          <ac:chgData name="Sarah GAUVARD" userId="4c03e191-e154-482a-88b2-11de19eac96c" providerId="ADAL" clId="{8245CC27-65FB-483E-B8E7-D04039DBA80D}" dt="2021-05-24T16:09:28.604" v="16596" actId="790"/>
          <ac:spMkLst>
            <pc:docMk/>
            <pc:sldMk cId="3428758149" sldId="10411"/>
            <ac:spMk id="4107" creationId="{EBC573C8-C4E3-432A-81F7-B99236DF594A}"/>
          </ac:spMkLst>
        </pc:spChg>
        <pc:graphicFrameChg chg="mod">
          <ac:chgData name="Sarah GAUVARD" userId="4c03e191-e154-482a-88b2-11de19eac96c" providerId="ADAL" clId="{8245CC27-65FB-483E-B8E7-D04039DBA80D}" dt="2021-05-24T15:34:45.893" v="11766"/>
          <ac:graphicFrameMkLst>
            <pc:docMk/>
            <pc:sldMk cId="3428758149" sldId="10411"/>
            <ac:graphicFrameMk id="17" creationId="{FF44A7FF-DA1D-48E9-88AF-BFA57A1D74D1}"/>
          </ac:graphicFrameMkLst>
        </pc:graphicFrameChg>
        <pc:cxnChg chg="mod">
          <ac:chgData name="Sarah GAUVARD" userId="4c03e191-e154-482a-88b2-11de19eac96c" providerId="ADAL" clId="{8245CC27-65FB-483E-B8E7-D04039DBA80D}" dt="2021-05-25T15:13:47.367" v="27584" actId="208"/>
          <ac:cxnSpMkLst>
            <pc:docMk/>
            <pc:sldMk cId="3428758149" sldId="10411"/>
            <ac:cxnSpMk id="118" creationId="{FB19F0A7-B54A-4656-8DA7-104BC059830F}"/>
          </ac:cxnSpMkLst>
        </pc:cxnChg>
        <pc:cxnChg chg="mod">
          <ac:chgData name="Sarah GAUVARD" userId="4c03e191-e154-482a-88b2-11de19eac96c" providerId="ADAL" clId="{8245CC27-65FB-483E-B8E7-D04039DBA80D}" dt="2021-05-25T15:13:49.674" v="27585" actId="208"/>
          <ac:cxnSpMkLst>
            <pc:docMk/>
            <pc:sldMk cId="3428758149" sldId="10411"/>
            <ac:cxnSpMk id="124" creationId="{2336EF58-15F3-4807-B41C-BA7EEEB79835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5T15:17:06.667" v="27614" actId="20577"/>
        <pc:sldMkLst>
          <pc:docMk/>
          <pc:sldMk cId="4132730322" sldId="10412"/>
        </pc:sldMkLst>
        <pc:spChg chg="mod">
          <ac:chgData name="Sarah GAUVARD" userId="4c03e191-e154-482a-88b2-11de19eac96c" providerId="ADAL" clId="{8245CC27-65FB-483E-B8E7-D04039DBA80D}" dt="2021-05-24T16:09:28.513" v="16515" actId="790"/>
          <ac:spMkLst>
            <pc:docMk/>
            <pc:sldMk cId="4132730322" sldId="10412"/>
            <ac:spMk id="2" creationId="{1B8B41D0-3B5A-41F2-BD36-274CA5605C3A}"/>
          </ac:spMkLst>
        </pc:spChg>
        <pc:spChg chg="mod">
          <ac:chgData name="Sarah GAUVARD" userId="4c03e191-e154-482a-88b2-11de19eac96c" providerId="ADAL" clId="{8245CC27-65FB-483E-B8E7-D04039DBA80D}" dt="2021-05-24T16:09:28.511" v="16505" actId="790"/>
          <ac:spMkLst>
            <pc:docMk/>
            <pc:sldMk cId="4132730322" sldId="10412"/>
            <ac:spMk id="3" creationId="{F2961EB7-FC0B-4AEF-8BF3-7969101BE0A7}"/>
          </ac:spMkLst>
        </pc:spChg>
        <pc:spChg chg="mod">
          <ac:chgData name="Sarah GAUVARD" userId="4c03e191-e154-482a-88b2-11de19eac96c" providerId="ADAL" clId="{8245CC27-65FB-483E-B8E7-D04039DBA80D}" dt="2021-05-24T16:09:28.543" v="16538" actId="790"/>
          <ac:spMkLst>
            <pc:docMk/>
            <pc:sldMk cId="4132730322" sldId="10412"/>
            <ac:spMk id="4" creationId="{43E0D5C7-0986-42B1-8E8C-7B58D0CBD773}"/>
          </ac:spMkLst>
        </pc:spChg>
        <pc:spChg chg="mod">
          <ac:chgData name="Sarah GAUVARD" userId="4c03e191-e154-482a-88b2-11de19eac96c" providerId="ADAL" clId="{8245CC27-65FB-483E-B8E7-D04039DBA80D}" dt="2021-05-24T16:09:28.521" v="16516" actId="790"/>
          <ac:spMkLst>
            <pc:docMk/>
            <pc:sldMk cId="4132730322" sldId="10412"/>
            <ac:spMk id="5" creationId="{32E0BE14-B2E8-4A96-ADE4-0BE247A47D79}"/>
          </ac:spMkLst>
        </pc:spChg>
        <pc:spChg chg="mod">
          <ac:chgData name="Sarah GAUVARD" userId="4c03e191-e154-482a-88b2-11de19eac96c" providerId="ADAL" clId="{8245CC27-65FB-483E-B8E7-D04039DBA80D}" dt="2021-05-24T16:09:28.521" v="16517" actId="790"/>
          <ac:spMkLst>
            <pc:docMk/>
            <pc:sldMk cId="4132730322" sldId="10412"/>
            <ac:spMk id="6" creationId="{8AEA1672-C0F9-4DB2-A6F4-76831980F749}"/>
          </ac:spMkLst>
        </pc:spChg>
        <pc:spChg chg="mod">
          <ac:chgData name="Sarah GAUVARD" userId="4c03e191-e154-482a-88b2-11de19eac96c" providerId="ADAL" clId="{8245CC27-65FB-483E-B8E7-D04039DBA80D}" dt="2021-05-24T16:09:28.533" v="16527" actId="790"/>
          <ac:spMkLst>
            <pc:docMk/>
            <pc:sldMk cId="4132730322" sldId="10412"/>
            <ac:spMk id="7" creationId="{064EAC16-1947-4EB5-B699-F79BA984701D}"/>
          </ac:spMkLst>
        </pc:spChg>
        <pc:spChg chg="mod">
          <ac:chgData name="Sarah GAUVARD" userId="4c03e191-e154-482a-88b2-11de19eac96c" providerId="ADAL" clId="{8245CC27-65FB-483E-B8E7-D04039DBA80D}" dt="2021-05-24T16:09:28.533" v="16528" actId="790"/>
          <ac:spMkLst>
            <pc:docMk/>
            <pc:sldMk cId="4132730322" sldId="10412"/>
            <ac:spMk id="8" creationId="{17235FB0-B480-4F11-BAB2-ECCE97A0AE35}"/>
          </ac:spMkLst>
        </pc:spChg>
        <pc:spChg chg="mod">
          <ac:chgData name="Sarah GAUVARD" userId="4c03e191-e154-482a-88b2-11de19eac96c" providerId="ADAL" clId="{8245CC27-65FB-483E-B8E7-D04039DBA80D}" dt="2021-05-24T16:09:28.521" v="16518" actId="790"/>
          <ac:spMkLst>
            <pc:docMk/>
            <pc:sldMk cId="4132730322" sldId="10412"/>
            <ac:spMk id="9" creationId="{E57AC7D2-FC03-4826-B2B4-B86B10C8A912}"/>
          </ac:spMkLst>
        </pc:spChg>
        <pc:spChg chg="mod">
          <ac:chgData name="Sarah GAUVARD" userId="4c03e191-e154-482a-88b2-11de19eac96c" providerId="ADAL" clId="{8245CC27-65FB-483E-B8E7-D04039DBA80D}" dt="2021-05-24T16:09:28.503" v="16501" actId="790"/>
          <ac:spMkLst>
            <pc:docMk/>
            <pc:sldMk cId="4132730322" sldId="10412"/>
            <ac:spMk id="10" creationId="{EC4BC8E5-CDE6-4BDA-8B1B-E89284306AC8}"/>
          </ac:spMkLst>
        </pc:spChg>
        <pc:spChg chg="add del mod modVis">
          <ac:chgData name="Sarah GAUVARD" userId="4c03e191-e154-482a-88b2-11de19eac96c" providerId="ADAL" clId="{8245CC27-65FB-483E-B8E7-D04039DBA80D}" dt="2021-05-24T15:34:45.880" v="11752"/>
          <ac:spMkLst>
            <pc:docMk/>
            <pc:sldMk cId="4132730322" sldId="10412"/>
            <ac:spMk id="11" creationId="{FEEDA59D-AEA7-4DE8-8478-2F8D56E24FB5}"/>
          </ac:spMkLst>
        </pc:spChg>
        <pc:spChg chg="mod">
          <ac:chgData name="Sarah GAUVARD" userId="4c03e191-e154-482a-88b2-11de19eac96c" providerId="ADAL" clId="{8245CC27-65FB-483E-B8E7-D04039DBA80D}" dt="2021-05-24T16:09:28.511" v="16506" actId="790"/>
          <ac:spMkLst>
            <pc:docMk/>
            <pc:sldMk cId="4132730322" sldId="10412"/>
            <ac:spMk id="12" creationId="{06146879-726F-492D-B854-B9E140208671}"/>
          </ac:spMkLst>
        </pc:spChg>
        <pc:spChg chg="mod">
          <ac:chgData name="Sarah GAUVARD" userId="4c03e191-e154-482a-88b2-11de19eac96c" providerId="ADAL" clId="{8245CC27-65FB-483E-B8E7-D04039DBA80D}" dt="2021-05-24T16:09:28.513" v="16512" actId="790"/>
          <ac:spMkLst>
            <pc:docMk/>
            <pc:sldMk cId="4132730322" sldId="10412"/>
            <ac:spMk id="13" creationId="{E9F049B4-9F79-4754-AA4A-B557B2A6D3C9}"/>
          </ac:spMkLst>
        </pc:spChg>
        <pc:spChg chg="mod">
          <ac:chgData name="Sarah GAUVARD" userId="4c03e191-e154-482a-88b2-11de19eac96c" providerId="ADAL" clId="{8245CC27-65FB-483E-B8E7-D04039DBA80D}" dt="2021-05-24T16:09:28.531" v="16522" actId="790"/>
          <ac:spMkLst>
            <pc:docMk/>
            <pc:sldMk cId="4132730322" sldId="10412"/>
            <ac:spMk id="18" creationId="{E5E5B17C-AF5B-4FCB-935E-796FE66056AC}"/>
          </ac:spMkLst>
        </pc:spChg>
        <pc:spChg chg="mod">
          <ac:chgData name="Sarah GAUVARD" userId="4c03e191-e154-482a-88b2-11de19eac96c" providerId="ADAL" clId="{8245CC27-65FB-483E-B8E7-D04039DBA80D}" dt="2021-05-24T16:09:28.533" v="16529" actId="790"/>
          <ac:spMkLst>
            <pc:docMk/>
            <pc:sldMk cId="4132730322" sldId="10412"/>
            <ac:spMk id="19" creationId="{D183DC4A-A310-4818-8DE5-DD81DA31ACA2}"/>
          </ac:spMkLst>
        </pc:spChg>
        <pc:spChg chg="mod">
          <ac:chgData name="Sarah GAUVARD" userId="4c03e191-e154-482a-88b2-11de19eac96c" providerId="ADAL" clId="{8245CC27-65FB-483E-B8E7-D04039DBA80D}" dt="2021-05-24T16:09:28.533" v="16534" actId="790"/>
          <ac:spMkLst>
            <pc:docMk/>
            <pc:sldMk cId="4132730322" sldId="10412"/>
            <ac:spMk id="20" creationId="{54E8F179-87EF-4A92-9C29-92D7E20EB946}"/>
          </ac:spMkLst>
        </pc:spChg>
        <pc:spChg chg="mod">
          <ac:chgData name="Sarah GAUVARD" userId="4c03e191-e154-482a-88b2-11de19eac96c" providerId="ADAL" clId="{8245CC27-65FB-483E-B8E7-D04039DBA80D}" dt="2021-05-24T16:09:28.543" v="16539" actId="790"/>
          <ac:spMkLst>
            <pc:docMk/>
            <pc:sldMk cId="4132730322" sldId="10412"/>
            <ac:spMk id="21" creationId="{44BA4EC0-19D7-41DC-B319-396D8267BC37}"/>
          </ac:spMkLst>
        </pc:spChg>
        <pc:spChg chg="mod">
          <ac:chgData name="Sarah GAUVARD" userId="4c03e191-e154-482a-88b2-11de19eac96c" providerId="ADAL" clId="{8245CC27-65FB-483E-B8E7-D04039DBA80D}" dt="2021-05-24T16:09:28.533" v="16530" actId="790"/>
          <ac:spMkLst>
            <pc:docMk/>
            <pc:sldMk cId="4132730322" sldId="10412"/>
            <ac:spMk id="22" creationId="{43B8FABF-5816-42AC-8939-29224794884E}"/>
          </ac:spMkLst>
        </pc:spChg>
        <pc:spChg chg="mod">
          <ac:chgData name="Sarah GAUVARD" userId="4c03e191-e154-482a-88b2-11de19eac96c" providerId="ADAL" clId="{8245CC27-65FB-483E-B8E7-D04039DBA80D}" dt="2021-05-24T16:09:28.503" v="16499" actId="790"/>
          <ac:spMkLst>
            <pc:docMk/>
            <pc:sldMk cId="4132730322" sldId="10412"/>
            <ac:spMk id="33" creationId="{243F8FAD-0118-4F1B-B40B-A7D84FD36396}"/>
          </ac:spMkLst>
        </pc:spChg>
        <pc:spChg chg="mod">
          <ac:chgData name="Sarah GAUVARD" userId="4c03e191-e154-482a-88b2-11de19eac96c" providerId="ADAL" clId="{8245CC27-65FB-483E-B8E7-D04039DBA80D}" dt="2021-05-24T16:09:28.533" v="16535" actId="790"/>
          <ac:spMkLst>
            <pc:docMk/>
            <pc:sldMk cId="4132730322" sldId="10412"/>
            <ac:spMk id="47" creationId="{9E10C541-E455-4AF2-AA1A-715E3DF2DDC1}"/>
          </ac:spMkLst>
        </pc:spChg>
        <pc:spChg chg="mod">
          <ac:chgData name="Sarah GAUVARD" userId="4c03e191-e154-482a-88b2-11de19eac96c" providerId="ADAL" clId="{8245CC27-65FB-483E-B8E7-D04039DBA80D}" dt="2021-05-24T16:09:28.523" v="16519" actId="790"/>
          <ac:spMkLst>
            <pc:docMk/>
            <pc:sldMk cId="4132730322" sldId="10412"/>
            <ac:spMk id="49" creationId="{B10468A4-1BAC-4153-BC9A-99B8715C0AD1}"/>
          </ac:spMkLst>
        </pc:spChg>
        <pc:spChg chg="mod">
          <ac:chgData name="Sarah GAUVARD" userId="4c03e191-e154-482a-88b2-11de19eac96c" providerId="ADAL" clId="{8245CC27-65FB-483E-B8E7-D04039DBA80D}" dt="2021-05-24T16:09:28.513" v="16507" actId="790"/>
          <ac:spMkLst>
            <pc:docMk/>
            <pc:sldMk cId="4132730322" sldId="10412"/>
            <ac:spMk id="50" creationId="{06AD3339-7557-4559-B2EA-6A391CF2BF0C}"/>
          </ac:spMkLst>
        </pc:spChg>
        <pc:spChg chg="mod">
          <ac:chgData name="Sarah GAUVARD" userId="4c03e191-e154-482a-88b2-11de19eac96c" providerId="ADAL" clId="{8245CC27-65FB-483E-B8E7-D04039DBA80D}" dt="2021-05-24T16:09:28.503" v="16500" actId="790"/>
          <ac:spMkLst>
            <pc:docMk/>
            <pc:sldMk cId="4132730322" sldId="10412"/>
            <ac:spMk id="88" creationId="{336D463B-B815-4500-8F61-78A091129044}"/>
          </ac:spMkLst>
        </pc:spChg>
        <pc:spChg chg="mod">
          <ac:chgData name="Sarah GAUVARD" userId="4c03e191-e154-482a-88b2-11de19eac96c" providerId="ADAL" clId="{8245CC27-65FB-483E-B8E7-D04039DBA80D}" dt="2021-05-24T16:09:28.513" v="16510" actId="790"/>
          <ac:spMkLst>
            <pc:docMk/>
            <pc:sldMk cId="4132730322" sldId="10412"/>
            <ac:spMk id="96" creationId="{5BB653FA-7502-456B-9DD5-1867522D3A88}"/>
          </ac:spMkLst>
        </pc:spChg>
        <pc:spChg chg="mod">
          <ac:chgData name="Sarah GAUVARD" userId="4c03e191-e154-482a-88b2-11de19eac96c" providerId="ADAL" clId="{8245CC27-65FB-483E-B8E7-D04039DBA80D}" dt="2021-05-24T16:09:28.523" v="16520" actId="790"/>
          <ac:spMkLst>
            <pc:docMk/>
            <pc:sldMk cId="4132730322" sldId="10412"/>
            <ac:spMk id="100" creationId="{EF6C7B41-C54E-4684-BB9A-36701E115EBF}"/>
          </ac:spMkLst>
        </pc:spChg>
        <pc:spChg chg="mod">
          <ac:chgData name="Sarah GAUVARD" userId="4c03e191-e154-482a-88b2-11de19eac96c" providerId="ADAL" clId="{8245CC27-65FB-483E-B8E7-D04039DBA80D}" dt="2021-05-24T16:09:28.513" v="16514" actId="790"/>
          <ac:spMkLst>
            <pc:docMk/>
            <pc:sldMk cId="4132730322" sldId="10412"/>
            <ac:spMk id="107" creationId="{31D0AEAA-51DD-4312-8DD3-D5664A3B479D}"/>
          </ac:spMkLst>
        </pc:spChg>
        <pc:spChg chg="mod">
          <ac:chgData name="Sarah GAUVARD" userId="4c03e191-e154-482a-88b2-11de19eac96c" providerId="ADAL" clId="{8245CC27-65FB-483E-B8E7-D04039DBA80D}" dt="2021-05-24T16:09:28.503" v="16497" actId="790"/>
          <ac:spMkLst>
            <pc:docMk/>
            <pc:sldMk cId="4132730322" sldId="10412"/>
            <ac:spMk id="108" creationId="{B4E79E7D-0395-4CE2-8F8E-F7FFDE4BA106}"/>
          </ac:spMkLst>
        </pc:spChg>
        <pc:spChg chg="mod">
          <ac:chgData name="Sarah GAUVARD" userId="4c03e191-e154-482a-88b2-11de19eac96c" providerId="ADAL" clId="{8245CC27-65FB-483E-B8E7-D04039DBA80D}" dt="2021-05-24T16:09:28.553" v="16544" actId="790"/>
          <ac:spMkLst>
            <pc:docMk/>
            <pc:sldMk cId="4132730322" sldId="10412"/>
            <ac:spMk id="117" creationId="{7323A752-E561-4CB5-87BC-FA95948E9BEC}"/>
          </ac:spMkLst>
        </pc:spChg>
        <pc:spChg chg="mod">
          <ac:chgData name="Sarah GAUVARD" userId="4c03e191-e154-482a-88b2-11de19eac96c" providerId="ADAL" clId="{8245CC27-65FB-483E-B8E7-D04039DBA80D}" dt="2021-05-24T16:09:28.511" v="16504" actId="790"/>
          <ac:spMkLst>
            <pc:docMk/>
            <pc:sldMk cId="4132730322" sldId="10412"/>
            <ac:spMk id="118" creationId="{9C628BA4-96DA-46D9-A80B-01A518CA0E39}"/>
          </ac:spMkLst>
        </pc:spChg>
        <pc:spChg chg="mod">
          <ac:chgData name="Sarah GAUVARD" userId="4c03e191-e154-482a-88b2-11de19eac96c" providerId="ADAL" clId="{8245CC27-65FB-483E-B8E7-D04039DBA80D}" dt="2021-05-24T16:09:28.503" v="16502" actId="790"/>
          <ac:spMkLst>
            <pc:docMk/>
            <pc:sldMk cId="4132730322" sldId="10412"/>
            <ac:spMk id="119" creationId="{EEF55E94-FD53-41D7-A423-6B56C40D88A1}"/>
          </ac:spMkLst>
        </pc:spChg>
        <pc:spChg chg="mod">
          <ac:chgData name="Sarah GAUVARD" userId="4c03e191-e154-482a-88b2-11de19eac96c" providerId="ADAL" clId="{8245CC27-65FB-483E-B8E7-D04039DBA80D}" dt="2021-05-24T16:09:28.513" v="16509" actId="790"/>
          <ac:spMkLst>
            <pc:docMk/>
            <pc:sldMk cId="4132730322" sldId="10412"/>
            <ac:spMk id="120" creationId="{697B9F9F-BFD2-4BBC-A2BC-06F0D17B4298}"/>
          </ac:spMkLst>
        </pc:spChg>
        <pc:spChg chg="mod">
          <ac:chgData name="Sarah GAUVARD" userId="4c03e191-e154-482a-88b2-11de19eac96c" providerId="ADAL" clId="{8245CC27-65FB-483E-B8E7-D04039DBA80D}" dt="2021-05-24T16:09:28.513" v="16508" actId="790"/>
          <ac:spMkLst>
            <pc:docMk/>
            <pc:sldMk cId="4132730322" sldId="10412"/>
            <ac:spMk id="122" creationId="{7ED4A8D8-06EE-4620-B65B-5E3B52A3ABAE}"/>
          </ac:spMkLst>
        </pc:spChg>
        <pc:spChg chg="mod">
          <ac:chgData name="Sarah GAUVARD" userId="4c03e191-e154-482a-88b2-11de19eac96c" providerId="ADAL" clId="{8245CC27-65FB-483E-B8E7-D04039DBA80D}" dt="2021-05-24T16:09:28.513" v="16511" actId="790"/>
          <ac:spMkLst>
            <pc:docMk/>
            <pc:sldMk cId="4132730322" sldId="10412"/>
            <ac:spMk id="123" creationId="{CCD5F39F-64EB-4F4E-BE6B-002C617492EF}"/>
          </ac:spMkLst>
        </pc:spChg>
        <pc:spChg chg="mod">
          <ac:chgData name="Sarah GAUVARD" userId="4c03e191-e154-482a-88b2-11de19eac96c" providerId="ADAL" clId="{8245CC27-65FB-483E-B8E7-D04039DBA80D}" dt="2021-05-24T16:09:28.553" v="16545" actId="790"/>
          <ac:spMkLst>
            <pc:docMk/>
            <pc:sldMk cId="4132730322" sldId="10412"/>
            <ac:spMk id="124" creationId="{E0D47348-BFE8-418A-B016-501C8F70191D}"/>
          </ac:spMkLst>
        </pc:spChg>
        <pc:spChg chg="mod">
          <ac:chgData name="Sarah GAUVARD" userId="4c03e191-e154-482a-88b2-11de19eac96c" providerId="ADAL" clId="{8245CC27-65FB-483E-B8E7-D04039DBA80D}" dt="2021-05-24T16:09:28.533" v="16525" actId="790"/>
          <ac:spMkLst>
            <pc:docMk/>
            <pc:sldMk cId="4132730322" sldId="10412"/>
            <ac:spMk id="125" creationId="{D74D7498-92CD-485E-B64F-458B030E1CC2}"/>
          </ac:spMkLst>
        </pc:spChg>
        <pc:spChg chg="mod">
          <ac:chgData name="Sarah GAUVARD" userId="4c03e191-e154-482a-88b2-11de19eac96c" providerId="ADAL" clId="{8245CC27-65FB-483E-B8E7-D04039DBA80D}" dt="2021-05-24T16:09:28.553" v="16546" actId="790"/>
          <ac:spMkLst>
            <pc:docMk/>
            <pc:sldMk cId="4132730322" sldId="10412"/>
            <ac:spMk id="142" creationId="{B7EB0D52-8CBD-44A8-B259-5F115C19A491}"/>
          </ac:spMkLst>
        </pc:spChg>
        <pc:spChg chg="mod">
          <ac:chgData name="Sarah GAUVARD" userId="4c03e191-e154-482a-88b2-11de19eac96c" providerId="ADAL" clId="{8245CC27-65FB-483E-B8E7-D04039DBA80D}" dt="2021-05-24T16:09:28.553" v="16547" actId="790"/>
          <ac:spMkLst>
            <pc:docMk/>
            <pc:sldMk cId="4132730322" sldId="10412"/>
            <ac:spMk id="143" creationId="{6B5CE2D5-BDAF-4C2C-BA94-C9C82647B971}"/>
          </ac:spMkLst>
        </pc:spChg>
        <pc:spChg chg="mod">
          <ac:chgData name="Sarah GAUVARD" userId="4c03e191-e154-482a-88b2-11de19eac96c" providerId="ADAL" clId="{8245CC27-65FB-483E-B8E7-D04039DBA80D}" dt="2021-05-24T16:09:28.543" v="16540" actId="790"/>
          <ac:spMkLst>
            <pc:docMk/>
            <pc:sldMk cId="4132730322" sldId="10412"/>
            <ac:spMk id="154" creationId="{A7269958-7FC5-479F-B17B-49D115F118B6}"/>
          </ac:spMkLst>
        </pc:spChg>
        <pc:spChg chg="mod">
          <ac:chgData name="Sarah GAUVARD" userId="4c03e191-e154-482a-88b2-11de19eac96c" providerId="ADAL" clId="{8245CC27-65FB-483E-B8E7-D04039DBA80D}" dt="2021-05-25T15:17:06.667" v="27614" actId="20577"/>
          <ac:spMkLst>
            <pc:docMk/>
            <pc:sldMk cId="4132730322" sldId="10412"/>
            <ac:spMk id="161" creationId="{2225136D-99B3-484E-802C-7FC6DAD3D7E7}"/>
          </ac:spMkLst>
        </pc:spChg>
        <pc:spChg chg="mod">
          <ac:chgData name="Sarah GAUVARD" userId="4c03e191-e154-482a-88b2-11de19eac96c" providerId="ADAL" clId="{8245CC27-65FB-483E-B8E7-D04039DBA80D}" dt="2021-05-24T16:09:28.531" v="16523" actId="790"/>
          <ac:spMkLst>
            <pc:docMk/>
            <pc:sldMk cId="4132730322" sldId="10412"/>
            <ac:spMk id="165" creationId="{C389F3EC-7313-454E-9942-F14FD0BD4C77}"/>
          </ac:spMkLst>
        </pc:spChg>
        <pc:spChg chg="mod">
          <ac:chgData name="Sarah GAUVARD" userId="4c03e191-e154-482a-88b2-11de19eac96c" providerId="ADAL" clId="{8245CC27-65FB-483E-B8E7-D04039DBA80D}" dt="2021-05-24T16:09:28.533" v="16532" actId="790"/>
          <ac:spMkLst>
            <pc:docMk/>
            <pc:sldMk cId="4132730322" sldId="10412"/>
            <ac:spMk id="166" creationId="{A3938D6F-1923-42FF-B2ED-6C2BEA79BA03}"/>
          </ac:spMkLst>
        </pc:spChg>
        <pc:spChg chg="mod">
          <ac:chgData name="Sarah GAUVARD" userId="4c03e191-e154-482a-88b2-11de19eac96c" providerId="ADAL" clId="{8245CC27-65FB-483E-B8E7-D04039DBA80D}" dt="2021-05-24T16:09:28.513" v="16513" actId="790"/>
          <ac:spMkLst>
            <pc:docMk/>
            <pc:sldMk cId="4132730322" sldId="10412"/>
            <ac:spMk id="168" creationId="{C423BD9F-9E4A-46B8-89D7-67C1FE84B168}"/>
          </ac:spMkLst>
        </pc:spChg>
        <pc:spChg chg="mod">
          <ac:chgData name="Sarah GAUVARD" userId="4c03e191-e154-482a-88b2-11de19eac96c" providerId="ADAL" clId="{8245CC27-65FB-483E-B8E7-D04039DBA80D}" dt="2021-05-24T16:09:28.503" v="16498" actId="790"/>
          <ac:spMkLst>
            <pc:docMk/>
            <pc:sldMk cId="4132730322" sldId="10412"/>
            <ac:spMk id="169" creationId="{7881ABC3-A97B-4E90-939F-E48D9595FFFF}"/>
          </ac:spMkLst>
        </pc:spChg>
        <pc:spChg chg="mod">
          <ac:chgData name="Sarah GAUVARD" userId="4c03e191-e154-482a-88b2-11de19eac96c" providerId="ADAL" clId="{8245CC27-65FB-483E-B8E7-D04039DBA80D}" dt="2021-05-24T16:09:28.503" v="16503" actId="790"/>
          <ac:spMkLst>
            <pc:docMk/>
            <pc:sldMk cId="4132730322" sldId="10412"/>
            <ac:spMk id="170" creationId="{A886CA56-9620-415B-9489-A004AB6EB706}"/>
          </ac:spMkLst>
        </pc:spChg>
        <pc:spChg chg="mod">
          <ac:chgData name="Sarah GAUVARD" userId="4c03e191-e154-482a-88b2-11de19eac96c" providerId="ADAL" clId="{8245CC27-65FB-483E-B8E7-D04039DBA80D}" dt="2021-05-24T16:09:28.531" v="16524" actId="790"/>
          <ac:spMkLst>
            <pc:docMk/>
            <pc:sldMk cId="4132730322" sldId="10412"/>
            <ac:spMk id="171" creationId="{BCC6DEFD-6FEB-4777-9432-E3B2F5C51000}"/>
          </ac:spMkLst>
        </pc:spChg>
        <pc:spChg chg="mod">
          <ac:chgData name="Sarah GAUVARD" userId="4c03e191-e154-482a-88b2-11de19eac96c" providerId="ADAL" clId="{8245CC27-65FB-483E-B8E7-D04039DBA80D}" dt="2021-05-24T16:09:28.533" v="16533" actId="790"/>
          <ac:spMkLst>
            <pc:docMk/>
            <pc:sldMk cId="4132730322" sldId="10412"/>
            <ac:spMk id="172" creationId="{04568322-5012-422B-991D-C9A4712E25C9}"/>
          </ac:spMkLst>
        </pc:spChg>
        <pc:spChg chg="mod">
          <ac:chgData name="Sarah GAUVARD" userId="4c03e191-e154-482a-88b2-11de19eac96c" providerId="ADAL" clId="{8245CC27-65FB-483E-B8E7-D04039DBA80D}" dt="2021-05-24T16:09:28.553" v="16548" actId="790"/>
          <ac:spMkLst>
            <pc:docMk/>
            <pc:sldMk cId="4132730322" sldId="10412"/>
            <ac:spMk id="173" creationId="{12CF5400-8130-4C36-8441-6F18A54EAB6C}"/>
          </ac:spMkLst>
        </pc:spChg>
        <pc:spChg chg="mod">
          <ac:chgData name="Sarah GAUVARD" userId="4c03e191-e154-482a-88b2-11de19eac96c" providerId="ADAL" clId="{8245CC27-65FB-483E-B8E7-D04039DBA80D}" dt="2021-05-24T16:09:28.553" v="16549" actId="790"/>
          <ac:spMkLst>
            <pc:docMk/>
            <pc:sldMk cId="4132730322" sldId="10412"/>
            <ac:spMk id="174" creationId="{E456CD77-671C-432C-92EF-A57CEC085AB9}"/>
          </ac:spMkLst>
        </pc:spChg>
        <pc:spChg chg="mod">
          <ac:chgData name="Sarah GAUVARD" userId="4c03e191-e154-482a-88b2-11de19eac96c" providerId="ADAL" clId="{8245CC27-65FB-483E-B8E7-D04039DBA80D}" dt="2021-05-24T16:09:28.553" v="16550" actId="790"/>
          <ac:spMkLst>
            <pc:docMk/>
            <pc:sldMk cId="4132730322" sldId="10412"/>
            <ac:spMk id="179" creationId="{4CCDD4FF-C268-44FF-854A-367865EF23F4}"/>
          </ac:spMkLst>
        </pc:spChg>
        <pc:spChg chg="mod">
          <ac:chgData name="Sarah GAUVARD" userId="4c03e191-e154-482a-88b2-11de19eac96c" providerId="ADAL" clId="{8245CC27-65FB-483E-B8E7-D04039DBA80D}" dt="2021-05-24T16:09:28.553" v="16551" actId="790"/>
          <ac:spMkLst>
            <pc:docMk/>
            <pc:sldMk cId="4132730322" sldId="10412"/>
            <ac:spMk id="180" creationId="{6216DA4C-BFB7-439F-9097-8EDF1DDFEAAE}"/>
          </ac:spMkLst>
        </pc:spChg>
        <pc:spChg chg="mod">
          <ac:chgData name="Sarah GAUVARD" userId="4c03e191-e154-482a-88b2-11de19eac96c" providerId="ADAL" clId="{8245CC27-65FB-483E-B8E7-D04039DBA80D}" dt="2021-05-24T16:09:28.561" v="16552" actId="790"/>
          <ac:spMkLst>
            <pc:docMk/>
            <pc:sldMk cId="4132730322" sldId="10412"/>
            <ac:spMk id="181" creationId="{C3DA98EC-EFF8-4F41-AB2A-0CC5B5635747}"/>
          </ac:spMkLst>
        </pc:spChg>
        <pc:spChg chg="mod">
          <ac:chgData name="Sarah GAUVARD" userId="4c03e191-e154-482a-88b2-11de19eac96c" providerId="ADAL" clId="{8245CC27-65FB-483E-B8E7-D04039DBA80D}" dt="2021-05-24T16:09:28.553" v="16542" actId="790"/>
          <ac:spMkLst>
            <pc:docMk/>
            <pc:sldMk cId="4132730322" sldId="10412"/>
            <ac:spMk id="190" creationId="{80FB9A68-8543-4E87-9333-0CD3831C6B87}"/>
          </ac:spMkLst>
        </pc:spChg>
        <pc:spChg chg="mod">
          <ac:chgData name="Sarah GAUVARD" userId="4c03e191-e154-482a-88b2-11de19eac96c" providerId="ADAL" clId="{8245CC27-65FB-483E-B8E7-D04039DBA80D}" dt="2021-05-24T16:09:28.553" v="16543" actId="790"/>
          <ac:spMkLst>
            <pc:docMk/>
            <pc:sldMk cId="4132730322" sldId="10412"/>
            <ac:spMk id="191" creationId="{AAAF38BB-9E2A-4BC9-83CA-69A43B1ABBB3}"/>
          </ac:spMkLst>
        </pc:spChg>
        <pc:spChg chg="mod">
          <ac:chgData name="Sarah GAUVARD" userId="4c03e191-e154-482a-88b2-11de19eac96c" providerId="ADAL" clId="{8245CC27-65FB-483E-B8E7-D04039DBA80D}" dt="2021-05-24T16:09:28.543" v="16536" actId="790"/>
          <ac:spMkLst>
            <pc:docMk/>
            <pc:sldMk cId="4132730322" sldId="10412"/>
            <ac:spMk id="197" creationId="{EB1ED8EE-1371-4F31-B475-A7FD22F01C88}"/>
          </ac:spMkLst>
        </pc:spChg>
        <pc:spChg chg="mod">
          <ac:chgData name="Sarah GAUVARD" userId="4c03e191-e154-482a-88b2-11de19eac96c" providerId="ADAL" clId="{8245CC27-65FB-483E-B8E7-D04039DBA80D}" dt="2021-05-24T16:09:28.543" v="16537" actId="790"/>
          <ac:spMkLst>
            <pc:docMk/>
            <pc:sldMk cId="4132730322" sldId="10412"/>
            <ac:spMk id="212" creationId="{F492C173-DFD6-47CF-9BB4-C8925127E1EE}"/>
          </ac:spMkLst>
        </pc:spChg>
        <pc:spChg chg="mod">
          <ac:chgData name="Sarah GAUVARD" userId="4c03e191-e154-482a-88b2-11de19eac96c" providerId="ADAL" clId="{8245CC27-65FB-483E-B8E7-D04039DBA80D}" dt="2021-05-24T16:09:28.523" v="16521" actId="790"/>
          <ac:spMkLst>
            <pc:docMk/>
            <pc:sldMk cId="4132730322" sldId="10412"/>
            <ac:spMk id="1031" creationId="{A3845A5C-C65F-4C44-AE3B-D3285DF51268}"/>
          </ac:spMkLst>
        </pc:spChg>
        <pc:spChg chg="mod">
          <ac:chgData name="Sarah GAUVARD" userId="4c03e191-e154-482a-88b2-11de19eac96c" providerId="ADAL" clId="{8245CC27-65FB-483E-B8E7-D04039DBA80D}" dt="2021-05-24T16:09:28.533" v="16531" actId="790"/>
          <ac:spMkLst>
            <pc:docMk/>
            <pc:sldMk cId="4132730322" sldId="10412"/>
            <ac:spMk id="1035" creationId="{9164A53F-4711-41A4-BE3D-8D2F4243A495}"/>
          </ac:spMkLst>
        </pc:spChg>
        <pc:spChg chg="mod">
          <ac:chgData name="Sarah GAUVARD" userId="4c03e191-e154-482a-88b2-11de19eac96c" providerId="ADAL" clId="{8245CC27-65FB-483E-B8E7-D04039DBA80D}" dt="2021-05-24T16:09:28.533" v="16526" actId="790"/>
          <ac:spMkLst>
            <pc:docMk/>
            <pc:sldMk cId="4132730322" sldId="10412"/>
            <ac:spMk id="4107" creationId="{EBC573C8-C4E3-432A-81F7-B99236DF594A}"/>
          </ac:spMkLst>
        </pc:spChg>
        <pc:graphicFrameChg chg="mod">
          <ac:chgData name="Sarah GAUVARD" userId="4c03e191-e154-482a-88b2-11de19eac96c" providerId="ADAL" clId="{8245CC27-65FB-483E-B8E7-D04039DBA80D}" dt="2021-05-24T15:34:45.882" v="11754"/>
          <ac:graphicFrameMkLst>
            <pc:docMk/>
            <pc:sldMk cId="4132730322" sldId="10412"/>
            <ac:graphicFrameMk id="17" creationId="{FF44A7FF-DA1D-48E9-88AF-BFA57A1D74D1}"/>
          </ac:graphicFrameMkLst>
        </pc:graphicFrameChg>
        <pc:cxnChg chg="mod">
          <ac:chgData name="Sarah GAUVARD" userId="4c03e191-e154-482a-88b2-11de19eac96c" providerId="ADAL" clId="{8245CC27-65FB-483E-B8E7-D04039DBA80D}" dt="2021-05-25T15:13:39.979" v="27583" actId="208"/>
          <ac:cxnSpMkLst>
            <pc:docMk/>
            <pc:sldMk cId="4132730322" sldId="10412"/>
            <ac:cxnSpMk id="176" creationId="{FA713B8B-5302-426B-AA78-F5CF2D25B675}"/>
          </ac:cxnSpMkLst>
        </pc:cxnChg>
        <pc:cxnChg chg="mod">
          <ac:chgData name="Sarah GAUVARD" userId="4c03e191-e154-482a-88b2-11de19eac96c" providerId="ADAL" clId="{8245CC27-65FB-483E-B8E7-D04039DBA80D}" dt="2021-05-25T15:13:38.427" v="27582" actId="208"/>
          <ac:cxnSpMkLst>
            <pc:docMk/>
            <pc:sldMk cId="4132730322" sldId="10412"/>
            <ac:cxnSpMk id="4116" creationId="{42B6CE9C-6923-4A06-B3FD-418AA9659E67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5T08:39:29.746" v="18716" actId="1035"/>
        <pc:sldMkLst>
          <pc:docMk/>
          <pc:sldMk cId="3463901835" sldId="10414"/>
        </pc:sldMkLst>
        <pc:spChg chg="mod">
          <ac:chgData name="Sarah GAUVARD" userId="4c03e191-e154-482a-88b2-11de19eac96c" providerId="ADAL" clId="{8245CC27-65FB-483E-B8E7-D04039DBA80D}" dt="2021-05-24T16:09:26.633" v="14656" actId="790"/>
          <ac:spMkLst>
            <pc:docMk/>
            <pc:sldMk cId="3463901835" sldId="10414"/>
            <ac:spMk id="2" creationId="{6141F854-3009-40D7-9038-56590105A49E}"/>
          </ac:spMkLst>
        </pc:spChg>
        <pc:spChg chg="mod">
          <ac:chgData name="Sarah GAUVARD" userId="4c03e191-e154-482a-88b2-11de19eac96c" providerId="ADAL" clId="{8245CC27-65FB-483E-B8E7-D04039DBA80D}" dt="2021-05-24T16:09:26.682" v="14694" actId="790"/>
          <ac:spMkLst>
            <pc:docMk/>
            <pc:sldMk cId="3463901835" sldId="10414"/>
            <ac:spMk id="3" creationId="{560625DF-BB9A-476B-B434-FFCE76A905DE}"/>
          </ac:spMkLst>
        </pc:spChg>
        <pc:spChg chg="add del mod modVis">
          <ac:chgData name="Sarah GAUVARD" userId="4c03e191-e154-482a-88b2-11de19eac96c" providerId="ADAL" clId="{8245CC27-65FB-483E-B8E7-D04039DBA80D}" dt="2021-05-24T15:34:46.592" v="12120"/>
          <ac:spMkLst>
            <pc:docMk/>
            <pc:sldMk cId="3463901835" sldId="10414"/>
            <ac:spMk id="4" creationId="{9F411B79-89A8-4EED-A025-51C684AEA5B9}"/>
          </ac:spMkLst>
        </pc:spChg>
        <pc:spChg chg="mod">
          <ac:chgData name="Sarah GAUVARD" userId="4c03e191-e154-482a-88b2-11de19eac96c" providerId="ADAL" clId="{8245CC27-65FB-483E-B8E7-D04039DBA80D}" dt="2021-05-24T16:09:26.633" v="14657" actId="790"/>
          <ac:spMkLst>
            <pc:docMk/>
            <pc:sldMk cId="3463901835" sldId="10414"/>
            <ac:spMk id="14" creationId="{BF99168B-58D2-49E3-9128-C54D5771CCAF}"/>
          </ac:spMkLst>
        </pc:spChg>
        <pc:spChg chg="mod">
          <ac:chgData name="Sarah GAUVARD" userId="4c03e191-e154-482a-88b2-11de19eac96c" providerId="ADAL" clId="{8245CC27-65FB-483E-B8E7-D04039DBA80D}" dt="2021-05-24T16:09:26.633" v="14658" actId="790"/>
          <ac:spMkLst>
            <pc:docMk/>
            <pc:sldMk cId="3463901835" sldId="10414"/>
            <ac:spMk id="15" creationId="{05128460-7BFC-4307-97D3-8D6BCE648098}"/>
          </ac:spMkLst>
        </pc:spChg>
        <pc:spChg chg="mod">
          <ac:chgData name="Sarah GAUVARD" userId="4c03e191-e154-482a-88b2-11de19eac96c" providerId="ADAL" clId="{8245CC27-65FB-483E-B8E7-D04039DBA80D}" dt="2021-05-24T16:09:26.633" v="14659" actId="790"/>
          <ac:spMkLst>
            <pc:docMk/>
            <pc:sldMk cId="3463901835" sldId="10414"/>
            <ac:spMk id="16" creationId="{52DC22F7-50A1-4F9E-BDE2-AEB9287C6358}"/>
          </ac:spMkLst>
        </pc:spChg>
        <pc:spChg chg="mod">
          <ac:chgData name="Sarah GAUVARD" userId="4c03e191-e154-482a-88b2-11de19eac96c" providerId="ADAL" clId="{8245CC27-65FB-483E-B8E7-D04039DBA80D}" dt="2021-05-24T16:09:26.633" v="14660" actId="790"/>
          <ac:spMkLst>
            <pc:docMk/>
            <pc:sldMk cId="3463901835" sldId="10414"/>
            <ac:spMk id="17" creationId="{13362563-A54C-40FC-9CE3-98BEEED7C283}"/>
          </ac:spMkLst>
        </pc:spChg>
        <pc:spChg chg="mod">
          <ac:chgData name="Sarah GAUVARD" userId="4c03e191-e154-482a-88b2-11de19eac96c" providerId="ADAL" clId="{8245CC27-65FB-483E-B8E7-D04039DBA80D}" dt="2021-05-24T16:09:26.633" v="14661" actId="790"/>
          <ac:spMkLst>
            <pc:docMk/>
            <pc:sldMk cId="3463901835" sldId="10414"/>
            <ac:spMk id="18" creationId="{A0FC123E-1912-4BE1-A532-BD9FD91F6D4C}"/>
          </ac:spMkLst>
        </pc:spChg>
        <pc:spChg chg="mod">
          <ac:chgData name="Sarah GAUVARD" userId="4c03e191-e154-482a-88b2-11de19eac96c" providerId="ADAL" clId="{8245CC27-65FB-483E-B8E7-D04039DBA80D}" dt="2021-05-24T16:09:26.633" v="14662" actId="790"/>
          <ac:spMkLst>
            <pc:docMk/>
            <pc:sldMk cId="3463901835" sldId="10414"/>
            <ac:spMk id="19" creationId="{53B1CD2F-0672-4E2A-A3D2-D816C1F3C13A}"/>
          </ac:spMkLst>
        </pc:spChg>
        <pc:spChg chg="mod">
          <ac:chgData name="Sarah GAUVARD" userId="4c03e191-e154-482a-88b2-11de19eac96c" providerId="ADAL" clId="{8245CC27-65FB-483E-B8E7-D04039DBA80D}" dt="2021-05-24T16:09:26.633" v="14663" actId="790"/>
          <ac:spMkLst>
            <pc:docMk/>
            <pc:sldMk cId="3463901835" sldId="10414"/>
            <ac:spMk id="20" creationId="{2C72074C-EA62-427A-B807-7B4830414ADA}"/>
          </ac:spMkLst>
        </pc:spChg>
        <pc:spChg chg="mod">
          <ac:chgData name="Sarah GAUVARD" userId="4c03e191-e154-482a-88b2-11de19eac96c" providerId="ADAL" clId="{8245CC27-65FB-483E-B8E7-D04039DBA80D}" dt="2021-05-24T16:09:26.641" v="14664" actId="790"/>
          <ac:spMkLst>
            <pc:docMk/>
            <pc:sldMk cId="3463901835" sldId="10414"/>
            <ac:spMk id="21" creationId="{3CAD7744-8624-4211-8642-F7A97366903A}"/>
          </ac:spMkLst>
        </pc:spChg>
        <pc:spChg chg="mod">
          <ac:chgData name="Sarah GAUVARD" userId="4c03e191-e154-482a-88b2-11de19eac96c" providerId="ADAL" clId="{8245CC27-65FB-483E-B8E7-D04039DBA80D}" dt="2021-05-24T16:09:26.641" v="14665" actId="790"/>
          <ac:spMkLst>
            <pc:docMk/>
            <pc:sldMk cId="3463901835" sldId="10414"/>
            <ac:spMk id="22" creationId="{0EE64BA2-0E59-4319-86FD-6DC0E3B07DC6}"/>
          </ac:spMkLst>
        </pc:spChg>
        <pc:spChg chg="mod">
          <ac:chgData name="Sarah GAUVARD" userId="4c03e191-e154-482a-88b2-11de19eac96c" providerId="ADAL" clId="{8245CC27-65FB-483E-B8E7-D04039DBA80D}" dt="2021-05-24T16:09:26.643" v="14666" actId="790"/>
          <ac:spMkLst>
            <pc:docMk/>
            <pc:sldMk cId="3463901835" sldId="10414"/>
            <ac:spMk id="23" creationId="{C50B6671-D4B5-4C43-8259-C37662E047AC}"/>
          </ac:spMkLst>
        </pc:spChg>
        <pc:spChg chg="mod">
          <ac:chgData name="Sarah GAUVARD" userId="4c03e191-e154-482a-88b2-11de19eac96c" providerId="ADAL" clId="{8245CC27-65FB-483E-B8E7-D04039DBA80D}" dt="2021-05-24T16:09:26.643" v="14667" actId="790"/>
          <ac:spMkLst>
            <pc:docMk/>
            <pc:sldMk cId="3463901835" sldId="10414"/>
            <ac:spMk id="24" creationId="{6FD5383A-D90F-4793-9EE4-978E5E77E6AE}"/>
          </ac:spMkLst>
        </pc:spChg>
        <pc:spChg chg="mod">
          <ac:chgData name="Sarah GAUVARD" userId="4c03e191-e154-482a-88b2-11de19eac96c" providerId="ADAL" clId="{8245CC27-65FB-483E-B8E7-D04039DBA80D}" dt="2021-05-24T16:09:26.643" v="14668" actId="790"/>
          <ac:spMkLst>
            <pc:docMk/>
            <pc:sldMk cId="3463901835" sldId="10414"/>
            <ac:spMk id="25" creationId="{E73D5AA9-9BED-4CFE-9B15-BA2CA34D3A8F}"/>
          </ac:spMkLst>
        </pc:spChg>
        <pc:spChg chg="mod">
          <ac:chgData name="Sarah GAUVARD" userId="4c03e191-e154-482a-88b2-11de19eac96c" providerId="ADAL" clId="{8245CC27-65FB-483E-B8E7-D04039DBA80D}" dt="2021-05-24T16:09:26.643" v="14669" actId="790"/>
          <ac:spMkLst>
            <pc:docMk/>
            <pc:sldMk cId="3463901835" sldId="10414"/>
            <ac:spMk id="26" creationId="{1CF178C9-FA09-4B3B-8961-A7D3052DF2A2}"/>
          </ac:spMkLst>
        </pc:spChg>
        <pc:spChg chg="mod">
          <ac:chgData name="Sarah GAUVARD" userId="4c03e191-e154-482a-88b2-11de19eac96c" providerId="ADAL" clId="{8245CC27-65FB-483E-B8E7-D04039DBA80D}" dt="2021-05-24T16:09:26.643" v="14670" actId="790"/>
          <ac:spMkLst>
            <pc:docMk/>
            <pc:sldMk cId="3463901835" sldId="10414"/>
            <ac:spMk id="29" creationId="{4EBEFE44-2A14-4F09-A3EB-58ED287D0203}"/>
          </ac:spMkLst>
        </pc:spChg>
        <pc:spChg chg="mod">
          <ac:chgData name="Sarah GAUVARD" userId="4c03e191-e154-482a-88b2-11de19eac96c" providerId="ADAL" clId="{8245CC27-65FB-483E-B8E7-D04039DBA80D}" dt="2021-05-24T16:09:26.643" v="14671" actId="790"/>
          <ac:spMkLst>
            <pc:docMk/>
            <pc:sldMk cId="3463901835" sldId="10414"/>
            <ac:spMk id="30" creationId="{0D81CDD6-14AC-4542-8189-57ADD3120D86}"/>
          </ac:spMkLst>
        </pc:spChg>
        <pc:spChg chg="mod">
          <ac:chgData name="Sarah GAUVARD" userId="4c03e191-e154-482a-88b2-11de19eac96c" providerId="ADAL" clId="{8245CC27-65FB-483E-B8E7-D04039DBA80D}" dt="2021-05-24T16:09:26.643" v="14672" actId="790"/>
          <ac:spMkLst>
            <pc:docMk/>
            <pc:sldMk cId="3463901835" sldId="10414"/>
            <ac:spMk id="31" creationId="{0A21BF8A-4686-4FC7-B72A-00B5F9563C97}"/>
          </ac:spMkLst>
        </pc:spChg>
        <pc:spChg chg="mod">
          <ac:chgData name="Sarah GAUVARD" userId="4c03e191-e154-482a-88b2-11de19eac96c" providerId="ADAL" clId="{8245CC27-65FB-483E-B8E7-D04039DBA80D}" dt="2021-05-24T16:09:26.643" v="14673" actId="790"/>
          <ac:spMkLst>
            <pc:docMk/>
            <pc:sldMk cId="3463901835" sldId="10414"/>
            <ac:spMk id="33" creationId="{6F619186-A29F-47FC-B4C9-60FE5B327007}"/>
          </ac:spMkLst>
        </pc:spChg>
        <pc:spChg chg="mod">
          <ac:chgData name="Sarah GAUVARD" userId="4c03e191-e154-482a-88b2-11de19eac96c" providerId="ADAL" clId="{8245CC27-65FB-483E-B8E7-D04039DBA80D}" dt="2021-05-24T16:09:26.651" v="14674" actId="790"/>
          <ac:spMkLst>
            <pc:docMk/>
            <pc:sldMk cId="3463901835" sldId="10414"/>
            <ac:spMk id="34" creationId="{7710F13B-8FD8-4679-A9E3-0FF42D7E205D}"/>
          </ac:spMkLst>
        </pc:spChg>
        <pc:spChg chg="mod">
          <ac:chgData name="Sarah GAUVARD" userId="4c03e191-e154-482a-88b2-11de19eac96c" providerId="ADAL" clId="{8245CC27-65FB-483E-B8E7-D04039DBA80D}" dt="2021-05-24T16:09:26.651" v="14675" actId="790"/>
          <ac:spMkLst>
            <pc:docMk/>
            <pc:sldMk cId="3463901835" sldId="10414"/>
            <ac:spMk id="38" creationId="{443D7E13-5E25-417A-AA2B-D37766447346}"/>
          </ac:spMkLst>
        </pc:spChg>
        <pc:spChg chg="mod">
          <ac:chgData name="Sarah GAUVARD" userId="4c03e191-e154-482a-88b2-11de19eac96c" providerId="ADAL" clId="{8245CC27-65FB-483E-B8E7-D04039DBA80D}" dt="2021-05-24T16:09:26.653" v="14676" actId="790"/>
          <ac:spMkLst>
            <pc:docMk/>
            <pc:sldMk cId="3463901835" sldId="10414"/>
            <ac:spMk id="40" creationId="{951BFB89-3A96-459C-8E4A-080B28FCA297}"/>
          </ac:spMkLst>
        </pc:spChg>
        <pc:spChg chg="mod">
          <ac:chgData name="Sarah GAUVARD" userId="4c03e191-e154-482a-88b2-11de19eac96c" providerId="ADAL" clId="{8245CC27-65FB-483E-B8E7-D04039DBA80D}" dt="2021-05-24T16:09:26.653" v="14677" actId="790"/>
          <ac:spMkLst>
            <pc:docMk/>
            <pc:sldMk cId="3463901835" sldId="10414"/>
            <ac:spMk id="41" creationId="{8514CDF6-D3F3-4CEC-96D8-EB94AFEB3106}"/>
          </ac:spMkLst>
        </pc:spChg>
        <pc:spChg chg="mod">
          <ac:chgData name="Sarah GAUVARD" userId="4c03e191-e154-482a-88b2-11de19eac96c" providerId="ADAL" clId="{8245CC27-65FB-483E-B8E7-D04039DBA80D}" dt="2021-05-24T16:09:26.653" v="14678" actId="790"/>
          <ac:spMkLst>
            <pc:docMk/>
            <pc:sldMk cId="3463901835" sldId="10414"/>
            <ac:spMk id="42" creationId="{B14DB10B-7FE9-42ED-B303-F33106400EA9}"/>
          </ac:spMkLst>
        </pc:spChg>
        <pc:spChg chg="mod">
          <ac:chgData name="Sarah GAUVARD" userId="4c03e191-e154-482a-88b2-11de19eac96c" providerId="ADAL" clId="{8245CC27-65FB-483E-B8E7-D04039DBA80D}" dt="2021-05-24T16:09:26.653" v="14679" actId="790"/>
          <ac:spMkLst>
            <pc:docMk/>
            <pc:sldMk cId="3463901835" sldId="10414"/>
            <ac:spMk id="43" creationId="{E84EA5FA-08E9-40F6-A71F-8BA8F3E3ED99}"/>
          </ac:spMkLst>
        </pc:spChg>
        <pc:spChg chg="mod">
          <ac:chgData name="Sarah GAUVARD" userId="4c03e191-e154-482a-88b2-11de19eac96c" providerId="ADAL" clId="{8245CC27-65FB-483E-B8E7-D04039DBA80D}" dt="2021-05-24T16:09:26.653" v="14680" actId="790"/>
          <ac:spMkLst>
            <pc:docMk/>
            <pc:sldMk cId="3463901835" sldId="10414"/>
            <ac:spMk id="44" creationId="{F595688A-2B2A-4B18-BC8F-3E1BBE846D86}"/>
          </ac:spMkLst>
        </pc:spChg>
        <pc:spChg chg="mod">
          <ac:chgData name="Sarah GAUVARD" userId="4c03e191-e154-482a-88b2-11de19eac96c" providerId="ADAL" clId="{8245CC27-65FB-483E-B8E7-D04039DBA80D}" dt="2021-05-24T16:09:26.653" v="14681" actId="790"/>
          <ac:spMkLst>
            <pc:docMk/>
            <pc:sldMk cId="3463901835" sldId="10414"/>
            <ac:spMk id="45" creationId="{7A651798-9873-484A-BCBC-F1732F254FCF}"/>
          </ac:spMkLst>
        </pc:spChg>
        <pc:spChg chg="mod">
          <ac:chgData name="Sarah GAUVARD" userId="4c03e191-e154-482a-88b2-11de19eac96c" providerId="ADAL" clId="{8245CC27-65FB-483E-B8E7-D04039DBA80D}" dt="2021-05-24T16:09:26.653" v="14682" actId="790"/>
          <ac:spMkLst>
            <pc:docMk/>
            <pc:sldMk cId="3463901835" sldId="10414"/>
            <ac:spMk id="46" creationId="{54AFC57A-2292-4CA3-B567-A14B5835A6E8}"/>
          </ac:spMkLst>
        </pc:spChg>
        <pc:spChg chg="mod">
          <ac:chgData name="Sarah GAUVARD" userId="4c03e191-e154-482a-88b2-11de19eac96c" providerId="ADAL" clId="{8245CC27-65FB-483E-B8E7-D04039DBA80D}" dt="2021-05-24T16:09:26.661" v="14683" actId="790"/>
          <ac:spMkLst>
            <pc:docMk/>
            <pc:sldMk cId="3463901835" sldId="10414"/>
            <ac:spMk id="47" creationId="{A14096DC-4CAE-4A32-BFA3-6DBFBDDF9334}"/>
          </ac:spMkLst>
        </pc:spChg>
        <pc:spChg chg="mod">
          <ac:chgData name="Sarah GAUVARD" userId="4c03e191-e154-482a-88b2-11de19eac96c" providerId="ADAL" clId="{8245CC27-65FB-483E-B8E7-D04039DBA80D}" dt="2021-05-24T16:09:26.661" v="14684" actId="790"/>
          <ac:spMkLst>
            <pc:docMk/>
            <pc:sldMk cId="3463901835" sldId="10414"/>
            <ac:spMk id="48" creationId="{071ECFC0-1FE9-49A0-A0B0-4AFD8164EB62}"/>
          </ac:spMkLst>
        </pc:spChg>
        <pc:spChg chg="mod">
          <ac:chgData name="Sarah GAUVARD" userId="4c03e191-e154-482a-88b2-11de19eac96c" providerId="ADAL" clId="{8245CC27-65FB-483E-B8E7-D04039DBA80D}" dt="2021-05-24T16:09:26.663" v="14685" actId="790"/>
          <ac:spMkLst>
            <pc:docMk/>
            <pc:sldMk cId="3463901835" sldId="10414"/>
            <ac:spMk id="49" creationId="{D81D2065-13CD-4420-A58C-E72AE87D1A42}"/>
          </ac:spMkLst>
        </pc:spChg>
        <pc:spChg chg="mod">
          <ac:chgData name="Sarah GAUVARD" userId="4c03e191-e154-482a-88b2-11de19eac96c" providerId="ADAL" clId="{8245CC27-65FB-483E-B8E7-D04039DBA80D}" dt="2021-05-24T16:09:26.663" v="14686" actId="790"/>
          <ac:spMkLst>
            <pc:docMk/>
            <pc:sldMk cId="3463901835" sldId="10414"/>
            <ac:spMk id="50" creationId="{ACAAB4F1-8D2B-4B8D-A0C1-3794501DF384}"/>
          </ac:spMkLst>
        </pc:spChg>
        <pc:spChg chg="mod">
          <ac:chgData name="Sarah GAUVARD" userId="4c03e191-e154-482a-88b2-11de19eac96c" providerId="ADAL" clId="{8245CC27-65FB-483E-B8E7-D04039DBA80D}" dt="2021-05-24T16:09:26.663" v="14687" actId="790"/>
          <ac:spMkLst>
            <pc:docMk/>
            <pc:sldMk cId="3463901835" sldId="10414"/>
            <ac:spMk id="51" creationId="{CCA5A507-9498-412A-8734-37E9A0CAFBC2}"/>
          </ac:spMkLst>
        </pc:spChg>
        <pc:spChg chg="mod">
          <ac:chgData name="Sarah GAUVARD" userId="4c03e191-e154-482a-88b2-11de19eac96c" providerId="ADAL" clId="{8245CC27-65FB-483E-B8E7-D04039DBA80D}" dt="2021-05-24T16:09:26.663" v="14688" actId="790"/>
          <ac:spMkLst>
            <pc:docMk/>
            <pc:sldMk cId="3463901835" sldId="10414"/>
            <ac:spMk id="52" creationId="{9926A3AA-BF17-44D4-8DE7-9339CF1BE6FD}"/>
          </ac:spMkLst>
        </pc:spChg>
        <pc:spChg chg="mod">
          <ac:chgData name="Sarah GAUVARD" userId="4c03e191-e154-482a-88b2-11de19eac96c" providerId="ADAL" clId="{8245CC27-65FB-483E-B8E7-D04039DBA80D}" dt="2021-05-24T16:09:26.663" v="14689" actId="790"/>
          <ac:spMkLst>
            <pc:docMk/>
            <pc:sldMk cId="3463901835" sldId="10414"/>
            <ac:spMk id="53" creationId="{5E59300E-921D-44E2-90E6-C444434FE1E2}"/>
          </ac:spMkLst>
        </pc:spChg>
        <pc:spChg chg="del">
          <ac:chgData name="Sarah GAUVARD" userId="4c03e191-e154-482a-88b2-11de19eac96c" providerId="ADAL" clId="{8245CC27-65FB-483E-B8E7-D04039DBA80D}" dt="2021-05-24T09:48:53.696" v="223" actId="478"/>
          <ac:spMkLst>
            <pc:docMk/>
            <pc:sldMk cId="3463901835" sldId="10414"/>
            <ac:spMk id="54" creationId="{E9A31C11-244D-4A44-8910-6F8D43DC867F}"/>
          </ac:spMkLst>
        </pc:spChg>
        <pc:spChg chg="del">
          <ac:chgData name="Sarah GAUVARD" userId="4c03e191-e154-482a-88b2-11de19eac96c" providerId="ADAL" clId="{8245CC27-65FB-483E-B8E7-D04039DBA80D}" dt="2021-05-24T09:48:53.696" v="223" actId="478"/>
          <ac:spMkLst>
            <pc:docMk/>
            <pc:sldMk cId="3463901835" sldId="10414"/>
            <ac:spMk id="55" creationId="{5463403C-B928-4D4E-B6D4-A48F4A92E1D0}"/>
          </ac:spMkLst>
        </pc:spChg>
        <pc:spChg chg="mod">
          <ac:chgData name="Sarah GAUVARD" userId="4c03e191-e154-482a-88b2-11de19eac96c" providerId="ADAL" clId="{8245CC27-65FB-483E-B8E7-D04039DBA80D}" dt="2021-05-24T16:09:26.663" v="14690" actId="790"/>
          <ac:spMkLst>
            <pc:docMk/>
            <pc:sldMk cId="3463901835" sldId="10414"/>
            <ac:spMk id="56" creationId="{2FB57385-9778-4E16-88A7-927D307E97B3}"/>
          </ac:spMkLst>
        </pc:spChg>
        <pc:spChg chg="del">
          <ac:chgData name="Sarah GAUVARD" userId="4c03e191-e154-482a-88b2-11de19eac96c" providerId="ADAL" clId="{8245CC27-65FB-483E-B8E7-D04039DBA80D}" dt="2021-05-24T09:48:53.696" v="223" actId="478"/>
          <ac:spMkLst>
            <pc:docMk/>
            <pc:sldMk cId="3463901835" sldId="10414"/>
            <ac:spMk id="57" creationId="{50E2DD42-D59E-4875-BA8E-FCB87820C27E}"/>
          </ac:spMkLst>
        </pc:spChg>
        <pc:spChg chg="mod">
          <ac:chgData name="Sarah GAUVARD" userId="4c03e191-e154-482a-88b2-11de19eac96c" providerId="ADAL" clId="{8245CC27-65FB-483E-B8E7-D04039DBA80D}" dt="2021-05-24T16:09:26.672" v="14691" actId="790"/>
          <ac:spMkLst>
            <pc:docMk/>
            <pc:sldMk cId="3463901835" sldId="10414"/>
            <ac:spMk id="58" creationId="{328B4C86-96DF-4F0B-9DF0-1048DA68F379}"/>
          </ac:spMkLst>
        </pc:spChg>
        <pc:spChg chg="del">
          <ac:chgData name="Sarah GAUVARD" userId="4c03e191-e154-482a-88b2-11de19eac96c" providerId="ADAL" clId="{8245CC27-65FB-483E-B8E7-D04039DBA80D}" dt="2021-05-24T09:48:53.696" v="223" actId="478"/>
          <ac:spMkLst>
            <pc:docMk/>
            <pc:sldMk cId="3463901835" sldId="10414"/>
            <ac:spMk id="59" creationId="{41A97A03-01BE-4180-B79C-9EA0A79D840B}"/>
          </ac:spMkLst>
        </pc:spChg>
        <pc:spChg chg="del">
          <ac:chgData name="Sarah GAUVARD" userId="4c03e191-e154-482a-88b2-11de19eac96c" providerId="ADAL" clId="{8245CC27-65FB-483E-B8E7-D04039DBA80D}" dt="2021-05-24T09:48:53.696" v="223" actId="478"/>
          <ac:spMkLst>
            <pc:docMk/>
            <pc:sldMk cId="3463901835" sldId="10414"/>
            <ac:spMk id="60" creationId="{F9855CCA-C348-48A9-99DA-22AA8C5EB0A6}"/>
          </ac:spMkLst>
        </pc:spChg>
        <pc:spChg chg="mod">
          <ac:chgData name="Sarah GAUVARD" userId="4c03e191-e154-482a-88b2-11de19eac96c" providerId="ADAL" clId="{8245CC27-65FB-483E-B8E7-D04039DBA80D}" dt="2021-05-24T16:09:26.674" v="14692" actId="790"/>
          <ac:spMkLst>
            <pc:docMk/>
            <pc:sldMk cId="3463901835" sldId="10414"/>
            <ac:spMk id="61" creationId="{D8946D35-831B-4FB2-9D8B-4DC903BFA94D}"/>
          </ac:spMkLst>
        </pc:spChg>
        <pc:spChg chg="mod">
          <ac:chgData name="Sarah GAUVARD" userId="4c03e191-e154-482a-88b2-11de19eac96c" providerId="ADAL" clId="{8245CC27-65FB-483E-B8E7-D04039DBA80D}" dt="2021-05-24T16:09:26.682" v="14693" actId="790"/>
          <ac:spMkLst>
            <pc:docMk/>
            <pc:sldMk cId="3463901835" sldId="10414"/>
            <ac:spMk id="62" creationId="{B272D2A6-27B4-4CCB-9AAB-635DCFACB418}"/>
          </ac:spMkLst>
        </pc:spChg>
        <pc:spChg chg="mod">
          <ac:chgData name="Sarah GAUVARD" userId="4c03e191-e154-482a-88b2-11de19eac96c" providerId="ADAL" clId="{8245CC27-65FB-483E-B8E7-D04039DBA80D}" dt="2021-05-24T16:09:26.684" v="14695" actId="790"/>
          <ac:spMkLst>
            <pc:docMk/>
            <pc:sldMk cId="3463901835" sldId="10414"/>
            <ac:spMk id="63" creationId="{CACC76FC-2977-4355-BF81-4E5EDB67542C}"/>
          </ac:spMkLst>
        </pc:spChg>
        <pc:spChg chg="mod">
          <ac:chgData name="Sarah GAUVARD" userId="4c03e191-e154-482a-88b2-11de19eac96c" providerId="ADAL" clId="{8245CC27-65FB-483E-B8E7-D04039DBA80D}" dt="2021-05-24T16:09:26.684" v="14696" actId="790"/>
          <ac:spMkLst>
            <pc:docMk/>
            <pc:sldMk cId="3463901835" sldId="10414"/>
            <ac:spMk id="64" creationId="{E69A6A78-2AD3-4D53-8B9B-27B1B6264317}"/>
          </ac:spMkLst>
        </pc:spChg>
        <pc:spChg chg="mod">
          <ac:chgData name="Sarah GAUVARD" userId="4c03e191-e154-482a-88b2-11de19eac96c" providerId="ADAL" clId="{8245CC27-65FB-483E-B8E7-D04039DBA80D}" dt="2021-05-24T16:09:26.684" v="14697" actId="790"/>
          <ac:spMkLst>
            <pc:docMk/>
            <pc:sldMk cId="3463901835" sldId="10414"/>
            <ac:spMk id="65" creationId="{B996472B-4494-4092-90D2-F9B0598EDA9B}"/>
          </ac:spMkLst>
        </pc:spChg>
        <pc:spChg chg="mod">
          <ac:chgData name="Sarah GAUVARD" userId="4c03e191-e154-482a-88b2-11de19eac96c" providerId="ADAL" clId="{8245CC27-65FB-483E-B8E7-D04039DBA80D}" dt="2021-05-24T16:09:26.684" v="14698" actId="790"/>
          <ac:spMkLst>
            <pc:docMk/>
            <pc:sldMk cId="3463901835" sldId="10414"/>
            <ac:spMk id="66" creationId="{580E88D8-DB2D-4BAA-87C9-C7877E27FD4E}"/>
          </ac:spMkLst>
        </pc:spChg>
        <pc:spChg chg="mod">
          <ac:chgData name="Sarah GAUVARD" userId="4c03e191-e154-482a-88b2-11de19eac96c" providerId="ADAL" clId="{8245CC27-65FB-483E-B8E7-D04039DBA80D}" dt="2021-05-24T16:09:26.684" v="14699" actId="790"/>
          <ac:spMkLst>
            <pc:docMk/>
            <pc:sldMk cId="3463901835" sldId="10414"/>
            <ac:spMk id="67" creationId="{29C19D83-CDAD-468C-B418-83C2D1E45543}"/>
          </ac:spMkLst>
        </pc:spChg>
        <pc:spChg chg="mod">
          <ac:chgData name="Sarah GAUVARD" userId="4c03e191-e154-482a-88b2-11de19eac96c" providerId="ADAL" clId="{8245CC27-65FB-483E-B8E7-D04039DBA80D}" dt="2021-05-24T16:09:26.684" v="14700" actId="790"/>
          <ac:spMkLst>
            <pc:docMk/>
            <pc:sldMk cId="3463901835" sldId="10414"/>
            <ac:spMk id="68" creationId="{7BD2CCAB-CCFD-487A-BBD3-6041900F9E7C}"/>
          </ac:spMkLst>
        </pc:spChg>
        <pc:spChg chg="mod">
          <ac:chgData name="Sarah GAUVARD" userId="4c03e191-e154-482a-88b2-11de19eac96c" providerId="ADAL" clId="{8245CC27-65FB-483E-B8E7-D04039DBA80D}" dt="2021-05-24T16:09:26.684" v="14701" actId="790"/>
          <ac:spMkLst>
            <pc:docMk/>
            <pc:sldMk cId="3463901835" sldId="10414"/>
            <ac:spMk id="69" creationId="{B7EBBC5A-DA14-4F74-B1F0-E98AF52DABD0}"/>
          </ac:spMkLst>
        </pc:spChg>
        <pc:spChg chg="mod">
          <ac:chgData name="Sarah GAUVARD" userId="4c03e191-e154-482a-88b2-11de19eac96c" providerId="ADAL" clId="{8245CC27-65FB-483E-B8E7-D04039DBA80D}" dt="2021-05-24T16:09:26.684" v="14702" actId="790"/>
          <ac:spMkLst>
            <pc:docMk/>
            <pc:sldMk cId="3463901835" sldId="10414"/>
            <ac:spMk id="70" creationId="{3291AB25-490F-4B63-A46D-E02764883457}"/>
          </ac:spMkLst>
        </pc:spChg>
        <pc:spChg chg="mod">
          <ac:chgData name="Sarah GAUVARD" userId="4c03e191-e154-482a-88b2-11de19eac96c" providerId="ADAL" clId="{8245CC27-65FB-483E-B8E7-D04039DBA80D}" dt="2021-05-24T16:09:26.684" v="14703" actId="790"/>
          <ac:spMkLst>
            <pc:docMk/>
            <pc:sldMk cId="3463901835" sldId="10414"/>
            <ac:spMk id="71" creationId="{075BD30D-D6B5-4502-AB64-F5EF3A546F22}"/>
          </ac:spMkLst>
        </pc:spChg>
        <pc:spChg chg="mod">
          <ac:chgData name="Sarah GAUVARD" userId="4c03e191-e154-482a-88b2-11de19eac96c" providerId="ADAL" clId="{8245CC27-65FB-483E-B8E7-D04039DBA80D}" dt="2021-05-25T08:39:29.746" v="18716" actId="1035"/>
          <ac:spMkLst>
            <pc:docMk/>
            <pc:sldMk cId="3463901835" sldId="10414"/>
            <ac:spMk id="72" creationId="{B8A5B5FA-956D-4336-94C9-315F1C4DA686}"/>
          </ac:spMkLst>
        </pc:spChg>
        <pc:spChg chg="mod">
          <ac:chgData name="Sarah GAUVARD" userId="4c03e191-e154-482a-88b2-11de19eac96c" providerId="ADAL" clId="{8245CC27-65FB-483E-B8E7-D04039DBA80D}" dt="2021-05-24T16:09:26.692" v="14705" actId="790"/>
          <ac:spMkLst>
            <pc:docMk/>
            <pc:sldMk cId="3463901835" sldId="10414"/>
            <ac:spMk id="73" creationId="{BB81862D-1352-415B-9794-C265DDB814EE}"/>
          </ac:spMkLst>
        </pc:spChg>
        <pc:spChg chg="mod">
          <ac:chgData name="Sarah GAUVARD" userId="4c03e191-e154-482a-88b2-11de19eac96c" providerId="ADAL" clId="{8245CC27-65FB-483E-B8E7-D04039DBA80D}" dt="2021-05-24T16:09:26.692" v="14706" actId="790"/>
          <ac:spMkLst>
            <pc:docMk/>
            <pc:sldMk cId="3463901835" sldId="10414"/>
            <ac:spMk id="74" creationId="{5013318F-F7B4-4AAF-ADC5-C66BF396BB1E}"/>
          </ac:spMkLst>
        </pc:spChg>
        <pc:spChg chg="add mod">
          <ac:chgData name="Sarah GAUVARD" userId="4c03e191-e154-482a-88b2-11de19eac96c" providerId="ADAL" clId="{8245CC27-65FB-483E-B8E7-D04039DBA80D}" dt="2021-05-24T09:48:53.894" v="224"/>
          <ac:spMkLst>
            <pc:docMk/>
            <pc:sldMk cId="3463901835" sldId="10414"/>
            <ac:spMk id="75" creationId="{CB9B43AE-1547-457C-A273-1320CA76CB3B}"/>
          </ac:spMkLst>
        </pc:spChg>
        <pc:spChg chg="add mod">
          <ac:chgData name="Sarah GAUVARD" userId="4c03e191-e154-482a-88b2-11de19eac96c" providerId="ADAL" clId="{8245CC27-65FB-483E-B8E7-D04039DBA80D}" dt="2021-05-24T09:48:53.894" v="224"/>
          <ac:spMkLst>
            <pc:docMk/>
            <pc:sldMk cId="3463901835" sldId="10414"/>
            <ac:spMk id="76" creationId="{AE904024-EA20-4D60-AB0B-C139F02FB2A9}"/>
          </ac:spMkLst>
        </pc:spChg>
        <pc:spChg chg="add mod">
          <ac:chgData name="Sarah GAUVARD" userId="4c03e191-e154-482a-88b2-11de19eac96c" providerId="ADAL" clId="{8245CC27-65FB-483E-B8E7-D04039DBA80D}" dt="2021-05-24T09:48:53.894" v="224"/>
          <ac:spMkLst>
            <pc:docMk/>
            <pc:sldMk cId="3463901835" sldId="10414"/>
            <ac:spMk id="77" creationId="{AB0D4D7A-5D70-4F9E-A762-65CCD88904AC}"/>
          </ac:spMkLst>
        </pc:spChg>
        <pc:spChg chg="add mod">
          <ac:chgData name="Sarah GAUVARD" userId="4c03e191-e154-482a-88b2-11de19eac96c" providerId="ADAL" clId="{8245CC27-65FB-483E-B8E7-D04039DBA80D}" dt="2021-05-24T09:48:53.894" v="224"/>
          <ac:spMkLst>
            <pc:docMk/>
            <pc:sldMk cId="3463901835" sldId="10414"/>
            <ac:spMk id="78" creationId="{E5C79D5F-D2B0-4680-AA6C-E73274912CD4}"/>
          </ac:spMkLst>
        </pc:spChg>
        <pc:spChg chg="add mod">
          <ac:chgData name="Sarah GAUVARD" userId="4c03e191-e154-482a-88b2-11de19eac96c" providerId="ADAL" clId="{8245CC27-65FB-483E-B8E7-D04039DBA80D}" dt="2021-05-24T09:48:53.894" v="224"/>
          <ac:spMkLst>
            <pc:docMk/>
            <pc:sldMk cId="3463901835" sldId="10414"/>
            <ac:spMk id="79" creationId="{43B23F38-045E-49AC-BFC0-E481E439ED01}"/>
          </ac:spMkLst>
        </pc:spChg>
        <pc:spChg chg="mod">
          <ac:chgData name="Sarah GAUVARD" userId="4c03e191-e154-482a-88b2-11de19eac96c" providerId="ADAL" clId="{8245CC27-65FB-483E-B8E7-D04039DBA80D}" dt="2021-05-24T16:09:26.694" v="14707" actId="790"/>
          <ac:spMkLst>
            <pc:docMk/>
            <pc:sldMk cId="3463901835" sldId="10414"/>
            <ac:spMk id="83" creationId="{B022D544-F72E-4747-A8CA-168E2A57EA0D}"/>
          </ac:spMkLst>
        </pc:spChg>
        <pc:spChg chg="mod">
          <ac:chgData name="Sarah GAUVARD" userId="4c03e191-e154-482a-88b2-11de19eac96c" providerId="ADAL" clId="{8245CC27-65FB-483E-B8E7-D04039DBA80D}" dt="2021-05-24T16:09:26.694" v="14708" actId="790"/>
          <ac:spMkLst>
            <pc:docMk/>
            <pc:sldMk cId="3463901835" sldId="10414"/>
            <ac:spMk id="85" creationId="{C88CFD24-A3E1-478D-B34C-1E0ECF85A40D}"/>
          </ac:spMkLst>
        </pc:spChg>
        <pc:spChg chg="mod">
          <ac:chgData name="Sarah GAUVARD" userId="4c03e191-e154-482a-88b2-11de19eac96c" providerId="ADAL" clId="{8245CC27-65FB-483E-B8E7-D04039DBA80D}" dt="2021-05-24T16:09:26.694" v="14709" actId="790"/>
          <ac:spMkLst>
            <pc:docMk/>
            <pc:sldMk cId="3463901835" sldId="10414"/>
            <ac:spMk id="86" creationId="{6CB430ED-F66D-45D4-8301-C9F93105C4D1}"/>
          </ac:spMkLst>
        </pc:spChg>
        <pc:spChg chg="mod">
          <ac:chgData name="Sarah GAUVARD" userId="4c03e191-e154-482a-88b2-11de19eac96c" providerId="ADAL" clId="{8245CC27-65FB-483E-B8E7-D04039DBA80D}" dt="2021-05-24T16:09:26.694" v="14710" actId="790"/>
          <ac:spMkLst>
            <pc:docMk/>
            <pc:sldMk cId="3463901835" sldId="10414"/>
            <ac:spMk id="87" creationId="{C2862B83-240F-4A1D-B35E-91B2A481B969}"/>
          </ac:spMkLst>
        </pc:spChg>
        <pc:spChg chg="mod">
          <ac:chgData name="Sarah GAUVARD" userId="4c03e191-e154-482a-88b2-11de19eac96c" providerId="ADAL" clId="{8245CC27-65FB-483E-B8E7-D04039DBA80D}" dt="2021-05-24T16:09:26.694" v="14711" actId="790"/>
          <ac:spMkLst>
            <pc:docMk/>
            <pc:sldMk cId="3463901835" sldId="10414"/>
            <ac:spMk id="88" creationId="{7FB8AE25-3C90-4AC1-A2A5-ADD97D79DB6C}"/>
          </ac:spMkLst>
        </pc:spChg>
        <pc:spChg chg="mod">
          <ac:chgData name="Sarah GAUVARD" userId="4c03e191-e154-482a-88b2-11de19eac96c" providerId="ADAL" clId="{8245CC27-65FB-483E-B8E7-D04039DBA80D}" dt="2021-05-24T16:09:26.694" v="14712" actId="790"/>
          <ac:spMkLst>
            <pc:docMk/>
            <pc:sldMk cId="3463901835" sldId="10414"/>
            <ac:spMk id="89" creationId="{7889FD5A-6C5A-4272-B1C1-B8A724F2B10F}"/>
          </ac:spMkLst>
        </pc:spChg>
        <pc:spChg chg="mod">
          <ac:chgData name="Sarah GAUVARD" userId="4c03e191-e154-482a-88b2-11de19eac96c" providerId="ADAL" clId="{8245CC27-65FB-483E-B8E7-D04039DBA80D}" dt="2021-05-24T16:09:26.702" v="14713" actId="790"/>
          <ac:spMkLst>
            <pc:docMk/>
            <pc:sldMk cId="3463901835" sldId="10414"/>
            <ac:spMk id="90" creationId="{77F48DB9-7925-4FD7-8D0B-8F07F8491523}"/>
          </ac:spMkLst>
        </pc:spChg>
        <pc:spChg chg="mod">
          <ac:chgData name="Sarah GAUVARD" userId="4c03e191-e154-482a-88b2-11de19eac96c" providerId="ADAL" clId="{8245CC27-65FB-483E-B8E7-D04039DBA80D}" dt="2021-05-24T16:09:26.702" v="14714" actId="790"/>
          <ac:spMkLst>
            <pc:docMk/>
            <pc:sldMk cId="3463901835" sldId="10414"/>
            <ac:spMk id="94" creationId="{0F4F10F5-977E-4EB0-91A1-B96246179616}"/>
          </ac:spMkLst>
        </pc:spChg>
        <pc:spChg chg="mod">
          <ac:chgData name="Sarah GAUVARD" userId="4c03e191-e154-482a-88b2-11de19eac96c" providerId="ADAL" clId="{8245CC27-65FB-483E-B8E7-D04039DBA80D}" dt="2021-05-24T16:09:26.704" v="14715" actId="790"/>
          <ac:spMkLst>
            <pc:docMk/>
            <pc:sldMk cId="3463901835" sldId="10414"/>
            <ac:spMk id="111" creationId="{AAE2193E-2CF1-466B-885D-77842A9A9102}"/>
          </ac:spMkLst>
        </pc:spChg>
        <pc:spChg chg="mod">
          <ac:chgData name="Sarah GAUVARD" userId="4c03e191-e154-482a-88b2-11de19eac96c" providerId="ADAL" clId="{8245CC27-65FB-483E-B8E7-D04039DBA80D}" dt="2021-05-24T16:09:26.704" v="14716" actId="790"/>
          <ac:spMkLst>
            <pc:docMk/>
            <pc:sldMk cId="3463901835" sldId="10414"/>
            <ac:spMk id="112" creationId="{58F1BE0C-A14B-42E1-B182-64C59CD08680}"/>
          </ac:spMkLst>
        </pc:spChg>
        <pc:spChg chg="mod">
          <ac:chgData name="Sarah GAUVARD" userId="4c03e191-e154-482a-88b2-11de19eac96c" providerId="ADAL" clId="{8245CC27-65FB-483E-B8E7-D04039DBA80D}" dt="2021-05-24T16:09:26.704" v="14717" actId="790"/>
          <ac:spMkLst>
            <pc:docMk/>
            <pc:sldMk cId="3463901835" sldId="10414"/>
            <ac:spMk id="115" creationId="{4C8FA9C8-0FBF-4037-96F3-8EFAF86EDF43}"/>
          </ac:spMkLst>
        </pc:spChg>
        <pc:spChg chg="mod">
          <ac:chgData name="Sarah GAUVARD" userId="4c03e191-e154-482a-88b2-11de19eac96c" providerId="ADAL" clId="{8245CC27-65FB-483E-B8E7-D04039DBA80D}" dt="2021-05-24T16:09:26.704" v="14718" actId="790"/>
          <ac:spMkLst>
            <pc:docMk/>
            <pc:sldMk cId="3463901835" sldId="10414"/>
            <ac:spMk id="116" creationId="{E9EB210A-3C43-464B-B1D9-552CCCE3C790}"/>
          </ac:spMkLst>
        </pc:spChg>
        <pc:spChg chg="mod">
          <ac:chgData name="Sarah GAUVARD" userId="4c03e191-e154-482a-88b2-11de19eac96c" providerId="ADAL" clId="{8245CC27-65FB-483E-B8E7-D04039DBA80D}" dt="2021-05-24T16:09:26.704" v="14719" actId="790"/>
          <ac:spMkLst>
            <pc:docMk/>
            <pc:sldMk cId="3463901835" sldId="10414"/>
            <ac:spMk id="118" creationId="{36EAF917-2EDA-4E57-AFC3-B7BE0FEE1368}"/>
          </ac:spMkLst>
        </pc:spChg>
        <pc:spChg chg="mod">
          <ac:chgData name="Sarah GAUVARD" userId="4c03e191-e154-482a-88b2-11de19eac96c" providerId="ADAL" clId="{8245CC27-65FB-483E-B8E7-D04039DBA80D}" dt="2021-05-24T16:09:26.704" v="14720" actId="790"/>
          <ac:spMkLst>
            <pc:docMk/>
            <pc:sldMk cId="3463901835" sldId="10414"/>
            <ac:spMk id="119" creationId="{15943C5A-2408-4C86-97FC-4509C9806305}"/>
          </ac:spMkLst>
        </pc:spChg>
        <pc:spChg chg="mod">
          <ac:chgData name="Sarah GAUVARD" userId="4c03e191-e154-482a-88b2-11de19eac96c" providerId="ADAL" clId="{8245CC27-65FB-483E-B8E7-D04039DBA80D}" dt="2021-05-24T16:09:26.704" v="14721" actId="790"/>
          <ac:spMkLst>
            <pc:docMk/>
            <pc:sldMk cId="3463901835" sldId="10414"/>
            <ac:spMk id="120" creationId="{57EECD1B-589F-4C0F-9484-034BBF13B65A}"/>
          </ac:spMkLst>
        </pc:spChg>
        <pc:spChg chg="mod">
          <ac:chgData name="Sarah GAUVARD" userId="4c03e191-e154-482a-88b2-11de19eac96c" providerId="ADAL" clId="{8245CC27-65FB-483E-B8E7-D04039DBA80D}" dt="2021-05-24T16:09:26.704" v="14722" actId="790"/>
          <ac:spMkLst>
            <pc:docMk/>
            <pc:sldMk cId="3463901835" sldId="10414"/>
            <ac:spMk id="121" creationId="{8FCC1005-0160-4A13-A573-F95998ED5187}"/>
          </ac:spMkLst>
        </pc:spChg>
        <pc:spChg chg="mod">
          <ac:chgData name="Sarah GAUVARD" userId="4c03e191-e154-482a-88b2-11de19eac96c" providerId="ADAL" clId="{8245CC27-65FB-483E-B8E7-D04039DBA80D}" dt="2021-05-24T16:09:26.704" v="14723" actId="790"/>
          <ac:spMkLst>
            <pc:docMk/>
            <pc:sldMk cId="3463901835" sldId="10414"/>
            <ac:spMk id="122" creationId="{C870D215-6CC7-46AA-992F-A47306A7E127}"/>
          </ac:spMkLst>
        </pc:spChg>
        <pc:spChg chg="mod">
          <ac:chgData name="Sarah GAUVARD" userId="4c03e191-e154-482a-88b2-11de19eac96c" providerId="ADAL" clId="{8245CC27-65FB-483E-B8E7-D04039DBA80D}" dt="2021-05-24T16:09:26.712" v="14724" actId="790"/>
          <ac:spMkLst>
            <pc:docMk/>
            <pc:sldMk cId="3463901835" sldId="10414"/>
            <ac:spMk id="123" creationId="{70A96BF7-6A69-43E4-873C-1D9B36A01421}"/>
          </ac:spMkLst>
        </pc:spChg>
        <pc:graphicFrameChg chg="mod">
          <ac:chgData name="Sarah GAUVARD" userId="4c03e191-e154-482a-88b2-11de19eac96c" providerId="ADAL" clId="{8245CC27-65FB-483E-B8E7-D04039DBA80D}" dt="2021-05-24T15:34:46.596" v="12122"/>
          <ac:graphicFrameMkLst>
            <pc:docMk/>
            <pc:sldMk cId="3463901835" sldId="10414"/>
            <ac:graphicFrameMk id="5" creationId="{58F89C0C-E0E8-4876-A98A-438F18CAD39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6.734" v="14751" actId="790"/>
        <pc:sldMkLst>
          <pc:docMk/>
          <pc:sldMk cId="718926585" sldId="10416"/>
        </pc:sldMkLst>
        <pc:spChg chg="mod ord">
          <ac:chgData name="Sarah GAUVARD" userId="4c03e191-e154-482a-88b2-11de19eac96c" providerId="ADAL" clId="{8245CC27-65FB-483E-B8E7-D04039DBA80D}" dt="2021-05-24T16:09:26.714" v="14728" actId="790"/>
          <ac:spMkLst>
            <pc:docMk/>
            <pc:sldMk cId="718926585" sldId="10416"/>
            <ac:spMk id="2" creationId="{6141F854-3009-40D7-9038-56590105A49E}"/>
          </ac:spMkLst>
        </pc:spChg>
        <pc:spChg chg="add del mod modVis">
          <ac:chgData name="Sarah GAUVARD" userId="4c03e191-e154-482a-88b2-11de19eac96c" providerId="ADAL" clId="{8245CC27-65FB-483E-B8E7-D04039DBA80D}" dt="2021-05-24T09:49:08.406" v="320"/>
          <ac:spMkLst>
            <pc:docMk/>
            <pc:sldMk cId="718926585" sldId="10416"/>
            <ac:spMk id="3" creationId="{7544DAFA-F2DF-47F5-911A-11CF730BA812}"/>
          </ac:spMkLst>
        </pc:spChg>
        <pc:spChg chg="add del mod modVis">
          <ac:chgData name="Sarah GAUVARD" userId="4c03e191-e154-482a-88b2-11de19eac96c" providerId="ADAL" clId="{8245CC27-65FB-483E-B8E7-D04039DBA80D}" dt="2021-05-24T15:34:46.156" v="11923"/>
          <ac:spMkLst>
            <pc:docMk/>
            <pc:sldMk cId="718926585" sldId="10416"/>
            <ac:spMk id="4" creationId="{0C23B750-2B75-4900-AE37-EA8FB2E9433C}"/>
          </ac:spMkLst>
        </pc:spChg>
        <pc:spChg chg="mod ord">
          <ac:chgData name="Sarah GAUVARD" userId="4c03e191-e154-482a-88b2-11de19eac96c" providerId="ADAL" clId="{8245CC27-65FB-483E-B8E7-D04039DBA80D}" dt="2021-05-24T16:09:26.714" v="14727" actId="790"/>
          <ac:spMkLst>
            <pc:docMk/>
            <pc:sldMk cId="718926585" sldId="10416"/>
            <ac:spMk id="14" creationId="{79163A55-8253-4415-87E3-49B6AA0C98BF}"/>
          </ac:spMkLst>
        </pc:spChg>
        <pc:spChg chg="mod ord">
          <ac:chgData name="Sarah GAUVARD" userId="4c03e191-e154-482a-88b2-11de19eac96c" providerId="ADAL" clId="{8245CC27-65FB-483E-B8E7-D04039DBA80D}" dt="2021-05-24T16:09:26.714" v="14726" actId="790"/>
          <ac:spMkLst>
            <pc:docMk/>
            <pc:sldMk cId="718926585" sldId="10416"/>
            <ac:spMk id="15" creationId="{C7CC0E72-2C4D-4227-BE31-58EBB8D10C2D}"/>
          </ac:spMkLst>
        </pc:spChg>
        <pc:spChg chg="mod ord">
          <ac:chgData name="Sarah GAUVARD" userId="4c03e191-e154-482a-88b2-11de19eac96c" providerId="ADAL" clId="{8245CC27-65FB-483E-B8E7-D04039DBA80D}" dt="2021-05-24T16:09:26.714" v="14725" actId="790"/>
          <ac:spMkLst>
            <pc:docMk/>
            <pc:sldMk cId="718926585" sldId="10416"/>
            <ac:spMk id="16" creationId="{D2E2D690-327F-4633-A872-ADB29F27F398}"/>
          </ac:spMkLst>
        </pc:spChg>
        <pc:spChg chg="mod ord">
          <ac:chgData name="Sarah GAUVARD" userId="4c03e191-e154-482a-88b2-11de19eac96c" providerId="ADAL" clId="{8245CC27-65FB-483E-B8E7-D04039DBA80D}" dt="2021-05-24T16:09:26.714" v="14729" actId="790"/>
          <ac:spMkLst>
            <pc:docMk/>
            <pc:sldMk cId="718926585" sldId="10416"/>
            <ac:spMk id="25" creationId="{C509ABA6-0D56-4D9A-8217-F214397AC6C6}"/>
          </ac:spMkLst>
        </pc:spChg>
        <pc:spChg chg="mod ord">
          <ac:chgData name="Sarah GAUVARD" userId="4c03e191-e154-482a-88b2-11de19eac96c" providerId="ADAL" clId="{8245CC27-65FB-483E-B8E7-D04039DBA80D}" dt="2021-05-24T16:09:26.714" v="14730" actId="790"/>
          <ac:spMkLst>
            <pc:docMk/>
            <pc:sldMk cId="718926585" sldId="10416"/>
            <ac:spMk id="26" creationId="{7214233D-03FD-4212-9D98-B0CAE1EA952D}"/>
          </ac:spMkLst>
        </pc:spChg>
        <pc:spChg chg="mod ord">
          <ac:chgData name="Sarah GAUVARD" userId="4c03e191-e154-482a-88b2-11de19eac96c" providerId="ADAL" clId="{8245CC27-65FB-483E-B8E7-D04039DBA80D}" dt="2021-05-24T16:09:26.714" v="14731" actId="790"/>
          <ac:spMkLst>
            <pc:docMk/>
            <pc:sldMk cId="718926585" sldId="10416"/>
            <ac:spMk id="27" creationId="{63FECFE8-77A5-4C8D-9A95-E5E89281A837}"/>
          </ac:spMkLst>
        </pc:spChg>
        <pc:spChg chg="mod ord">
          <ac:chgData name="Sarah GAUVARD" userId="4c03e191-e154-482a-88b2-11de19eac96c" providerId="ADAL" clId="{8245CC27-65FB-483E-B8E7-D04039DBA80D}" dt="2021-05-24T16:09:26.714" v="14732" actId="790"/>
          <ac:spMkLst>
            <pc:docMk/>
            <pc:sldMk cId="718926585" sldId="10416"/>
            <ac:spMk id="28" creationId="{B4F1C8B4-203B-4299-B34E-7D33C44B7B71}"/>
          </ac:spMkLst>
        </pc:spChg>
        <pc:spChg chg="mod ord">
          <ac:chgData name="Sarah GAUVARD" userId="4c03e191-e154-482a-88b2-11de19eac96c" providerId="ADAL" clId="{8245CC27-65FB-483E-B8E7-D04039DBA80D}" dt="2021-05-24T16:09:26.714" v="14733" actId="790"/>
          <ac:spMkLst>
            <pc:docMk/>
            <pc:sldMk cId="718926585" sldId="10416"/>
            <ac:spMk id="29" creationId="{8A165B1F-6634-43C5-A885-140265BE12E8}"/>
          </ac:spMkLst>
        </pc:spChg>
        <pc:spChg chg="mod ord">
          <ac:chgData name="Sarah GAUVARD" userId="4c03e191-e154-482a-88b2-11de19eac96c" providerId="ADAL" clId="{8245CC27-65FB-483E-B8E7-D04039DBA80D}" dt="2021-05-24T16:09:26.722" v="14734" actId="790"/>
          <ac:spMkLst>
            <pc:docMk/>
            <pc:sldMk cId="718926585" sldId="10416"/>
            <ac:spMk id="30" creationId="{52F7899A-6E23-45C9-AB1D-5A04E49DE8D3}"/>
          </ac:spMkLst>
        </pc:spChg>
        <pc:spChg chg="mod ord">
          <ac:chgData name="Sarah GAUVARD" userId="4c03e191-e154-482a-88b2-11de19eac96c" providerId="ADAL" clId="{8245CC27-65FB-483E-B8E7-D04039DBA80D}" dt="2021-05-24T16:09:26.724" v="14735" actId="790"/>
          <ac:spMkLst>
            <pc:docMk/>
            <pc:sldMk cId="718926585" sldId="10416"/>
            <ac:spMk id="31" creationId="{39A4E537-6B70-42D6-B76D-22EBE99E5324}"/>
          </ac:spMkLst>
        </pc:spChg>
        <pc:spChg chg="mod ord">
          <ac:chgData name="Sarah GAUVARD" userId="4c03e191-e154-482a-88b2-11de19eac96c" providerId="ADAL" clId="{8245CC27-65FB-483E-B8E7-D04039DBA80D}" dt="2021-05-24T16:09:26.724" v="14736" actId="790"/>
          <ac:spMkLst>
            <pc:docMk/>
            <pc:sldMk cId="718926585" sldId="10416"/>
            <ac:spMk id="32" creationId="{E344EE6B-B062-4077-8C00-8A44A9ED2DC4}"/>
          </ac:spMkLst>
        </pc:spChg>
        <pc:spChg chg="mod">
          <ac:chgData name="Sarah GAUVARD" userId="4c03e191-e154-482a-88b2-11de19eac96c" providerId="ADAL" clId="{8245CC27-65FB-483E-B8E7-D04039DBA80D}" dt="2021-05-24T16:09:26.724" v="14737" actId="790"/>
          <ac:spMkLst>
            <pc:docMk/>
            <pc:sldMk cId="718926585" sldId="10416"/>
            <ac:spMk id="35" creationId="{6E4A10E1-DD55-4BBC-B8E8-2B3625C3D109}"/>
          </ac:spMkLst>
        </pc:spChg>
        <pc:spChg chg="mod ord">
          <ac:chgData name="Sarah GAUVARD" userId="4c03e191-e154-482a-88b2-11de19eac96c" providerId="ADAL" clId="{8245CC27-65FB-483E-B8E7-D04039DBA80D}" dt="2021-05-24T16:09:26.724" v="14738" actId="790"/>
          <ac:spMkLst>
            <pc:docMk/>
            <pc:sldMk cId="718926585" sldId="10416"/>
            <ac:spMk id="36" creationId="{E88FEEFE-E9AA-4FA4-BD22-4477BCB96162}"/>
          </ac:spMkLst>
        </pc:spChg>
        <pc:spChg chg="del">
          <ac:chgData name="Sarah GAUVARD" userId="4c03e191-e154-482a-88b2-11de19eac96c" providerId="ADAL" clId="{8245CC27-65FB-483E-B8E7-D04039DBA80D}" dt="2021-05-24T09:49:04.426" v="225" actId="478"/>
          <ac:spMkLst>
            <pc:docMk/>
            <pc:sldMk cId="718926585" sldId="10416"/>
            <ac:spMk id="37" creationId="{C3971031-B43B-407D-8EA1-ACDA4B8DD65B}"/>
          </ac:spMkLst>
        </pc:spChg>
        <pc:spChg chg="del">
          <ac:chgData name="Sarah GAUVARD" userId="4c03e191-e154-482a-88b2-11de19eac96c" providerId="ADAL" clId="{8245CC27-65FB-483E-B8E7-D04039DBA80D}" dt="2021-05-24T09:49:04.426" v="225" actId="478"/>
          <ac:spMkLst>
            <pc:docMk/>
            <pc:sldMk cId="718926585" sldId="10416"/>
            <ac:spMk id="38" creationId="{D53CF02C-8C10-46B2-BE93-9E8F7A36A4ED}"/>
          </ac:spMkLst>
        </pc:spChg>
        <pc:spChg chg="del">
          <ac:chgData name="Sarah GAUVARD" userId="4c03e191-e154-482a-88b2-11de19eac96c" providerId="ADAL" clId="{8245CC27-65FB-483E-B8E7-D04039DBA80D}" dt="2021-05-24T09:49:04.426" v="225" actId="478"/>
          <ac:spMkLst>
            <pc:docMk/>
            <pc:sldMk cId="718926585" sldId="10416"/>
            <ac:spMk id="39" creationId="{DF1D9088-5D0B-4E22-ABDF-D7658746ECCB}"/>
          </ac:spMkLst>
        </pc:spChg>
        <pc:spChg chg="del">
          <ac:chgData name="Sarah GAUVARD" userId="4c03e191-e154-482a-88b2-11de19eac96c" providerId="ADAL" clId="{8245CC27-65FB-483E-B8E7-D04039DBA80D}" dt="2021-05-24T09:49:04.426" v="225" actId="478"/>
          <ac:spMkLst>
            <pc:docMk/>
            <pc:sldMk cId="718926585" sldId="10416"/>
            <ac:spMk id="40" creationId="{A38D46F8-2008-4175-B4B6-99106D139003}"/>
          </ac:spMkLst>
        </pc:spChg>
        <pc:spChg chg="del">
          <ac:chgData name="Sarah GAUVARD" userId="4c03e191-e154-482a-88b2-11de19eac96c" providerId="ADAL" clId="{8245CC27-65FB-483E-B8E7-D04039DBA80D}" dt="2021-05-24T09:49:04.426" v="225" actId="478"/>
          <ac:spMkLst>
            <pc:docMk/>
            <pc:sldMk cId="718926585" sldId="10416"/>
            <ac:spMk id="41" creationId="{C69B836D-D1AD-4A1D-BFD5-4DDF9B703305}"/>
          </ac:spMkLst>
        </pc:spChg>
        <pc:spChg chg="mod ord">
          <ac:chgData name="Sarah GAUVARD" userId="4c03e191-e154-482a-88b2-11de19eac96c" providerId="ADAL" clId="{8245CC27-65FB-483E-B8E7-D04039DBA80D}" dt="2021-05-24T09:49:08.402" v="318"/>
          <ac:spMkLst>
            <pc:docMk/>
            <pc:sldMk cId="718926585" sldId="10416"/>
            <ac:spMk id="42" creationId="{72CC8CD0-E8F4-4627-8A22-56D76E21EC50}"/>
          </ac:spMkLst>
        </pc:spChg>
        <pc:spChg chg="mod ord">
          <ac:chgData name="Sarah GAUVARD" userId="4c03e191-e154-482a-88b2-11de19eac96c" providerId="ADAL" clId="{8245CC27-65FB-483E-B8E7-D04039DBA80D}" dt="2021-05-24T16:09:26.724" v="14739" actId="790"/>
          <ac:spMkLst>
            <pc:docMk/>
            <pc:sldMk cId="718926585" sldId="10416"/>
            <ac:spMk id="43" creationId="{82E1424B-3A43-4D65-BCD8-062689C60A78}"/>
          </ac:spMkLst>
        </pc:spChg>
        <pc:spChg chg="mod ord">
          <ac:chgData name="Sarah GAUVARD" userId="4c03e191-e154-482a-88b2-11de19eac96c" providerId="ADAL" clId="{8245CC27-65FB-483E-B8E7-D04039DBA80D}" dt="2021-05-24T16:09:26.724" v="14740" actId="790"/>
          <ac:spMkLst>
            <pc:docMk/>
            <pc:sldMk cId="718926585" sldId="10416"/>
            <ac:spMk id="44" creationId="{5B2A13CB-D242-4CEC-BD84-9421FD92C730}"/>
          </ac:spMkLst>
        </pc:spChg>
        <pc:spChg chg="mod ord">
          <ac:chgData name="Sarah GAUVARD" userId="4c03e191-e154-482a-88b2-11de19eac96c" providerId="ADAL" clId="{8245CC27-65FB-483E-B8E7-D04039DBA80D}" dt="2021-05-24T16:09:26.732" v="14741" actId="790"/>
          <ac:spMkLst>
            <pc:docMk/>
            <pc:sldMk cId="718926585" sldId="10416"/>
            <ac:spMk id="45" creationId="{C3F0F705-A049-4672-849F-319AB1731825}"/>
          </ac:spMkLst>
        </pc:spChg>
        <pc:spChg chg="mod ord">
          <ac:chgData name="Sarah GAUVARD" userId="4c03e191-e154-482a-88b2-11de19eac96c" providerId="ADAL" clId="{8245CC27-65FB-483E-B8E7-D04039DBA80D}" dt="2021-05-24T16:09:26.732" v="14742" actId="790"/>
          <ac:spMkLst>
            <pc:docMk/>
            <pc:sldMk cId="718926585" sldId="10416"/>
            <ac:spMk id="46" creationId="{133D97A8-1546-424C-9184-ED69A50C0630}"/>
          </ac:spMkLst>
        </pc:spChg>
        <pc:spChg chg="add mod ord">
          <ac:chgData name="Sarah GAUVARD" userId="4c03e191-e154-482a-88b2-11de19eac96c" providerId="ADAL" clId="{8245CC27-65FB-483E-B8E7-D04039DBA80D}" dt="2021-05-24T09:49:08.398" v="308"/>
          <ac:spMkLst>
            <pc:docMk/>
            <pc:sldMk cId="718926585" sldId="10416"/>
            <ac:spMk id="47" creationId="{657D3F57-1FE2-4A5E-831E-159A51799145}"/>
          </ac:spMkLst>
        </pc:spChg>
        <pc:spChg chg="add mod ord">
          <ac:chgData name="Sarah GAUVARD" userId="4c03e191-e154-482a-88b2-11de19eac96c" providerId="ADAL" clId="{8245CC27-65FB-483E-B8E7-D04039DBA80D}" dt="2021-05-24T09:49:08.399" v="310"/>
          <ac:spMkLst>
            <pc:docMk/>
            <pc:sldMk cId="718926585" sldId="10416"/>
            <ac:spMk id="48" creationId="{48C81992-7AFD-4817-96BD-D38E9FF41587}"/>
          </ac:spMkLst>
        </pc:spChg>
        <pc:spChg chg="mod ord">
          <ac:chgData name="Sarah GAUVARD" userId="4c03e191-e154-482a-88b2-11de19eac96c" providerId="ADAL" clId="{8245CC27-65FB-483E-B8E7-D04039DBA80D}" dt="2021-05-24T16:09:26.732" v="14743" actId="790"/>
          <ac:spMkLst>
            <pc:docMk/>
            <pc:sldMk cId="718926585" sldId="10416"/>
            <ac:spMk id="49" creationId="{FBEB6038-28B9-4622-A72B-871078F5D725}"/>
          </ac:spMkLst>
        </pc:spChg>
        <pc:spChg chg="add mod ord">
          <ac:chgData name="Sarah GAUVARD" userId="4c03e191-e154-482a-88b2-11de19eac96c" providerId="ADAL" clId="{8245CC27-65FB-483E-B8E7-D04039DBA80D}" dt="2021-05-24T09:49:08.399" v="312"/>
          <ac:spMkLst>
            <pc:docMk/>
            <pc:sldMk cId="718926585" sldId="10416"/>
            <ac:spMk id="50" creationId="{53B2A950-24CD-4191-848B-9F00507EDD68}"/>
          </ac:spMkLst>
        </pc:spChg>
        <pc:spChg chg="add mod ord">
          <ac:chgData name="Sarah GAUVARD" userId="4c03e191-e154-482a-88b2-11de19eac96c" providerId="ADAL" clId="{8245CC27-65FB-483E-B8E7-D04039DBA80D}" dt="2021-05-24T09:49:08.399" v="314"/>
          <ac:spMkLst>
            <pc:docMk/>
            <pc:sldMk cId="718926585" sldId="10416"/>
            <ac:spMk id="51" creationId="{99D7B9F3-D63A-459E-8869-9510BF5EA7B4}"/>
          </ac:spMkLst>
        </pc:spChg>
        <pc:spChg chg="add mod ord">
          <ac:chgData name="Sarah GAUVARD" userId="4c03e191-e154-482a-88b2-11de19eac96c" providerId="ADAL" clId="{8245CC27-65FB-483E-B8E7-D04039DBA80D}" dt="2021-05-24T09:49:08.400" v="316"/>
          <ac:spMkLst>
            <pc:docMk/>
            <pc:sldMk cId="718926585" sldId="10416"/>
            <ac:spMk id="52" creationId="{374AEB49-977E-45EF-B719-80CC76AB2C58}"/>
          </ac:spMkLst>
        </pc:spChg>
        <pc:spChg chg="mod">
          <ac:chgData name="Sarah GAUVARD" userId="4c03e191-e154-482a-88b2-11de19eac96c" providerId="ADAL" clId="{8245CC27-65FB-483E-B8E7-D04039DBA80D}" dt="2021-05-24T16:09:26.734" v="14744" actId="790"/>
          <ac:spMkLst>
            <pc:docMk/>
            <pc:sldMk cId="718926585" sldId="10416"/>
            <ac:spMk id="54" creationId="{0430F2AF-1132-469B-87C0-1811AC4EE4A6}"/>
          </ac:spMkLst>
        </pc:spChg>
        <pc:spChg chg="mod">
          <ac:chgData name="Sarah GAUVARD" userId="4c03e191-e154-482a-88b2-11de19eac96c" providerId="ADAL" clId="{8245CC27-65FB-483E-B8E7-D04039DBA80D}" dt="2021-05-24T16:09:26.734" v="14745" actId="790"/>
          <ac:spMkLst>
            <pc:docMk/>
            <pc:sldMk cId="718926585" sldId="10416"/>
            <ac:spMk id="55" creationId="{8F49C6D1-BE00-4BD4-B114-2E2DE10B7B67}"/>
          </ac:spMkLst>
        </pc:spChg>
        <pc:spChg chg="mod">
          <ac:chgData name="Sarah GAUVARD" userId="4c03e191-e154-482a-88b2-11de19eac96c" providerId="ADAL" clId="{8245CC27-65FB-483E-B8E7-D04039DBA80D}" dt="2021-05-24T16:09:26.734" v="14746" actId="790"/>
          <ac:spMkLst>
            <pc:docMk/>
            <pc:sldMk cId="718926585" sldId="10416"/>
            <ac:spMk id="57" creationId="{CAE7DA71-5164-43DC-B481-888856A52D66}"/>
          </ac:spMkLst>
        </pc:spChg>
        <pc:spChg chg="mod">
          <ac:chgData name="Sarah GAUVARD" userId="4c03e191-e154-482a-88b2-11de19eac96c" providerId="ADAL" clId="{8245CC27-65FB-483E-B8E7-D04039DBA80D}" dt="2021-05-24T16:09:26.734" v="14747" actId="790"/>
          <ac:spMkLst>
            <pc:docMk/>
            <pc:sldMk cId="718926585" sldId="10416"/>
            <ac:spMk id="58" creationId="{B441CFCB-B013-4166-94F0-56D132AA3AB6}"/>
          </ac:spMkLst>
        </pc:spChg>
        <pc:spChg chg="mod">
          <ac:chgData name="Sarah GAUVARD" userId="4c03e191-e154-482a-88b2-11de19eac96c" providerId="ADAL" clId="{8245CC27-65FB-483E-B8E7-D04039DBA80D}" dt="2021-05-24T16:09:26.734" v="14748" actId="790"/>
          <ac:spMkLst>
            <pc:docMk/>
            <pc:sldMk cId="718926585" sldId="10416"/>
            <ac:spMk id="59" creationId="{34E09D3E-52E5-47A8-8840-8CC116656F14}"/>
          </ac:spMkLst>
        </pc:spChg>
        <pc:spChg chg="mod">
          <ac:chgData name="Sarah GAUVARD" userId="4c03e191-e154-482a-88b2-11de19eac96c" providerId="ADAL" clId="{8245CC27-65FB-483E-B8E7-D04039DBA80D}" dt="2021-05-24T16:09:26.734" v="14749" actId="790"/>
          <ac:spMkLst>
            <pc:docMk/>
            <pc:sldMk cId="718926585" sldId="10416"/>
            <ac:spMk id="60" creationId="{831D71D9-701F-4A9D-B68E-F1F1E1DA1BD2}"/>
          </ac:spMkLst>
        </pc:spChg>
        <pc:spChg chg="mod">
          <ac:chgData name="Sarah GAUVARD" userId="4c03e191-e154-482a-88b2-11de19eac96c" providerId="ADAL" clId="{8245CC27-65FB-483E-B8E7-D04039DBA80D}" dt="2021-05-24T16:09:26.734" v="14750" actId="790"/>
          <ac:spMkLst>
            <pc:docMk/>
            <pc:sldMk cId="718926585" sldId="10416"/>
            <ac:spMk id="61" creationId="{3E20FCD3-1741-476D-B17B-97937935A4AB}"/>
          </ac:spMkLst>
        </pc:spChg>
        <pc:spChg chg="mod">
          <ac:chgData name="Sarah GAUVARD" userId="4c03e191-e154-482a-88b2-11de19eac96c" providerId="ADAL" clId="{8245CC27-65FB-483E-B8E7-D04039DBA80D}" dt="2021-05-24T16:09:26.734" v="14751" actId="790"/>
          <ac:spMkLst>
            <pc:docMk/>
            <pc:sldMk cId="718926585" sldId="10416"/>
            <ac:spMk id="62" creationId="{1A29DBC8-4BC3-4B3D-8920-D44CBADB948B}"/>
          </ac:spMkLst>
        </pc:spChg>
        <pc:grpChg chg="mod ord">
          <ac:chgData name="Sarah GAUVARD" userId="4c03e191-e154-482a-88b2-11de19eac96c" providerId="ADAL" clId="{8245CC27-65FB-483E-B8E7-D04039DBA80D}" dt="2021-05-24T09:49:08.395" v="294"/>
          <ac:grpSpMkLst>
            <pc:docMk/>
            <pc:sldMk cId="718926585" sldId="10416"/>
            <ac:grpSpMk id="33" creationId="{905E66DD-D435-4BAC-A243-2E99A1B1B320}"/>
          </ac:grpSpMkLst>
        </pc:grpChg>
        <pc:graphicFrameChg chg="mod">
          <ac:chgData name="Sarah GAUVARD" userId="4c03e191-e154-482a-88b2-11de19eac96c" providerId="ADAL" clId="{8245CC27-65FB-483E-B8E7-D04039DBA80D}" dt="2021-05-24T15:34:46.159" v="11925"/>
          <ac:graphicFrameMkLst>
            <pc:docMk/>
            <pc:sldMk cId="718926585" sldId="10416"/>
            <ac:graphicFrameMk id="5" creationId="{58F89C0C-E0E8-4876-A98A-438F18CAD392}"/>
          </ac:graphicFrameMkLst>
        </pc:graphicFrameChg>
        <pc:graphicFrameChg chg="mod">
          <ac:chgData name="Sarah GAUVARD" userId="4c03e191-e154-482a-88b2-11de19eac96c" providerId="ADAL" clId="{8245CC27-65FB-483E-B8E7-D04039DBA80D}" dt="2021-05-24T09:49:08.387" v="274"/>
          <ac:graphicFrameMkLst>
            <pc:docMk/>
            <pc:sldMk cId="718926585" sldId="10416"/>
            <ac:graphicFrameMk id="13" creationId="{DA5795B9-898C-4C1A-A701-D345F5549D94}"/>
          </ac:graphicFrameMkLst>
        </pc:graphicFrameChg>
        <pc:cxnChg chg="mod ord">
          <ac:chgData name="Sarah GAUVARD" userId="4c03e191-e154-482a-88b2-11de19eac96c" providerId="ADAL" clId="{8245CC27-65FB-483E-B8E7-D04039DBA80D}" dt="2021-05-24T09:49:08.388" v="276"/>
          <ac:cxnSpMkLst>
            <pc:docMk/>
            <pc:sldMk cId="718926585" sldId="10416"/>
            <ac:cxnSpMk id="24" creationId="{328D9AA7-F8DB-470E-A57C-08ADB006C361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4T11:42:17.491" v="2316" actId="478"/>
        <pc:sldMkLst>
          <pc:docMk/>
          <pc:sldMk cId="1802608156" sldId="10417"/>
        </pc:sldMkLst>
        <pc:spChg chg="mod">
          <ac:chgData name="Sarah GAUVARD" userId="4c03e191-e154-482a-88b2-11de19eac96c" providerId="ADAL" clId="{8245CC27-65FB-483E-B8E7-D04039DBA80D}" dt="2021-05-24T11:29:22.616" v="1833" actId="404"/>
          <ac:spMkLst>
            <pc:docMk/>
            <pc:sldMk cId="1802608156" sldId="10417"/>
            <ac:spMk id="17" creationId="{93C43DF0-5B80-4873-976E-9DCC9459DEE9}"/>
          </ac:spMkLst>
        </pc:spChg>
        <pc:spChg chg="mod">
          <ac:chgData name="Sarah GAUVARD" userId="4c03e191-e154-482a-88b2-11de19eac96c" providerId="ADAL" clId="{8245CC27-65FB-483E-B8E7-D04039DBA80D}" dt="2021-05-24T11:29:22.616" v="1833" actId="404"/>
          <ac:spMkLst>
            <pc:docMk/>
            <pc:sldMk cId="1802608156" sldId="10417"/>
            <ac:spMk id="19" creationId="{34792A96-E177-45FE-8A1C-54080EF644FD}"/>
          </ac:spMkLst>
        </pc:spChg>
        <pc:spChg chg="mod">
          <ac:chgData name="Sarah GAUVARD" userId="4c03e191-e154-482a-88b2-11de19eac96c" providerId="ADAL" clId="{8245CC27-65FB-483E-B8E7-D04039DBA80D}" dt="2021-05-24T11:29:22.616" v="1833" actId="404"/>
          <ac:spMkLst>
            <pc:docMk/>
            <pc:sldMk cId="1802608156" sldId="10417"/>
            <ac:spMk id="20" creationId="{CF43FFDF-1514-417B-8DD3-055802931621}"/>
          </ac:spMkLst>
        </pc:spChg>
        <pc:spChg chg="mod">
          <ac:chgData name="Sarah GAUVARD" userId="4c03e191-e154-482a-88b2-11de19eac96c" providerId="ADAL" clId="{8245CC27-65FB-483E-B8E7-D04039DBA80D}" dt="2021-05-24T11:42:08.074" v="2315" actId="20577"/>
          <ac:spMkLst>
            <pc:docMk/>
            <pc:sldMk cId="1802608156" sldId="10417"/>
            <ac:spMk id="21" creationId="{3CBA4C50-DBB5-4C5E-A8E6-B2C4564C2D94}"/>
          </ac:spMkLst>
        </pc:spChg>
        <pc:spChg chg="add del mod">
          <ac:chgData name="Sarah GAUVARD" userId="4c03e191-e154-482a-88b2-11de19eac96c" providerId="ADAL" clId="{8245CC27-65FB-483E-B8E7-D04039DBA80D}" dt="2021-05-24T11:35:04.322" v="2089" actId="478"/>
          <ac:spMkLst>
            <pc:docMk/>
            <pc:sldMk cId="1802608156" sldId="10417"/>
            <ac:spMk id="25" creationId="{85CD1733-3915-4F25-B834-57D70BDD1E0C}"/>
          </ac:spMkLst>
        </pc:spChg>
        <pc:spChg chg="add del mod">
          <ac:chgData name="Sarah GAUVARD" userId="4c03e191-e154-482a-88b2-11de19eac96c" providerId="ADAL" clId="{8245CC27-65FB-483E-B8E7-D04039DBA80D}" dt="2021-05-24T11:42:17.491" v="2316" actId="478"/>
          <ac:spMkLst>
            <pc:docMk/>
            <pc:sldMk cId="1802608156" sldId="10417"/>
            <ac:spMk id="26" creationId="{02323AA6-6CF2-4427-9A0A-2AF14AE96785}"/>
          </ac:spMkLst>
        </pc:spChg>
        <pc:picChg chg="mod">
          <ac:chgData name="Sarah GAUVARD" userId="4c03e191-e154-482a-88b2-11de19eac96c" providerId="ADAL" clId="{8245CC27-65FB-483E-B8E7-D04039DBA80D}" dt="2021-05-24T10:11:10.254" v="1034" actId="207"/>
          <ac:picMkLst>
            <pc:docMk/>
            <pc:sldMk cId="1802608156" sldId="10417"/>
            <ac:picMk id="18" creationId="{228EABAF-A989-4B46-8036-4F98D5212A68}"/>
          </ac:picMkLst>
        </pc:picChg>
        <pc:picChg chg="add mod">
          <ac:chgData name="Sarah GAUVARD" userId="4c03e191-e154-482a-88b2-11de19eac96c" providerId="ADAL" clId="{8245CC27-65FB-483E-B8E7-D04039DBA80D}" dt="2021-05-24T10:30:42.096" v="1832" actId="1037"/>
          <ac:picMkLst>
            <pc:docMk/>
            <pc:sldMk cId="1802608156" sldId="10417"/>
            <ac:picMk id="23" creationId="{47965000-65DF-48F1-A225-D918A4975AF3}"/>
          </ac:picMkLst>
        </pc:picChg>
        <pc:picChg chg="add mod">
          <ac:chgData name="Sarah GAUVARD" userId="4c03e191-e154-482a-88b2-11de19eac96c" providerId="ADAL" clId="{8245CC27-65FB-483E-B8E7-D04039DBA80D}" dt="2021-05-24T10:30:42.096" v="1832" actId="1037"/>
          <ac:picMkLst>
            <pc:docMk/>
            <pc:sldMk cId="1802608156" sldId="10417"/>
            <ac:picMk id="24" creationId="{A832B60B-1530-4164-B6C9-CEC461E7DDD0}"/>
          </ac:picMkLst>
        </pc:picChg>
        <pc:picChg chg="mod">
          <ac:chgData name="Sarah GAUVARD" userId="4c03e191-e154-482a-88b2-11de19eac96c" providerId="ADAL" clId="{8245CC27-65FB-483E-B8E7-D04039DBA80D}" dt="2021-05-24T10:11:10.254" v="1034" actId="207"/>
          <ac:picMkLst>
            <pc:docMk/>
            <pc:sldMk cId="1802608156" sldId="10417"/>
            <ac:picMk id="29" creationId="{25B9D01C-A3C2-4BDA-842F-156B93608450}"/>
          </ac:picMkLst>
        </pc:picChg>
        <pc:picChg chg="mod">
          <ac:chgData name="Sarah GAUVARD" userId="4c03e191-e154-482a-88b2-11de19eac96c" providerId="ADAL" clId="{8245CC27-65FB-483E-B8E7-D04039DBA80D}" dt="2021-05-24T10:11:10.254" v="1034" actId="207"/>
          <ac:picMkLst>
            <pc:docMk/>
            <pc:sldMk cId="1802608156" sldId="10417"/>
            <ac:picMk id="30" creationId="{5339F1DB-1565-41E6-8F4C-5EED9E5CA495}"/>
          </ac:picMkLst>
        </pc:picChg>
        <pc:picChg chg="mod">
          <ac:chgData name="Sarah GAUVARD" userId="4c03e191-e154-482a-88b2-11de19eac96c" providerId="ADAL" clId="{8245CC27-65FB-483E-B8E7-D04039DBA80D}" dt="2021-05-24T10:10:36.026" v="1027" actId="1076"/>
          <ac:picMkLst>
            <pc:docMk/>
            <pc:sldMk cId="1802608156" sldId="10417"/>
            <ac:picMk id="31" creationId="{B7DFEDFB-DB95-4178-9150-11024DB995B4}"/>
          </ac:picMkLst>
        </pc:picChg>
        <pc:picChg chg="mod">
          <ac:chgData name="Sarah GAUVARD" userId="4c03e191-e154-482a-88b2-11de19eac96c" providerId="ADAL" clId="{8245CC27-65FB-483E-B8E7-D04039DBA80D}" dt="2021-05-24T10:11:10.254" v="1034" actId="207"/>
          <ac:picMkLst>
            <pc:docMk/>
            <pc:sldMk cId="1802608156" sldId="10417"/>
            <ac:picMk id="32" creationId="{B0CCC845-4ED5-4CDF-97F8-057AC4F4608D}"/>
          </ac:picMkLst>
        </pc:picChg>
        <pc:picChg chg="mod">
          <ac:chgData name="Sarah GAUVARD" userId="4c03e191-e154-482a-88b2-11de19eac96c" providerId="ADAL" clId="{8245CC27-65FB-483E-B8E7-D04039DBA80D}" dt="2021-05-24T10:11:10.254" v="1034" actId="207"/>
          <ac:picMkLst>
            <pc:docMk/>
            <pc:sldMk cId="1802608156" sldId="10417"/>
            <ac:picMk id="33" creationId="{3E7DD9B9-1CEA-4E94-9A2C-D61BA89219DB}"/>
          </ac:picMkLst>
        </pc:picChg>
      </pc:sldChg>
      <pc:sldChg chg="addSp delSp modSp mod">
        <pc:chgData name="Sarah GAUVARD" userId="4c03e191-e154-482a-88b2-11de19eac96c" providerId="ADAL" clId="{8245CC27-65FB-483E-B8E7-D04039DBA80D}" dt="2021-05-24T16:09:26.866" v="14891" actId="790"/>
        <pc:sldMkLst>
          <pc:docMk/>
          <pc:sldMk cId="1880839470" sldId="10420"/>
        </pc:sldMkLst>
        <pc:spChg chg="mod ord">
          <ac:chgData name="Sarah GAUVARD" userId="4c03e191-e154-482a-88b2-11de19eac96c" providerId="ADAL" clId="{8245CC27-65FB-483E-B8E7-D04039DBA80D}" dt="2021-05-24T16:09:26.836" v="14854" actId="790"/>
          <ac:spMkLst>
            <pc:docMk/>
            <pc:sldMk cId="1880839470" sldId="10420"/>
            <ac:spMk id="2" creationId="{873006D4-BF82-4F00-B534-5D28B2DDCEF5}"/>
          </ac:spMkLst>
        </pc:spChg>
        <pc:spChg chg="mod ord">
          <ac:chgData name="Sarah GAUVARD" userId="4c03e191-e154-482a-88b2-11de19eac96c" providerId="ADAL" clId="{8245CC27-65FB-483E-B8E7-D04039DBA80D}" dt="2021-05-24T16:09:26.844" v="14855" actId="790"/>
          <ac:spMkLst>
            <pc:docMk/>
            <pc:sldMk cId="1880839470" sldId="10420"/>
            <ac:spMk id="3" creationId="{79D8092C-AC66-484C-9645-EEB08D4A59C6}"/>
          </ac:spMkLst>
        </pc:spChg>
        <pc:spChg chg="mod ord">
          <ac:chgData name="Sarah GAUVARD" userId="4c03e191-e154-482a-88b2-11de19eac96c" providerId="ADAL" clId="{8245CC27-65FB-483E-B8E7-D04039DBA80D}" dt="2021-05-24T16:09:26.844" v="14856" actId="790"/>
          <ac:spMkLst>
            <pc:docMk/>
            <pc:sldMk cId="1880839470" sldId="10420"/>
            <ac:spMk id="4" creationId="{02BD46C9-B279-482D-89B3-4956B609E15C}"/>
          </ac:spMkLst>
        </pc:spChg>
        <pc:spChg chg="mod ord">
          <ac:chgData name="Sarah GAUVARD" userId="4c03e191-e154-482a-88b2-11de19eac96c" providerId="ADAL" clId="{8245CC27-65FB-483E-B8E7-D04039DBA80D}" dt="2021-05-24T16:09:26.846" v="14857" actId="790"/>
          <ac:spMkLst>
            <pc:docMk/>
            <pc:sldMk cId="1880839470" sldId="10420"/>
            <ac:spMk id="5" creationId="{661F72E1-48F0-44F4-A92A-E722B8B95227}"/>
          </ac:spMkLst>
        </pc:spChg>
        <pc:spChg chg="mod ord">
          <ac:chgData name="Sarah GAUVARD" userId="4c03e191-e154-482a-88b2-11de19eac96c" providerId="ADAL" clId="{8245CC27-65FB-483E-B8E7-D04039DBA80D}" dt="2021-05-24T16:09:26.846" v="14859" actId="790"/>
          <ac:spMkLst>
            <pc:docMk/>
            <pc:sldMk cId="1880839470" sldId="10420"/>
            <ac:spMk id="6" creationId="{70B52D0E-DC9C-4722-916E-D6FDF79A7420}"/>
          </ac:spMkLst>
        </pc:spChg>
        <pc:spChg chg="add del mod modVis">
          <ac:chgData name="Sarah GAUVARD" userId="4c03e191-e154-482a-88b2-11de19eac96c" providerId="ADAL" clId="{8245CC27-65FB-483E-B8E7-D04039DBA80D}" dt="2021-05-24T09:49:25.676" v="741"/>
          <ac:spMkLst>
            <pc:docMk/>
            <pc:sldMk cId="1880839470" sldId="10420"/>
            <ac:spMk id="8" creationId="{FA5F88F1-0FB1-4A1D-98C5-4EC98ECF3223}"/>
          </ac:spMkLst>
        </pc:spChg>
        <pc:spChg chg="add del mod modVis">
          <ac:chgData name="Sarah GAUVARD" userId="4c03e191-e154-482a-88b2-11de19eac96c" providerId="ADAL" clId="{8245CC27-65FB-483E-B8E7-D04039DBA80D}" dt="2021-05-24T15:34:46.229" v="11957"/>
          <ac:spMkLst>
            <pc:docMk/>
            <pc:sldMk cId="1880839470" sldId="10420"/>
            <ac:spMk id="12" creationId="{31757D84-FA64-46C0-9D91-63EFC3AC9C8C}"/>
          </ac:spMkLst>
        </pc:spChg>
        <pc:spChg chg="mod">
          <ac:chgData name="Sarah GAUVARD" userId="4c03e191-e154-482a-88b2-11de19eac96c" providerId="ADAL" clId="{8245CC27-65FB-483E-B8E7-D04039DBA80D}" dt="2021-05-24T16:09:26.846" v="14864" actId="790"/>
          <ac:spMkLst>
            <pc:docMk/>
            <pc:sldMk cId="1880839470" sldId="10420"/>
            <ac:spMk id="15" creationId="{371FD0C6-BD25-4B85-8EAD-0502F14E088E}"/>
          </ac:spMkLst>
        </pc:spChg>
        <pc:spChg chg="mod ord">
          <ac:chgData name="Sarah GAUVARD" userId="4c03e191-e154-482a-88b2-11de19eac96c" providerId="ADAL" clId="{8245CC27-65FB-483E-B8E7-D04039DBA80D}" dt="2021-05-24T16:09:26.854" v="14870" actId="790"/>
          <ac:spMkLst>
            <pc:docMk/>
            <pc:sldMk cId="1880839470" sldId="10420"/>
            <ac:spMk id="17" creationId="{A9119019-F679-42BB-B49F-4E0DCA81AB7E}"/>
          </ac:spMkLst>
        </pc:spChg>
        <pc:spChg chg="mod ord">
          <ac:chgData name="Sarah GAUVARD" userId="4c03e191-e154-482a-88b2-11de19eac96c" providerId="ADAL" clId="{8245CC27-65FB-483E-B8E7-D04039DBA80D}" dt="2021-05-24T16:09:26.854" v="14871" actId="790"/>
          <ac:spMkLst>
            <pc:docMk/>
            <pc:sldMk cId="1880839470" sldId="10420"/>
            <ac:spMk id="26" creationId="{D02F1702-75A2-41D0-81F2-2BFAC3621779}"/>
          </ac:spMkLst>
        </pc:spChg>
        <pc:spChg chg="mod ord">
          <ac:chgData name="Sarah GAUVARD" userId="4c03e191-e154-482a-88b2-11de19eac96c" providerId="ADAL" clId="{8245CC27-65FB-483E-B8E7-D04039DBA80D}" dt="2021-05-24T16:09:26.854" v="14869" actId="790"/>
          <ac:spMkLst>
            <pc:docMk/>
            <pc:sldMk cId="1880839470" sldId="10420"/>
            <ac:spMk id="29" creationId="{89FB3B56-79F8-4EBD-967A-A373F7652C6A}"/>
          </ac:spMkLst>
        </pc:spChg>
        <pc:spChg chg="mod ord">
          <ac:chgData name="Sarah GAUVARD" userId="4c03e191-e154-482a-88b2-11de19eac96c" providerId="ADAL" clId="{8245CC27-65FB-483E-B8E7-D04039DBA80D}" dt="2021-05-24T16:09:26.854" v="14872" actId="790"/>
          <ac:spMkLst>
            <pc:docMk/>
            <pc:sldMk cId="1880839470" sldId="10420"/>
            <ac:spMk id="31" creationId="{A8ABB57D-9FC1-44C5-8530-23D192F77D78}"/>
          </ac:spMkLst>
        </pc:spChg>
        <pc:spChg chg="mod ord">
          <ac:chgData name="Sarah GAUVARD" userId="4c03e191-e154-482a-88b2-11de19eac96c" providerId="ADAL" clId="{8245CC27-65FB-483E-B8E7-D04039DBA80D}" dt="2021-05-24T16:09:26.854" v="14868" actId="790"/>
          <ac:spMkLst>
            <pc:docMk/>
            <pc:sldMk cId="1880839470" sldId="10420"/>
            <ac:spMk id="32" creationId="{9D4D3A71-F2C6-47DF-BD49-C3D7BFBF9438}"/>
          </ac:spMkLst>
        </pc:spChg>
        <pc:spChg chg="mod ord">
          <ac:chgData name="Sarah GAUVARD" userId="4c03e191-e154-482a-88b2-11de19eac96c" providerId="ADAL" clId="{8245CC27-65FB-483E-B8E7-D04039DBA80D}" dt="2021-05-24T16:09:26.854" v="14867" actId="790"/>
          <ac:spMkLst>
            <pc:docMk/>
            <pc:sldMk cId="1880839470" sldId="10420"/>
            <ac:spMk id="35" creationId="{6458FF84-438E-4544-91C9-92CD6839FCA3}"/>
          </ac:spMkLst>
        </pc:spChg>
        <pc:spChg chg="mod ord">
          <ac:chgData name="Sarah GAUVARD" userId="4c03e191-e154-482a-88b2-11de19eac96c" providerId="ADAL" clId="{8245CC27-65FB-483E-B8E7-D04039DBA80D}" dt="2021-05-24T16:09:26.846" v="14858" actId="790"/>
          <ac:spMkLst>
            <pc:docMk/>
            <pc:sldMk cId="1880839470" sldId="10420"/>
            <ac:spMk id="36" creationId="{20444DA5-5894-4095-8895-C57452F8E45B}"/>
          </ac:spMkLst>
        </pc:spChg>
        <pc:spChg chg="mod ord">
          <ac:chgData name="Sarah GAUVARD" userId="4c03e191-e154-482a-88b2-11de19eac96c" providerId="ADAL" clId="{8245CC27-65FB-483E-B8E7-D04039DBA80D}" dt="2021-05-24T16:09:26.854" v="14873" actId="790"/>
          <ac:spMkLst>
            <pc:docMk/>
            <pc:sldMk cId="1880839470" sldId="10420"/>
            <ac:spMk id="37" creationId="{6503BBF8-FED4-48DE-A886-460FB05439F0}"/>
          </ac:spMkLst>
        </pc:spChg>
        <pc:spChg chg="mod ord">
          <ac:chgData name="Sarah GAUVARD" userId="4c03e191-e154-482a-88b2-11de19eac96c" providerId="ADAL" clId="{8245CC27-65FB-483E-B8E7-D04039DBA80D}" dt="2021-05-24T16:09:26.854" v="14874" actId="790"/>
          <ac:spMkLst>
            <pc:docMk/>
            <pc:sldMk cId="1880839470" sldId="10420"/>
            <ac:spMk id="38" creationId="{3F11B4ED-9D89-44C6-97B5-84A9B88A28A0}"/>
          </ac:spMkLst>
        </pc:spChg>
        <pc:spChg chg="mod ord">
          <ac:chgData name="Sarah GAUVARD" userId="4c03e191-e154-482a-88b2-11de19eac96c" providerId="ADAL" clId="{8245CC27-65FB-483E-B8E7-D04039DBA80D}" dt="2021-05-24T16:09:26.854" v="14875" actId="790"/>
          <ac:spMkLst>
            <pc:docMk/>
            <pc:sldMk cId="1880839470" sldId="10420"/>
            <ac:spMk id="39" creationId="{8D6F807D-093C-4031-8B72-64CF391C111D}"/>
          </ac:spMkLst>
        </pc:spChg>
        <pc:spChg chg="mod ord">
          <ac:chgData name="Sarah GAUVARD" userId="4c03e191-e154-482a-88b2-11de19eac96c" providerId="ADAL" clId="{8245CC27-65FB-483E-B8E7-D04039DBA80D}" dt="2021-05-24T16:09:26.854" v="14876" actId="790"/>
          <ac:spMkLst>
            <pc:docMk/>
            <pc:sldMk cId="1880839470" sldId="10420"/>
            <ac:spMk id="40" creationId="{E671D48A-B1A4-4B26-B60F-65E19EB4D45B}"/>
          </ac:spMkLst>
        </pc:spChg>
        <pc:spChg chg="mod ord">
          <ac:chgData name="Sarah GAUVARD" userId="4c03e191-e154-482a-88b2-11de19eac96c" providerId="ADAL" clId="{8245CC27-65FB-483E-B8E7-D04039DBA80D}" dt="2021-05-24T16:09:26.846" v="14860" actId="790"/>
          <ac:spMkLst>
            <pc:docMk/>
            <pc:sldMk cId="1880839470" sldId="10420"/>
            <ac:spMk id="42" creationId="{1247795D-0072-40BA-AF93-9C1D019692A8}"/>
          </ac:spMkLst>
        </pc:spChg>
        <pc:spChg chg="mod ord">
          <ac:chgData name="Sarah GAUVARD" userId="4c03e191-e154-482a-88b2-11de19eac96c" providerId="ADAL" clId="{8245CC27-65FB-483E-B8E7-D04039DBA80D}" dt="2021-05-24T16:09:26.846" v="14861" actId="790"/>
          <ac:spMkLst>
            <pc:docMk/>
            <pc:sldMk cId="1880839470" sldId="10420"/>
            <ac:spMk id="43" creationId="{36DDE4C0-A9E6-441D-96A4-45A7DBB77394}"/>
          </ac:spMkLst>
        </pc:spChg>
        <pc:spChg chg="mod ord">
          <ac:chgData name="Sarah GAUVARD" userId="4c03e191-e154-482a-88b2-11de19eac96c" providerId="ADAL" clId="{8245CC27-65FB-483E-B8E7-D04039DBA80D}" dt="2021-05-24T16:09:26.846" v="14862" actId="790"/>
          <ac:spMkLst>
            <pc:docMk/>
            <pc:sldMk cId="1880839470" sldId="10420"/>
            <ac:spMk id="44" creationId="{2F8E33B2-FF7C-48A6-A801-E93B48683090}"/>
          </ac:spMkLst>
        </pc:spChg>
        <pc:spChg chg="mod ord">
          <ac:chgData name="Sarah GAUVARD" userId="4c03e191-e154-482a-88b2-11de19eac96c" providerId="ADAL" clId="{8245CC27-65FB-483E-B8E7-D04039DBA80D}" dt="2021-05-24T16:09:26.846" v="14863" actId="790"/>
          <ac:spMkLst>
            <pc:docMk/>
            <pc:sldMk cId="1880839470" sldId="10420"/>
            <ac:spMk id="51" creationId="{30907CB5-2327-4812-BF4E-80ADB62C119C}"/>
          </ac:spMkLst>
        </pc:spChg>
        <pc:spChg chg="del">
          <ac:chgData name="Sarah GAUVARD" userId="4c03e191-e154-482a-88b2-11de19eac96c" providerId="ADAL" clId="{8245CC27-65FB-483E-B8E7-D04039DBA80D}" dt="2021-05-24T09:49:20.811" v="597" actId="478"/>
          <ac:spMkLst>
            <pc:docMk/>
            <pc:sldMk cId="1880839470" sldId="10420"/>
            <ac:spMk id="53" creationId="{D35C3631-C0C8-4FC8-973D-40CDEBD6C0B0}"/>
          </ac:spMkLst>
        </pc:spChg>
        <pc:spChg chg="del">
          <ac:chgData name="Sarah GAUVARD" userId="4c03e191-e154-482a-88b2-11de19eac96c" providerId="ADAL" clId="{8245CC27-65FB-483E-B8E7-D04039DBA80D}" dt="2021-05-24T09:49:20.811" v="597" actId="478"/>
          <ac:spMkLst>
            <pc:docMk/>
            <pc:sldMk cId="1880839470" sldId="10420"/>
            <ac:spMk id="54" creationId="{4F701549-61F9-4F55-9DBF-FDF036B16FE5}"/>
          </ac:spMkLst>
        </pc:spChg>
        <pc:spChg chg="del">
          <ac:chgData name="Sarah GAUVARD" userId="4c03e191-e154-482a-88b2-11de19eac96c" providerId="ADAL" clId="{8245CC27-65FB-483E-B8E7-D04039DBA80D}" dt="2021-05-24T09:49:20.811" v="597" actId="478"/>
          <ac:spMkLst>
            <pc:docMk/>
            <pc:sldMk cId="1880839470" sldId="10420"/>
            <ac:spMk id="55" creationId="{FAE7B05B-09C7-4A5C-A7FB-B701B7A2BF46}"/>
          </ac:spMkLst>
        </pc:spChg>
        <pc:spChg chg="del">
          <ac:chgData name="Sarah GAUVARD" userId="4c03e191-e154-482a-88b2-11de19eac96c" providerId="ADAL" clId="{8245CC27-65FB-483E-B8E7-D04039DBA80D}" dt="2021-05-24T09:49:20.811" v="597" actId="478"/>
          <ac:spMkLst>
            <pc:docMk/>
            <pc:sldMk cId="1880839470" sldId="10420"/>
            <ac:spMk id="56" creationId="{A23F3C2A-771C-4F1F-B760-732DA0DCD71C}"/>
          </ac:spMkLst>
        </pc:spChg>
        <pc:spChg chg="del">
          <ac:chgData name="Sarah GAUVARD" userId="4c03e191-e154-482a-88b2-11de19eac96c" providerId="ADAL" clId="{8245CC27-65FB-483E-B8E7-D04039DBA80D}" dt="2021-05-24T09:49:20.811" v="597" actId="478"/>
          <ac:spMkLst>
            <pc:docMk/>
            <pc:sldMk cId="1880839470" sldId="10420"/>
            <ac:spMk id="58" creationId="{C2574416-1DB9-43DC-B9B8-F85827101E82}"/>
          </ac:spMkLst>
        </pc:spChg>
        <pc:spChg chg="mod ord">
          <ac:chgData name="Sarah GAUVARD" userId="4c03e191-e154-482a-88b2-11de19eac96c" providerId="ADAL" clId="{8245CC27-65FB-483E-B8E7-D04039DBA80D}" dt="2021-05-24T09:49:25.672" v="727"/>
          <ac:spMkLst>
            <pc:docMk/>
            <pc:sldMk cId="1880839470" sldId="10420"/>
            <ac:spMk id="59" creationId="{7D3CB576-6910-4580-8B93-61400A776F0F}"/>
          </ac:spMkLst>
        </pc:spChg>
        <pc:spChg chg="mod ord">
          <ac:chgData name="Sarah GAUVARD" userId="4c03e191-e154-482a-88b2-11de19eac96c" providerId="ADAL" clId="{8245CC27-65FB-483E-B8E7-D04039DBA80D}" dt="2021-05-24T09:49:25.675" v="739"/>
          <ac:spMkLst>
            <pc:docMk/>
            <pc:sldMk cId="1880839470" sldId="10420"/>
            <ac:spMk id="60" creationId="{C1AC785B-60D5-4A61-9BD4-9BD82AA91B30}"/>
          </ac:spMkLst>
        </pc:spChg>
        <pc:spChg chg="mod ord">
          <ac:chgData name="Sarah GAUVARD" userId="4c03e191-e154-482a-88b2-11de19eac96c" providerId="ADAL" clId="{8245CC27-65FB-483E-B8E7-D04039DBA80D}" dt="2021-05-24T16:09:26.854" v="14878" actId="790"/>
          <ac:spMkLst>
            <pc:docMk/>
            <pc:sldMk cId="1880839470" sldId="10420"/>
            <ac:spMk id="61" creationId="{6AD76FA3-6E7D-4573-94F3-B77C5EE0163C}"/>
          </ac:spMkLst>
        </pc:spChg>
        <pc:spChg chg="add mod ord">
          <ac:chgData name="Sarah GAUVARD" userId="4c03e191-e154-482a-88b2-11de19eac96c" providerId="ADAL" clId="{8245CC27-65FB-483E-B8E7-D04039DBA80D}" dt="2021-05-24T09:49:25.672" v="729"/>
          <ac:spMkLst>
            <pc:docMk/>
            <pc:sldMk cId="1880839470" sldId="10420"/>
            <ac:spMk id="62" creationId="{A89E7587-7226-4BC7-930E-8B93D0CCB38A}"/>
          </ac:spMkLst>
        </pc:spChg>
        <pc:spChg chg="add mod ord">
          <ac:chgData name="Sarah GAUVARD" userId="4c03e191-e154-482a-88b2-11de19eac96c" providerId="ADAL" clId="{8245CC27-65FB-483E-B8E7-D04039DBA80D}" dt="2021-05-24T09:49:25.673" v="731"/>
          <ac:spMkLst>
            <pc:docMk/>
            <pc:sldMk cId="1880839470" sldId="10420"/>
            <ac:spMk id="63" creationId="{5B17D98B-6F04-4371-AEFA-07E41640F217}"/>
          </ac:spMkLst>
        </pc:spChg>
        <pc:spChg chg="add mod ord">
          <ac:chgData name="Sarah GAUVARD" userId="4c03e191-e154-482a-88b2-11de19eac96c" providerId="ADAL" clId="{8245CC27-65FB-483E-B8E7-D04039DBA80D}" dt="2021-05-24T09:49:25.673" v="733"/>
          <ac:spMkLst>
            <pc:docMk/>
            <pc:sldMk cId="1880839470" sldId="10420"/>
            <ac:spMk id="64" creationId="{A29A1AD4-C7A5-4949-93EB-D47986116E10}"/>
          </ac:spMkLst>
        </pc:spChg>
        <pc:spChg chg="add mod ord">
          <ac:chgData name="Sarah GAUVARD" userId="4c03e191-e154-482a-88b2-11de19eac96c" providerId="ADAL" clId="{8245CC27-65FB-483E-B8E7-D04039DBA80D}" dt="2021-05-24T09:49:25.674" v="735"/>
          <ac:spMkLst>
            <pc:docMk/>
            <pc:sldMk cId="1880839470" sldId="10420"/>
            <ac:spMk id="65" creationId="{8CE43CC9-42A1-44F9-B49B-D523A60E224B}"/>
          </ac:spMkLst>
        </pc:spChg>
        <pc:spChg chg="add mod ord">
          <ac:chgData name="Sarah GAUVARD" userId="4c03e191-e154-482a-88b2-11de19eac96c" providerId="ADAL" clId="{8245CC27-65FB-483E-B8E7-D04039DBA80D}" dt="2021-05-24T09:49:25.674" v="737"/>
          <ac:spMkLst>
            <pc:docMk/>
            <pc:sldMk cId="1880839470" sldId="10420"/>
            <ac:spMk id="66" creationId="{FDE740BC-B4AB-4375-AF48-F62A4E8A938D}"/>
          </ac:spMkLst>
        </pc:spChg>
        <pc:spChg chg="mod">
          <ac:chgData name="Sarah GAUVARD" userId="4c03e191-e154-482a-88b2-11de19eac96c" providerId="ADAL" clId="{8245CC27-65FB-483E-B8E7-D04039DBA80D}" dt="2021-05-24T16:09:26.866" v="14884" actId="790"/>
          <ac:spMkLst>
            <pc:docMk/>
            <pc:sldMk cId="1880839470" sldId="10420"/>
            <ac:spMk id="69" creationId="{01D1152F-DC04-47F3-B3E6-FE427477534B}"/>
          </ac:spMkLst>
        </pc:spChg>
        <pc:spChg chg="mod">
          <ac:chgData name="Sarah GAUVARD" userId="4c03e191-e154-482a-88b2-11de19eac96c" providerId="ADAL" clId="{8245CC27-65FB-483E-B8E7-D04039DBA80D}" dt="2021-05-24T16:09:26.866" v="14885" actId="790"/>
          <ac:spMkLst>
            <pc:docMk/>
            <pc:sldMk cId="1880839470" sldId="10420"/>
            <ac:spMk id="71" creationId="{1110DCA5-C0ED-4E32-B622-D42F7E75F087}"/>
          </ac:spMkLst>
        </pc:spChg>
        <pc:spChg chg="mod ord">
          <ac:chgData name="Sarah GAUVARD" userId="4c03e191-e154-482a-88b2-11de19eac96c" providerId="ADAL" clId="{8245CC27-65FB-483E-B8E7-D04039DBA80D}" dt="2021-05-24T16:09:26.846" v="14865" actId="790"/>
          <ac:spMkLst>
            <pc:docMk/>
            <pc:sldMk cId="1880839470" sldId="10420"/>
            <ac:spMk id="73" creationId="{C04BD52F-AA2B-4CAE-B639-93262B0CFA81}"/>
          </ac:spMkLst>
        </pc:spChg>
        <pc:spChg chg="mod">
          <ac:chgData name="Sarah GAUVARD" userId="4c03e191-e154-482a-88b2-11de19eac96c" providerId="ADAL" clId="{8245CC27-65FB-483E-B8E7-D04039DBA80D}" dt="2021-05-24T16:09:26.866" v="14886" actId="790"/>
          <ac:spMkLst>
            <pc:docMk/>
            <pc:sldMk cId="1880839470" sldId="10420"/>
            <ac:spMk id="74" creationId="{305F0BE6-DEBA-4EAA-BE46-38FC4E20BD59}"/>
          </ac:spMkLst>
        </pc:spChg>
        <pc:spChg chg="mod">
          <ac:chgData name="Sarah GAUVARD" userId="4c03e191-e154-482a-88b2-11de19eac96c" providerId="ADAL" clId="{8245CC27-65FB-483E-B8E7-D04039DBA80D}" dt="2021-05-24T16:09:26.866" v="14887" actId="790"/>
          <ac:spMkLst>
            <pc:docMk/>
            <pc:sldMk cId="1880839470" sldId="10420"/>
            <ac:spMk id="75" creationId="{7E21AEFA-DDFF-4EFD-9F77-05E47F124F6E}"/>
          </ac:spMkLst>
        </pc:spChg>
        <pc:spChg chg="mod ord">
          <ac:chgData name="Sarah GAUVARD" userId="4c03e191-e154-482a-88b2-11de19eac96c" providerId="ADAL" clId="{8245CC27-65FB-483E-B8E7-D04039DBA80D}" dt="2021-05-24T16:09:26.854" v="14866" actId="790"/>
          <ac:spMkLst>
            <pc:docMk/>
            <pc:sldMk cId="1880839470" sldId="10420"/>
            <ac:spMk id="77" creationId="{34FF3F00-6BF4-4528-85CB-44C6EF344C99}"/>
          </ac:spMkLst>
        </pc:spChg>
        <pc:spChg chg="mod">
          <ac:chgData name="Sarah GAUVARD" userId="4c03e191-e154-482a-88b2-11de19eac96c" providerId="ADAL" clId="{8245CC27-65FB-483E-B8E7-D04039DBA80D}" dt="2021-05-24T16:09:26.866" v="14888" actId="790"/>
          <ac:spMkLst>
            <pc:docMk/>
            <pc:sldMk cId="1880839470" sldId="10420"/>
            <ac:spMk id="79" creationId="{71D09F23-8FFD-4D9F-8487-394634952140}"/>
          </ac:spMkLst>
        </pc:spChg>
        <pc:spChg chg="mod">
          <ac:chgData name="Sarah GAUVARD" userId="4c03e191-e154-482a-88b2-11de19eac96c" providerId="ADAL" clId="{8245CC27-65FB-483E-B8E7-D04039DBA80D}" dt="2021-05-24T16:09:26.866" v="14889" actId="790"/>
          <ac:spMkLst>
            <pc:docMk/>
            <pc:sldMk cId="1880839470" sldId="10420"/>
            <ac:spMk id="80" creationId="{B74B23A4-2E97-4140-BCE8-AD19AA1BAFA4}"/>
          </ac:spMkLst>
        </pc:spChg>
        <pc:spChg chg="mod">
          <ac:chgData name="Sarah GAUVARD" userId="4c03e191-e154-482a-88b2-11de19eac96c" providerId="ADAL" clId="{8245CC27-65FB-483E-B8E7-D04039DBA80D}" dt="2021-05-24T16:09:26.866" v="14890" actId="790"/>
          <ac:spMkLst>
            <pc:docMk/>
            <pc:sldMk cId="1880839470" sldId="10420"/>
            <ac:spMk id="81" creationId="{D6151953-C018-432F-848B-9479A7B7C504}"/>
          </ac:spMkLst>
        </pc:spChg>
        <pc:spChg chg="mod">
          <ac:chgData name="Sarah GAUVARD" userId="4c03e191-e154-482a-88b2-11de19eac96c" providerId="ADAL" clId="{8245CC27-65FB-483E-B8E7-D04039DBA80D}" dt="2021-05-24T16:09:26.866" v="14891" actId="790"/>
          <ac:spMkLst>
            <pc:docMk/>
            <pc:sldMk cId="1880839470" sldId="10420"/>
            <ac:spMk id="83" creationId="{EB964CC9-6A52-460E-8525-23FCA33D987C}"/>
          </ac:spMkLst>
        </pc:spChg>
        <pc:spChg chg="mod ord">
          <ac:chgData name="Sarah GAUVARD" userId="4c03e191-e154-482a-88b2-11de19eac96c" providerId="ADAL" clId="{8245CC27-65FB-483E-B8E7-D04039DBA80D}" dt="2021-05-24T16:09:26.854" v="14877" actId="790"/>
          <ac:spMkLst>
            <pc:docMk/>
            <pc:sldMk cId="1880839470" sldId="10420"/>
            <ac:spMk id="87" creationId="{969B0457-9AFB-478C-83F9-279061671C83}"/>
          </ac:spMkLst>
        </pc:spChg>
        <pc:spChg chg="mod ord">
          <ac:chgData name="Sarah GAUVARD" userId="4c03e191-e154-482a-88b2-11de19eac96c" providerId="ADAL" clId="{8245CC27-65FB-483E-B8E7-D04039DBA80D}" dt="2021-05-24T16:09:26.854" v="14879" actId="790"/>
          <ac:spMkLst>
            <pc:docMk/>
            <pc:sldMk cId="1880839470" sldId="10420"/>
            <ac:spMk id="102" creationId="{E0A3228D-D7F4-4A30-B4B2-A7E4D2315ACB}"/>
          </ac:spMkLst>
        </pc:spChg>
        <pc:spChg chg="mod ord">
          <ac:chgData name="Sarah GAUVARD" userId="4c03e191-e154-482a-88b2-11de19eac96c" providerId="ADAL" clId="{8245CC27-65FB-483E-B8E7-D04039DBA80D}" dt="2021-05-24T16:09:26.854" v="14880" actId="790"/>
          <ac:spMkLst>
            <pc:docMk/>
            <pc:sldMk cId="1880839470" sldId="10420"/>
            <ac:spMk id="103" creationId="{60955DD5-4169-4F04-B2BF-2D2A64980A04}"/>
          </ac:spMkLst>
        </pc:spChg>
        <pc:spChg chg="mod ord">
          <ac:chgData name="Sarah GAUVARD" userId="4c03e191-e154-482a-88b2-11de19eac96c" providerId="ADAL" clId="{8245CC27-65FB-483E-B8E7-D04039DBA80D}" dt="2021-05-24T16:09:26.864" v="14881" actId="790"/>
          <ac:spMkLst>
            <pc:docMk/>
            <pc:sldMk cId="1880839470" sldId="10420"/>
            <ac:spMk id="104" creationId="{4A968F88-0BEE-4D26-A5E9-83CB21CDAC4E}"/>
          </ac:spMkLst>
        </pc:spChg>
        <pc:spChg chg="mod ord">
          <ac:chgData name="Sarah GAUVARD" userId="4c03e191-e154-482a-88b2-11de19eac96c" providerId="ADAL" clId="{8245CC27-65FB-483E-B8E7-D04039DBA80D}" dt="2021-05-24T16:09:26.866" v="14882" actId="790"/>
          <ac:spMkLst>
            <pc:docMk/>
            <pc:sldMk cId="1880839470" sldId="10420"/>
            <ac:spMk id="105" creationId="{8CE0D118-0AFC-408B-A2A2-0061AEB48222}"/>
          </ac:spMkLst>
        </pc:spChg>
        <pc:spChg chg="mod ord">
          <ac:chgData name="Sarah GAUVARD" userId="4c03e191-e154-482a-88b2-11de19eac96c" providerId="ADAL" clId="{8245CC27-65FB-483E-B8E7-D04039DBA80D}" dt="2021-05-24T16:09:26.866" v="14883" actId="790"/>
          <ac:spMkLst>
            <pc:docMk/>
            <pc:sldMk cId="1880839470" sldId="10420"/>
            <ac:spMk id="120" creationId="{C57198B3-D8BE-4D70-B9B4-2277FF73857B}"/>
          </ac:spMkLst>
        </pc:spChg>
        <pc:grpChg chg="mod ord">
          <ac:chgData name="Sarah GAUVARD" userId="4c03e191-e154-482a-88b2-11de19eac96c" providerId="ADAL" clId="{8245CC27-65FB-483E-B8E7-D04039DBA80D}" dt="2021-05-24T09:49:25.651" v="663"/>
          <ac:grpSpMkLst>
            <pc:docMk/>
            <pc:sldMk cId="1880839470" sldId="10420"/>
            <ac:grpSpMk id="16" creationId="{2B629D0B-225A-4659-A4FB-E81B6B3C437E}"/>
          </ac:grpSpMkLst>
        </pc:grpChg>
        <pc:graphicFrameChg chg="mod">
          <ac:chgData name="Sarah GAUVARD" userId="4c03e191-e154-482a-88b2-11de19eac96c" providerId="ADAL" clId="{8245CC27-65FB-483E-B8E7-D04039DBA80D}" dt="2021-05-24T15:34:46.233" v="11959"/>
          <ac:graphicFrameMkLst>
            <pc:docMk/>
            <pc:sldMk cId="1880839470" sldId="10420"/>
            <ac:graphicFrameMk id="18" creationId="{CF7417D0-0B74-4D85-B813-1CC9F37E5F04}"/>
          </ac:graphicFrameMkLst>
        </pc:graphicFrameChg>
        <pc:picChg chg="mod ord">
          <ac:chgData name="Sarah GAUVARD" userId="4c03e191-e154-482a-88b2-11de19eac96c" providerId="ADAL" clId="{8245CC27-65FB-483E-B8E7-D04039DBA80D}" dt="2021-05-24T09:49:25.662" v="699"/>
          <ac:picMkLst>
            <pc:docMk/>
            <pc:sldMk cId="1880839470" sldId="10420"/>
            <ac:picMk id="21" creationId="{920AAF5D-A79E-467F-A00F-2D1B31F83672}"/>
          </ac:picMkLst>
        </pc:picChg>
        <pc:picChg chg="mod">
          <ac:chgData name="Sarah GAUVARD" userId="4c03e191-e154-482a-88b2-11de19eac96c" providerId="ADAL" clId="{8245CC27-65FB-483E-B8E7-D04039DBA80D}" dt="2021-05-24T09:49:25.662" v="701"/>
          <ac:picMkLst>
            <pc:docMk/>
            <pc:sldMk cId="1880839470" sldId="10420"/>
            <ac:picMk id="28" creationId="{17AF9461-69BF-41F6-98B1-518FFCB32CAE}"/>
          </ac:picMkLst>
        </pc:picChg>
        <pc:picChg chg="mod">
          <ac:chgData name="Sarah GAUVARD" userId="4c03e191-e154-482a-88b2-11de19eac96c" providerId="ADAL" clId="{8245CC27-65FB-483E-B8E7-D04039DBA80D}" dt="2021-05-24T09:49:25.663" v="702"/>
          <ac:picMkLst>
            <pc:docMk/>
            <pc:sldMk cId="1880839470" sldId="10420"/>
            <ac:picMk id="30" creationId="{0CF16C34-6BF9-4B73-A6F1-84491B48E63B}"/>
          </ac:picMkLst>
        </pc:picChg>
        <pc:picChg chg="mod ord">
          <ac:chgData name="Sarah GAUVARD" userId="4c03e191-e154-482a-88b2-11de19eac96c" providerId="ADAL" clId="{8245CC27-65FB-483E-B8E7-D04039DBA80D}" dt="2021-05-24T09:49:25.654" v="671"/>
          <ac:picMkLst>
            <pc:docMk/>
            <pc:sldMk cId="1880839470" sldId="10420"/>
            <ac:picMk id="78" creationId="{320ECDFC-0DEB-4C2C-8A0E-84447713719B}"/>
          </ac:picMkLst>
        </pc:picChg>
        <pc:picChg chg="mod">
          <ac:chgData name="Sarah GAUVARD" userId="4c03e191-e154-482a-88b2-11de19eac96c" providerId="ADAL" clId="{8245CC27-65FB-483E-B8E7-D04039DBA80D}" dt="2021-05-24T09:49:25.665" v="711"/>
          <ac:picMkLst>
            <pc:docMk/>
            <pc:sldMk cId="1880839470" sldId="10420"/>
            <ac:picMk id="82" creationId="{898A0C52-5BEC-4267-B17F-A5376452ED79}"/>
          </ac:picMkLst>
        </pc:picChg>
        <pc:picChg chg="mod">
          <ac:chgData name="Sarah GAUVARD" userId="4c03e191-e154-482a-88b2-11de19eac96c" providerId="ADAL" clId="{8245CC27-65FB-483E-B8E7-D04039DBA80D}" dt="2021-05-24T09:49:25.657" v="682"/>
          <ac:picMkLst>
            <pc:docMk/>
            <pc:sldMk cId="1880839470" sldId="10420"/>
            <ac:picMk id="89092" creationId="{75B84383-2A3D-4981-9D34-B4C3755397DA}"/>
          </ac:picMkLst>
        </pc:picChg>
        <pc:picChg chg="mod">
          <ac:chgData name="Sarah GAUVARD" userId="4c03e191-e154-482a-88b2-11de19eac96c" providerId="ADAL" clId="{8245CC27-65FB-483E-B8E7-D04039DBA80D}" dt="2021-05-24T09:49:25.662" v="700"/>
          <ac:picMkLst>
            <pc:docMk/>
            <pc:sldMk cId="1880839470" sldId="10420"/>
            <ac:picMk id="89094" creationId="{DCEBADD2-8F10-4602-B402-2F8A28E3A0B5}"/>
          </ac:picMkLst>
        </pc:picChg>
        <pc:picChg chg="mod">
          <ac:chgData name="Sarah GAUVARD" userId="4c03e191-e154-482a-88b2-11de19eac96c" providerId="ADAL" clId="{8245CC27-65FB-483E-B8E7-D04039DBA80D}" dt="2021-05-24T09:49:25.659" v="687"/>
          <ac:picMkLst>
            <pc:docMk/>
            <pc:sldMk cId="1880839470" sldId="10420"/>
            <ac:picMk id="89098" creationId="{C7DCC30C-3A00-4326-A5B0-A4C92ED9DC27}"/>
          </ac:picMkLst>
        </pc:picChg>
        <pc:picChg chg="mod ord">
          <ac:chgData name="Sarah GAUVARD" userId="4c03e191-e154-482a-88b2-11de19eac96c" providerId="ADAL" clId="{8245CC27-65FB-483E-B8E7-D04039DBA80D}" dt="2021-05-24T09:49:25.659" v="689"/>
          <ac:picMkLst>
            <pc:docMk/>
            <pc:sldMk cId="1880839470" sldId="10420"/>
            <ac:picMk id="89100" creationId="{14D802B6-E892-4636-962C-02CD3123AD15}"/>
          </ac:picMkLst>
        </pc:picChg>
        <pc:picChg chg="mod">
          <ac:chgData name="Sarah GAUVARD" userId="4c03e191-e154-482a-88b2-11de19eac96c" providerId="ADAL" clId="{8245CC27-65FB-483E-B8E7-D04039DBA80D}" dt="2021-05-24T09:49:25.660" v="692"/>
          <ac:picMkLst>
            <pc:docMk/>
            <pc:sldMk cId="1880839470" sldId="10420"/>
            <ac:picMk id="89102" creationId="{8FF65DB1-BFE7-41A3-AE18-8D0D3864E405}"/>
          </ac:picMkLst>
        </pc:picChg>
        <pc:picChg chg="mod">
          <ac:chgData name="Sarah GAUVARD" userId="4c03e191-e154-482a-88b2-11de19eac96c" providerId="ADAL" clId="{8245CC27-65FB-483E-B8E7-D04039DBA80D}" dt="2021-05-24T09:49:25.661" v="697"/>
          <ac:picMkLst>
            <pc:docMk/>
            <pc:sldMk cId="1880839470" sldId="10420"/>
            <ac:picMk id="89108" creationId="{30C019D9-C0B9-43DC-A027-2B1D0305588B}"/>
          </ac:picMkLst>
        </pc:picChg>
        <pc:cxnChg chg="mod ord">
          <ac:chgData name="Sarah GAUVARD" userId="4c03e191-e154-482a-88b2-11de19eac96c" providerId="ADAL" clId="{8245CC27-65FB-483E-B8E7-D04039DBA80D}" dt="2021-05-24T09:49:25.646" v="647"/>
          <ac:cxnSpMkLst>
            <pc:docMk/>
            <pc:sldMk cId="1880839470" sldId="10420"/>
            <ac:cxnSpMk id="7" creationId="{AF3CF7A6-A6B8-49A8-A70B-EB8E29B7E57A}"/>
          </ac:cxnSpMkLst>
        </pc:cxnChg>
        <pc:cxnChg chg="mod ord">
          <ac:chgData name="Sarah GAUVARD" userId="4c03e191-e154-482a-88b2-11de19eac96c" providerId="ADAL" clId="{8245CC27-65FB-483E-B8E7-D04039DBA80D}" dt="2021-05-24T09:49:25.657" v="679"/>
          <ac:cxnSpMkLst>
            <pc:docMk/>
            <pc:sldMk cId="1880839470" sldId="10420"/>
            <ac:cxnSpMk id="9" creationId="{654B3665-6198-4BDA-9256-CA77026CBFE3}"/>
          </ac:cxnSpMkLst>
        </pc:cxnChg>
        <pc:cxnChg chg="mod ord">
          <ac:chgData name="Sarah GAUVARD" userId="4c03e191-e154-482a-88b2-11de19eac96c" providerId="ADAL" clId="{8245CC27-65FB-483E-B8E7-D04039DBA80D}" dt="2021-05-24T09:49:25.657" v="681"/>
          <ac:cxnSpMkLst>
            <pc:docMk/>
            <pc:sldMk cId="1880839470" sldId="10420"/>
            <ac:cxnSpMk id="10" creationId="{443F2953-4748-4B7B-ABF3-0603C06976E9}"/>
          </ac:cxnSpMkLst>
        </pc:cxnChg>
        <pc:cxnChg chg="mod ord">
          <ac:chgData name="Sarah GAUVARD" userId="4c03e191-e154-482a-88b2-11de19eac96c" providerId="ADAL" clId="{8245CC27-65FB-483E-B8E7-D04039DBA80D}" dt="2021-05-24T09:49:25.648" v="659"/>
          <ac:cxnSpMkLst>
            <pc:docMk/>
            <pc:sldMk cId="1880839470" sldId="10420"/>
            <ac:cxnSpMk id="13" creationId="{9532A7BA-EE69-4131-985A-96EB55748FF6}"/>
          </ac:cxnSpMkLst>
        </pc:cxnChg>
        <pc:cxnChg chg="mod ord">
          <ac:chgData name="Sarah GAUVARD" userId="4c03e191-e154-482a-88b2-11de19eac96c" providerId="ADAL" clId="{8245CC27-65FB-483E-B8E7-D04039DBA80D}" dt="2021-05-24T09:49:25.658" v="684"/>
          <ac:cxnSpMkLst>
            <pc:docMk/>
            <pc:sldMk cId="1880839470" sldId="10420"/>
            <ac:cxnSpMk id="14" creationId="{65BE5749-D7E3-4D58-B85B-0EF18CE0768E}"/>
          </ac:cxnSpMkLst>
        </pc:cxnChg>
        <pc:cxnChg chg="mod ord">
          <ac:chgData name="Sarah GAUVARD" userId="4c03e191-e154-482a-88b2-11de19eac96c" providerId="ADAL" clId="{8245CC27-65FB-483E-B8E7-D04039DBA80D}" dt="2021-05-24T09:49:25.658" v="686"/>
          <ac:cxnSpMkLst>
            <pc:docMk/>
            <pc:sldMk cId="1880839470" sldId="10420"/>
            <ac:cxnSpMk id="19" creationId="{F462D31B-94B9-4080-A746-AF9B3A424279}"/>
          </ac:cxnSpMkLst>
        </pc:cxnChg>
        <pc:cxnChg chg="mod ord">
          <ac:chgData name="Sarah GAUVARD" userId="4c03e191-e154-482a-88b2-11de19eac96c" providerId="ADAL" clId="{8245CC27-65FB-483E-B8E7-D04039DBA80D}" dt="2021-05-24T09:49:25.653" v="667"/>
          <ac:cxnSpMkLst>
            <pc:docMk/>
            <pc:sldMk cId="1880839470" sldId="10420"/>
            <ac:cxnSpMk id="76" creationId="{10887835-A80E-4111-9EB8-3E7079FC9AB9}"/>
          </ac:cxnSpMkLst>
        </pc:cxnChg>
      </pc:sldChg>
      <pc:sldChg chg="addSp delSp modSp mod ord">
        <pc:chgData name="Sarah GAUVARD" userId="4c03e191-e154-482a-88b2-11de19eac96c" providerId="ADAL" clId="{8245CC27-65FB-483E-B8E7-D04039DBA80D}" dt="2021-05-25T13:32:43.751" v="24570" actId="207"/>
        <pc:sldMkLst>
          <pc:docMk/>
          <pc:sldMk cId="3436081094" sldId="10430"/>
        </pc:sldMkLst>
        <pc:spChg chg="mod">
          <ac:chgData name="Sarah GAUVARD" userId="4c03e191-e154-482a-88b2-11de19eac96c" providerId="ADAL" clId="{8245CC27-65FB-483E-B8E7-D04039DBA80D}" dt="2021-05-25T13:14:27.668" v="23001" actId="948"/>
          <ac:spMkLst>
            <pc:docMk/>
            <pc:sldMk cId="3436081094" sldId="10430"/>
            <ac:spMk id="2" creationId="{076A8F7F-F895-46CF-AE68-CFD9FFD3C71A}"/>
          </ac:spMkLst>
        </pc:spChg>
        <pc:spChg chg="mod">
          <ac:chgData name="Sarah GAUVARD" userId="4c03e191-e154-482a-88b2-11de19eac96c" providerId="ADAL" clId="{8245CC27-65FB-483E-B8E7-D04039DBA80D}" dt="2021-05-25T13:32:43.751" v="24570" actId="207"/>
          <ac:spMkLst>
            <pc:docMk/>
            <pc:sldMk cId="3436081094" sldId="10430"/>
            <ac:spMk id="3" creationId="{99D55450-9CBF-4572-8BF1-B9F5C66D1D7B}"/>
          </ac:spMkLst>
        </pc:spChg>
        <pc:spChg chg="mod">
          <ac:chgData name="Sarah GAUVARD" userId="4c03e191-e154-482a-88b2-11de19eac96c" providerId="ADAL" clId="{8245CC27-65FB-483E-B8E7-D04039DBA80D}" dt="2021-05-24T16:09:26.997" v="15027" actId="790"/>
          <ac:spMkLst>
            <pc:docMk/>
            <pc:sldMk cId="3436081094" sldId="10430"/>
            <ac:spMk id="5" creationId="{14879C95-E469-44D8-A9AD-02681D654566}"/>
          </ac:spMkLst>
        </pc:spChg>
        <pc:spChg chg="mod">
          <ac:chgData name="Sarah GAUVARD" userId="4c03e191-e154-482a-88b2-11de19eac96c" providerId="ADAL" clId="{8245CC27-65FB-483E-B8E7-D04039DBA80D}" dt="2021-05-24T16:09:26.997" v="15028" actId="790"/>
          <ac:spMkLst>
            <pc:docMk/>
            <pc:sldMk cId="3436081094" sldId="10430"/>
            <ac:spMk id="6" creationId="{668934EF-3B2B-41C8-A852-24F884CDB87E}"/>
          </ac:spMkLst>
        </pc:spChg>
        <pc:spChg chg="mod">
          <ac:chgData name="Sarah GAUVARD" userId="4c03e191-e154-482a-88b2-11de19eac96c" providerId="ADAL" clId="{8245CC27-65FB-483E-B8E7-D04039DBA80D}" dt="2021-05-24T16:09:26.997" v="15029" actId="790"/>
          <ac:spMkLst>
            <pc:docMk/>
            <pc:sldMk cId="3436081094" sldId="10430"/>
            <ac:spMk id="7" creationId="{6A3CD12F-6027-43F5-950A-553D45044CF9}"/>
          </ac:spMkLst>
        </pc:spChg>
        <pc:spChg chg="mod">
          <ac:chgData name="Sarah GAUVARD" userId="4c03e191-e154-482a-88b2-11de19eac96c" providerId="ADAL" clId="{8245CC27-65FB-483E-B8E7-D04039DBA80D}" dt="2021-05-24T16:09:26.997" v="15030" actId="790"/>
          <ac:spMkLst>
            <pc:docMk/>
            <pc:sldMk cId="3436081094" sldId="10430"/>
            <ac:spMk id="12" creationId="{6E04BA92-898B-4C5B-BC90-D7370A80E238}"/>
          </ac:spMkLst>
        </pc:spChg>
        <pc:spChg chg="add del mod modVis">
          <ac:chgData name="Sarah GAUVARD" userId="4c03e191-e154-482a-88b2-11de19eac96c" providerId="ADAL" clId="{8245CC27-65FB-483E-B8E7-D04039DBA80D}" dt="2021-05-25T11:07:52.153" v="19850"/>
          <ac:spMkLst>
            <pc:docMk/>
            <pc:sldMk cId="3436081094" sldId="10430"/>
            <ac:spMk id="13" creationId="{7F7605CA-4564-4114-8C36-84F3CD314F70}"/>
          </ac:spMkLst>
        </pc:spChg>
        <pc:spChg chg="add del mod modVis">
          <ac:chgData name="Sarah GAUVARD" userId="4c03e191-e154-482a-88b2-11de19eac96c" providerId="ADAL" clId="{8245CC27-65FB-483E-B8E7-D04039DBA80D}" dt="2021-05-25T11:07:54.973" v="19899"/>
          <ac:spMkLst>
            <pc:docMk/>
            <pc:sldMk cId="3436081094" sldId="10430"/>
            <ac:spMk id="14" creationId="{7CA90D24-223D-4F62-9847-210CD83547E8}"/>
          </ac:spMkLst>
        </pc:spChg>
        <pc:spChg chg="add del mod modVis">
          <ac:chgData name="Sarah GAUVARD" userId="4c03e191-e154-482a-88b2-11de19eac96c" providerId="ADAL" clId="{8245CC27-65FB-483E-B8E7-D04039DBA80D}" dt="2021-05-24T15:34:46.269" v="11981"/>
          <ac:spMkLst>
            <pc:docMk/>
            <pc:sldMk cId="3436081094" sldId="10430"/>
            <ac:spMk id="14" creationId="{DAD6F561-06B8-4804-95F8-0B97D6AEBE97}"/>
          </ac:spMkLst>
        </pc:spChg>
        <pc:spChg chg="add del mod modVis">
          <ac:chgData name="Sarah GAUVARD" userId="4c03e191-e154-482a-88b2-11de19eac96c" providerId="ADAL" clId="{8245CC27-65FB-483E-B8E7-D04039DBA80D}" dt="2021-05-25T11:09:07.672" v="20022"/>
          <ac:spMkLst>
            <pc:docMk/>
            <pc:sldMk cId="3436081094" sldId="10430"/>
            <ac:spMk id="15" creationId="{EC598D80-46E7-45FF-8AB5-38A2B05B12A4}"/>
          </ac:spMkLst>
        </pc:spChg>
        <pc:spChg chg="add del mod modVis">
          <ac:chgData name="Sarah GAUVARD" userId="4c03e191-e154-482a-88b2-11de19eac96c" providerId="ADAL" clId="{8245CC27-65FB-483E-B8E7-D04039DBA80D}" dt="2021-05-25T11:09:10.706" v="20073"/>
          <ac:spMkLst>
            <pc:docMk/>
            <pc:sldMk cId="3436081094" sldId="10430"/>
            <ac:spMk id="16" creationId="{CDFA4348-971A-4AF3-894F-4C464E233090}"/>
          </ac:spMkLst>
        </pc:spChg>
        <pc:spChg chg="add del mod modVis">
          <ac:chgData name="Sarah GAUVARD" userId="4c03e191-e154-482a-88b2-11de19eac96c" providerId="ADAL" clId="{8245CC27-65FB-483E-B8E7-D04039DBA80D}" dt="2021-05-25T11:09:15.353" v="20117"/>
          <ac:spMkLst>
            <pc:docMk/>
            <pc:sldMk cId="3436081094" sldId="10430"/>
            <ac:spMk id="17" creationId="{5BE162E3-9504-4E3F-B9A9-F59A5C610BF2}"/>
          </ac:spMkLst>
        </pc:spChg>
        <pc:spChg chg="add del mod modVis">
          <ac:chgData name="Sarah GAUVARD" userId="4c03e191-e154-482a-88b2-11de19eac96c" providerId="ADAL" clId="{8245CC27-65FB-483E-B8E7-D04039DBA80D}" dt="2021-05-25T11:28:51.039" v="20546"/>
          <ac:spMkLst>
            <pc:docMk/>
            <pc:sldMk cId="3436081094" sldId="10430"/>
            <ac:spMk id="18" creationId="{8AA27B23-A338-4FD7-A443-3F88193A5B0C}"/>
          </ac:spMkLst>
        </pc:spChg>
        <pc:spChg chg="add del mod modVis">
          <ac:chgData name="Sarah GAUVARD" userId="4c03e191-e154-482a-88b2-11de19eac96c" providerId="ADAL" clId="{8245CC27-65FB-483E-B8E7-D04039DBA80D}" dt="2021-05-25T12:34:47.266" v="21552"/>
          <ac:spMkLst>
            <pc:docMk/>
            <pc:sldMk cId="3436081094" sldId="10430"/>
            <ac:spMk id="19" creationId="{2DD9C846-B1D2-4C5C-AEEA-71FEC760821F}"/>
          </ac:spMkLst>
        </pc:spChg>
        <pc:spChg chg="add del mod modVis">
          <ac:chgData name="Sarah GAUVARD" userId="4c03e191-e154-482a-88b2-11de19eac96c" providerId="ADAL" clId="{8245CC27-65FB-483E-B8E7-D04039DBA80D}" dt="2021-05-25T12:34:48.628" v="21597"/>
          <ac:spMkLst>
            <pc:docMk/>
            <pc:sldMk cId="3436081094" sldId="10430"/>
            <ac:spMk id="20" creationId="{1D93FE6D-899D-40E5-821F-A2443E6058B2}"/>
          </ac:spMkLst>
        </pc:spChg>
        <pc:spChg chg="add del mod modVis">
          <ac:chgData name="Sarah GAUVARD" userId="4c03e191-e154-482a-88b2-11de19eac96c" providerId="ADAL" clId="{8245CC27-65FB-483E-B8E7-D04039DBA80D}" dt="2021-05-25T12:34:49.667" v="21642"/>
          <ac:spMkLst>
            <pc:docMk/>
            <pc:sldMk cId="3436081094" sldId="10430"/>
            <ac:spMk id="21" creationId="{8CF03E91-EFBC-4A13-9AE2-897ACB9678C1}"/>
          </ac:spMkLst>
        </pc:spChg>
        <pc:spChg chg="add del mod modVis">
          <ac:chgData name="Sarah GAUVARD" userId="4c03e191-e154-482a-88b2-11de19eac96c" providerId="ADAL" clId="{8245CC27-65FB-483E-B8E7-D04039DBA80D}" dt="2021-05-25T12:34:50.376" v="21687"/>
          <ac:spMkLst>
            <pc:docMk/>
            <pc:sldMk cId="3436081094" sldId="10430"/>
            <ac:spMk id="22" creationId="{6A9205F7-8D8F-43E5-8A3C-F9CE2CD06E58}"/>
          </ac:spMkLst>
        </pc:spChg>
        <pc:spChg chg="mod">
          <ac:chgData name="Sarah GAUVARD" userId="4c03e191-e154-482a-88b2-11de19eac96c" providerId="ADAL" clId="{8245CC27-65FB-483E-B8E7-D04039DBA80D}" dt="2021-05-24T16:09:26.997" v="15031" actId="790"/>
          <ac:spMkLst>
            <pc:docMk/>
            <pc:sldMk cId="3436081094" sldId="10430"/>
            <ac:spMk id="23" creationId="{9D6B7B07-4A05-4C23-B8C2-BF6B61723B12}"/>
          </ac:spMkLst>
        </pc:spChg>
        <pc:spChg chg="mod">
          <ac:chgData name="Sarah GAUVARD" userId="4c03e191-e154-482a-88b2-11de19eac96c" providerId="ADAL" clId="{8245CC27-65FB-483E-B8E7-D04039DBA80D}" dt="2021-05-24T16:09:26.997" v="15032" actId="790"/>
          <ac:spMkLst>
            <pc:docMk/>
            <pc:sldMk cId="3436081094" sldId="10430"/>
            <ac:spMk id="24" creationId="{92BE8562-398F-47AA-9DFF-98ED6254380E}"/>
          </ac:spMkLst>
        </pc:spChg>
        <pc:spChg chg="mod">
          <ac:chgData name="Sarah GAUVARD" userId="4c03e191-e154-482a-88b2-11de19eac96c" providerId="ADAL" clId="{8245CC27-65FB-483E-B8E7-D04039DBA80D}" dt="2021-05-24T16:09:26.997" v="15033" actId="790"/>
          <ac:spMkLst>
            <pc:docMk/>
            <pc:sldMk cId="3436081094" sldId="10430"/>
            <ac:spMk id="28" creationId="{B3C1858A-F04B-4556-8114-AD5557508D65}"/>
          </ac:spMkLst>
        </pc:spChg>
        <pc:spChg chg="add del mod modVis">
          <ac:chgData name="Sarah GAUVARD" userId="4c03e191-e154-482a-88b2-11de19eac96c" providerId="ADAL" clId="{8245CC27-65FB-483E-B8E7-D04039DBA80D}" dt="2021-05-25T12:34:51.248" v="21732"/>
          <ac:spMkLst>
            <pc:docMk/>
            <pc:sldMk cId="3436081094" sldId="10430"/>
            <ac:spMk id="29" creationId="{4BFADDCB-FCF2-4D63-A238-B0F74CDD19DD}"/>
          </ac:spMkLst>
        </pc:spChg>
        <pc:spChg chg="add del mod modVis">
          <ac:chgData name="Sarah GAUVARD" userId="4c03e191-e154-482a-88b2-11de19eac96c" providerId="ADAL" clId="{8245CC27-65FB-483E-B8E7-D04039DBA80D}" dt="2021-05-25T12:34:53.495" v="21791"/>
          <ac:spMkLst>
            <pc:docMk/>
            <pc:sldMk cId="3436081094" sldId="10430"/>
            <ac:spMk id="30" creationId="{EDAFB530-07E8-4FF9-A35D-51424E4BD30F}"/>
          </ac:spMkLst>
        </pc:spChg>
        <pc:spChg chg="add del mod modVis">
          <ac:chgData name="Sarah GAUVARD" userId="4c03e191-e154-482a-88b2-11de19eac96c" providerId="ADAL" clId="{8245CC27-65FB-483E-B8E7-D04039DBA80D}" dt="2021-05-25T13:13:40.045" v="22930"/>
          <ac:spMkLst>
            <pc:docMk/>
            <pc:sldMk cId="3436081094" sldId="10430"/>
            <ac:spMk id="31" creationId="{0873D12E-63C9-4268-96F9-1BB7D5BAA199}"/>
          </ac:spMkLst>
        </pc:spChg>
        <pc:spChg chg="del">
          <ac:chgData name="Sarah GAUVARD" userId="4c03e191-e154-482a-88b2-11de19eac96c" providerId="ADAL" clId="{8245CC27-65FB-483E-B8E7-D04039DBA80D}" dt="2021-05-24T09:08:27.016" v="183" actId="478"/>
          <ac:spMkLst>
            <pc:docMk/>
            <pc:sldMk cId="3436081094" sldId="10430"/>
            <ac:spMk id="31" creationId="{85C92F32-0484-423E-95F6-A9AF28B2B0BC}"/>
          </ac:spMkLst>
        </pc:spChg>
        <pc:spChg chg="mod">
          <ac:chgData name="Sarah GAUVARD" userId="4c03e191-e154-482a-88b2-11de19eac96c" providerId="ADAL" clId="{8245CC27-65FB-483E-B8E7-D04039DBA80D}" dt="2021-05-24T16:09:26.977" v="15013" actId="790"/>
          <ac:spMkLst>
            <pc:docMk/>
            <pc:sldMk cId="3436081094" sldId="10430"/>
            <ac:spMk id="32" creationId="{D2B59A52-D9C2-4E24-B600-1E848B32C8F5}"/>
          </ac:spMkLst>
        </pc:spChg>
        <pc:spChg chg="mod">
          <ac:chgData name="Sarah GAUVARD" userId="4c03e191-e154-482a-88b2-11de19eac96c" providerId="ADAL" clId="{8245CC27-65FB-483E-B8E7-D04039DBA80D}" dt="2021-05-24T16:09:26.977" v="15014" actId="790"/>
          <ac:spMkLst>
            <pc:docMk/>
            <pc:sldMk cId="3436081094" sldId="10430"/>
            <ac:spMk id="33" creationId="{1C409526-FEBB-4615-AD48-EE2919594103}"/>
          </ac:spMkLst>
        </pc:spChg>
        <pc:spChg chg="mod">
          <ac:chgData name="Sarah GAUVARD" userId="4c03e191-e154-482a-88b2-11de19eac96c" providerId="ADAL" clId="{8245CC27-65FB-483E-B8E7-D04039DBA80D}" dt="2021-05-24T16:09:26.977" v="15015" actId="790"/>
          <ac:spMkLst>
            <pc:docMk/>
            <pc:sldMk cId="3436081094" sldId="10430"/>
            <ac:spMk id="34" creationId="{CE2902A1-02DE-4841-A5FF-EC6817C779C2}"/>
          </ac:spMkLst>
        </pc:spChg>
        <pc:spChg chg="mod">
          <ac:chgData name="Sarah GAUVARD" userId="4c03e191-e154-482a-88b2-11de19eac96c" providerId="ADAL" clId="{8245CC27-65FB-483E-B8E7-D04039DBA80D}" dt="2021-05-24T16:09:26.977" v="15016" actId="790"/>
          <ac:spMkLst>
            <pc:docMk/>
            <pc:sldMk cId="3436081094" sldId="10430"/>
            <ac:spMk id="35" creationId="{C69C2033-6801-4C94-9428-2C2E3E7C61BC}"/>
          </ac:spMkLst>
        </pc:spChg>
        <pc:spChg chg="mod">
          <ac:chgData name="Sarah GAUVARD" userId="4c03e191-e154-482a-88b2-11de19eac96c" providerId="ADAL" clId="{8245CC27-65FB-483E-B8E7-D04039DBA80D}" dt="2021-05-24T16:09:26.977" v="15017" actId="790"/>
          <ac:spMkLst>
            <pc:docMk/>
            <pc:sldMk cId="3436081094" sldId="10430"/>
            <ac:spMk id="36" creationId="{F13CE92D-4D69-4443-A30B-E51A006B440F}"/>
          </ac:spMkLst>
        </pc:spChg>
        <pc:spChg chg="mod">
          <ac:chgData name="Sarah GAUVARD" userId="4c03e191-e154-482a-88b2-11de19eac96c" providerId="ADAL" clId="{8245CC27-65FB-483E-B8E7-D04039DBA80D}" dt="2021-05-24T16:09:26.977" v="15018" actId="790"/>
          <ac:spMkLst>
            <pc:docMk/>
            <pc:sldMk cId="3436081094" sldId="10430"/>
            <ac:spMk id="37" creationId="{12A3E4D8-FE24-4296-A901-6835576F358F}"/>
          </ac:spMkLst>
        </pc:spChg>
        <pc:spChg chg="mod">
          <ac:chgData name="Sarah GAUVARD" userId="4c03e191-e154-482a-88b2-11de19eac96c" providerId="ADAL" clId="{8245CC27-65FB-483E-B8E7-D04039DBA80D}" dt="2021-05-24T16:09:26.977" v="15019" actId="790"/>
          <ac:spMkLst>
            <pc:docMk/>
            <pc:sldMk cId="3436081094" sldId="10430"/>
            <ac:spMk id="38" creationId="{FA551D75-70A3-4189-B8FD-D16A5A806F6C}"/>
          </ac:spMkLst>
        </pc:spChg>
        <pc:spChg chg="mod">
          <ac:chgData name="Sarah GAUVARD" userId="4c03e191-e154-482a-88b2-11de19eac96c" providerId="ADAL" clId="{8245CC27-65FB-483E-B8E7-D04039DBA80D}" dt="2021-05-24T16:09:26.985" v="15020" actId="790"/>
          <ac:spMkLst>
            <pc:docMk/>
            <pc:sldMk cId="3436081094" sldId="10430"/>
            <ac:spMk id="39" creationId="{4E0AD551-D0E4-4018-8925-446955E03DBD}"/>
          </ac:spMkLst>
        </pc:spChg>
        <pc:spChg chg="mod">
          <ac:chgData name="Sarah GAUVARD" userId="4c03e191-e154-482a-88b2-11de19eac96c" providerId="ADAL" clId="{8245CC27-65FB-483E-B8E7-D04039DBA80D}" dt="2021-05-24T16:09:26.985" v="15021" actId="790"/>
          <ac:spMkLst>
            <pc:docMk/>
            <pc:sldMk cId="3436081094" sldId="10430"/>
            <ac:spMk id="40" creationId="{D4585E7A-1C58-48F0-8CCC-695615F47DDC}"/>
          </ac:spMkLst>
        </pc:spChg>
        <pc:spChg chg="mod">
          <ac:chgData name="Sarah GAUVARD" userId="4c03e191-e154-482a-88b2-11de19eac96c" providerId="ADAL" clId="{8245CC27-65FB-483E-B8E7-D04039DBA80D}" dt="2021-05-24T16:09:26.987" v="15022" actId="790"/>
          <ac:spMkLst>
            <pc:docMk/>
            <pc:sldMk cId="3436081094" sldId="10430"/>
            <ac:spMk id="41" creationId="{1DF4E5BB-492B-465C-8444-C36507B49283}"/>
          </ac:spMkLst>
        </pc:spChg>
        <pc:spChg chg="mod">
          <ac:chgData name="Sarah GAUVARD" userId="4c03e191-e154-482a-88b2-11de19eac96c" providerId="ADAL" clId="{8245CC27-65FB-483E-B8E7-D04039DBA80D}" dt="2021-05-24T16:09:26.987" v="15023" actId="790"/>
          <ac:spMkLst>
            <pc:docMk/>
            <pc:sldMk cId="3436081094" sldId="10430"/>
            <ac:spMk id="42" creationId="{9C8D8134-054F-4F04-A0C0-2524CCD41437}"/>
          </ac:spMkLst>
        </pc:spChg>
        <pc:spChg chg="mod">
          <ac:chgData name="Sarah GAUVARD" userId="4c03e191-e154-482a-88b2-11de19eac96c" providerId="ADAL" clId="{8245CC27-65FB-483E-B8E7-D04039DBA80D}" dt="2021-05-24T16:09:26.987" v="15024" actId="790"/>
          <ac:spMkLst>
            <pc:docMk/>
            <pc:sldMk cId="3436081094" sldId="10430"/>
            <ac:spMk id="43" creationId="{6A651D37-072C-499F-BDC9-221E2F280D91}"/>
          </ac:spMkLst>
        </pc:spChg>
        <pc:spChg chg="mod">
          <ac:chgData name="Sarah GAUVARD" userId="4c03e191-e154-482a-88b2-11de19eac96c" providerId="ADAL" clId="{8245CC27-65FB-483E-B8E7-D04039DBA80D}" dt="2021-05-24T16:09:26.997" v="15025" actId="790"/>
          <ac:spMkLst>
            <pc:docMk/>
            <pc:sldMk cId="3436081094" sldId="10430"/>
            <ac:spMk id="65" creationId="{FA6B510C-60D3-4CD8-A4E3-3EBD62B303AE}"/>
          </ac:spMkLst>
        </pc:spChg>
        <pc:spChg chg="add del mod modVis">
          <ac:chgData name="Sarah GAUVARD" userId="4c03e191-e154-482a-88b2-11de19eac96c" providerId="ADAL" clId="{8245CC27-65FB-483E-B8E7-D04039DBA80D}" dt="2021-05-25T13:14:19.523" v="22997"/>
          <ac:spMkLst>
            <pc:docMk/>
            <pc:sldMk cId="3436081094" sldId="10430"/>
            <ac:spMk id="66" creationId="{85624E10-CF2C-42D9-982E-FB645B77F62B}"/>
          </ac:spMkLst>
        </pc:spChg>
        <pc:spChg chg="mod">
          <ac:chgData name="Sarah GAUVARD" userId="4c03e191-e154-482a-88b2-11de19eac96c" providerId="ADAL" clId="{8245CC27-65FB-483E-B8E7-D04039DBA80D}" dt="2021-05-24T16:09:26.997" v="15034" actId="790"/>
          <ac:spMkLst>
            <pc:docMk/>
            <pc:sldMk cId="3436081094" sldId="10430"/>
            <ac:spMk id="67" creationId="{E5E66E1D-661C-4AEE-ACAF-A6E612D011ED}"/>
          </ac:spMkLst>
        </pc:spChg>
        <pc:spChg chg="mod">
          <ac:chgData name="Sarah GAUVARD" userId="4c03e191-e154-482a-88b2-11de19eac96c" providerId="ADAL" clId="{8245CC27-65FB-483E-B8E7-D04039DBA80D}" dt="2021-05-24T16:09:26.997" v="15035" actId="790"/>
          <ac:spMkLst>
            <pc:docMk/>
            <pc:sldMk cId="3436081094" sldId="10430"/>
            <ac:spMk id="68" creationId="{D2F63D90-54E3-4593-AE50-12673AAD1AC5}"/>
          </ac:spMkLst>
        </pc:spChg>
        <pc:spChg chg="del mod">
          <ac:chgData name="Sarah GAUVARD" userId="4c03e191-e154-482a-88b2-11de19eac96c" providerId="ADAL" clId="{8245CC27-65FB-483E-B8E7-D04039DBA80D}" dt="2021-05-25T12:48:32.785" v="22632" actId="478"/>
          <ac:spMkLst>
            <pc:docMk/>
            <pc:sldMk cId="3436081094" sldId="10430"/>
            <ac:spMk id="73" creationId="{BC60175A-9B83-4F54-8FC1-AB31B35E1F8F}"/>
          </ac:spMkLst>
        </pc:spChg>
        <pc:spChg chg="add del mod modVis">
          <ac:chgData name="Sarah GAUVARD" userId="4c03e191-e154-482a-88b2-11de19eac96c" providerId="ADAL" clId="{8245CC27-65FB-483E-B8E7-D04039DBA80D}" dt="2021-05-25T13:14:27.734" v="23056"/>
          <ac:spMkLst>
            <pc:docMk/>
            <pc:sldMk cId="3436081094" sldId="10430"/>
            <ac:spMk id="74" creationId="{84E79674-A785-45AE-974F-347ECFE28F4B}"/>
          </ac:spMkLst>
        </pc:spChg>
        <pc:spChg chg="del">
          <ac:chgData name="Sarah GAUVARD" userId="4c03e191-e154-482a-88b2-11de19eac96c" providerId="ADAL" clId="{8245CC27-65FB-483E-B8E7-D04039DBA80D}" dt="2021-05-24T09:51:20.529" v="935" actId="478"/>
          <ac:spMkLst>
            <pc:docMk/>
            <pc:sldMk cId="3436081094" sldId="10430"/>
            <ac:spMk id="74" creationId="{AA012DC1-04E9-47D7-A94B-AE68752E4C6B}"/>
          </ac:spMkLst>
        </pc:spChg>
        <pc:spChg chg="del">
          <ac:chgData name="Sarah GAUVARD" userId="4c03e191-e154-482a-88b2-11de19eac96c" providerId="ADAL" clId="{8245CC27-65FB-483E-B8E7-D04039DBA80D}" dt="2021-05-24T09:51:20.529" v="935" actId="478"/>
          <ac:spMkLst>
            <pc:docMk/>
            <pc:sldMk cId="3436081094" sldId="10430"/>
            <ac:spMk id="75" creationId="{0E4446C8-B34A-4833-AC83-7B817D6BB193}"/>
          </ac:spMkLst>
        </pc:spChg>
        <pc:spChg chg="del">
          <ac:chgData name="Sarah GAUVARD" userId="4c03e191-e154-482a-88b2-11de19eac96c" providerId="ADAL" clId="{8245CC27-65FB-483E-B8E7-D04039DBA80D}" dt="2021-05-24T09:51:20.529" v="935" actId="478"/>
          <ac:spMkLst>
            <pc:docMk/>
            <pc:sldMk cId="3436081094" sldId="10430"/>
            <ac:spMk id="76" creationId="{F03F59C2-04D5-4D93-8D05-374208320F32}"/>
          </ac:spMkLst>
        </pc:spChg>
        <pc:spChg chg="del">
          <ac:chgData name="Sarah GAUVARD" userId="4c03e191-e154-482a-88b2-11de19eac96c" providerId="ADAL" clId="{8245CC27-65FB-483E-B8E7-D04039DBA80D}" dt="2021-05-24T09:51:20.529" v="935" actId="478"/>
          <ac:spMkLst>
            <pc:docMk/>
            <pc:sldMk cId="3436081094" sldId="10430"/>
            <ac:spMk id="77" creationId="{DFEAF4EE-6D99-44A7-83A9-91C3C1695DB4}"/>
          </ac:spMkLst>
        </pc:spChg>
        <pc:spChg chg="del">
          <ac:chgData name="Sarah GAUVARD" userId="4c03e191-e154-482a-88b2-11de19eac96c" providerId="ADAL" clId="{8245CC27-65FB-483E-B8E7-D04039DBA80D}" dt="2021-05-24T09:51:20.529" v="935" actId="478"/>
          <ac:spMkLst>
            <pc:docMk/>
            <pc:sldMk cId="3436081094" sldId="10430"/>
            <ac:spMk id="78" creationId="{1AC27123-D9A1-44B6-BC6F-F355B38FF7C3}"/>
          </ac:spMkLst>
        </pc:spChg>
        <pc:spChg chg="add del mod">
          <ac:chgData name="Sarah GAUVARD" userId="4c03e191-e154-482a-88b2-11de19eac96c" providerId="ADAL" clId="{8245CC27-65FB-483E-B8E7-D04039DBA80D}" dt="2021-05-25T11:28:47.416" v="20504" actId="478"/>
          <ac:spMkLst>
            <pc:docMk/>
            <pc:sldMk cId="3436081094" sldId="10430"/>
            <ac:spMk id="79" creationId="{BC913323-F21B-4BEF-9AE3-BB6D80307A98}"/>
          </ac:spMkLst>
        </pc:spChg>
        <pc:spChg chg="add mod">
          <ac:chgData name="Sarah GAUVARD" userId="4c03e191-e154-482a-88b2-11de19eac96c" providerId="ADAL" clId="{8245CC27-65FB-483E-B8E7-D04039DBA80D}" dt="2021-05-24T09:51:20.753" v="936"/>
          <ac:spMkLst>
            <pc:docMk/>
            <pc:sldMk cId="3436081094" sldId="10430"/>
            <ac:spMk id="79" creationId="{CB8A99F9-8F44-4D8F-A8C8-C3F782E45D29}"/>
          </ac:spMkLst>
        </pc:spChg>
        <pc:spChg chg="mod">
          <ac:chgData name="Sarah GAUVARD" userId="4c03e191-e154-482a-88b2-11de19eac96c" providerId="ADAL" clId="{8245CC27-65FB-483E-B8E7-D04039DBA80D}" dt="2021-05-24T16:12:59.347" v="17496" actId="1076"/>
          <ac:spMkLst>
            <pc:docMk/>
            <pc:sldMk cId="3436081094" sldId="10430"/>
            <ac:spMk id="80" creationId="{D1A3758C-C7AE-4A43-B86B-B40616756D1F}"/>
          </ac:spMkLst>
        </pc:spChg>
        <pc:spChg chg="add mod">
          <ac:chgData name="Sarah GAUVARD" userId="4c03e191-e154-482a-88b2-11de19eac96c" providerId="ADAL" clId="{8245CC27-65FB-483E-B8E7-D04039DBA80D}" dt="2021-05-24T09:51:20.753" v="936"/>
          <ac:spMkLst>
            <pc:docMk/>
            <pc:sldMk cId="3436081094" sldId="10430"/>
            <ac:spMk id="81" creationId="{D27DFF83-A107-4719-9827-2921F8E1888C}"/>
          </ac:spMkLst>
        </pc:spChg>
        <pc:spChg chg="add mod">
          <ac:chgData name="Sarah GAUVARD" userId="4c03e191-e154-482a-88b2-11de19eac96c" providerId="ADAL" clId="{8245CC27-65FB-483E-B8E7-D04039DBA80D}" dt="2021-05-24T09:51:20.753" v="936"/>
          <ac:spMkLst>
            <pc:docMk/>
            <pc:sldMk cId="3436081094" sldId="10430"/>
            <ac:spMk id="82" creationId="{95B0CFB8-2038-462A-A681-A3E04CA60B2F}"/>
          </ac:spMkLst>
        </pc:spChg>
        <pc:spChg chg="add mod">
          <ac:chgData name="Sarah GAUVARD" userId="4c03e191-e154-482a-88b2-11de19eac96c" providerId="ADAL" clId="{8245CC27-65FB-483E-B8E7-D04039DBA80D}" dt="2021-05-24T09:51:20.753" v="936"/>
          <ac:spMkLst>
            <pc:docMk/>
            <pc:sldMk cId="3436081094" sldId="10430"/>
            <ac:spMk id="83" creationId="{B071B5B3-8230-4EE0-8CB7-DE325D544D6E}"/>
          </ac:spMkLst>
        </pc:spChg>
        <pc:spChg chg="add del mod">
          <ac:chgData name="Sarah GAUVARD" userId="4c03e191-e154-482a-88b2-11de19eac96c" providerId="ADAL" clId="{8245CC27-65FB-483E-B8E7-D04039DBA80D}" dt="2021-05-25T12:34:43.328" v="21504" actId="478"/>
          <ac:spMkLst>
            <pc:docMk/>
            <pc:sldMk cId="3436081094" sldId="10430"/>
            <ac:spMk id="83" creationId="{D7CEA98B-A173-4E42-937D-1020B1B5A07A}"/>
          </ac:spMkLst>
        </pc:spChg>
        <pc:spChg chg="add mod">
          <ac:chgData name="Sarah GAUVARD" userId="4c03e191-e154-482a-88b2-11de19eac96c" providerId="ADAL" clId="{8245CC27-65FB-483E-B8E7-D04039DBA80D}" dt="2021-05-24T09:51:20.753" v="936"/>
          <ac:spMkLst>
            <pc:docMk/>
            <pc:sldMk cId="3436081094" sldId="10430"/>
            <ac:spMk id="84" creationId="{48C78E64-7325-4F8D-81FB-F20A3B3C52DE}"/>
          </ac:spMkLst>
        </pc:spChg>
        <pc:spChg chg="mod">
          <ac:chgData name="Sarah GAUVARD" userId="4c03e191-e154-482a-88b2-11de19eac96c" providerId="ADAL" clId="{8245CC27-65FB-483E-B8E7-D04039DBA80D}" dt="2021-05-24T16:09:27.017" v="15039" actId="790"/>
          <ac:spMkLst>
            <pc:docMk/>
            <pc:sldMk cId="3436081094" sldId="10430"/>
            <ac:spMk id="85" creationId="{901F42A7-BDFF-4D41-AF9F-7FE4D47B1848}"/>
          </ac:spMkLst>
        </pc:spChg>
        <pc:spChg chg="mod">
          <ac:chgData name="Sarah GAUVARD" userId="4c03e191-e154-482a-88b2-11de19eac96c" providerId="ADAL" clId="{8245CC27-65FB-483E-B8E7-D04039DBA80D}" dt="2021-05-24T16:09:27.017" v="15040" actId="790"/>
          <ac:spMkLst>
            <pc:docMk/>
            <pc:sldMk cId="3436081094" sldId="10430"/>
            <ac:spMk id="86" creationId="{E7961BDE-6076-4E21-960D-1961F2C205C8}"/>
          </ac:spMkLst>
        </pc:spChg>
        <pc:spChg chg="mod">
          <ac:chgData name="Sarah GAUVARD" userId="4c03e191-e154-482a-88b2-11de19eac96c" providerId="ADAL" clId="{8245CC27-65FB-483E-B8E7-D04039DBA80D}" dt="2021-05-24T16:09:27.017" v="15041" actId="790"/>
          <ac:spMkLst>
            <pc:docMk/>
            <pc:sldMk cId="3436081094" sldId="10430"/>
            <ac:spMk id="87" creationId="{FF25DA73-14ED-477C-9B99-1D5DA2FA800B}"/>
          </ac:spMkLst>
        </pc:spChg>
        <pc:spChg chg="mod">
          <ac:chgData name="Sarah GAUVARD" userId="4c03e191-e154-482a-88b2-11de19eac96c" providerId="ADAL" clId="{8245CC27-65FB-483E-B8E7-D04039DBA80D}" dt="2021-05-24T16:09:27.017" v="15042" actId="790"/>
          <ac:spMkLst>
            <pc:docMk/>
            <pc:sldMk cId="3436081094" sldId="10430"/>
            <ac:spMk id="88" creationId="{DBE3F4AA-FA46-4787-9255-35C92E486ECE}"/>
          </ac:spMkLst>
        </pc:spChg>
        <pc:spChg chg="mod">
          <ac:chgData name="Sarah GAUVARD" userId="4c03e191-e154-482a-88b2-11de19eac96c" providerId="ADAL" clId="{8245CC27-65FB-483E-B8E7-D04039DBA80D}" dt="2021-05-24T16:09:27.017" v="15043" actId="790"/>
          <ac:spMkLst>
            <pc:docMk/>
            <pc:sldMk cId="3436081094" sldId="10430"/>
            <ac:spMk id="89" creationId="{4C8D3EF4-7154-4318-9DE1-AADE3D0EB9BA}"/>
          </ac:spMkLst>
        </pc:spChg>
        <pc:spChg chg="mod">
          <ac:chgData name="Sarah GAUVARD" userId="4c03e191-e154-482a-88b2-11de19eac96c" providerId="ADAL" clId="{8245CC27-65FB-483E-B8E7-D04039DBA80D}" dt="2021-05-24T16:09:27.025" v="15044" actId="790"/>
          <ac:spMkLst>
            <pc:docMk/>
            <pc:sldMk cId="3436081094" sldId="10430"/>
            <ac:spMk id="90" creationId="{D2F0B971-BE9E-45CC-A144-B0139CDB4A50}"/>
          </ac:spMkLst>
        </pc:spChg>
        <pc:spChg chg="mod">
          <ac:chgData name="Sarah GAUVARD" userId="4c03e191-e154-482a-88b2-11de19eac96c" providerId="ADAL" clId="{8245CC27-65FB-483E-B8E7-D04039DBA80D}" dt="2021-05-24T16:09:27.025" v="15045" actId="790"/>
          <ac:spMkLst>
            <pc:docMk/>
            <pc:sldMk cId="3436081094" sldId="10430"/>
            <ac:spMk id="91" creationId="{E64B60F5-8B2D-40AA-86F9-59B1E1D0FECF}"/>
          </ac:spMkLst>
        </pc:spChg>
        <pc:spChg chg="mod">
          <ac:chgData name="Sarah GAUVARD" userId="4c03e191-e154-482a-88b2-11de19eac96c" providerId="ADAL" clId="{8245CC27-65FB-483E-B8E7-D04039DBA80D}" dt="2021-05-24T16:09:27.025" v="15046" actId="790"/>
          <ac:spMkLst>
            <pc:docMk/>
            <pc:sldMk cId="3436081094" sldId="10430"/>
            <ac:spMk id="92" creationId="{4764BC01-78A1-416F-96B7-4FB959471A8B}"/>
          </ac:spMkLst>
        </pc:spChg>
        <pc:spChg chg="mod">
          <ac:chgData name="Sarah GAUVARD" userId="4c03e191-e154-482a-88b2-11de19eac96c" providerId="ADAL" clId="{8245CC27-65FB-483E-B8E7-D04039DBA80D}" dt="2021-05-24T16:09:27.027" v="15047" actId="790"/>
          <ac:spMkLst>
            <pc:docMk/>
            <pc:sldMk cId="3436081094" sldId="10430"/>
            <ac:spMk id="93" creationId="{F8A1DEBA-0A47-4AF0-8016-2E7AACF911FA}"/>
          </ac:spMkLst>
        </pc:spChg>
        <pc:spChg chg="mod">
          <ac:chgData name="Sarah GAUVARD" userId="4c03e191-e154-482a-88b2-11de19eac96c" providerId="ADAL" clId="{8245CC27-65FB-483E-B8E7-D04039DBA80D}" dt="2021-05-24T16:09:27.027" v="15048" actId="790"/>
          <ac:spMkLst>
            <pc:docMk/>
            <pc:sldMk cId="3436081094" sldId="10430"/>
            <ac:spMk id="98" creationId="{E179A47A-9B95-4CAE-B926-4582178F5874}"/>
          </ac:spMkLst>
        </pc:spChg>
        <pc:graphicFrameChg chg="mod">
          <ac:chgData name="Sarah GAUVARD" userId="4c03e191-e154-482a-88b2-11de19eac96c" providerId="ADAL" clId="{8245CC27-65FB-483E-B8E7-D04039DBA80D}" dt="2021-05-25T13:14:27.735" v="23058"/>
          <ac:graphicFrameMkLst>
            <pc:docMk/>
            <pc:sldMk cId="3436081094" sldId="10430"/>
            <ac:graphicFrameMk id="4" creationId="{FE9A305D-3669-4634-B9B4-C6C2AFA8A793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6.937" v="14961" actId="790"/>
        <pc:sldMkLst>
          <pc:docMk/>
          <pc:sldMk cId="1782056456" sldId="10434"/>
        </pc:sldMkLst>
        <pc:spChg chg="mod">
          <ac:chgData name="Sarah GAUVARD" userId="4c03e191-e154-482a-88b2-11de19eac96c" providerId="ADAL" clId="{8245CC27-65FB-483E-B8E7-D04039DBA80D}" dt="2021-05-24T16:09:26.906" v="14927" actId="790"/>
          <ac:spMkLst>
            <pc:docMk/>
            <pc:sldMk cId="1782056456" sldId="10434"/>
            <ac:spMk id="2" creationId="{F603210B-1675-4AF7-9A14-5F2A22C81270}"/>
          </ac:spMkLst>
        </pc:spChg>
        <pc:spChg chg="add del mod modVis">
          <ac:chgData name="Sarah GAUVARD" userId="4c03e191-e154-482a-88b2-11de19eac96c" providerId="ADAL" clId="{8245CC27-65FB-483E-B8E7-D04039DBA80D}" dt="2021-05-24T15:34:46.248" v="11969"/>
          <ac:spMkLst>
            <pc:docMk/>
            <pc:sldMk cId="1782056456" sldId="10434"/>
            <ac:spMk id="3" creationId="{F8248323-76DF-4F3C-91BD-41354BCBF51D}"/>
          </ac:spMkLst>
        </pc:spChg>
        <pc:spChg chg="mod">
          <ac:chgData name="Sarah GAUVARD" userId="4c03e191-e154-482a-88b2-11de19eac96c" providerId="ADAL" clId="{8245CC27-65FB-483E-B8E7-D04039DBA80D}" dt="2021-05-24T16:09:26.906" v="14928" actId="790"/>
          <ac:spMkLst>
            <pc:docMk/>
            <pc:sldMk cId="1782056456" sldId="10434"/>
            <ac:spMk id="4" creationId="{74ADDBE6-49E4-4049-B7BF-EE415633C5F5}"/>
          </ac:spMkLst>
        </pc:spChg>
        <pc:spChg chg="mod">
          <ac:chgData name="Sarah GAUVARD" userId="4c03e191-e154-482a-88b2-11de19eac96c" providerId="ADAL" clId="{8245CC27-65FB-483E-B8E7-D04039DBA80D}" dt="2021-05-24T16:09:26.906" v="14929" actId="790"/>
          <ac:spMkLst>
            <pc:docMk/>
            <pc:sldMk cId="1782056456" sldId="10434"/>
            <ac:spMk id="5" creationId="{B0DA252B-E0E1-4EDA-AD43-C3699C200482}"/>
          </ac:spMkLst>
        </pc:spChg>
        <pc:spChg chg="mod">
          <ac:chgData name="Sarah GAUVARD" userId="4c03e191-e154-482a-88b2-11de19eac96c" providerId="ADAL" clId="{8245CC27-65FB-483E-B8E7-D04039DBA80D}" dt="2021-05-24T16:09:26.906" v="14930" actId="790"/>
          <ac:spMkLst>
            <pc:docMk/>
            <pc:sldMk cId="1782056456" sldId="10434"/>
            <ac:spMk id="6" creationId="{459DE8FF-F3A0-454B-89BD-EA7D3F0085F4}"/>
          </ac:spMkLst>
        </pc:spChg>
        <pc:spChg chg="mod">
          <ac:chgData name="Sarah GAUVARD" userId="4c03e191-e154-482a-88b2-11de19eac96c" providerId="ADAL" clId="{8245CC27-65FB-483E-B8E7-D04039DBA80D}" dt="2021-05-24T16:09:26.906" v="14931" actId="790"/>
          <ac:spMkLst>
            <pc:docMk/>
            <pc:sldMk cId="1782056456" sldId="10434"/>
            <ac:spMk id="8" creationId="{A6584CFE-199B-42FA-9B02-35D30052E24D}"/>
          </ac:spMkLst>
        </pc:spChg>
        <pc:spChg chg="mod">
          <ac:chgData name="Sarah GAUVARD" userId="4c03e191-e154-482a-88b2-11de19eac96c" providerId="ADAL" clId="{8245CC27-65FB-483E-B8E7-D04039DBA80D}" dt="2021-05-24T16:09:26.906" v="14932" actId="790"/>
          <ac:spMkLst>
            <pc:docMk/>
            <pc:sldMk cId="1782056456" sldId="10434"/>
            <ac:spMk id="9" creationId="{5513411E-B0D4-4A2B-B16E-9DD5102ED097}"/>
          </ac:spMkLst>
        </pc:spChg>
        <pc:spChg chg="mod">
          <ac:chgData name="Sarah GAUVARD" userId="4c03e191-e154-482a-88b2-11de19eac96c" providerId="ADAL" clId="{8245CC27-65FB-483E-B8E7-D04039DBA80D}" dt="2021-05-24T16:09:26.927" v="14948" actId="790"/>
          <ac:spMkLst>
            <pc:docMk/>
            <pc:sldMk cId="1782056456" sldId="10434"/>
            <ac:spMk id="11" creationId="{E7BC247D-1E44-429A-AF83-8E39E9FFE026}"/>
          </ac:spMkLst>
        </pc:spChg>
        <pc:spChg chg="mod">
          <ac:chgData name="Sarah GAUVARD" userId="4c03e191-e154-482a-88b2-11de19eac96c" providerId="ADAL" clId="{8245CC27-65FB-483E-B8E7-D04039DBA80D}" dt="2021-05-24T16:09:26.927" v="14947" actId="790"/>
          <ac:spMkLst>
            <pc:docMk/>
            <pc:sldMk cId="1782056456" sldId="10434"/>
            <ac:spMk id="12" creationId="{C7013414-76D7-4268-AAD2-A87055DAACA5}"/>
          </ac:spMkLst>
        </pc:spChg>
        <pc:spChg chg="mod">
          <ac:chgData name="Sarah GAUVARD" userId="4c03e191-e154-482a-88b2-11de19eac96c" providerId="ADAL" clId="{8245CC27-65FB-483E-B8E7-D04039DBA80D}" dt="2021-05-24T16:09:26.927" v="14949" actId="790"/>
          <ac:spMkLst>
            <pc:docMk/>
            <pc:sldMk cId="1782056456" sldId="10434"/>
            <ac:spMk id="31" creationId="{97E5D4A5-0DD4-47F0-90BC-7FD43285E269}"/>
          </ac:spMkLst>
        </pc:spChg>
        <pc:spChg chg="mod">
          <ac:chgData name="Sarah GAUVARD" userId="4c03e191-e154-482a-88b2-11de19eac96c" providerId="ADAL" clId="{8245CC27-65FB-483E-B8E7-D04039DBA80D}" dt="2021-05-24T16:09:26.906" v="14933" actId="790"/>
          <ac:spMkLst>
            <pc:docMk/>
            <pc:sldMk cId="1782056456" sldId="10434"/>
            <ac:spMk id="32" creationId="{72E4FA22-5F72-4B8A-966C-5EAB2962F5DE}"/>
          </ac:spMkLst>
        </pc:spChg>
        <pc:spChg chg="mod">
          <ac:chgData name="Sarah GAUVARD" userId="4c03e191-e154-482a-88b2-11de19eac96c" providerId="ADAL" clId="{8245CC27-65FB-483E-B8E7-D04039DBA80D}" dt="2021-05-24T16:09:26.914" v="14934" actId="790"/>
          <ac:spMkLst>
            <pc:docMk/>
            <pc:sldMk cId="1782056456" sldId="10434"/>
            <ac:spMk id="33" creationId="{BC847A98-E385-4268-A8B8-68418B0916EB}"/>
          </ac:spMkLst>
        </pc:spChg>
        <pc:spChg chg="mod">
          <ac:chgData name="Sarah GAUVARD" userId="4c03e191-e154-482a-88b2-11de19eac96c" providerId="ADAL" clId="{8245CC27-65FB-483E-B8E7-D04039DBA80D}" dt="2021-05-24T16:09:26.917" v="14935" actId="790"/>
          <ac:spMkLst>
            <pc:docMk/>
            <pc:sldMk cId="1782056456" sldId="10434"/>
            <ac:spMk id="34" creationId="{98055D65-32A6-4AE6-AA0E-584E4895BE34}"/>
          </ac:spMkLst>
        </pc:spChg>
        <pc:spChg chg="mod">
          <ac:chgData name="Sarah GAUVARD" userId="4c03e191-e154-482a-88b2-11de19eac96c" providerId="ADAL" clId="{8245CC27-65FB-483E-B8E7-D04039DBA80D}" dt="2021-05-24T16:09:26.917" v="14936" actId="790"/>
          <ac:spMkLst>
            <pc:docMk/>
            <pc:sldMk cId="1782056456" sldId="10434"/>
            <ac:spMk id="35" creationId="{81BD3286-79C1-4AD5-827B-F5E96A7F940D}"/>
          </ac:spMkLst>
        </pc:spChg>
        <pc:spChg chg="mod">
          <ac:chgData name="Sarah GAUVARD" userId="4c03e191-e154-482a-88b2-11de19eac96c" providerId="ADAL" clId="{8245CC27-65FB-483E-B8E7-D04039DBA80D}" dt="2021-05-24T16:09:26.917" v="14937" actId="790"/>
          <ac:spMkLst>
            <pc:docMk/>
            <pc:sldMk cId="1782056456" sldId="10434"/>
            <ac:spMk id="36" creationId="{9D0D108D-E040-46E8-9D27-8421B7B8A6B6}"/>
          </ac:spMkLst>
        </pc:spChg>
        <pc:spChg chg="mod">
          <ac:chgData name="Sarah GAUVARD" userId="4c03e191-e154-482a-88b2-11de19eac96c" providerId="ADAL" clId="{8245CC27-65FB-483E-B8E7-D04039DBA80D}" dt="2021-05-24T16:09:26.917" v="14938" actId="790"/>
          <ac:spMkLst>
            <pc:docMk/>
            <pc:sldMk cId="1782056456" sldId="10434"/>
            <ac:spMk id="37" creationId="{685DD430-D135-4898-B681-DADA54449406}"/>
          </ac:spMkLst>
        </pc:spChg>
        <pc:spChg chg="mod">
          <ac:chgData name="Sarah GAUVARD" userId="4c03e191-e154-482a-88b2-11de19eac96c" providerId="ADAL" clId="{8245CC27-65FB-483E-B8E7-D04039DBA80D}" dt="2021-05-24T16:09:26.917" v="14939" actId="790"/>
          <ac:spMkLst>
            <pc:docMk/>
            <pc:sldMk cId="1782056456" sldId="10434"/>
            <ac:spMk id="38" creationId="{33227BCF-594C-48FC-A668-E9496B25076E}"/>
          </ac:spMkLst>
        </pc:spChg>
        <pc:spChg chg="mod">
          <ac:chgData name="Sarah GAUVARD" userId="4c03e191-e154-482a-88b2-11de19eac96c" providerId="ADAL" clId="{8245CC27-65FB-483E-B8E7-D04039DBA80D}" dt="2021-05-24T16:09:26.917" v="14940" actId="790"/>
          <ac:spMkLst>
            <pc:docMk/>
            <pc:sldMk cId="1782056456" sldId="10434"/>
            <ac:spMk id="42" creationId="{FB53C860-4349-483B-9A2E-4EA3FEEC44A4}"/>
          </ac:spMkLst>
        </pc:spChg>
        <pc:spChg chg="mod">
          <ac:chgData name="Sarah GAUVARD" userId="4c03e191-e154-482a-88b2-11de19eac96c" providerId="ADAL" clId="{8245CC27-65FB-483E-B8E7-D04039DBA80D}" dt="2021-05-24T16:09:26.917" v="14941" actId="790"/>
          <ac:spMkLst>
            <pc:docMk/>
            <pc:sldMk cId="1782056456" sldId="10434"/>
            <ac:spMk id="43" creationId="{9BAD9349-B578-4C93-89B0-5E143458F95D}"/>
          </ac:spMkLst>
        </pc:spChg>
        <pc:spChg chg="del">
          <ac:chgData name="Sarah GAUVARD" userId="4c03e191-e154-482a-88b2-11de19eac96c" providerId="ADAL" clId="{8245CC27-65FB-483E-B8E7-D04039DBA80D}" dt="2021-05-24T09:49:57.721" v="910" actId="478"/>
          <ac:spMkLst>
            <pc:docMk/>
            <pc:sldMk cId="1782056456" sldId="10434"/>
            <ac:spMk id="44" creationId="{FE0AF2DA-B4D9-40D3-A693-5CF7A16BEBB3}"/>
          </ac:spMkLst>
        </pc:spChg>
        <pc:spChg chg="del">
          <ac:chgData name="Sarah GAUVARD" userId="4c03e191-e154-482a-88b2-11de19eac96c" providerId="ADAL" clId="{8245CC27-65FB-483E-B8E7-D04039DBA80D}" dt="2021-05-24T09:49:57.721" v="910" actId="478"/>
          <ac:spMkLst>
            <pc:docMk/>
            <pc:sldMk cId="1782056456" sldId="10434"/>
            <ac:spMk id="45" creationId="{D402963B-DBC7-4E02-B320-3BDA2201BED9}"/>
          </ac:spMkLst>
        </pc:spChg>
        <pc:spChg chg="del">
          <ac:chgData name="Sarah GAUVARD" userId="4c03e191-e154-482a-88b2-11de19eac96c" providerId="ADAL" clId="{8245CC27-65FB-483E-B8E7-D04039DBA80D}" dt="2021-05-24T09:49:57.721" v="910" actId="478"/>
          <ac:spMkLst>
            <pc:docMk/>
            <pc:sldMk cId="1782056456" sldId="10434"/>
            <ac:spMk id="46" creationId="{AAAFEA1F-6007-4C50-AF21-771D74383B05}"/>
          </ac:spMkLst>
        </pc:spChg>
        <pc:spChg chg="del">
          <ac:chgData name="Sarah GAUVARD" userId="4c03e191-e154-482a-88b2-11de19eac96c" providerId="ADAL" clId="{8245CC27-65FB-483E-B8E7-D04039DBA80D}" dt="2021-05-24T09:49:57.721" v="910" actId="478"/>
          <ac:spMkLst>
            <pc:docMk/>
            <pc:sldMk cId="1782056456" sldId="10434"/>
            <ac:spMk id="47" creationId="{EA9DDD44-F5B9-4E46-A62B-B83394052738}"/>
          </ac:spMkLst>
        </pc:spChg>
        <pc:spChg chg="del">
          <ac:chgData name="Sarah GAUVARD" userId="4c03e191-e154-482a-88b2-11de19eac96c" providerId="ADAL" clId="{8245CC27-65FB-483E-B8E7-D04039DBA80D}" dt="2021-05-24T09:49:57.721" v="910" actId="478"/>
          <ac:spMkLst>
            <pc:docMk/>
            <pc:sldMk cId="1782056456" sldId="10434"/>
            <ac:spMk id="48" creationId="{8633BF47-7F9D-496D-A23B-D07A9F606CE1}"/>
          </ac:spMkLst>
        </pc:spChg>
        <pc:spChg chg="add mod">
          <ac:chgData name="Sarah GAUVARD" userId="4c03e191-e154-482a-88b2-11de19eac96c" providerId="ADAL" clId="{8245CC27-65FB-483E-B8E7-D04039DBA80D}" dt="2021-05-24T09:49:57.991" v="911"/>
          <ac:spMkLst>
            <pc:docMk/>
            <pc:sldMk cId="1782056456" sldId="10434"/>
            <ac:spMk id="49" creationId="{67AE2F44-9EEF-43A2-8B51-BC935523C9E0}"/>
          </ac:spMkLst>
        </pc:spChg>
        <pc:spChg chg="add mod">
          <ac:chgData name="Sarah GAUVARD" userId="4c03e191-e154-482a-88b2-11de19eac96c" providerId="ADAL" clId="{8245CC27-65FB-483E-B8E7-D04039DBA80D}" dt="2021-05-24T09:49:57.991" v="911"/>
          <ac:spMkLst>
            <pc:docMk/>
            <pc:sldMk cId="1782056456" sldId="10434"/>
            <ac:spMk id="50" creationId="{18A35D89-E578-465F-9F48-122A6AE9ACE7}"/>
          </ac:spMkLst>
        </pc:spChg>
        <pc:spChg chg="add mod">
          <ac:chgData name="Sarah GAUVARD" userId="4c03e191-e154-482a-88b2-11de19eac96c" providerId="ADAL" clId="{8245CC27-65FB-483E-B8E7-D04039DBA80D}" dt="2021-05-24T09:49:57.991" v="911"/>
          <ac:spMkLst>
            <pc:docMk/>
            <pc:sldMk cId="1782056456" sldId="10434"/>
            <ac:spMk id="53" creationId="{4F306A22-E656-4BD9-802E-2026A2ACAD12}"/>
          </ac:spMkLst>
        </pc:spChg>
        <pc:spChg chg="add mod">
          <ac:chgData name="Sarah GAUVARD" userId="4c03e191-e154-482a-88b2-11de19eac96c" providerId="ADAL" clId="{8245CC27-65FB-483E-B8E7-D04039DBA80D}" dt="2021-05-24T09:49:57.991" v="911"/>
          <ac:spMkLst>
            <pc:docMk/>
            <pc:sldMk cId="1782056456" sldId="10434"/>
            <ac:spMk id="56" creationId="{BE450877-DEBB-4F5E-82C3-2D3D2B98DF5C}"/>
          </ac:spMkLst>
        </pc:spChg>
        <pc:spChg chg="add mod">
          <ac:chgData name="Sarah GAUVARD" userId="4c03e191-e154-482a-88b2-11de19eac96c" providerId="ADAL" clId="{8245CC27-65FB-483E-B8E7-D04039DBA80D}" dt="2021-05-24T09:49:57.991" v="911"/>
          <ac:spMkLst>
            <pc:docMk/>
            <pc:sldMk cId="1782056456" sldId="10434"/>
            <ac:spMk id="57" creationId="{B5865E10-A30F-42AB-A8D1-1F8D34D7FFC0}"/>
          </ac:spMkLst>
        </pc:spChg>
        <pc:spChg chg="mod">
          <ac:chgData name="Sarah GAUVARD" userId="4c03e191-e154-482a-88b2-11de19eac96c" providerId="ADAL" clId="{8245CC27-65FB-483E-B8E7-D04039DBA80D}" dt="2021-05-24T16:09:26.917" v="14942" actId="790"/>
          <ac:spMkLst>
            <pc:docMk/>
            <pc:sldMk cId="1782056456" sldId="10434"/>
            <ac:spMk id="58" creationId="{F3BBC108-E3A8-4285-8482-6573BB5A9BFA}"/>
          </ac:spMkLst>
        </pc:spChg>
        <pc:spChg chg="mod">
          <ac:chgData name="Sarah GAUVARD" userId="4c03e191-e154-482a-88b2-11de19eac96c" providerId="ADAL" clId="{8245CC27-65FB-483E-B8E7-D04039DBA80D}" dt="2021-05-24T16:09:26.917" v="14943" actId="790"/>
          <ac:spMkLst>
            <pc:docMk/>
            <pc:sldMk cId="1782056456" sldId="10434"/>
            <ac:spMk id="60" creationId="{502A1A2A-5BE4-4CEC-87C8-F81B82FE17A0}"/>
          </ac:spMkLst>
        </pc:spChg>
        <pc:spChg chg="mod">
          <ac:chgData name="Sarah GAUVARD" userId="4c03e191-e154-482a-88b2-11de19eac96c" providerId="ADAL" clId="{8245CC27-65FB-483E-B8E7-D04039DBA80D}" dt="2021-05-24T16:09:26.927" v="14954" actId="790"/>
          <ac:spMkLst>
            <pc:docMk/>
            <pc:sldMk cId="1782056456" sldId="10434"/>
            <ac:spMk id="62" creationId="{E16C1019-EC6C-4338-A31A-ACDFD5EFC767}"/>
          </ac:spMkLst>
        </pc:spChg>
        <pc:spChg chg="mod">
          <ac:chgData name="Sarah GAUVARD" userId="4c03e191-e154-482a-88b2-11de19eac96c" providerId="ADAL" clId="{8245CC27-65FB-483E-B8E7-D04039DBA80D}" dt="2021-05-24T16:09:26.927" v="14955" actId="790"/>
          <ac:spMkLst>
            <pc:docMk/>
            <pc:sldMk cId="1782056456" sldId="10434"/>
            <ac:spMk id="63" creationId="{DD475C1B-7B9D-4AB6-9E66-325A4BD40A8F}"/>
          </ac:spMkLst>
        </pc:spChg>
        <pc:spChg chg="mod">
          <ac:chgData name="Sarah GAUVARD" userId="4c03e191-e154-482a-88b2-11de19eac96c" providerId="ADAL" clId="{8245CC27-65FB-483E-B8E7-D04039DBA80D}" dt="2021-05-24T16:09:26.927" v="14956" actId="790"/>
          <ac:spMkLst>
            <pc:docMk/>
            <pc:sldMk cId="1782056456" sldId="10434"/>
            <ac:spMk id="65" creationId="{F7747EC1-0D4E-402C-A95D-355E6E77FD74}"/>
          </ac:spMkLst>
        </pc:spChg>
        <pc:spChg chg="mod">
          <ac:chgData name="Sarah GAUVARD" userId="4c03e191-e154-482a-88b2-11de19eac96c" providerId="ADAL" clId="{8245CC27-65FB-483E-B8E7-D04039DBA80D}" dt="2021-05-24T16:09:26.927" v="14957" actId="790"/>
          <ac:spMkLst>
            <pc:docMk/>
            <pc:sldMk cId="1782056456" sldId="10434"/>
            <ac:spMk id="66" creationId="{B503F8FF-5759-48BF-B6F6-187ACCBFB323}"/>
          </ac:spMkLst>
        </pc:spChg>
        <pc:spChg chg="mod">
          <ac:chgData name="Sarah GAUVARD" userId="4c03e191-e154-482a-88b2-11de19eac96c" providerId="ADAL" clId="{8245CC27-65FB-483E-B8E7-D04039DBA80D}" dt="2021-05-24T16:09:26.935" v="14958" actId="790"/>
          <ac:spMkLst>
            <pc:docMk/>
            <pc:sldMk cId="1782056456" sldId="10434"/>
            <ac:spMk id="67" creationId="{5A2C3551-5D73-48A2-BF9A-52C13442E23F}"/>
          </ac:spMkLst>
        </pc:spChg>
        <pc:spChg chg="mod">
          <ac:chgData name="Sarah GAUVARD" userId="4c03e191-e154-482a-88b2-11de19eac96c" providerId="ADAL" clId="{8245CC27-65FB-483E-B8E7-D04039DBA80D}" dt="2021-05-24T16:09:26.935" v="14959" actId="790"/>
          <ac:spMkLst>
            <pc:docMk/>
            <pc:sldMk cId="1782056456" sldId="10434"/>
            <ac:spMk id="68" creationId="{6958F9BB-E205-4FC8-BF21-85C3BF6EFBAA}"/>
          </ac:spMkLst>
        </pc:spChg>
        <pc:spChg chg="mod">
          <ac:chgData name="Sarah GAUVARD" userId="4c03e191-e154-482a-88b2-11de19eac96c" providerId="ADAL" clId="{8245CC27-65FB-483E-B8E7-D04039DBA80D}" dt="2021-05-24T16:09:26.925" v="14944" actId="790"/>
          <ac:spMkLst>
            <pc:docMk/>
            <pc:sldMk cId="1782056456" sldId="10434"/>
            <ac:spMk id="69" creationId="{19F48430-90DF-40FF-A00A-84E93A59C005}"/>
          </ac:spMkLst>
        </pc:spChg>
        <pc:spChg chg="mod">
          <ac:chgData name="Sarah GAUVARD" userId="4c03e191-e154-482a-88b2-11de19eac96c" providerId="ADAL" clId="{8245CC27-65FB-483E-B8E7-D04039DBA80D}" dt="2021-05-24T16:09:26.925" v="14945" actId="790"/>
          <ac:spMkLst>
            <pc:docMk/>
            <pc:sldMk cId="1782056456" sldId="10434"/>
            <ac:spMk id="70" creationId="{712AF8AD-F5B4-45E9-AA35-3836D1A918F9}"/>
          </ac:spMkLst>
        </pc:spChg>
        <pc:spChg chg="mod">
          <ac:chgData name="Sarah GAUVARD" userId="4c03e191-e154-482a-88b2-11de19eac96c" providerId="ADAL" clId="{8245CC27-65FB-483E-B8E7-D04039DBA80D}" dt="2021-05-24T16:09:26.935" v="14960" actId="790"/>
          <ac:spMkLst>
            <pc:docMk/>
            <pc:sldMk cId="1782056456" sldId="10434"/>
            <ac:spMk id="71" creationId="{9C68A4DD-4678-474D-AE44-ED0AA2E6999C}"/>
          </ac:spMkLst>
        </pc:spChg>
        <pc:spChg chg="mod">
          <ac:chgData name="Sarah GAUVARD" userId="4c03e191-e154-482a-88b2-11de19eac96c" providerId="ADAL" clId="{8245CC27-65FB-483E-B8E7-D04039DBA80D}" dt="2021-05-24T16:09:26.937" v="14961" actId="790"/>
          <ac:spMkLst>
            <pc:docMk/>
            <pc:sldMk cId="1782056456" sldId="10434"/>
            <ac:spMk id="72" creationId="{572368BE-5059-462B-B9A1-80CD037AAF13}"/>
          </ac:spMkLst>
        </pc:spChg>
        <pc:spChg chg="mod">
          <ac:chgData name="Sarah GAUVARD" userId="4c03e191-e154-482a-88b2-11de19eac96c" providerId="ADAL" clId="{8245CC27-65FB-483E-B8E7-D04039DBA80D}" dt="2021-05-24T16:09:26.925" v="14946" actId="790"/>
          <ac:spMkLst>
            <pc:docMk/>
            <pc:sldMk cId="1782056456" sldId="10434"/>
            <ac:spMk id="73" creationId="{37CE42CA-0196-4A12-823E-1A27C547E4D3}"/>
          </ac:spMkLst>
        </pc:spChg>
        <pc:spChg chg="mod">
          <ac:chgData name="Sarah GAUVARD" userId="4c03e191-e154-482a-88b2-11de19eac96c" providerId="ADAL" clId="{8245CC27-65FB-483E-B8E7-D04039DBA80D}" dt="2021-05-24T16:09:26.927" v="14950" actId="790"/>
          <ac:spMkLst>
            <pc:docMk/>
            <pc:sldMk cId="1782056456" sldId="10434"/>
            <ac:spMk id="78" creationId="{9A9481B5-737E-45DE-81D8-2F715985CC57}"/>
          </ac:spMkLst>
        </pc:spChg>
        <pc:spChg chg="mod">
          <ac:chgData name="Sarah GAUVARD" userId="4c03e191-e154-482a-88b2-11de19eac96c" providerId="ADAL" clId="{8245CC27-65FB-483E-B8E7-D04039DBA80D}" dt="2021-05-24T16:09:26.927" v="14951" actId="790"/>
          <ac:spMkLst>
            <pc:docMk/>
            <pc:sldMk cId="1782056456" sldId="10434"/>
            <ac:spMk id="80" creationId="{53EEF4E9-317D-4996-82F1-5D806F6EA3E2}"/>
          </ac:spMkLst>
        </pc:spChg>
        <pc:spChg chg="mod">
          <ac:chgData name="Sarah GAUVARD" userId="4c03e191-e154-482a-88b2-11de19eac96c" providerId="ADAL" clId="{8245CC27-65FB-483E-B8E7-D04039DBA80D}" dt="2021-05-24T16:09:26.927" v="14952" actId="790"/>
          <ac:spMkLst>
            <pc:docMk/>
            <pc:sldMk cId="1782056456" sldId="10434"/>
            <ac:spMk id="84" creationId="{4A5E7AB0-2297-4CD5-A92F-B96EE98B1D1A}"/>
          </ac:spMkLst>
        </pc:spChg>
        <pc:spChg chg="mod">
          <ac:chgData name="Sarah GAUVARD" userId="4c03e191-e154-482a-88b2-11de19eac96c" providerId="ADAL" clId="{8245CC27-65FB-483E-B8E7-D04039DBA80D}" dt="2021-05-24T16:09:26.927" v="14953" actId="790"/>
          <ac:spMkLst>
            <pc:docMk/>
            <pc:sldMk cId="1782056456" sldId="10434"/>
            <ac:spMk id="85" creationId="{1A835908-83BB-404C-AE36-6D07AE32C2A9}"/>
          </ac:spMkLst>
        </pc:spChg>
        <pc:graphicFrameChg chg="mod">
          <ac:chgData name="Sarah GAUVARD" userId="4c03e191-e154-482a-88b2-11de19eac96c" providerId="ADAL" clId="{8245CC27-65FB-483E-B8E7-D04039DBA80D}" dt="2021-05-24T15:34:46.252" v="11971"/>
          <ac:graphicFrameMkLst>
            <pc:docMk/>
            <pc:sldMk cId="1782056456" sldId="10434"/>
            <ac:graphicFrameMk id="13" creationId="{9407379A-9B01-4AE4-98E8-CA428D86DF00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1:05:05.950" v="19728" actId="20577"/>
        <pc:sldMkLst>
          <pc:docMk/>
          <pc:sldMk cId="2765598525" sldId="10435"/>
        </pc:sldMkLst>
        <pc:spChg chg="mod">
          <ac:chgData name="Sarah GAUVARD" userId="4c03e191-e154-482a-88b2-11de19eac96c" providerId="ADAL" clId="{8245CC27-65FB-483E-B8E7-D04039DBA80D}" dt="2021-05-24T16:09:28.795" v="16792" actId="790"/>
          <ac:spMkLst>
            <pc:docMk/>
            <pc:sldMk cId="2765598525" sldId="10435"/>
            <ac:spMk id="2" creationId="{EC591099-5136-44AA-B77C-AE0AD4DCABDF}"/>
          </ac:spMkLst>
        </pc:spChg>
        <pc:spChg chg="mod">
          <ac:chgData name="Sarah GAUVARD" userId="4c03e191-e154-482a-88b2-11de19eac96c" providerId="ADAL" clId="{8245CC27-65FB-483E-B8E7-D04039DBA80D}" dt="2021-05-24T16:09:28.795" v="16793" actId="790"/>
          <ac:spMkLst>
            <pc:docMk/>
            <pc:sldMk cId="2765598525" sldId="10435"/>
            <ac:spMk id="3" creationId="{DD2E96F6-2E57-4675-BC16-4DA440530E35}"/>
          </ac:spMkLst>
        </pc:spChg>
        <pc:spChg chg="mod">
          <ac:chgData name="Sarah GAUVARD" userId="4c03e191-e154-482a-88b2-11de19eac96c" providerId="ADAL" clId="{8245CC27-65FB-483E-B8E7-D04039DBA80D}" dt="2021-05-24T16:09:28.803" v="16794" actId="790"/>
          <ac:spMkLst>
            <pc:docMk/>
            <pc:sldMk cId="2765598525" sldId="10435"/>
            <ac:spMk id="4" creationId="{3C26708D-8FD1-4162-A79F-E85299ED6CF0}"/>
          </ac:spMkLst>
        </pc:spChg>
        <pc:spChg chg="add del mod modVis">
          <ac:chgData name="Sarah GAUVARD" userId="4c03e191-e154-482a-88b2-11de19eac96c" providerId="ADAL" clId="{8245CC27-65FB-483E-B8E7-D04039DBA80D}" dt="2021-05-24T15:34:45.907" v="11780"/>
          <ac:spMkLst>
            <pc:docMk/>
            <pc:sldMk cId="2765598525" sldId="10435"/>
            <ac:spMk id="5" creationId="{234D36D3-5DCC-4886-B9A1-2F97E55FFE72}"/>
          </ac:spMkLst>
        </pc:spChg>
        <pc:spChg chg="mod">
          <ac:chgData name="Sarah GAUVARD" userId="4c03e191-e154-482a-88b2-11de19eac96c" providerId="ADAL" clId="{8245CC27-65FB-483E-B8E7-D04039DBA80D}" dt="2021-05-24T16:09:28.806" v="16795" actId="790"/>
          <ac:spMkLst>
            <pc:docMk/>
            <pc:sldMk cId="2765598525" sldId="10435"/>
            <ac:spMk id="8" creationId="{A6B52ADE-C6C9-45C2-843E-F5D6B61A9114}"/>
          </ac:spMkLst>
        </pc:spChg>
        <pc:spChg chg="mod">
          <ac:chgData name="Sarah GAUVARD" userId="4c03e191-e154-482a-88b2-11de19eac96c" providerId="ADAL" clId="{8245CC27-65FB-483E-B8E7-D04039DBA80D}" dt="2021-05-24T16:09:28.806" v="16796" actId="790"/>
          <ac:spMkLst>
            <pc:docMk/>
            <pc:sldMk cId="2765598525" sldId="10435"/>
            <ac:spMk id="9" creationId="{8F0D622A-5573-4746-8AB0-56CBA48208B1}"/>
          </ac:spMkLst>
        </pc:spChg>
        <pc:spChg chg="mod">
          <ac:chgData name="Sarah GAUVARD" userId="4c03e191-e154-482a-88b2-11de19eac96c" providerId="ADAL" clId="{8245CC27-65FB-483E-B8E7-D04039DBA80D}" dt="2021-05-24T16:09:28.806" v="16797" actId="790"/>
          <ac:spMkLst>
            <pc:docMk/>
            <pc:sldMk cId="2765598525" sldId="10435"/>
            <ac:spMk id="10" creationId="{D6CBEC82-D509-43A2-8044-DFD9FF7838D4}"/>
          </ac:spMkLst>
        </pc:spChg>
        <pc:spChg chg="mod">
          <ac:chgData name="Sarah GAUVARD" userId="4c03e191-e154-482a-88b2-11de19eac96c" providerId="ADAL" clId="{8245CC27-65FB-483E-B8E7-D04039DBA80D}" dt="2021-05-24T16:09:28.806" v="16798" actId="790"/>
          <ac:spMkLst>
            <pc:docMk/>
            <pc:sldMk cId="2765598525" sldId="10435"/>
            <ac:spMk id="11" creationId="{94D1F405-16AC-4E70-9A21-B8DC490952C1}"/>
          </ac:spMkLst>
        </pc:spChg>
        <pc:spChg chg="mod">
          <ac:chgData name="Sarah GAUVARD" userId="4c03e191-e154-482a-88b2-11de19eac96c" providerId="ADAL" clId="{8245CC27-65FB-483E-B8E7-D04039DBA80D}" dt="2021-05-24T16:09:28.806" v="16799" actId="790"/>
          <ac:spMkLst>
            <pc:docMk/>
            <pc:sldMk cId="2765598525" sldId="10435"/>
            <ac:spMk id="12" creationId="{52AD597C-357C-41FE-8444-653952863F47}"/>
          </ac:spMkLst>
        </pc:spChg>
        <pc:spChg chg="mod">
          <ac:chgData name="Sarah GAUVARD" userId="4c03e191-e154-482a-88b2-11de19eac96c" providerId="ADAL" clId="{8245CC27-65FB-483E-B8E7-D04039DBA80D}" dt="2021-05-24T16:09:28.806" v="16800" actId="790"/>
          <ac:spMkLst>
            <pc:docMk/>
            <pc:sldMk cId="2765598525" sldId="10435"/>
            <ac:spMk id="13" creationId="{911F5F24-D734-4C10-9BA6-47F05CD2E240}"/>
          </ac:spMkLst>
        </pc:spChg>
        <pc:spChg chg="mod">
          <ac:chgData name="Sarah GAUVARD" userId="4c03e191-e154-482a-88b2-11de19eac96c" providerId="ADAL" clId="{8245CC27-65FB-483E-B8E7-D04039DBA80D}" dt="2021-05-24T16:09:28.806" v="16801" actId="790"/>
          <ac:spMkLst>
            <pc:docMk/>
            <pc:sldMk cId="2765598525" sldId="10435"/>
            <ac:spMk id="14" creationId="{9847F5CB-BDE3-498E-940B-8F44B0358F12}"/>
          </ac:spMkLst>
        </pc:spChg>
        <pc:spChg chg="mod">
          <ac:chgData name="Sarah GAUVARD" userId="4c03e191-e154-482a-88b2-11de19eac96c" providerId="ADAL" clId="{8245CC27-65FB-483E-B8E7-D04039DBA80D}" dt="2021-05-24T16:09:28.806" v="16802" actId="790"/>
          <ac:spMkLst>
            <pc:docMk/>
            <pc:sldMk cId="2765598525" sldId="10435"/>
            <ac:spMk id="15" creationId="{4E709C52-37C3-45B2-AB0F-69DA749EA359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17" creationId="{BC09A0D8-BAD1-4AE5-9822-FFBD7CA1928A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18" creationId="{3294A9D0-4A9E-4ABA-90D1-4C1C1321EE9D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19" creationId="{CAAE11F2-D859-4EAE-984F-2E3A2DB9EC1F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20" creationId="{4AE358B2-D82A-4C9F-8E14-905EF9D6C8D5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22" creationId="{B3331889-93AE-4303-8A0C-184CACE72359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23" creationId="{39FC0661-B7E5-45BF-A8E1-D4187AB5A28E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24" creationId="{84787D6D-5211-4DD8-AE7B-CE9B96B622B2}"/>
          </ac:spMkLst>
        </pc:spChg>
        <pc:spChg chg="mod">
          <ac:chgData name="Sarah GAUVARD" userId="4c03e191-e154-482a-88b2-11de19eac96c" providerId="ADAL" clId="{8245CC27-65FB-483E-B8E7-D04039DBA80D}" dt="2021-05-24T16:09:28.827" v="16812" actId="790"/>
          <ac:spMkLst>
            <pc:docMk/>
            <pc:sldMk cId="2765598525" sldId="10435"/>
            <ac:spMk id="25" creationId="{D0893839-FCA8-44A2-9EE6-AB39ECB9D8B7}"/>
          </ac:spMkLst>
        </pc:spChg>
        <pc:spChg chg="mod">
          <ac:chgData name="Sarah GAUVARD" userId="4c03e191-e154-482a-88b2-11de19eac96c" providerId="ADAL" clId="{8245CC27-65FB-483E-B8E7-D04039DBA80D}" dt="2021-05-24T16:09:28.806" v="16803" actId="790"/>
          <ac:spMkLst>
            <pc:docMk/>
            <pc:sldMk cId="2765598525" sldId="10435"/>
            <ac:spMk id="26" creationId="{D3DE6BE8-F4EB-4250-A1AC-CAE093D62085}"/>
          </ac:spMkLst>
        </pc:spChg>
        <pc:spChg chg="mod">
          <ac:chgData name="Sarah GAUVARD" userId="4c03e191-e154-482a-88b2-11de19eac96c" providerId="ADAL" clId="{8245CC27-65FB-483E-B8E7-D04039DBA80D}" dt="2021-05-24T16:09:28.816" v="16804" actId="790"/>
          <ac:spMkLst>
            <pc:docMk/>
            <pc:sldMk cId="2765598525" sldId="10435"/>
            <ac:spMk id="27" creationId="{77DF0992-6025-4E2D-B409-A1CE1585BE4A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29" creationId="{A12CE04B-E27C-47AE-B31C-2633FA45967E}"/>
          </ac:spMkLst>
        </pc:spChg>
        <pc:spChg chg="mod">
          <ac:chgData name="Sarah GAUVARD" userId="4c03e191-e154-482a-88b2-11de19eac96c" providerId="ADAL" clId="{8245CC27-65FB-483E-B8E7-D04039DBA80D}" dt="2021-05-24T16:09:28.816" v="16806" actId="790"/>
          <ac:spMkLst>
            <pc:docMk/>
            <pc:sldMk cId="2765598525" sldId="10435"/>
            <ac:spMk id="31" creationId="{47BE7687-A515-426B-B81A-4A89ECB7AA14}"/>
          </ac:spMkLst>
        </pc:spChg>
        <pc:spChg chg="mod">
          <ac:chgData name="Sarah GAUVARD" userId="4c03e191-e154-482a-88b2-11de19eac96c" providerId="ADAL" clId="{8245CC27-65FB-483E-B8E7-D04039DBA80D}" dt="2021-05-24T16:09:28.816" v="16805" actId="790"/>
          <ac:spMkLst>
            <pc:docMk/>
            <pc:sldMk cId="2765598525" sldId="10435"/>
            <ac:spMk id="32" creationId="{36587DAE-9B3C-4706-BA2D-0A286CB69953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34" creationId="{43C16CF8-F041-431A-9775-A60FCC8890DC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35" creationId="{0B244AB2-15BC-4B1F-B831-527C871E055B}"/>
          </ac:spMkLst>
        </pc:spChg>
        <pc:spChg chg="mod">
          <ac:chgData name="Sarah GAUVARD" userId="4c03e191-e154-482a-88b2-11de19eac96c" providerId="ADAL" clId="{8245CC27-65FB-483E-B8E7-D04039DBA80D}" dt="2021-05-24T16:09:28.816" v="16807" actId="790"/>
          <ac:spMkLst>
            <pc:docMk/>
            <pc:sldMk cId="2765598525" sldId="10435"/>
            <ac:spMk id="37" creationId="{6D996438-2A04-4866-B4C7-335C0031D0D2}"/>
          </ac:spMkLst>
        </pc:spChg>
        <pc:spChg chg="mod">
          <ac:chgData name="Sarah GAUVARD" userId="4c03e191-e154-482a-88b2-11de19eac96c" providerId="ADAL" clId="{8245CC27-65FB-483E-B8E7-D04039DBA80D}" dt="2021-05-24T16:09:28.816" v="16808" actId="790"/>
          <ac:spMkLst>
            <pc:docMk/>
            <pc:sldMk cId="2765598525" sldId="10435"/>
            <ac:spMk id="39" creationId="{5D40534F-3F1E-4C03-929E-AA7F8DCD307B}"/>
          </ac:spMkLst>
        </pc:spChg>
        <pc:spChg chg="mod">
          <ac:chgData name="Sarah GAUVARD" userId="4c03e191-e154-482a-88b2-11de19eac96c" providerId="ADAL" clId="{8245CC27-65FB-483E-B8E7-D04039DBA80D}" dt="2021-05-24T16:09:28.825" v="16809" actId="790"/>
          <ac:spMkLst>
            <pc:docMk/>
            <pc:sldMk cId="2765598525" sldId="10435"/>
            <ac:spMk id="40" creationId="{99AF67C3-160C-4177-9C17-3461D134EEE4}"/>
          </ac:spMkLst>
        </pc:spChg>
        <pc:spChg chg="mod">
          <ac:chgData name="Sarah GAUVARD" userId="4c03e191-e154-482a-88b2-11de19eac96c" providerId="ADAL" clId="{8245CC27-65FB-483E-B8E7-D04039DBA80D}" dt="2021-05-24T16:09:28.825" v="16810" actId="790"/>
          <ac:spMkLst>
            <pc:docMk/>
            <pc:sldMk cId="2765598525" sldId="10435"/>
            <ac:spMk id="41" creationId="{E1A159BC-0828-460F-B383-CA6B6D4FA551}"/>
          </ac:spMkLst>
        </pc:spChg>
        <pc:spChg chg="mod">
          <ac:chgData name="Sarah GAUVARD" userId="4c03e191-e154-482a-88b2-11de19eac96c" providerId="ADAL" clId="{8245CC27-65FB-483E-B8E7-D04039DBA80D}" dt="2021-05-24T16:09:28.827" v="16811" actId="790"/>
          <ac:spMkLst>
            <pc:docMk/>
            <pc:sldMk cId="2765598525" sldId="10435"/>
            <ac:spMk id="42" creationId="{B55D48E5-96AE-4404-9E04-DBD77B7488EA}"/>
          </ac:spMkLst>
        </pc:spChg>
        <pc:spChg chg="del">
          <ac:chgData name="Sarah GAUVARD" userId="4c03e191-e154-482a-88b2-11de19eac96c" providerId="ADAL" clId="{8245CC27-65FB-483E-B8E7-D04039DBA80D}" dt="2021-05-24T14:29:21.560" v="4668" actId="478"/>
          <ac:spMkLst>
            <pc:docMk/>
            <pc:sldMk cId="2765598525" sldId="10435"/>
            <ac:spMk id="46" creationId="{AD83E7D0-FB1C-4BBC-9502-F88667DF8133}"/>
          </ac:spMkLst>
        </pc:spChg>
        <pc:spChg chg="mod">
          <ac:chgData name="Sarah GAUVARD" userId="4c03e191-e154-482a-88b2-11de19eac96c" providerId="ADAL" clId="{8245CC27-65FB-483E-B8E7-D04039DBA80D}" dt="2021-05-24T16:09:28.835" v="16819" actId="790"/>
          <ac:spMkLst>
            <pc:docMk/>
            <pc:sldMk cId="2765598525" sldId="10435"/>
            <ac:spMk id="49" creationId="{DCA24736-C921-4820-BD41-3BB3642FD803}"/>
          </ac:spMkLst>
        </pc:spChg>
        <pc:spChg chg="mod">
          <ac:chgData name="Sarah GAUVARD" userId="4c03e191-e154-482a-88b2-11de19eac96c" providerId="ADAL" clId="{8245CC27-65FB-483E-B8E7-D04039DBA80D}" dt="2021-05-24T16:09:28.827" v="16813" actId="790"/>
          <ac:spMkLst>
            <pc:docMk/>
            <pc:sldMk cId="2765598525" sldId="10435"/>
            <ac:spMk id="57" creationId="{1C30E004-DFA6-45BF-A5E8-2C530ABCBF9D}"/>
          </ac:spMkLst>
        </pc:spChg>
        <pc:spChg chg="mod">
          <ac:chgData name="Sarah GAUVARD" userId="4c03e191-e154-482a-88b2-11de19eac96c" providerId="ADAL" clId="{8245CC27-65FB-483E-B8E7-D04039DBA80D}" dt="2021-05-24T16:09:28.837" v="16821" actId="790"/>
          <ac:spMkLst>
            <pc:docMk/>
            <pc:sldMk cId="2765598525" sldId="10435"/>
            <ac:spMk id="63" creationId="{FEC106FA-F773-4E76-A121-BFA96EB32610}"/>
          </ac:spMkLst>
        </pc:spChg>
        <pc:spChg chg="mod">
          <ac:chgData name="Sarah GAUVARD" userId="4c03e191-e154-482a-88b2-11de19eac96c" providerId="ADAL" clId="{8245CC27-65FB-483E-B8E7-D04039DBA80D}" dt="2021-05-24T16:09:28.837" v="16822" actId="790"/>
          <ac:spMkLst>
            <pc:docMk/>
            <pc:sldMk cId="2765598525" sldId="10435"/>
            <ac:spMk id="64" creationId="{566DDF3C-152B-405E-91B5-BFE3854E9B99}"/>
          </ac:spMkLst>
        </pc:spChg>
        <pc:spChg chg="mod">
          <ac:chgData name="Sarah GAUVARD" userId="4c03e191-e154-482a-88b2-11de19eac96c" providerId="ADAL" clId="{8245CC27-65FB-483E-B8E7-D04039DBA80D}" dt="2021-05-24T16:09:28.837" v="16820" actId="790"/>
          <ac:spMkLst>
            <pc:docMk/>
            <pc:sldMk cId="2765598525" sldId="10435"/>
            <ac:spMk id="65" creationId="{63BC922A-E119-45ED-AD41-4AA3DB639CCA}"/>
          </ac:spMkLst>
        </pc:spChg>
        <pc:spChg chg="mod">
          <ac:chgData name="Sarah GAUVARD" userId="4c03e191-e154-482a-88b2-11de19eac96c" providerId="ADAL" clId="{8245CC27-65FB-483E-B8E7-D04039DBA80D}" dt="2021-05-24T16:09:28.827" v="16814" actId="790"/>
          <ac:spMkLst>
            <pc:docMk/>
            <pc:sldMk cId="2765598525" sldId="10435"/>
            <ac:spMk id="66" creationId="{C6A8EA40-B6D5-497D-9B6D-39FDC84D3A91}"/>
          </ac:spMkLst>
        </pc:spChg>
        <pc:spChg chg="mod">
          <ac:chgData name="Sarah GAUVARD" userId="4c03e191-e154-482a-88b2-11de19eac96c" providerId="ADAL" clId="{8245CC27-65FB-483E-B8E7-D04039DBA80D}" dt="2021-05-24T16:09:28.827" v="16815" actId="790"/>
          <ac:spMkLst>
            <pc:docMk/>
            <pc:sldMk cId="2765598525" sldId="10435"/>
            <ac:spMk id="68" creationId="{B3FDAE9B-6237-4D44-9C56-6C2ABE08C1C5}"/>
          </ac:spMkLst>
        </pc:spChg>
        <pc:spChg chg="mod">
          <ac:chgData name="Sarah GAUVARD" userId="4c03e191-e154-482a-88b2-11de19eac96c" providerId="ADAL" clId="{8245CC27-65FB-483E-B8E7-D04039DBA80D}" dt="2021-05-24T16:09:28.827" v="16816" actId="790"/>
          <ac:spMkLst>
            <pc:docMk/>
            <pc:sldMk cId="2765598525" sldId="10435"/>
            <ac:spMk id="69" creationId="{C19101E2-49D4-4D57-84DB-BD95186C2384}"/>
          </ac:spMkLst>
        </pc:spChg>
        <pc:spChg chg="mod">
          <ac:chgData name="Sarah GAUVARD" userId="4c03e191-e154-482a-88b2-11de19eac96c" providerId="ADAL" clId="{8245CC27-65FB-483E-B8E7-D04039DBA80D}" dt="2021-05-25T11:05:05.950" v="19728" actId="20577"/>
          <ac:spMkLst>
            <pc:docMk/>
            <pc:sldMk cId="2765598525" sldId="10435"/>
            <ac:spMk id="70" creationId="{E7F54798-5D30-4D44-9892-860B1F1097BA}"/>
          </ac:spMkLst>
        </pc:spChg>
        <pc:spChg chg="mod">
          <ac:chgData name="Sarah GAUVARD" userId="4c03e191-e154-482a-88b2-11de19eac96c" providerId="ADAL" clId="{8245CC27-65FB-483E-B8E7-D04039DBA80D}" dt="2021-05-24T16:09:28.835" v="16818" actId="790"/>
          <ac:spMkLst>
            <pc:docMk/>
            <pc:sldMk cId="2765598525" sldId="10435"/>
            <ac:spMk id="72" creationId="{38D55508-C45D-4729-9781-105E4D6EE81A}"/>
          </ac:spMkLst>
        </pc:spChg>
        <pc:spChg chg="mod">
          <ac:chgData name="Sarah GAUVARD" userId="4c03e191-e154-482a-88b2-11de19eac96c" providerId="ADAL" clId="{8245CC27-65FB-483E-B8E7-D04039DBA80D}" dt="2021-05-24T16:09:28.837" v="16823" actId="790"/>
          <ac:spMkLst>
            <pc:docMk/>
            <pc:sldMk cId="2765598525" sldId="10435"/>
            <ac:spMk id="84" creationId="{4054EE9B-8E45-40D1-8288-56C20079DF82}"/>
          </ac:spMkLst>
        </pc:spChg>
        <pc:spChg chg="mod">
          <ac:chgData name="Sarah GAUVARD" userId="4c03e191-e154-482a-88b2-11de19eac96c" providerId="ADAL" clId="{8245CC27-65FB-483E-B8E7-D04039DBA80D}" dt="2021-05-24T16:09:28.837" v="16824" actId="790"/>
          <ac:spMkLst>
            <pc:docMk/>
            <pc:sldMk cId="2765598525" sldId="10435"/>
            <ac:spMk id="85" creationId="{4F2CC5AE-1ECD-4C7F-B5BC-7C0C3EAA70FD}"/>
          </ac:spMkLst>
        </pc:spChg>
        <pc:spChg chg="mod">
          <ac:chgData name="Sarah GAUVARD" userId="4c03e191-e154-482a-88b2-11de19eac96c" providerId="ADAL" clId="{8245CC27-65FB-483E-B8E7-D04039DBA80D}" dt="2021-05-24T16:09:28.837" v="16825" actId="790"/>
          <ac:spMkLst>
            <pc:docMk/>
            <pc:sldMk cId="2765598525" sldId="10435"/>
            <ac:spMk id="86" creationId="{0EB4F0E5-0360-4090-9486-E155A4293D5C}"/>
          </ac:spMkLst>
        </pc:spChg>
        <pc:spChg chg="mod">
          <ac:chgData name="Sarah GAUVARD" userId="4c03e191-e154-482a-88b2-11de19eac96c" providerId="ADAL" clId="{8245CC27-65FB-483E-B8E7-D04039DBA80D}" dt="2021-05-24T16:09:28.837" v="16826" actId="790"/>
          <ac:spMkLst>
            <pc:docMk/>
            <pc:sldMk cId="2765598525" sldId="10435"/>
            <ac:spMk id="87" creationId="{E972938D-05F4-4787-A501-7EB8C2A635E3}"/>
          </ac:spMkLst>
        </pc:spChg>
        <pc:spChg chg="mod">
          <ac:chgData name="Sarah GAUVARD" userId="4c03e191-e154-482a-88b2-11de19eac96c" providerId="ADAL" clId="{8245CC27-65FB-483E-B8E7-D04039DBA80D}" dt="2021-05-24T16:09:28.837" v="16827" actId="790"/>
          <ac:spMkLst>
            <pc:docMk/>
            <pc:sldMk cId="2765598525" sldId="10435"/>
            <ac:spMk id="88" creationId="{CA26FE7A-62CF-441A-8876-93155FF3E42E}"/>
          </ac:spMkLst>
        </pc:spChg>
        <pc:spChg chg="mod">
          <ac:chgData name="Sarah GAUVARD" userId="4c03e191-e154-482a-88b2-11de19eac96c" providerId="ADAL" clId="{8245CC27-65FB-483E-B8E7-D04039DBA80D}" dt="2021-05-24T16:09:28.837" v="16828" actId="790"/>
          <ac:spMkLst>
            <pc:docMk/>
            <pc:sldMk cId="2765598525" sldId="10435"/>
            <ac:spMk id="89" creationId="{D21E2756-8745-43D7-8058-14502CF2ADCE}"/>
          </ac:spMkLst>
        </pc:spChg>
        <pc:spChg chg="mod">
          <ac:chgData name="Sarah GAUVARD" userId="4c03e191-e154-482a-88b2-11de19eac96c" providerId="ADAL" clId="{8245CC27-65FB-483E-B8E7-D04039DBA80D}" dt="2021-05-24T16:09:28.837" v="16829" actId="790"/>
          <ac:spMkLst>
            <pc:docMk/>
            <pc:sldMk cId="2765598525" sldId="10435"/>
            <ac:spMk id="90" creationId="{F50F646F-5FB0-44EF-8DB6-F985EDBCA99C}"/>
          </ac:spMkLst>
        </pc:spChg>
        <pc:spChg chg="mod">
          <ac:chgData name="Sarah GAUVARD" userId="4c03e191-e154-482a-88b2-11de19eac96c" providerId="ADAL" clId="{8245CC27-65FB-483E-B8E7-D04039DBA80D}" dt="2021-05-24T16:09:28.845" v="16830" actId="790"/>
          <ac:spMkLst>
            <pc:docMk/>
            <pc:sldMk cId="2765598525" sldId="10435"/>
            <ac:spMk id="91" creationId="{B2DD806F-1AF8-432C-8F0C-C618F2BDE4CB}"/>
          </ac:spMkLst>
        </pc:spChg>
        <pc:graphicFrameChg chg="mod">
          <ac:chgData name="Sarah GAUVARD" userId="4c03e191-e154-482a-88b2-11de19eac96c" providerId="ADAL" clId="{8245CC27-65FB-483E-B8E7-D04039DBA80D}" dt="2021-05-24T15:34:45.910" v="11782"/>
          <ac:graphicFrameMkLst>
            <pc:docMk/>
            <pc:sldMk cId="2765598525" sldId="10435"/>
            <ac:graphicFrameMk id="28" creationId="{0CFB0338-4C68-4D9D-A30B-D80E54257229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6.836" v="14853" actId="790"/>
        <pc:sldMkLst>
          <pc:docMk/>
          <pc:sldMk cId="3781687056" sldId="10437"/>
        </pc:sldMkLst>
        <pc:spChg chg="mod ord">
          <ac:chgData name="Sarah GAUVARD" userId="4c03e191-e154-482a-88b2-11de19eac96c" providerId="ADAL" clId="{8245CC27-65FB-483E-B8E7-D04039DBA80D}" dt="2021-05-24T16:09:26.742" v="14755" actId="790"/>
          <ac:spMkLst>
            <pc:docMk/>
            <pc:sldMk cId="3781687056" sldId="10437"/>
            <ac:spMk id="2" creationId="{6141F854-3009-40D7-9038-56590105A49E}"/>
          </ac:spMkLst>
        </pc:spChg>
        <pc:spChg chg="mod ord">
          <ac:chgData name="Sarah GAUVARD" userId="4c03e191-e154-482a-88b2-11de19eac96c" providerId="ADAL" clId="{8245CC27-65FB-483E-B8E7-D04039DBA80D}" dt="2021-05-24T16:09:26.744" v="14756" actId="790"/>
          <ac:spMkLst>
            <pc:docMk/>
            <pc:sldMk cId="3781687056" sldId="10437"/>
            <ac:spMk id="3" creationId="{F5CA8CC9-6A13-4BDE-9953-50691A73BA81}"/>
          </ac:spMkLst>
        </pc:spChg>
        <pc:spChg chg="mod ord">
          <ac:chgData name="Sarah GAUVARD" userId="4c03e191-e154-482a-88b2-11de19eac96c" providerId="ADAL" clId="{8245CC27-65FB-483E-B8E7-D04039DBA80D}" dt="2021-05-24T16:09:26.782" v="14801" actId="790"/>
          <ac:spMkLst>
            <pc:docMk/>
            <pc:sldMk cId="3781687056" sldId="10437"/>
            <ac:spMk id="4" creationId="{8F15B80F-09DF-4F44-A671-16DAD8DB32D1}"/>
          </ac:spMkLst>
        </pc:spChg>
        <pc:spChg chg="add del mod modVis">
          <ac:chgData name="Sarah GAUVARD" userId="4c03e191-e154-482a-88b2-11de19eac96c" providerId="ADAL" clId="{8245CC27-65FB-483E-B8E7-D04039DBA80D}" dt="2021-05-24T09:49:15.965" v="594"/>
          <ac:spMkLst>
            <pc:docMk/>
            <pc:sldMk cId="3781687056" sldId="10437"/>
            <ac:spMk id="6" creationId="{703382DC-E837-493B-AB79-26D06C3E1904}"/>
          </ac:spMkLst>
        </pc:spChg>
        <pc:spChg chg="add del mod modVis">
          <ac:chgData name="Sarah GAUVARD" userId="4c03e191-e154-482a-88b2-11de19eac96c" providerId="ADAL" clId="{8245CC27-65FB-483E-B8E7-D04039DBA80D}" dt="2021-05-24T15:34:46.242" v="11965"/>
          <ac:spMkLst>
            <pc:docMk/>
            <pc:sldMk cId="3781687056" sldId="10437"/>
            <ac:spMk id="7" creationId="{E3E63618-8650-4D9C-B2F3-27A7400DD8F1}"/>
          </ac:spMkLst>
        </pc:spChg>
        <pc:spChg chg="mod ord">
          <ac:chgData name="Sarah GAUVARD" userId="4c03e191-e154-482a-88b2-11de19eac96c" providerId="ADAL" clId="{8245CC27-65FB-483E-B8E7-D04039DBA80D}" dt="2021-05-24T09:49:15.890" v="377"/>
          <ac:spMkLst>
            <pc:docMk/>
            <pc:sldMk cId="3781687056" sldId="10437"/>
            <ac:spMk id="9" creationId="{E5F54033-B14D-4834-9383-8C247A6B375C}"/>
          </ac:spMkLst>
        </pc:spChg>
        <pc:spChg chg="mod ord">
          <ac:chgData name="Sarah GAUVARD" userId="4c03e191-e154-482a-88b2-11de19eac96c" providerId="ADAL" clId="{8245CC27-65FB-483E-B8E7-D04039DBA80D}" dt="2021-05-24T16:09:26.734" v="14754" actId="790"/>
          <ac:spMkLst>
            <pc:docMk/>
            <pc:sldMk cId="3781687056" sldId="10437"/>
            <ac:spMk id="14" creationId="{79163A55-8253-4415-87E3-49B6AA0C98BF}"/>
          </ac:spMkLst>
        </pc:spChg>
        <pc:spChg chg="mod ord">
          <ac:chgData name="Sarah GAUVARD" userId="4c03e191-e154-482a-88b2-11de19eac96c" providerId="ADAL" clId="{8245CC27-65FB-483E-B8E7-D04039DBA80D}" dt="2021-05-24T16:09:26.734" v="14753" actId="790"/>
          <ac:spMkLst>
            <pc:docMk/>
            <pc:sldMk cId="3781687056" sldId="10437"/>
            <ac:spMk id="15" creationId="{C7CC0E72-2C4D-4227-BE31-58EBB8D10C2D}"/>
          </ac:spMkLst>
        </pc:spChg>
        <pc:spChg chg="mod ord">
          <ac:chgData name="Sarah GAUVARD" userId="4c03e191-e154-482a-88b2-11de19eac96c" providerId="ADAL" clId="{8245CC27-65FB-483E-B8E7-D04039DBA80D}" dt="2021-05-24T16:09:26.734" v="14752" actId="790"/>
          <ac:spMkLst>
            <pc:docMk/>
            <pc:sldMk cId="3781687056" sldId="10437"/>
            <ac:spMk id="16" creationId="{D2E2D690-327F-4633-A872-ADB29F27F398}"/>
          </ac:spMkLst>
        </pc:spChg>
        <pc:spChg chg="mod ord">
          <ac:chgData name="Sarah GAUVARD" userId="4c03e191-e154-482a-88b2-11de19eac96c" providerId="ADAL" clId="{8245CC27-65FB-483E-B8E7-D04039DBA80D}" dt="2021-05-24T16:09:26.785" v="14814" actId="790"/>
          <ac:spMkLst>
            <pc:docMk/>
            <pc:sldMk cId="3781687056" sldId="10437"/>
            <ac:spMk id="17" creationId="{A2D0F004-7BB1-4CB7-8D0B-42321F6A5542}"/>
          </ac:spMkLst>
        </pc:spChg>
        <pc:spChg chg="mod ord">
          <ac:chgData name="Sarah GAUVARD" userId="4c03e191-e154-482a-88b2-11de19eac96c" providerId="ADAL" clId="{8245CC27-65FB-483E-B8E7-D04039DBA80D}" dt="2021-05-24T16:09:26.754" v="14761" actId="790"/>
          <ac:spMkLst>
            <pc:docMk/>
            <pc:sldMk cId="3781687056" sldId="10437"/>
            <ac:spMk id="21" creationId="{AF93235F-7D4B-4DEB-B632-8AD82BB62757}"/>
          </ac:spMkLst>
        </pc:spChg>
        <pc:spChg chg="mod ord">
          <ac:chgData name="Sarah GAUVARD" userId="4c03e191-e154-482a-88b2-11de19eac96c" providerId="ADAL" clId="{8245CC27-65FB-483E-B8E7-D04039DBA80D}" dt="2021-05-24T16:09:26.744" v="14757" actId="790"/>
          <ac:spMkLst>
            <pc:docMk/>
            <pc:sldMk cId="3781687056" sldId="10437"/>
            <ac:spMk id="25" creationId="{C509ABA6-0D56-4D9A-8217-F214397AC6C6}"/>
          </ac:spMkLst>
        </pc:spChg>
        <pc:spChg chg="mod ord">
          <ac:chgData name="Sarah GAUVARD" userId="4c03e191-e154-482a-88b2-11de19eac96c" providerId="ADAL" clId="{8245CC27-65FB-483E-B8E7-D04039DBA80D}" dt="2021-05-24T16:09:26.752" v="14758" actId="790"/>
          <ac:spMkLst>
            <pc:docMk/>
            <pc:sldMk cId="3781687056" sldId="10437"/>
            <ac:spMk id="30" creationId="{52F7899A-6E23-45C9-AB1D-5A04E49DE8D3}"/>
          </ac:spMkLst>
        </pc:spChg>
        <pc:spChg chg="mod ord">
          <ac:chgData name="Sarah GAUVARD" userId="4c03e191-e154-482a-88b2-11de19eac96c" providerId="ADAL" clId="{8245CC27-65FB-483E-B8E7-D04039DBA80D}" dt="2021-05-24T16:09:26.752" v="14759" actId="790"/>
          <ac:spMkLst>
            <pc:docMk/>
            <pc:sldMk cId="3781687056" sldId="10437"/>
            <ac:spMk id="31" creationId="{39A4E537-6B70-42D6-B76D-22EBE99E5324}"/>
          </ac:spMkLst>
        </pc:spChg>
        <pc:spChg chg="mod ord">
          <ac:chgData name="Sarah GAUVARD" userId="4c03e191-e154-482a-88b2-11de19eac96c" providerId="ADAL" clId="{8245CC27-65FB-483E-B8E7-D04039DBA80D}" dt="2021-05-24T16:09:26.754" v="14760" actId="790"/>
          <ac:spMkLst>
            <pc:docMk/>
            <pc:sldMk cId="3781687056" sldId="10437"/>
            <ac:spMk id="32" creationId="{E344EE6B-B062-4077-8C00-8A44A9ED2DC4}"/>
          </ac:spMkLst>
        </pc:spChg>
        <pc:spChg chg="mod ord">
          <ac:chgData name="Sarah GAUVARD" userId="4c03e191-e154-482a-88b2-11de19eac96c" providerId="ADAL" clId="{8245CC27-65FB-483E-B8E7-D04039DBA80D}" dt="2021-05-24T16:09:26.754" v="14762" actId="790"/>
          <ac:spMkLst>
            <pc:docMk/>
            <pc:sldMk cId="3781687056" sldId="10437"/>
            <ac:spMk id="44" creationId="{477526AF-EDB0-4811-B55E-5B4DBA8CB600}"/>
          </ac:spMkLst>
        </pc:spChg>
        <pc:spChg chg="mod ord">
          <ac:chgData name="Sarah GAUVARD" userId="4c03e191-e154-482a-88b2-11de19eac96c" providerId="ADAL" clId="{8245CC27-65FB-483E-B8E7-D04039DBA80D}" dt="2021-05-24T16:09:26.754" v="14763" actId="790"/>
          <ac:spMkLst>
            <pc:docMk/>
            <pc:sldMk cId="3781687056" sldId="10437"/>
            <ac:spMk id="45" creationId="{2BA6CE4E-7982-4D26-9262-C56F0898C5E2}"/>
          </ac:spMkLst>
        </pc:spChg>
        <pc:spChg chg="mod ord">
          <ac:chgData name="Sarah GAUVARD" userId="4c03e191-e154-482a-88b2-11de19eac96c" providerId="ADAL" clId="{8245CC27-65FB-483E-B8E7-D04039DBA80D}" dt="2021-05-24T16:09:26.754" v="14764" actId="790"/>
          <ac:spMkLst>
            <pc:docMk/>
            <pc:sldMk cId="3781687056" sldId="10437"/>
            <ac:spMk id="46" creationId="{78000759-D0F4-4489-B0F9-BB8EC55A1191}"/>
          </ac:spMkLst>
        </pc:spChg>
        <pc:spChg chg="mod ord">
          <ac:chgData name="Sarah GAUVARD" userId="4c03e191-e154-482a-88b2-11de19eac96c" providerId="ADAL" clId="{8245CC27-65FB-483E-B8E7-D04039DBA80D}" dt="2021-05-24T16:09:26.754" v="14765" actId="790"/>
          <ac:spMkLst>
            <pc:docMk/>
            <pc:sldMk cId="3781687056" sldId="10437"/>
            <ac:spMk id="47" creationId="{0D2666E1-A6F4-409F-9431-C0A5F6D79FC6}"/>
          </ac:spMkLst>
        </pc:spChg>
        <pc:spChg chg="mod">
          <ac:chgData name="Sarah GAUVARD" userId="4c03e191-e154-482a-88b2-11de19eac96c" providerId="ADAL" clId="{8245CC27-65FB-483E-B8E7-D04039DBA80D}" dt="2021-05-24T16:09:26.754" v="14766" actId="790"/>
          <ac:spMkLst>
            <pc:docMk/>
            <pc:sldMk cId="3781687056" sldId="10437"/>
            <ac:spMk id="51" creationId="{60050807-8211-434C-BE82-707449B0447B}"/>
          </ac:spMkLst>
        </pc:spChg>
        <pc:spChg chg="mod">
          <ac:chgData name="Sarah GAUVARD" userId="4c03e191-e154-482a-88b2-11de19eac96c" providerId="ADAL" clId="{8245CC27-65FB-483E-B8E7-D04039DBA80D}" dt="2021-05-24T16:09:26.754" v="14767" actId="790"/>
          <ac:spMkLst>
            <pc:docMk/>
            <pc:sldMk cId="3781687056" sldId="10437"/>
            <ac:spMk id="62" creationId="{7D8F5ED0-E7B3-4EAD-A092-DD77FEE8ABC5}"/>
          </ac:spMkLst>
        </pc:spChg>
        <pc:spChg chg="mod">
          <ac:chgData name="Sarah GAUVARD" userId="4c03e191-e154-482a-88b2-11de19eac96c" providerId="ADAL" clId="{8245CC27-65FB-483E-B8E7-D04039DBA80D}" dt="2021-05-24T16:09:26.754" v="14768" actId="790"/>
          <ac:spMkLst>
            <pc:docMk/>
            <pc:sldMk cId="3781687056" sldId="10437"/>
            <ac:spMk id="63" creationId="{A827C968-C9A3-42BF-9067-1B9B7FACBBE1}"/>
          </ac:spMkLst>
        </pc:spChg>
        <pc:spChg chg="mod">
          <ac:chgData name="Sarah GAUVARD" userId="4c03e191-e154-482a-88b2-11de19eac96c" providerId="ADAL" clId="{8245CC27-65FB-483E-B8E7-D04039DBA80D}" dt="2021-05-24T16:09:26.754" v="14769" actId="790"/>
          <ac:spMkLst>
            <pc:docMk/>
            <pc:sldMk cId="3781687056" sldId="10437"/>
            <ac:spMk id="64" creationId="{936D48D8-1ACB-4C16-905F-95AF33ADDFE8}"/>
          </ac:spMkLst>
        </pc:spChg>
        <pc:spChg chg="mod">
          <ac:chgData name="Sarah GAUVARD" userId="4c03e191-e154-482a-88b2-11de19eac96c" providerId="ADAL" clId="{8245CC27-65FB-483E-B8E7-D04039DBA80D}" dt="2021-05-24T16:09:26.754" v="14770" actId="790"/>
          <ac:spMkLst>
            <pc:docMk/>
            <pc:sldMk cId="3781687056" sldId="10437"/>
            <ac:spMk id="65" creationId="{280CB374-1003-4E64-B285-3AD939EEEBA9}"/>
          </ac:spMkLst>
        </pc:spChg>
        <pc:spChg chg="mod ord">
          <ac:chgData name="Sarah GAUVARD" userId="4c03e191-e154-482a-88b2-11de19eac96c" providerId="ADAL" clId="{8245CC27-65FB-483E-B8E7-D04039DBA80D}" dt="2021-05-24T16:09:26.762" v="14771" actId="790"/>
          <ac:spMkLst>
            <pc:docMk/>
            <pc:sldMk cId="3781687056" sldId="10437"/>
            <ac:spMk id="97" creationId="{6E066559-1B4D-4775-A03B-28E34099AAD8}"/>
          </ac:spMkLst>
        </pc:spChg>
        <pc:spChg chg="mod ord">
          <ac:chgData name="Sarah GAUVARD" userId="4c03e191-e154-482a-88b2-11de19eac96c" providerId="ADAL" clId="{8245CC27-65FB-483E-B8E7-D04039DBA80D}" dt="2021-05-24T16:09:26.762" v="14772" actId="790"/>
          <ac:spMkLst>
            <pc:docMk/>
            <pc:sldMk cId="3781687056" sldId="10437"/>
            <ac:spMk id="98" creationId="{F900BD09-AFFE-497B-B047-11FEDC423513}"/>
          </ac:spMkLst>
        </pc:spChg>
        <pc:spChg chg="mod ord">
          <ac:chgData name="Sarah GAUVARD" userId="4c03e191-e154-482a-88b2-11de19eac96c" providerId="ADAL" clId="{8245CC27-65FB-483E-B8E7-D04039DBA80D}" dt="2021-05-24T16:09:26.764" v="14773" actId="790"/>
          <ac:spMkLst>
            <pc:docMk/>
            <pc:sldMk cId="3781687056" sldId="10437"/>
            <ac:spMk id="99" creationId="{DC487871-5C77-464A-96E3-EB8F962B5B65}"/>
          </ac:spMkLst>
        </pc:spChg>
        <pc:spChg chg="mod ord">
          <ac:chgData name="Sarah GAUVARD" userId="4c03e191-e154-482a-88b2-11de19eac96c" providerId="ADAL" clId="{8245CC27-65FB-483E-B8E7-D04039DBA80D}" dt="2021-05-24T16:09:26.764" v="14774" actId="790"/>
          <ac:spMkLst>
            <pc:docMk/>
            <pc:sldMk cId="3781687056" sldId="10437"/>
            <ac:spMk id="100" creationId="{E861CDD7-D84C-4719-BEF7-4DE00D716D3B}"/>
          </ac:spMkLst>
        </pc:spChg>
        <pc:spChg chg="mod">
          <ac:chgData name="Sarah GAUVARD" userId="4c03e191-e154-482a-88b2-11de19eac96c" providerId="ADAL" clId="{8245CC27-65FB-483E-B8E7-D04039DBA80D}" dt="2021-05-24T16:09:26.764" v="14775" actId="790"/>
          <ac:spMkLst>
            <pc:docMk/>
            <pc:sldMk cId="3781687056" sldId="10437"/>
            <ac:spMk id="105" creationId="{4E53DF95-5458-4785-8AB8-BA8F7CC5269E}"/>
          </ac:spMkLst>
        </pc:spChg>
        <pc:spChg chg="mod">
          <ac:chgData name="Sarah GAUVARD" userId="4c03e191-e154-482a-88b2-11de19eac96c" providerId="ADAL" clId="{8245CC27-65FB-483E-B8E7-D04039DBA80D}" dt="2021-05-24T16:09:26.764" v="14776" actId="790"/>
          <ac:spMkLst>
            <pc:docMk/>
            <pc:sldMk cId="3781687056" sldId="10437"/>
            <ac:spMk id="106" creationId="{E56D1CA8-2FB9-43F1-A907-EB7C2D369A11}"/>
          </ac:spMkLst>
        </pc:spChg>
        <pc:spChg chg="mod">
          <ac:chgData name="Sarah GAUVARD" userId="4c03e191-e154-482a-88b2-11de19eac96c" providerId="ADAL" clId="{8245CC27-65FB-483E-B8E7-D04039DBA80D}" dt="2021-05-24T16:09:26.764" v="14777" actId="790"/>
          <ac:spMkLst>
            <pc:docMk/>
            <pc:sldMk cId="3781687056" sldId="10437"/>
            <ac:spMk id="107" creationId="{051E6C51-8EC8-4D80-924E-5F5E3BC36BE1}"/>
          </ac:spMkLst>
        </pc:spChg>
        <pc:spChg chg="mod">
          <ac:chgData name="Sarah GAUVARD" userId="4c03e191-e154-482a-88b2-11de19eac96c" providerId="ADAL" clId="{8245CC27-65FB-483E-B8E7-D04039DBA80D}" dt="2021-05-24T16:09:26.764" v="14778" actId="790"/>
          <ac:spMkLst>
            <pc:docMk/>
            <pc:sldMk cId="3781687056" sldId="10437"/>
            <ac:spMk id="108" creationId="{952E5143-D5F8-491F-ACA6-DBB69B23DBC2}"/>
          </ac:spMkLst>
        </pc:spChg>
        <pc:spChg chg="mod ord">
          <ac:chgData name="Sarah GAUVARD" userId="4c03e191-e154-482a-88b2-11de19eac96c" providerId="ADAL" clId="{8245CC27-65FB-483E-B8E7-D04039DBA80D}" dt="2021-05-24T16:09:26.764" v="14779" actId="790"/>
          <ac:spMkLst>
            <pc:docMk/>
            <pc:sldMk cId="3781687056" sldId="10437"/>
            <ac:spMk id="111" creationId="{120AA726-0FF6-4209-BB20-1BA916108E4E}"/>
          </ac:spMkLst>
        </pc:spChg>
        <pc:spChg chg="mod">
          <ac:chgData name="Sarah GAUVARD" userId="4c03e191-e154-482a-88b2-11de19eac96c" providerId="ADAL" clId="{8245CC27-65FB-483E-B8E7-D04039DBA80D}" dt="2021-05-24T16:09:26.764" v="14780" actId="790"/>
          <ac:spMkLst>
            <pc:docMk/>
            <pc:sldMk cId="3781687056" sldId="10437"/>
            <ac:spMk id="113" creationId="{BF24D132-C786-48A4-9A3E-983BFF02BDDA}"/>
          </ac:spMkLst>
        </pc:spChg>
        <pc:spChg chg="mod">
          <ac:chgData name="Sarah GAUVARD" userId="4c03e191-e154-482a-88b2-11de19eac96c" providerId="ADAL" clId="{8245CC27-65FB-483E-B8E7-D04039DBA80D}" dt="2021-05-24T16:09:26.764" v="14781" actId="790"/>
          <ac:spMkLst>
            <pc:docMk/>
            <pc:sldMk cId="3781687056" sldId="10437"/>
            <ac:spMk id="121" creationId="{0CF79484-111D-4568-AFFF-3CBDCB38027C}"/>
          </ac:spMkLst>
        </pc:spChg>
        <pc:spChg chg="mod">
          <ac:chgData name="Sarah GAUVARD" userId="4c03e191-e154-482a-88b2-11de19eac96c" providerId="ADAL" clId="{8245CC27-65FB-483E-B8E7-D04039DBA80D}" dt="2021-05-24T16:09:26.764" v="14782" actId="790"/>
          <ac:spMkLst>
            <pc:docMk/>
            <pc:sldMk cId="3781687056" sldId="10437"/>
            <ac:spMk id="122" creationId="{CE6AD5A9-0724-4E52-8533-36B2B7A8E8FB}"/>
          </ac:spMkLst>
        </pc:spChg>
        <pc:spChg chg="mod">
          <ac:chgData name="Sarah GAUVARD" userId="4c03e191-e154-482a-88b2-11de19eac96c" providerId="ADAL" clId="{8245CC27-65FB-483E-B8E7-D04039DBA80D}" dt="2021-05-24T16:09:26.764" v="14783" actId="790"/>
          <ac:spMkLst>
            <pc:docMk/>
            <pc:sldMk cId="3781687056" sldId="10437"/>
            <ac:spMk id="123" creationId="{AB25344D-A8FC-4A5C-A43F-4B01CA4A8800}"/>
          </ac:spMkLst>
        </pc:spChg>
        <pc:spChg chg="mod">
          <ac:chgData name="Sarah GAUVARD" userId="4c03e191-e154-482a-88b2-11de19eac96c" providerId="ADAL" clId="{8245CC27-65FB-483E-B8E7-D04039DBA80D}" dt="2021-05-24T16:09:26.764" v="14784" actId="790"/>
          <ac:spMkLst>
            <pc:docMk/>
            <pc:sldMk cId="3781687056" sldId="10437"/>
            <ac:spMk id="124" creationId="{5980143D-7AF7-4D97-8D06-A50037CCB903}"/>
          </ac:spMkLst>
        </pc:spChg>
        <pc:spChg chg="mod ord">
          <ac:chgData name="Sarah GAUVARD" userId="4c03e191-e154-482a-88b2-11de19eac96c" providerId="ADAL" clId="{8245CC27-65FB-483E-B8E7-D04039DBA80D}" dt="2021-05-24T16:09:26.772" v="14785" actId="790"/>
          <ac:spMkLst>
            <pc:docMk/>
            <pc:sldMk cId="3781687056" sldId="10437"/>
            <ac:spMk id="129" creationId="{555638A0-D999-4327-A4A7-179DEE0BEA1B}"/>
          </ac:spMkLst>
        </pc:spChg>
        <pc:spChg chg="mod ord">
          <ac:chgData name="Sarah GAUVARD" userId="4c03e191-e154-482a-88b2-11de19eac96c" providerId="ADAL" clId="{8245CC27-65FB-483E-B8E7-D04039DBA80D}" dt="2021-05-24T16:09:26.772" v="14786" actId="790"/>
          <ac:spMkLst>
            <pc:docMk/>
            <pc:sldMk cId="3781687056" sldId="10437"/>
            <ac:spMk id="130" creationId="{D30FFD4A-C467-4F1C-A4DF-BCB3EB71D32F}"/>
          </ac:spMkLst>
        </pc:spChg>
        <pc:spChg chg="mod ord">
          <ac:chgData name="Sarah GAUVARD" userId="4c03e191-e154-482a-88b2-11de19eac96c" providerId="ADAL" clId="{8245CC27-65FB-483E-B8E7-D04039DBA80D}" dt="2021-05-24T16:09:26.774" v="14787" actId="790"/>
          <ac:spMkLst>
            <pc:docMk/>
            <pc:sldMk cId="3781687056" sldId="10437"/>
            <ac:spMk id="131" creationId="{93EEF8DD-E42C-4C2B-94DD-89C3DDAF9A59}"/>
          </ac:spMkLst>
        </pc:spChg>
        <pc:spChg chg="mod ord">
          <ac:chgData name="Sarah GAUVARD" userId="4c03e191-e154-482a-88b2-11de19eac96c" providerId="ADAL" clId="{8245CC27-65FB-483E-B8E7-D04039DBA80D}" dt="2021-05-24T16:09:26.774" v="14788" actId="790"/>
          <ac:spMkLst>
            <pc:docMk/>
            <pc:sldMk cId="3781687056" sldId="10437"/>
            <ac:spMk id="132" creationId="{37866BA4-BF7F-46F4-9BDC-A7E6E551D6F2}"/>
          </ac:spMkLst>
        </pc:spChg>
        <pc:spChg chg="mod ord">
          <ac:chgData name="Sarah GAUVARD" userId="4c03e191-e154-482a-88b2-11de19eac96c" providerId="ADAL" clId="{8245CC27-65FB-483E-B8E7-D04039DBA80D}" dt="2021-05-24T09:49:15.914" v="449"/>
          <ac:spMkLst>
            <pc:docMk/>
            <pc:sldMk cId="3781687056" sldId="10437"/>
            <ac:spMk id="140" creationId="{7B803F30-3BE3-484D-A43D-8C38CEA9ED62}"/>
          </ac:spMkLst>
        </pc:spChg>
        <pc:spChg chg="mod ord">
          <ac:chgData name="Sarah GAUVARD" userId="4c03e191-e154-482a-88b2-11de19eac96c" providerId="ADAL" clId="{8245CC27-65FB-483E-B8E7-D04039DBA80D}" dt="2021-05-24T09:49:15.915" v="451"/>
          <ac:spMkLst>
            <pc:docMk/>
            <pc:sldMk cId="3781687056" sldId="10437"/>
            <ac:spMk id="141" creationId="{B8BEDC77-6914-4F89-B58A-074BF4283643}"/>
          </ac:spMkLst>
        </pc:spChg>
        <pc:spChg chg="mod ord">
          <ac:chgData name="Sarah GAUVARD" userId="4c03e191-e154-482a-88b2-11de19eac96c" providerId="ADAL" clId="{8245CC27-65FB-483E-B8E7-D04039DBA80D}" dt="2021-05-24T09:49:15.915" v="453"/>
          <ac:spMkLst>
            <pc:docMk/>
            <pc:sldMk cId="3781687056" sldId="10437"/>
            <ac:spMk id="142" creationId="{0FB0B0C3-48D3-49A9-9DED-B6BC79E1E324}"/>
          </ac:spMkLst>
        </pc:spChg>
        <pc:spChg chg="mod ord">
          <ac:chgData name="Sarah GAUVARD" userId="4c03e191-e154-482a-88b2-11de19eac96c" providerId="ADAL" clId="{8245CC27-65FB-483E-B8E7-D04039DBA80D}" dt="2021-05-24T09:49:15.916" v="455"/>
          <ac:spMkLst>
            <pc:docMk/>
            <pc:sldMk cId="3781687056" sldId="10437"/>
            <ac:spMk id="143" creationId="{DF9D26B5-DBB9-484F-B667-2227DD93AD71}"/>
          </ac:spMkLst>
        </pc:spChg>
        <pc:spChg chg="mod ord">
          <ac:chgData name="Sarah GAUVARD" userId="4c03e191-e154-482a-88b2-11de19eac96c" providerId="ADAL" clId="{8245CC27-65FB-483E-B8E7-D04039DBA80D}" dt="2021-05-24T16:09:26.774" v="14789" actId="790"/>
          <ac:spMkLst>
            <pc:docMk/>
            <pc:sldMk cId="3781687056" sldId="10437"/>
            <ac:spMk id="144" creationId="{433FC52C-1389-4204-AEEB-C9CA9E418A00}"/>
          </ac:spMkLst>
        </pc:spChg>
        <pc:spChg chg="mod ord">
          <ac:chgData name="Sarah GAUVARD" userId="4c03e191-e154-482a-88b2-11de19eac96c" providerId="ADAL" clId="{8245CC27-65FB-483E-B8E7-D04039DBA80D}" dt="2021-05-24T16:09:26.774" v="14790" actId="790"/>
          <ac:spMkLst>
            <pc:docMk/>
            <pc:sldMk cId="3781687056" sldId="10437"/>
            <ac:spMk id="145" creationId="{6A96C0AC-EDD4-48F7-A707-F61145038153}"/>
          </ac:spMkLst>
        </pc:spChg>
        <pc:spChg chg="mod ord">
          <ac:chgData name="Sarah GAUVARD" userId="4c03e191-e154-482a-88b2-11de19eac96c" providerId="ADAL" clId="{8245CC27-65FB-483E-B8E7-D04039DBA80D}" dt="2021-05-24T16:09:26.774" v="14791" actId="790"/>
          <ac:spMkLst>
            <pc:docMk/>
            <pc:sldMk cId="3781687056" sldId="10437"/>
            <ac:spMk id="146" creationId="{054F79DE-098B-4A1C-93C7-642B122E7D15}"/>
          </ac:spMkLst>
        </pc:spChg>
        <pc:spChg chg="mod ord">
          <ac:chgData name="Sarah GAUVARD" userId="4c03e191-e154-482a-88b2-11de19eac96c" providerId="ADAL" clId="{8245CC27-65FB-483E-B8E7-D04039DBA80D}" dt="2021-05-24T16:09:26.774" v="14792" actId="790"/>
          <ac:spMkLst>
            <pc:docMk/>
            <pc:sldMk cId="3781687056" sldId="10437"/>
            <ac:spMk id="147" creationId="{C050FFFB-6045-4F5E-B830-458E17DA18F1}"/>
          </ac:spMkLst>
        </pc:spChg>
        <pc:spChg chg="mod">
          <ac:chgData name="Sarah GAUVARD" userId="4c03e191-e154-482a-88b2-11de19eac96c" providerId="ADAL" clId="{8245CC27-65FB-483E-B8E7-D04039DBA80D}" dt="2021-05-24T16:09:26.824" v="14840" actId="790"/>
          <ac:spMkLst>
            <pc:docMk/>
            <pc:sldMk cId="3781687056" sldId="10437"/>
            <ac:spMk id="149" creationId="{51177F13-2291-4C01-AEE0-FF9DC1F9FBC4}"/>
          </ac:spMkLst>
        </pc:spChg>
        <pc:spChg chg="mod ord">
          <ac:chgData name="Sarah GAUVARD" userId="4c03e191-e154-482a-88b2-11de19eac96c" providerId="ADAL" clId="{8245CC27-65FB-483E-B8E7-D04039DBA80D}" dt="2021-05-24T16:09:26.774" v="14793" actId="790"/>
          <ac:spMkLst>
            <pc:docMk/>
            <pc:sldMk cId="3781687056" sldId="10437"/>
            <ac:spMk id="150" creationId="{8EAE2B76-2313-4656-A866-046474D9996A}"/>
          </ac:spMkLst>
        </pc:spChg>
        <pc:spChg chg="mod ord">
          <ac:chgData name="Sarah GAUVARD" userId="4c03e191-e154-482a-88b2-11de19eac96c" providerId="ADAL" clId="{8245CC27-65FB-483E-B8E7-D04039DBA80D}" dt="2021-05-24T16:09:26.774" v="14794" actId="790"/>
          <ac:spMkLst>
            <pc:docMk/>
            <pc:sldMk cId="3781687056" sldId="10437"/>
            <ac:spMk id="151" creationId="{1EC6A59F-072B-4B31-95CB-BE3AA5E1AF39}"/>
          </ac:spMkLst>
        </pc:spChg>
        <pc:spChg chg="mod ord">
          <ac:chgData name="Sarah GAUVARD" userId="4c03e191-e154-482a-88b2-11de19eac96c" providerId="ADAL" clId="{8245CC27-65FB-483E-B8E7-D04039DBA80D}" dt="2021-05-24T16:09:26.774" v="14795" actId="790"/>
          <ac:spMkLst>
            <pc:docMk/>
            <pc:sldMk cId="3781687056" sldId="10437"/>
            <ac:spMk id="152" creationId="{EF73B3A9-E91B-41E1-8986-2718E25E62D9}"/>
          </ac:spMkLst>
        </pc:spChg>
        <pc:spChg chg="mod ord">
          <ac:chgData name="Sarah GAUVARD" userId="4c03e191-e154-482a-88b2-11de19eac96c" providerId="ADAL" clId="{8245CC27-65FB-483E-B8E7-D04039DBA80D}" dt="2021-05-24T16:09:26.774" v="14796" actId="790"/>
          <ac:spMkLst>
            <pc:docMk/>
            <pc:sldMk cId="3781687056" sldId="10437"/>
            <ac:spMk id="153" creationId="{6326A5C1-03CF-4303-91D8-855CCFCB6188}"/>
          </ac:spMkLst>
        </pc:spChg>
        <pc:spChg chg="mod ord">
          <ac:chgData name="Sarah GAUVARD" userId="4c03e191-e154-482a-88b2-11de19eac96c" providerId="ADAL" clId="{8245CC27-65FB-483E-B8E7-D04039DBA80D}" dt="2021-05-24T16:09:26.774" v="14797" actId="790"/>
          <ac:spMkLst>
            <pc:docMk/>
            <pc:sldMk cId="3781687056" sldId="10437"/>
            <ac:spMk id="154" creationId="{94C8C856-D1CB-4225-A7D9-CA0FD6CF89C6}"/>
          </ac:spMkLst>
        </pc:spChg>
        <pc:spChg chg="mod ord">
          <ac:chgData name="Sarah GAUVARD" userId="4c03e191-e154-482a-88b2-11de19eac96c" providerId="ADAL" clId="{8245CC27-65FB-483E-B8E7-D04039DBA80D}" dt="2021-05-24T16:09:26.774" v="14798" actId="790"/>
          <ac:spMkLst>
            <pc:docMk/>
            <pc:sldMk cId="3781687056" sldId="10437"/>
            <ac:spMk id="155" creationId="{54C742CD-5C48-4EB7-99B5-8A28818C5366}"/>
          </ac:spMkLst>
        </pc:spChg>
        <pc:spChg chg="mod ord">
          <ac:chgData name="Sarah GAUVARD" userId="4c03e191-e154-482a-88b2-11de19eac96c" providerId="ADAL" clId="{8245CC27-65FB-483E-B8E7-D04039DBA80D}" dt="2021-05-24T16:09:26.774" v="14799" actId="790"/>
          <ac:spMkLst>
            <pc:docMk/>
            <pc:sldMk cId="3781687056" sldId="10437"/>
            <ac:spMk id="156" creationId="{1F440329-79EC-471D-BDCF-46FA131899D6}"/>
          </ac:spMkLst>
        </pc:spChg>
        <pc:spChg chg="mod ord">
          <ac:chgData name="Sarah GAUVARD" userId="4c03e191-e154-482a-88b2-11de19eac96c" providerId="ADAL" clId="{8245CC27-65FB-483E-B8E7-D04039DBA80D}" dt="2021-05-24T16:09:26.774" v="14800" actId="790"/>
          <ac:spMkLst>
            <pc:docMk/>
            <pc:sldMk cId="3781687056" sldId="10437"/>
            <ac:spMk id="157" creationId="{12F4AF09-179E-4827-BED1-C78EB213DC6B}"/>
          </ac:spMkLst>
        </pc:spChg>
        <pc:spChg chg="mod">
          <ac:chgData name="Sarah GAUVARD" userId="4c03e191-e154-482a-88b2-11de19eac96c" providerId="ADAL" clId="{8245CC27-65FB-483E-B8E7-D04039DBA80D}" dt="2021-05-24T16:09:26.824" v="14841" actId="790"/>
          <ac:spMkLst>
            <pc:docMk/>
            <pc:sldMk cId="3781687056" sldId="10437"/>
            <ac:spMk id="158" creationId="{940755A0-54AE-46D5-A1E6-19420F62A0B1}"/>
          </ac:spMkLst>
        </pc:spChg>
        <pc:spChg chg="mod ord">
          <ac:chgData name="Sarah GAUVARD" userId="4c03e191-e154-482a-88b2-11de19eac96c" providerId="ADAL" clId="{8245CC27-65FB-483E-B8E7-D04039DBA80D}" dt="2021-05-24T16:09:26.782" v="14802" actId="790"/>
          <ac:spMkLst>
            <pc:docMk/>
            <pc:sldMk cId="3781687056" sldId="10437"/>
            <ac:spMk id="159" creationId="{B80AF701-FD02-4A49-AF04-0D717773F8CE}"/>
          </ac:spMkLst>
        </pc:spChg>
        <pc:spChg chg="mod ord">
          <ac:chgData name="Sarah GAUVARD" userId="4c03e191-e154-482a-88b2-11de19eac96c" providerId="ADAL" clId="{8245CC27-65FB-483E-B8E7-D04039DBA80D}" dt="2021-05-24T16:09:26.784" v="14803" actId="790"/>
          <ac:spMkLst>
            <pc:docMk/>
            <pc:sldMk cId="3781687056" sldId="10437"/>
            <ac:spMk id="160" creationId="{6794BF10-E356-4CFA-A5D2-64019521185A}"/>
          </ac:spMkLst>
        </pc:spChg>
        <pc:spChg chg="mod ord">
          <ac:chgData name="Sarah GAUVARD" userId="4c03e191-e154-482a-88b2-11de19eac96c" providerId="ADAL" clId="{8245CC27-65FB-483E-B8E7-D04039DBA80D}" dt="2021-05-24T16:09:26.785" v="14804" actId="790"/>
          <ac:spMkLst>
            <pc:docMk/>
            <pc:sldMk cId="3781687056" sldId="10437"/>
            <ac:spMk id="161" creationId="{98B95108-A1D7-406A-9437-35CC8389273C}"/>
          </ac:spMkLst>
        </pc:spChg>
        <pc:spChg chg="mod ord">
          <ac:chgData name="Sarah GAUVARD" userId="4c03e191-e154-482a-88b2-11de19eac96c" providerId="ADAL" clId="{8245CC27-65FB-483E-B8E7-D04039DBA80D}" dt="2021-05-24T16:09:26.785" v="14805" actId="790"/>
          <ac:spMkLst>
            <pc:docMk/>
            <pc:sldMk cId="3781687056" sldId="10437"/>
            <ac:spMk id="162" creationId="{E1AEBA31-2AB3-475A-A9D4-798F713EEFD7}"/>
          </ac:spMkLst>
        </pc:spChg>
        <pc:spChg chg="mod ord">
          <ac:chgData name="Sarah GAUVARD" userId="4c03e191-e154-482a-88b2-11de19eac96c" providerId="ADAL" clId="{8245CC27-65FB-483E-B8E7-D04039DBA80D}" dt="2021-05-24T16:09:26.785" v="14806" actId="790"/>
          <ac:spMkLst>
            <pc:docMk/>
            <pc:sldMk cId="3781687056" sldId="10437"/>
            <ac:spMk id="163" creationId="{A02BA35A-F494-480F-8210-97DCAE0F40D4}"/>
          </ac:spMkLst>
        </pc:spChg>
        <pc:spChg chg="mod ord">
          <ac:chgData name="Sarah GAUVARD" userId="4c03e191-e154-482a-88b2-11de19eac96c" providerId="ADAL" clId="{8245CC27-65FB-483E-B8E7-D04039DBA80D}" dt="2021-05-24T16:09:26.785" v="14807" actId="790"/>
          <ac:spMkLst>
            <pc:docMk/>
            <pc:sldMk cId="3781687056" sldId="10437"/>
            <ac:spMk id="164" creationId="{96799BBD-9716-4675-B816-A24F8B182973}"/>
          </ac:spMkLst>
        </pc:spChg>
        <pc:spChg chg="mod">
          <ac:chgData name="Sarah GAUVARD" userId="4c03e191-e154-482a-88b2-11de19eac96c" providerId="ADAL" clId="{8245CC27-65FB-483E-B8E7-D04039DBA80D}" dt="2021-05-24T16:09:26.826" v="14842" actId="790"/>
          <ac:spMkLst>
            <pc:docMk/>
            <pc:sldMk cId="3781687056" sldId="10437"/>
            <ac:spMk id="165" creationId="{D4EDE54C-EDC4-47FA-8DE8-CB94D6B5C6A5}"/>
          </ac:spMkLst>
        </pc:spChg>
        <pc:spChg chg="mod">
          <ac:chgData name="Sarah GAUVARD" userId="4c03e191-e154-482a-88b2-11de19eac96c" providerId="ADAL" clId="{8245CC27-65FB-483E-B8E7-D04039DBA80D}" dt="2021-05-24T16:09:26.826" v="14843" actId="790"/>
          <ac:spMkLst>
            <pc:docMk/>
            <pc:sldMk cId="3781687056" sldId="10437"/>
            <ac:spMk id="166" creationId="{B6AA02B5-624F-48CC-968A-ED55D21C1D4B}"/>
          </ac:spMkLst>
        </pc:spChg>
        <pc:spChg chg="mod ord">
          <ac:chgData name="Sarah GAUVARD" userId="4c03e191-e154-482a-88b2-11de19eac96c" providerId="ADAL" clId="{8245CC27-65FB-483E-B8E7-D04039DBA80D}" dt="2021-05-24T16:09:26.826" v="14844" actId="790"/>
          <ac:spMkLst>
            <pc:docMk/>
            <pc:sldMk cId="3781687056" sldId="10437"/>
            <ac:spMk id="167" creationId="{AABEE270-608F-479B-8CA5-B82D4B6E27AA}"/>
          </ac:spMkLst>
        </pc:spChg>
        <pc:spChg chg="mod ord">
          <ac:chgData name="Sarah GAUVARD" userId="4c03e191-e154-482a-88b2-11de19eac96c" providerId="ADAL" clId="{8245CC27-65FB-483E-B8E7-D04039DBA80D}" dt="2021-05-24T16:09:26.785" v="14808" actId="790"/>
          <ac:spMkLst>
            <pc:docMk/>
            <pc:sldMk cId="3781687056" sldId="10437"/>
            <ac:spMk id="168" creationId="{F93FCD89-38BE-4A9F-89B4-7F9F1F03E6AA}"/>
          </ac:spMkLst>
        </pc:spChg>
        <pc:spChg chg="del">
          <ac:chgData name="Sarah GAUVARD" userId="4c03e191-e154-482a-88b2-11de19eac96c" providerId="ADAL" clId="{8245CC27-65FB-483E-B8E7-D04039DBA80D}" dt="2021-05-24T09:49:12.695" v="323" actId="478"/>
          <ac:spMkLst>
            <pc:docMk/>
            <pc:sldMk cId="3781687056" sldId="10437"/>
            <ac:spMk id="169" creationId="{64A2B735-DA9F-46EA-9A99-D928557A29AA}"/>
          </ac:spMkLst>
        </pc:spChg>
        <pc:spChg chg="del">
          <ac:chgData name="Sarah GAUVARD" userId="4c03e191-e154-482a-88b2-11de19eac96c" providerId="ADAL" clId="{8245CC27-65FB-483E-B8E7-D04039DBA80D}" dt="2021-05-24T09:49:12.695" v="323" actId="478"/>
          <ac:spMkLst>
            <pc:docMk/>
            <pc:sldMk cId="3781687056" sldId="10437"/>
            <ac:spMk id="170" creationId="{BFF41895-DEBF-4EE8-90C4-E3F880E0BEBE}"/>
          </ac:spMkLst>
        </pc:spChg>
        <pc:spChg chg="mod ord">
          <ac:chgData name="Sarah GAUVARD" userId="4c03e191-e154-482a-88b2-11de19eac96c" providerId="ADAL" clId="{8245CC27-65FB-483E-B8E7-D04039DBA80D}" dt="2021-05-24T16:09:26.785" v="14809" actId="790"/>
          <ac:spMkLst>
            <pc:docMk/>
            <pc:sldMk cId="3781687056" sldId="10437"/>
            <ac:spMk id="171" creationId="{1C8173C6-5E3A-4216-8804-5399B6AA31C6}"/>
          </ac:spMkLst>
        </pc:spChg>
        <pc:spChg chg="mod ord">
          <ac:chgData name="Sarah GAUVARD" userId="4c03e191-e154-482a-88b2-11de19eac96c" providerId="ADAL" clId="{8245CC27-65FB-483E-B8E7-D04039DBA80D}" dt="2021-05-24T16:09:26.785" v="14810" actId="790"/>
          <ac:spMkLst>
            <pc:docMk/>
            <pc:sldMk cId="3781687056" sldId="10437"/>
            <ac:spMk id="172" creationId="{863FD84C-845E-42CC-B2EE-54140523C6B3}"/>
          </ac:spMkLst>
        </pc:spChg>
        <pc:spChg chg="mod ord">
          <ac:chgData name="Sarah GAUVARD" userId="4c03e191-e154-482a-88b2-11de19eac96c" providerId="ADAL" clId="{8245CC27-65FB-483E-B8E7-D04039DBA80D}" dt="2021-05-24T16:09:26.785" v="14811" actId="790"/>
          <ac:spMkLst>
            <pc:docMk/>
            <pc:sldMk cId="3781687056" sldId="10437"/>
            <ac:spMk id="173" creationId="{1DD71EE6-7E10-4444-888A-89EBA3A5DBED}"/>
          </ac:spMkLst>
        </pc:spChg>
        <pc:spChg chg="del">
          <ac:chgData name="Sarah GAUVARD" userId="4c03e191-e154-482a-88b2-11de19eac96c" providerId="ADAL" clId="{8245CC27-65FB-483E-B8E7-D04039DBA80D}" dt="2021-05-24T09:49:12.695" v="323" actId="478"/>
          <ac:spMkLst>
            <pc:docMk/>
            <pc:sldMk cId="3781687056" sldId="10437"/>
            <ac:spMk id="174" creationId="{FFE4322F-89AE-4E98-850C-F0B99FCFF7C1}"/>
          </ac:spMkLst>
        </pc:spChg>
        <pc:spChg chg="del">
          <ac:chgData name="Sarah GAUVARD" userId="4c03e191-e154-482a-88b2-11de19eac96c" providerId="ADAL" clId="{8245CC27-65FB-483E-B8E7-D04039DBA80D}" dt="2021-05-24T09:49:12.695" v="323" actId="478"/>
          <ac:spMkLst>
            <pc:docMk/>
            <pc:sldMk cId="3781687056" sldId="10437"/>
            <ac:spMk id="175" creationId="{EAC29727-6025-47ED-B871-2A3A5E7C81D4}"/>
          </ac:spMkLst>
        </pc:spChg>
        <pc:spChg chg="mod ord">
          <ac:chgData name="Sarah GAUVARD" userId="4c03e191-e154-482a-88b2-11de19eac96c" providerId="ADAL" clId="{8245CC27-65FB-483E-B8E7-D04039DBA80D}" dt="2021-05-24T16:09:26.785" v="14812" actId="790"/>
          <ac:spMkLst>
            <pc:docMk/>
            <pc:sldMk cId="3781687056" sldId="10437"/>
            <ac:spMk id="176" creationId="{04D2C6B9-3B58-4E34-BE83-8AA3849160DE}"/>
          </ac:spMkLst>
        </pc:spChg>
        <pc:spChg chg="mod ord">
          <ac:chgData name="Sarah GAUVARD" userId="4c03e191-e154-482a-88b2-11de19eac96c" providerId="ADAL" clId="{8245CC27-65FB-483E-B8E7-D04039DBA80D}" dt="2021-05-24T16:09:26.785" v="14813" actId="790"/>
          <ac:spMkLst>
            <pc:docMk/>
            <pc:sldMk cId="3781687056" sldId="10437"/>
            <ac:spMk id="177" creationId="{93AA6B9B-95A6-4425-A52D-B73C84CE1796}"/>
          </ac:spMkLst>
        </pc:spChg>
        <pc:spChg chg="mod ord">
          <ac:chgData name="Sarah GAUVARD" userId="4c03e191-e154-482a-88b2-11de19eac96c" providerId="ADAL" clId="{8245CC27-65FB-483E-B8E7-D04039DBA80D}" dt="2021-05-24T16:09:26.793" v="14815" actId="790"/>
          <ac:spMkLst>
            <pc:docMk/>
            <pc:sldMk cId="3781687056" sldId="10437"/>
            <ac:spMk id="183" creationId="{289DFA16-857A-412F-9C0A-278A9227568F}"/>
          </ac:spMkLst>
        </pc:spChg>
        <pc:spChg chg="del">
          <ac:chgData name="Sarah GAUVARD" userId="4c03e191-e154-482a-88b2-11de19eac96c" providerId="ADAL" clId="{8245CC27-65FB-483E-B8E7-D04039DBA80D}" dt="2021-05-24T09:49:12.695" v="323" actId="478"/>
          <ac:spMkLst>
            <pc:docMk/>
            <pc:sldMk cId="3781687056" sldId="10437"/>
            <ac:spMk id="184" creationId="{61FDB57B-18E6-451F-AD83-EDB970C8466B}"/>
          </ac:spMkLst>
        </pc:spChg>
        <pc:spChg chg="mod ord">
          <ac:chgData name="Sarah GAUVARD" userId="4c03e191-e154-482a-88b2-11de19eac96c" providerId="ADAL" clId="{8245CC27-65FB-483E-B8E7-D04039DBA80D}" dt="2021-05-24T16:09:26.836" v="14845" actId="790"/>
          <ac:spMkLst>
            <pc:docMk/>
            <pc:sldMk cId="3781687056" sldId="10437"/>
            <ac:spMk id="189" creationId="{06E35682-F489-4A97-ABCF-9A91DAC741CA}"/>
          </ac:spMkLst>
        </pc:spChg>
        <pc:spChg chg="mod ord">
          <ac:chgData name="Sarah GAUVARD" userId="4c03e191-e154-482a-88b2-11de19eac96c" providerId="ADAL" clId="{8245CC27-65FB-483E-B8E7-D04039DBA80D}" dt="2021-05-24T09:49:15.964" v="592"/>
          <ac:spMkLst>
            <pc:docMk/>
            <pc:sldMk cId="3781687056" sldId="10437"/>
            <ac:spMk id="190" creationId="{A520A727-1C94-4AB3-90D3-F7A76FF5254F}"/>
          </ac:spMkLst>
        </pc:spChg>
        <pc:spChg chg="add mod ord">
          <ac:chgData name="Sarah GAUVARD" userId="4c03e191-e154-482a-88b2-11de19eac96c" providerId="ADAL" clId="{8245CC27-65FB-483E-B8E7-D04039DBA80D}" dt="2021-05-24T09:49:15.962" v="582"/>
          <ac:spMkLst>
            <pc:docMk/>
            <pc:sldMk cId="3781687056" sldId="10437"/>
            <ac:spMk id="191" creationId="{AC631514-7B0C-49EF-BC32-8C77406BE9E2}"/>
          </ac:spMkLst>
        </pc:spChg>
        <pc:spChg chg="add mod ord">
          <ac:chgData name="Sarah GAUVARD" userId="4c03e191-e154-482a-88b2-11de19eac96c" providerId="ADAL" clId="{8245CC27-65FB-483E-B8E7-D04039DBA80D}" dt="2021-05-24T09:49:15.962" v="584"/>
          <ac:spMkLst>
            <pc:docMk/>
            <pc:sldMk cId="3781687056" sldId="10437"/>
            <ac:spMk id="192" creationId="{77A774EB-5CD9-452C-99C4-7531B1842BE1}"/>
          </ac:spMkLst>
        </pc:spChg>
        <pc:spChg chg="mod ord">
          <ac:chgData name="Sarah GAUVARD" userId="4c03e191-e154-482a-88b2-11de19eac96c" providerId="ADAL" clId="{8245CC27-65FB-483E-B8E7-D04039DBA80D}" dt="2021-05-24T16:09:26.793" v="14816" actId="790"/>
          <ac:spMkLst>
            <pc:docMk/>
            <pc:sldMk cId="3781687056" sldId="10437"/>
            <ac:spMk id="193" creationId="{915FFD09-509D-4ABE-A16F-AF3093003B4D}"/>
          </ac:spMkLst>
        </pc:spChg>
        <pc:spChg chg="mod ord">
          <ac:chgData name="Sarah GAUVARD" userId="4c03e191-e154-482a-88b2-11de19eac96c" providerId="ADAL" clId="{8245CC27-65FB-483E-B8E7-D04039DBA80D}" dt="2021-05-24T16:09:26.795" v="14817" actId="790"/>
          <ac:spMkLst>
            <pc:docMk/>
            <pc:sldMk cId="3781687056" sldId="10437"/>
            <ac:spMk id="194" creationId="{7EB2B24B-10F1-4463-82D8-A136B9B73716}"/>
          </ac:spMkLst>
        </pc:spChg>
        <pc:spChg chg="mod ord">
          <ac:chgData name="Sarah GAUVARD" userId="4c03e191-e154-482a-88b2-11de19eac96c" providerId="ADAL" clId="{8245CC27-65FB-483E-B8E7-D04039DBA80D}" dt="2021-05-24T16:09:26.795" v="14818" actId="790"/>
          <ac:spMkLst>
            <pc:docMk/>
            <pc:sldMk cId="3781687056" sldId="10437"/>
            <ac:spMk id="195" creationId="{47138FD4-27DF-40DB-BAE0-23F8E66AD89B}"/>
          </ac:spMkLst>
        </pc:spChg>
        <pc:spChg chg="mod ord">
          <ac:chgData name="Sarah GAUVARD" userId="4c03e191-e154-482a-88b2-11de19eac96c" providerId="ADAL" clId="{8245CC27-65FB-483E-B8E7-D04039DBA80D}" dt="2021-05-24T16:09:26.795" v="14819" actId="790"/>
          <ac:spMkLst>
            <pc:docMk/>
            <pc:sldMk cId="3781687056" sldId="10437"/>
            <ac:spMk id="196" creationId="{4FB2EC28-4905-4CA5-BF08-392B3782DA49}"/>
          </ac:spMkLst>
        </pc:spChg>
        <pc:spChg chg="mod ord">
          <ac:chgData name="Sarah GAUVARD" userId="4c03e191-e154-482a-88b2-11de19eac96c" providerId="ADAL" clId="{8245CC27-65FB-483E-B8E7-D04039DBA80D}" dt="2021-05-24T16:09:26.795" v="14820" actId="790"/>
          <ac:spMkLst>
            <pc:docMk/>
            <pc:sldMk cId="3781687056" sldId="10437"/>
            <ac:spMk id="197" creationId="{3A832681-45CF-4B0A-B698-69DF86F8325C}"/>
          </ac:spMkLst>
        </pc:spChg>
        <pc:spChg chg="mod ord">
          <ac:chgData name="Sarah GAUVARD" userId="4c03e191-e154-482a-88b2-11de19eac96c" providerId="ADAL" clId="{8245CC27-65FB-483E-B8E7-D04039DBA80D}" dt="2021-05-24T16:09:26.795" v="14821" actId="790"/>
          <ac:spMkLst>
            <pc:docMk/>
            <pc:sldMk cId="3781687056" sldId="10437"/>
            <ac:spMk id="198" creationId="{E0927A02-123E-4F6E-A17B-48818630B8DA}"/>
          </ac:spMkLst>
        </pc:spChg>
        <pc:spChg chg="mod ord">
          <ac:chgData name="Sarah GAUVARD" userId="4c03e191-e154-482a-88b2-11de19eac96c" providerId="ADAL" clId="{8245CC27-65FB-483E-B8E7-D04039DBA80D}" dt="2021-05-24T16:09:26.795" v="14822" actId="790"/>
          <ac:spMkLst>
            <pc:docMk/>
            <pc:sldMk cId="3781687056" sldId="10437"/>
            <ac:spMk id="199" creationId="{8CA4A8A4-2C34-4930-B088-A9E050673F3D}"/>
          </ac:spMkLst>
        </pc:spChg>
        <pc:spChg chg="add mod ord">
          <ac:chgData name="Sarah GAUVARD" userId="4c03e191-e154-482a-88b2-11de19eac96c" providerId="ADAL" clId="{8245CC27-65FB-483E-B8E7-D04039DBA80D}" dt="2021-05-24T09:49:15.963" v="586"/>
          <ac:spMkLst>
            <pc:docMk/>
            <pc:sldMk cId="3781687056" sldId="10437"/>
            <ac:spMk id="200" creationId="{ACB1A372-A853-44C9-A57A-ABCAFF8B4529}"/>
          </ac:spMkLst>
        </pc:spChg>
        <pc:spChg chg="mod ord">
          <ac:chgData name="Sarah GAUVARD" userId="4c03e191-e154-482a-88b2-11de19eac96c" providerId="ADAL" clId="{8245CC27-65FB-483E-B8E7-D04039DBA80D}" dt="2021-05-24T16:09:26.795" v="14823" actId="790"/>
          <ac:spMkLst>
            <pc:docMk/>
            <pc:sldMk cId="3781687056" sldId="10437"/>
            <ac:spMk id="201" creationId="{22C293ED-3457-456B-B33E-9B30D283EC28}"/>
          </ac:spMkLst>
        </pc:spChg>
        <pc:spChg chg="mod ord">
          <ac:chgData name="Sarah GAUVARD" userId="4c03e191-e154-482a-88b2-11de19eac96c" providerId="ADAL" clId="{8245CC27-65FB-483E-B8E7-D04039DBA80D}" dt="2021-05-24T16:09:26.795" v="14824" actId="790"/>
          <ac:spMkLst>
            <pc:docMk/>
            <pc:sldMk cId="3781687056" sldId="10437"/>
            <ac:spMk id="202" creationId="{2C411495-2DDE-4ED8-87D0-24644C529575}"/>
          </ac:spMkLst>
        </pc:spChg>
        <pc:spChg chg="mod ord">
          <ac:chgData name="Sarah GAUVARD" userId="4c03e191-e154-482a-88b2-11de19eac96c" providerId="ADAL" clId="{8245CC27-65FB-483E-B8E7-D04039DBA80D}" dt="2021-05-24T16:09:26.795" v="14825" actId="790"/>
          <ac:spMkLst>
            <pc:docMk/>
            <pc:sldMk cId="3781687056" sldId="10437"/>
            <ac:spMk id="203" creationId="{7A291F4F-8749-4061-BCD8-D0352D5BBAFA}"/>
          </ac:spMkLst>
        </pc:spChg>
        <pc:spChg chg="mod ord">
          <ac:chgData name="Sarah GAUVARD" userId="4c03e191-e154-482a-88b2-11de19eac96c" providerId="ADAL" clId="{8245CC27-65FB-483E-B8E7-D04039DBA80D}" dt="2021-05-24T16:09:26.795" v="14826" actId="790"/>
          <ac:spMkLst>
            <pc:docMk/>
            <pc:sldMk cId="3781687056" sldId="10437"/>
            <ac:spMk id="204" creationId="{333F5019-7477-45B2-9491-F98E8A940981}"/>
          </ac:spMkLst>
        </pc:spChg>
        <pc:spChg chg="mod">
          <ac:chgData name="Sarah GAUVARD" userId="4c03e191-e154-482a-88b2-11de19eac96c" providerId="ADAL" clId="{8245CC27-65FB-483E-B8E7-D04039DBA80D}" dt="2021-05-24T16:09:26.795" v="14827" actId="790"/>
          <ac:spMkLst>
            <pc:docMk/>
            <pc:sldMk cId="3781687056" sldId="10437"/>
            <ac:spMk id="206" creationId="{ADD53EE2-BB87-4918-A4B7-FBC3599F15EC}"/>
          </ac:spMkLst>
        </pc:spChg>
        <pc:spChg chg="mod">
          <ac:chgData name="Sarah GAUVARD" userId="4c03e191-e154-482a-88b2-11de19eac96c" providerId="ADAL" clId="{8245CC27-65FB-483E-B8E7-D04039DBA80D}" dt="2021-05-24T16:09:26.795" v="14828" actId="790"/>
          <ac:spMkLst>
            <pc:docMk/>
            <pc:sldMk cId="3781687056" sldId="10437"/>
            <ac:spMk id="207" creationId="{EE59E0A7-A0EB-4AA2-91E2-F7A50124575E}"/>
          </ac:spMkLst>
        </pc:spChg>
        <pc:spChg chg="mod">
          <ac:chgData name="Sarah GAUVARD" userId="4c03e191-e154-482a-88b2-11de19eac96c" providerId="ADAL" clId="{8245CC27-65FB-483E-B8E7-D04039DBA80D}" dt="2021-05-24T16:09:26.803" v="14829" actId="790"/>
          <ac:spMkLst>
            <pc:docMk/>
            <pc:sldMk cId="3781687056" sldId="10437"/>
            <ac:spMk id="208" creationId="{0363F8E2-3219-4530-BBCF-E04F28BC621F}"/>
          </ac:spMkLst>
        </pc:spChg>
        <pc:spChg chg="mod">
          <ac:chgData name="Sarah GAUVARD" userId="4c03e191-e154-482a-88b2-11de19eac96c" providerId="ADAL" clId="{8245CC27-65FB-483E-B8E7-D04039DBA80D}" dt="2021-05-24T16:09:26.803" v="14830" actId="790"/>
          <ac:spMkLst>
            <pc:docMk/>
            <pc:sldMk cId="3781687056" sldId="10437"/>
            <ac:spMk id="209" creationId="{31F9DB55-FB49-48A9-829D-19B3145A727D}"/>
          </ac:spMkLst>
        </pc:spChg>
        <pc:spChg chg="mod ord">
          <ac:chgData name="Sarah GAUVARD" userId="4c03e191-e154-482a-88b2-11de19eac96c" providerId="ADAL" clId="{8245CC27-65FB-483E-B8E7-D04039DBA80D}" dt="2021-05-24T16:09:26.806" v="14831" actId="790"/>
          <ac:spMkLst>
            <pc:docMk/>
            <pc:sldMk cId="3781687056" sldId="10437"/>
            <ac:spMk id="210" creationId="{02DFB263-4201-4CE5-9E34-D9E8F5DCEF68}"/>
          </ac:spMkLst>
        </pc:spChg>
        <pc:spChg chg="mod ord">
          <ac:chgData name="Sarah GAUVARD" userId="4c03e191-e154-482a-88b2-11de19eac96c" providerId="ADAL" clId="{8245CC27-65FB-483E-B8E7-D04039DBA80D}" dt="2021-05-24T16:09:26.806" v="14832" actId="790"/>
          <ac:spMkLst>
            <pc:docMk/>
            <pc:sldMk cId="3781687056" sldId="10437"/>
            <ac:spMk id="211" creationId="{E80B6C42-3CAD-4FA1-9728-E3089DD967C0}"/>
          </ac:spMkLst>
        </pc:spChg>
        <pc:spChg chg="mod ord">
          <ac:chgData name="Sarah GAUVARD" userId="4c03e191-e154-482a-88b2-11de19eac96c" providerId="ADAL" clId="{8245CC27-65FB-483E-B8E7-D04039DBA80D}" dt="2021-05-24T16:09:26.806" v="14833" actId="790"/>
          <ac:spMkLst>
            <pc:docMk/>
            <pc:sldMk cId="3781687056" sldId="10437"/>
            <ac:spMk id="212" creationId="{37F99B79-C2EB-4E9B-8867-29C88DDE31D2}"/>
          </ac:spMkLst>
        </pc:spChg>
        <pc:spChg chg="mod ord">
          <ac:chgData name="Sarah GAUVARD" userId="4c03e191-e154-482a-88b2-11de19eac96c" providerId="ADAL" clId="{8245CC27-65FB-483E-B8E7-D04039DBA80D}" dt="2021-05-24T16:09:26.814" v="14834" actId="790"/>
          <ac:spMkLst>
            <pc:docMk/>
            <pc:sldMk cId="3781687056" sldId="10437"/>
            <ac:spMk id="213" creationId="{5EE59935-F88B-4713-91C2-CDA6D67F98C8}"/>
          </ac:spMkLst>
        </pc:spChg>
        <pc:spChg chg="mod ord">
          <ac:chgData name="Sarah GAUVARD" userId="4c03e191-e154-482a-88b2-11de19eac96c" providerId="ADAL" clId="{8245CC27-65FB-483E-B8E7-D04039DBA80D}" dt="2021-05-24T16:09:26.816" v="14835" actId="790"/>
          <ac:spMkLst>
            <pc:docMk/>
            <pc:sldMk cId="3781687056" sldId="10437"/>
            <ac:spMk id="214" creationId="{BE823D1E-AA34-4C5D-A606-17F7CE404F90}"/>
          </ac:spMkLst>
        </pc:spChg>
        <pc:spChg chg="mod ord">
          <ac:chgData name="Sarah GAUVARD" userId="4c03e191-e154-482a-88b2-11de19eac96c" providerId="ADAL" clId="{8245CC27-65FB-483E-B8E7-D04039DBA80D}" dt="2021-05-24T16:09:26.816" v="14836" actId="790"/>
          <ac:spMkLst>
            <pc:docMk/>
            <pc:sldMk cId="3781687056" sldId="10437"/>
            <ac:spMk id="215" creationId="{B62FC16B-4040-4AF6-B5CC-BF978E5158FB}"/>
          </ac:spMkLst>
        </pc:spChg>
        <pc:spChg chg="mod ord">
          <ac:chgData name="Sarah GAUVARD" userId="4c03e191-e154-482a-88b2-11de19eac96c" providerId="ADAL" clId="{8245CC27-65FB-483E-B8E7-D04039DBA80D}" dt="2021-05-24T16:09:26.816" v="14837" actId="790"/>
          <ac:spMkLst>
            <pc:docMk/>
            <pc:sldMk cId="3781687056" sldId="10437"/>
            <ac:spMk id="216" creationId="{9C9C8A51-74C6-4591-B716-ABF7D96667F0}"/>
          </ac:spMkLst>
        </pc:spChg>
        <pc:spChg chg="mod">
          <ac:chgData name="Sarah GAUVARD" userId="4c03e191-e154-482a-88b2-11de19eac96c" providerId="ADAL" clId="{8245CC27-65FB-483E-B8E7-D04039DBA80D}" dt="2021-05-24T16:09:26.816" v="14838" actId="790"/>
          <ac:spMkLst>
            <pc:docMk/>
            <pc:sldMk cId="3781687056" sldId="10437"/>
            <ac:spMk id="228" creationId="{C5E41BFB-BA58-4B75-B52C-2FED687832D0}"/>
          </ac:spMkLst>
        </pc:spChg>
        <pc:spChg chg="mod ord">
          <ac:chgData name="Sarah GAUVARD" userId="4c03e191-e154-482a-88b2-11de19eac96c" providerId="ADAL" clId="{8245CC27-65FB-483E-B8E7-D04039DBA80D}" dt="2021-05-24T16:09:26.824" v="14839" actId="790"/>
          <ac:spMkLst>
            <pc:docMk/>
            <pc:sldMk cId="3781687056" sldId="10437"/>
            <ac:spMk id="229" creationId="{CBB51DE1-A100-48E7-817E-76CD6A70193B}"/>
          </ac:spMkLst>
        </pc:spChg>
        <pc:spChg chg="mod ord">
          <ac:chgData name="Sarah GAUVARD" userId="4c03e191-e154-482a-88b2-11de19eac96c" providerId="ADAL" clId="{8245CC27-65FB-483E-B8E7-D04039DBA80D}" dt="2021-05-24T09:49:15.960" v="574"/>
          <ac:spMkLst>
            <pc:docMk/>
            <pc:sldMk cId="3781687056" sldId="10437"/>
            <ac:spMk id="230" creationId="{372A6E88-946E-4A1B-91C5-F0C2849F1723}"/>
          </ac:spMkLst>
        </pc:spChg>
        <pc:spChg chg="add mod ord">
          <ac:chgData name="Sarah GAUVARD" userId="4c03e191-e154-482a-88b2-11de19eac96c" providerId="ADAL" clId="{8245CC27-65FB-483E-B8E7-D04039DBA80D}" dt="2021-05-24T09:49:15.963" v="588"/>
          <ac:spMkLst>
            <pc:docMk/>
            <pc:sldMk cId="3781687056" sldId="10437"/>
            <ac:spMk id="231" creationId="{D33EE3AC-6A01-4797-B09B-10EDC4BA1F44}"/>
          </ac:spMkLst>
        </pc:spChg>
        <pc:spChg chg="add mod ord">
          <ac:chgData name="Sarah GAUVARD" userId="4c03e191-e154-482a-88b2-11de19eac96c" providerId="ADAL" clId="{8245CC27-65FB-483E-B8E7-D04039DBA80D}" dt="2021-05-24T09:49:15.964" v="590"/>
          <ac:spMkLst>
            <pc:docMk/>
            <pc:sldMk cId="3781687056" sldId="10437"/>
            <ac:spMk id="232" creationId="{97EAC7C7-A043-4FF4-BD0C-A6F254269024}"/>
          </ac:spMkLst>
        </pc:spChg>
        <pc:spChg chg="mod">
          <ac:chgData name="Sarah GAUVARD" userId="4c03e191-e154-482a-88b2-11de19eac96c" providerId="ADAL" clId="{8245CC27-65FB-483E-B8E7-D04039DBA80D}" dt="2021-05-24T16:09:26.836" v="14846" actId="790"/>
          <ac:spMkLst>
            <pc:docMk/>
            <pc:sldMk cId="3781687056" sldId="10437"/>
            <ac:spMk id="237" creationId="{3BCC8D0B-8609-4886-88F3-BE2664FA764C}"/>
          </ac:spMkLst>
        </pc:spChg>
        <pc:spChg chg="mod">
          <ac:chgData name="Sarah GAUVARD" userId="4c03e191-e154-482a-88b2-11de19eac96c" providerId="ADAL" clId="{8245CC27-65FB-483E-B8E7-D04039DBA80D}" dt="2021-05-24T16:09:26.836" v="14847" actId="790"/>
          <ac:spMkLst>
            <pc:docMk/>
            <pc:sldMk cId="3781687056" sldId="10437"/>
            <ac:spMk id="238" creationId="{F826A47F-757C-409C-BEA6-01FCBF8A383B}"/>
          </ac:spMkLst>
        </pc:spChg>
        <pc:spChg chg="mod">
          <ac:chgData name="Sarah GAUVARD" userId="4c03e191-e154-482a-88b2-11de19eac96c" providerId="ADAL" clId="{8245CC27-65FB-483E-B8E7-D04039DBA80D}" dt="2021-05-24T16:09:26.836" v="14848" actId="790"/>
          <ac:spMkLst>
            <pc:docMk/>
            <pc:sldMk cId="3781687056" sldId="10437"/>
            <ac:spMk id="240" creationId="{13739CED-36E7-4042-8E31-7FC1FA8FC488}"/>
          </ac:spMkLst>
        </pc:spChg>
        <pc:spChg chg="mod">
          <ac:chgData name="Sarah GAUVARD" userId="4c03e191-e154-482a-88b2-11de19eac96c" providerId="ADAL" clId="{8245CC27-65FB-483E-B8E7-D04039DBA80D}" dt="2021-05-24T16:09:26.836" v="14849" actId="790"/>
          <ac:spMkLst>
            <pc:docMk/>
            <pc:sldMk cId="3781687056" sldId="10437"/>
            <ac:spMk id="241" creationId="{2A39AAA1-5B67-4357-939C-F53D8008D2DF}"/>
          </ac:spMkLst>
        </pc:spChg>
        <pc:spChg chg="mod">
          <ac:chgData name="Sarah GAUVARD" userId="4c03e191-e154-482a-88b2-11de19eac96c" providerId="ADAL" clId="{8245CC27-65FB-483E-B8E7-D04039DBA80D}" dt="2021-05-24T16:09:26.836" v="14850" actId="790"/>
          <ac:spMkLst>
            <pc:docMk/>
            <pc:sldMk cId="3781687056" sldId="10437"/>
            <ac:spMk id="242" creationId="{4BEFCB21-CC2C-4D05-B885-30FAE32863F1}"/>
          </ac:spMkLst>
        </pc:spChg>
        <pc:spChg chg="mod">
          <ac:chgData name="Sarah GAUVARD" userId="4c03e191-e154-482a-88b2-11de19eac96c" providerId="ADAL" clId="{8245CC27-65FB-483E-B8E7-D04039DBA80D}" dt="2021-05-24T16:09:26.836" v="14851" actId="790"/>
          <ac:spMkLst>
            <pc:docMk/>
            <pc:sldMk cId="3781687056" sldId="10437"/>
            <ac:spMk id="243" creationId="{BD9C4DEC-2369-4827-9F9A-3E9E4EEE84C0}"/>
          </ac:spMkLst>
        </pc:spChg>
        <pc:spChg chg="mod">
          <ac:chgData name="Sarah GAUVARD" userId="4c03e191-e154-482a-88b2-11de19eac96c" providerId="ADAL" clId="{8245CC27-65FB-483E-B8E7-D04039DBA80D}" dt="2021-05-24T16:09:26.836" v="14852" actId="790"/>
          <ac:spMkLst>
            <pc:docMk/>
            <pc:sldMk cId="3781687056" sldId="10437"/>
            <ac:spMk id="244" creationId="{BCCD53EC-6927-442A-BAAE-7B54EA6A2A57}"/>
          </ac:spMkLst>
        </pc:spChg>
        <pc:spChg chg="mod">
          <ac:chgData name="Sarah GAUVARD" userId="4c03e191-e154-482a-88b2-11de19eac96c" providerId="ADAL" clId="{8245CC27-65FB-483E-B8E7-D04039DBA80D}" dt="2021-05-24T16:09:26.836" v="14853" actId="790"/>
          <ac:spMkLst>
            <pc:docMk/>
            <pc:sldMk cId="3781687056" sldId="10437"/>
            <ac:spMk id="245" creationId="{12C8EFD0-71B9-4983-9923-5CE05799F1EF}"/>
          </ac:spMkLst>
        </pc:spChg>
        <pc:grpChg chg="mod ord">
          <ac:chgData name="Sarah GAUVARD" userId="4c03e191-e154-482a-88b2-11de19eac96c" providerId="ADAL" clId="{8245CC27-65FB-483E-B8E7-D04039DBA80D}" dt="2021-05-24T09:49:15.897" v="402"/>
          <ac:grpSpMkLst>
            <pc:docMk/>
            <pc:sldMk cId="3781687056" sldId="10437"/>
            <ac:grpSpMk id="49" creationId="{9FA9453A-89CB-43CD-9149-24125A34D943}"/>
          </ac:grpSpMkLst>
        </pc:grpChg>
        <pc:grpChg chg="mod ord">
          <ac:chgData name="Sarah GAUVARD" userId="4c03e191-e154-482a-88b2-11de19eac96c" providerId="ADAL" clId="{8245CC27-65FB-483E-B8E7-D04039DBA80D}" dt="2021-05-24T09:49:15.899" v="410"/>
          <ac:grpSpMkLst>
            <pc:docMk/>
            <pc:sldMk cId="3781687056" sldId="10437"/>
            <ac:grpSpMk id="61" creationId="{CF037D44-CACE-40C1-8AF2-36281C90BEC7}"/>
          </ac:grpSpMkLst>
        </pc:grpChg>
        <pc:grpChg chg="mod ord">
          <ac:chgData name="Sarah GAUVARD" userId="4c03e191-e154-482a-88b2-11de19eac96c" providerId="ADAL" clId="{8245CC27-65FB-483E-B8E7-D04039DBA80D}" dt="2021-05-24T09:49:15.907" v="426"/>
          <ac:grpSpMkLst>
            <pc:docMk/>
            <pc:sldMk cId="3781687056" sldId="10437"/>
            <ac:grpSpMk id="104" creationId="{4A1FB31B-9720-43CB-AE60-5541DADFB35A}"/>
          </ac:grpSpMkLst>
        </pc:grpChg>
        <pc:grpChg chg="mod ord">
          <ac:chgData name="Sarah GAUVARD" userId="4c03e191-e154-482a-88b2-11de19eac96c" providerId="ADAL" clId="{8245CC27-65FB-483E-B8E7-D04039DBA80D}" dt="2021-05-24T09:49:15.910" v="434"/>
          <ac:grpSpMkLst>
            <pc:docMk/>
            <pc:sldMk cId="3781687056" sldId="10437"/>
            <ac:grpSpMk id="112" creationId="{BCAF6075-5A0A-426C-BE07-730C814D8929}"/>
          </ac:grpSpMkLst>
        </pc:grpChg>
        <pc:grpChg chg="mod ord">
          <ac:chgData name="Sarah GAUVARD" userId="4c03e191-e154-482a-88b2-11de19eac96c" providerId="ADAL" clId="{8245CC27-65FB-483E-B8E7-D04039DBA80D}" dt="2021-05-24T09:49:15.911" v="436"/>
          <ac:grpSpMkLst>
            <pc:docMk/>
            <pc:sldMk cId="3781687056" sldId="10437"/>
            <ac:grpSpMk id="120" creationId="{98F4A28E-2E49-4796-8789-4D7AB3B6CFD2}"/>
          </ac:grpSpMkLst>
        </pc:grpChg>
        <pc:grpChg chg="mod ord">
          <ac:chgData name="Sarah GAUVARD" userId="4c03e191-e154-482a-88b2-11de19eac96c" providerId="ADAL" clId="{8245CC27-65FB-483E-B8E7-D04039DBA80D}" dt="2021-05-24T09:49:15.911" v="438"/>
          <ac:grpSpMkLst>
            <pc:docMk/>
            <pc:sldMk cId="3781687056" sldId="10437"/>
            <ac:grpSpMk id="125" creationId="{452908AA-902F-4A7E-AB73-9F52D786B6C4}"/>
          </ac:grpSpMkLst>
        </pc:grpChg>
        <pc:grpChg chg="mod ord">
          <ac:chgData name="Sarah GAUVARD" userId="4c03e191-e154-482a-88b2-11de19eac96c" providerId="ADAL" clId="{8245CC27-65FB-483E-B8E7-D04039DBA80D}" dt="2021-05-24T09:49:15.960" v="576"/>
          <ac:grpSpMkLst>
            <pc:docMk/>
            <pc:sldMk cId="3781687056" sldId="10437"/>
            <ac:grpSpMk id="148" creationId="{A45CC702-29E9-42FD-987C-424344FC61DA}"/>
          </ac:grpSpMkLst>
        </pc:grpChg>
        <pc:grpChg chg="mod ord">
          <ac:chgData name="Sarah GAUVARD" userId="4c03e191-e154-482a-88b2-11de19eac96c" providerId="ADAL" clId="{8245CC27-65FB-483E-B8E7-D04039DBA80D}" dt="2021-05-24T09:49:15.951" v="551"/>
          <ac:grpSpMkLst>
            <pc:docMk/>
            <pc:sldMk cId="3781687056" sldId="10437"/>
            <ac:grpSpMk id="205" creationId="{215F3318-CF1F-4F50-A0F5-7132899C0BF0}"/>
          </ac:grpSpMkLst>
        </pc:grpChg>
        <pc:grpChg chg="mod">
          <ac:chgData name="Sarah GAUVARD" userId="4c03e191-e154-482a-88b2-11de19eac96c" providerId="ADAL" clId="{8245CC27-65FB-483E-B8E7-D04039DBA80D}" dt="2021-05-24T09:49:15.957" v="566"/>
          <ac:grpSpMkLst>
            <pc:docMk/>
            <pc:sldMk cId="3781687056" sldId="10437"/>
            <ac:grpSpMk id="217" creationId="{2DA9897F-FC7A-4D48-AE60-71C4207C2B24}"/>
          </ac:grpSpMkLst>
        </pc:grpChg>
        <pc:grpChg chg="mod">
          <ac:chgData name="Sarah GAUVARD" userId="4c03e191-e154-482a-88b2-11de19eac96c" providerId="ADAL" clId="{8245CC27-65FB-483E-B8E7-D04039DBA80D}" dt="2021-05-24T09:49:15.957" v="567"/>
          <ac:grpSpMkLst>
            <pc:docMk/>
            <pc:sldMk cId="3781687056" sldId="10437"/>
            <ac:grpSpMk id="220" creationId="{60C270A4-4F70-4D44-9130-58E087F2547A}"/>
          </ac:grpSpMkLst>
        </pc:grpChg>
        <pc:grpChg chg="mod">
          <ac:chgData name="Sarah GAUVARD" userId="4c03e191-e154-482a-88b2-11de19eac96c" providerId="ADAL" clId="{8245CC27-65FB-483E-B8E7-D04039DBA80D}" dt="2021-05-24T09:49:15.958" v="568"/>
          <ac:grpSpMkLst>
            <pc:docMk/>
            <pc:sldMk cId="3781687056" sldId="10437"/>
            <ac:grpSpMk id="223" creationId="{00C63843-1C3F-4D88-ABCE-CBEBDCDA08F0}"/>
          </ac:grpSpMkLst>
        </pc:grpChg>
        <pc:grpChg chg="mod ord">
          <ac:chgData name="Sarah GAUVARD" userId="4c03e191-e154-482a-88b2-11de19eac96c" providerId="ADAL" clId="{8245CC27-65FB-483E-B8E7-D04039DBA80D}" dt="2021-05-24T09:49:15.959" v="570"/>
          <ac:grpSpMkLst>
            <pc:docMk/>
            <pc:sldMk cId="3781687056" sldId="10437"/>
            <ac:grpSpMk id="226" creationId="{21E52D82-B063-424B-A4AF-C8BE8CAE0492}"/>
          </ac:grpSpMkLst>
        </pc:grpChg>
        <pc:graphicFrameChg chg="mod">
          <ac:chgData name="Sarah GAUVARD" userId="4c03e191-e154-482a-88b2-11de19eac96c" providerId="ADAL" clId="{8245CC27-65FB-483E-B8E7-D04039DBA80D}" dt="2021-05-24T15:34:46.245" v="11967"/>
          <ac:graphicFrameMkLst>
            <pc:docMk/>
            <pc:sldMk cId="3781687056" sldId="10437"/>
            <ac:graphicFrameMk id="5" creationId="{58F89C0C-E0E8-4876-A98A-438F18CAD392}"/>
          </ac:graphicFrameMkLst>
        </pc:graphicFrameChg>
        <pc:graphicFrameChg chg="mod">
          <ac:chgData name="Sarah GAUVARD" userId="4c03e191-e154-482a-88b2-11de19eac96c" providerId="ADAL" clId="{8245CC27-65FB-483E-B8E7-D04039DBA80D}" dt="2021-05-24T09:49:15.891" v="378"/>
          <ac:graphicFrameMkLst>
            <pc:docMk/>
            <pc:sldMk cId="3781687056" sldId="10437"/>
            <ac:graphicFrameMk id="13" creationId="{DA5795B9-898C-4C1A-A701-D345F5549D94}"/>
          </ac:graphicFrameMkLst>
        </pc:graphicFrameChg>
        <pc:picChg chg="mod ord">
          <ac:chgData name="Sarah GAUVARD" userId="4c03e191-e154-482a-88b2-11de19eac96c" providerId="ADAL" clId="{8245CC27-65FB-483E-B8E7-D04039DBA80D}" dt="2021-05-24T09:49:15.890" v="375"/>
          <ac:picMkLst>
            <pc:docMk/>
            <pc:sldMk cId="3781687056" sldId="10437"/>
            <ac:picMk id="8" creationId="{666E72B1-D90F-4F97-9FAF-645EACF8EA70}"/>
          </ac:picMkLst>
        </pc:picChg>
        <pc:picChg chg="mod ord">
          <ac:chgData name="Sarah GAUVARD" userId="4c03e191-e154-482a-88b2-11de19eac96c" providerId="ADAL" clId="{8245CC27-65FB-483E-B8E7-D04039DBA80D}" dt="2021-05-24T09:49:15.896" v="400"/>
          <ac:picMkLst>
            <pc:docMk/>
            <pc:sldMk cId="3781687056" sldId="10437"/>
            <ac:picMk id="48" creationId="{F390DF62-7306-40AD-88B3-1423869F0A5B}"/>
          </ac:picMkLst>
        </pc:picChg>
        <pc:picChg chg="mod ord">
          <ac:chgData name="Sarah GAUVARD" userId="4c03e191-e154-482a-88b2-11de19eac96c" providerId="ADAL" clId="{8245CC27-65FB-483E-B8E7-D04039DBA80D}" dt="2021-05-24T09:49:15.898" v="404"/>
          <ac:picMkLst>
            <pc:docMk/>
            <pc:sldMk cId="3781687056" sldId="10437"/>
            <ac:picMk id="58" creationId="{61C795B8-8F25-4455-B9EB-E19190E6F851}"/>
          </ac:picMkLst>
        </pc:picChg>
        <pc:picChg chg="mod ord">
          <ac:chgData name="Sarah GAUVARD" userId="4c03e191-e154-482a-88b2-11de19eac96c" providerId="ADAL" clId="{8245CC27-65FB-483E-B8E7-D04039DBA80D}" dt="2021-05-24T09:49:15.898" v="406"/>
          <ac:picMkLst>
            <pc:docMk/>
            <pc:sldMk cId="3781687056" sldId="10437"/>
            <ac:picMk id="59" creationId="{7716B71C-C240-49D0-B2AC-B29C3CE7A9EB}"/>
          </ac:picMkLst>
        </pc:picChg>
        <pc:picChg chg="mod ord">
          <ac:chgData name="Sarah GAUVARD" userId="4c03e191-e154-482a-88b2-11de19eac96c" providerId="ADAL" clId="{8245CC27-65FB-483E-B8E7-D04039DBA80D}" dt="2021-05-24T09:49:15.899" v="408"/>
          <ac:picMkLst>
            <pc:docMk/>
            <pc:sldMk cId="3781687056" sldId="10437"/>
            <ac:picMk id="60" creationId="{1C0F3B35-A6B7-4C3F-BC1E-AEFA39D25F4B}"/>
          </ac:picMkLst>
        </pc:picChg>
        <pc:picChg chg="mod ord">
          <ac:chgData name="Sarah GAUVARD" userId="4c03e191-e154-482a-88b2-11de19eac96c" providerId="ADAL" clId="{8245CC27-65FB-483E-B8E7-D04039DBA80D}" dt="2021-05-24T09:49:15.905" v="420"/>
          <ac:picMkLst>
            <pc:docMk/>
            <pc:sldMk cId="3781687056" sldId="10437"/>
            <ac:picMk id="101" creationId="{1907BEC5-38AF-4731-98CF-C6F99205870B}"/>
          </ac:picMkLst>
        </pc:picChg>
        <pc:picChg chg="mod ord">
          <ac:chgData name="Sarah GAUVARD" userId="4c03e191-e154-482a-88b2-11de19eac96c" providerId="ADAL" clId="{8245CC27-65FB-483E-B8E7-D04039DBA80D}" dt="2021-05-24T09:49:15.906" v="422"/>
          <ac:picMkLst>
            <pc:docMk/>
            <pc:sldMk cId="3781687056" sldId="10437"/>
            <ac:picMk id="102" creationId="{C2BA409A-BD92-4FF6-A8D1-C4E08C5E9844}"/>
          </ac:picMkLst>
        </pc:picChg>
        <pc:picChg chg="mod ord">
          <ac:chgData name="Sarah GAUVARD" userId="4c03e191-e154-482a-88b2-11de19eac96c" providerId="ADAL" clId="{8245CC27-65FB-483E-B8E7-D04039DBA80D}" dt="2021-05-24T09:49:15.906" v="424"/>
          <ac:picMkLst>
            <pc:docMk/>
            <pc:sldMk cId="3781687056" sldId="10437"/>
            <ac:picMk id="103" creationId="{08B68E32-6CC5-48AE-847D-EDF423AAE264}"/>
          </ac:picMkLst>
        </pc:picChg>
        <pc:picChg chg="mod ord">
          <ac:chgData name="Sarah GAUVARD" userId="4c03e191-e154-482a-88b2-11de19eac96c" providerId="ADAL" clId="{8245CC27-65FB-483E-B8E7-D04039DBA80D}" dt="2021-05-24T09:49:15.908" v="428"/>
          <ac:picMkLst>
            <pc:docMk/>
            <pc:sldMk cId="3781687056" sldId="10437"/>
            <ac:picMk id="109" creationId="{A2699CDE-57F5-49C6-8121-8DC37371DDEA}"/>
          </ac:picMkLst>
        </pc:picChg>
        <pc:picChg chg="mod ord">
          <ac:chgData name="Sarah GAUVARD" userId="4c03e191-e154-482a-88b2-11de19eac96c" providerId="ADAL" clId="{8245CC27-65FB-483E-B8E7-D04039DBA80D}" dt="2021-05-24T09:49:15.909" v="430"/>
          <ac:picMkLst>
            <pc:docMk/>
            <pc:sldMk cId="3781687056" sldId="10437"/>
            <ac:picMk id="110" creationId="{EACA0370-F359-40ED-A8B0-E41ABBDFBFD3}"/>
          </ac:picMkLst>
        </pc:picChg>
        <pc:picChg chg="mod">
          <ac:chgData name="Sarah GAUVARD" userId="4c03e191-e154-482a-88b2-11de19eac96c" providerId="ADAL" clId="{8245CC27-65FB-483E-B8E7-D04039DBA80D}" dt="2021-05-24T09:49:15.912" v="439"/>
          <ac:picMkLst>
            <pc:docMk/>
            <pc:sldMk cId="3781687056" sldId="10437"/>
            <ac:picMk id="128" creationId="{FD43D956-7F15-4C6E-A0DE-30024A1A0CEF}"/>
          </ac:picMkLst>
        </pc:picChg>
        <pc:picChg chg="mod ord">
          <ac:chgData name="Sarah GAUVARD" userId="4c03e191-e154-482a-88b2-11de19eac96c" providerId="ADAL" clId="{8245CC27-65FB-483E-B8E7-D04039DBA80D}" dt="2021-05-24T09:49:15.937" v="507"/>
          <ac:picMkLst>
            <pc:docMk/>
            <pc:sldMk cId="3781687056" sldId="10437"/>
            <ac:picMk id="178" creationId="{CFA1B83C-B2C6-4B1D-900A-1D46370EB1C0}"/>
          </ac:picMkLst>
        </pc:picChg>
        <pc:picChg chg="mod ord">
          <ac:chgData name="Sarah GAUVARD" userId="4c03e191-e154-482a-88b2-11de19eac96c" providerId="ADAL" clId="{8245CC27-65FB-483E-B8E7-D04039DBA80D}" dt="2021-05-24T09:49:15.938" v="509"/>
          <ac:picMkLst>
            <pc:docMk/>
            <pc:sldMk cId="3781687056" sldId="10437"/>
            <ac:picMk id="179" creationId="{6523B893-D49E-4120-ADE3-34969903A352}"/>
          </ac:picMkLst>
        </pc:picChg>
        <pc:picChg chg="mod ord">
          <ac:chgData name="Sarah GAUVARD" userId="4c03e191-e154-482a-88b2-11de19eac96c" providerId="ADAL" clId="{8245CC27-65FB-483E-B8E7-D04039DBA80D}" dt="2021-05-24T09:49:15.939" v="511"/>
          <ac:picMkLst>
            <pc:docMk/>
            <pc:sldMk cId="3781687056" sldId="10437"/>
            <ac:picMk id="180" creationId="{C12BF57E-C00E-406B-8E6A-8E384CE705BD}"/>
          </ac:picMkLst>
        </pc:picChg>
        <pc:picChg chg="mod ord">
          <ac:chgData name="Sarah GAUVARD" userId="4c03e191-e154-482a-88b2-11de19eac96c" providerId="ADAL" clId="{8245CC27-65FB-483E-B8E7-D04039DBA80D}" dt="2021-05-24T09:49:15.939" v="513"/>
          <ac:picMkLst>
            <pc:docMk/>
            <pc:sldMk cId="3781687056" sldId="10437"/>
            <ac:picMk id="181" creationId="{1256FA07-658A-4C04-952C-F3CA36CA4BF8}"/>
          </ac:picMkLst>
        </pc:picChg>
        <pc:picChg chg="mod ord">
          <ac:chgData name="Sarah GAUVARD" userId="4c03e191-e154-482a-88b2-11de19eac96c" providerId="ADAL" clId="{8245CC27-65FB-483E-B8E7-D04039DBA80D}" dt="2021-05-24T09:49:15.940" v="515"/>
          <ac:picMkLst>
            <pc:docMk/>
            <pc:sldMk cId="3781687056" sldId="10437"/>
            <ac:picMk id="182" creationId="{DF485F4D-B144-4BD6-998E-B2095A225123}"/>
          </ac:picMkLst>
        </pc:picChg>
        <pc:picChg chg="mod ord">
          <ac:chgData name="Sarah GAUVARD" userId="4c03e191-e154-482a-88b2-11de19eac96c" providerId="ADAL" clId="{8245CC27-65FB-483E-B8E7-D04039DBA80D}" dt="2021-05-24T09:49:15.941" v="521"/>
          <ac:picMkLst>
            <pc:docMk/>
            <pc:sldMk cId="3781687056" sldId="10437"/>
            <ac:picMk id="185" creationId="{08AD47D6-31A1-4605-8942-B21036D8E1C0}"/>
          </ac:picMkLst>
        </pc:picChg>
        <pc:picChg chg="mod ord">
          <ac:chgData name="Sarah GAUVARD" userId="4c03e191-e154-482a-88b2-11de19eac96c" providerId="ADAL" clId="{8245CC27-65FB-483E-B8E7-D04039DBA80D}" dt="2021-05-24T09:49:15.942" v="523"/>
          <ac:picMkLst>
            <pc:docMk/>
            <pc:sldMk cId="3781687056" sldId="10437"/>
            <ac:picMk id="186" creationId="{ECB5203F-6D4A-4FEE-9394-3CF3F86734AB}"/>
          </ac:picMkLst>
        </pc:picChg>
        <pc:picChg chg="mod ord">
          <ac:chgData name="Sarah GAUVARD" userId="4c03e191-e154-482a-88b2-11de19eac96c" providerId="ADAL" clId="{8245CC27-65FB-483E-B8E7-D04039DBA80D}" dt="2021-05-24T09:49:15.943" v="525"/>
          <ac:picMkLst>
            <pc:docMk/>
            <pc:sldMk cId="3781687056" sldId="10437"/>
            <ac:picMk id="187" creationId="{6B0BE353-35DD-407F-BEC6-294E6077B590}"/>
          </ac:picMkLst>
        </pc:picChg>
        <pc:picChg chg="mod ord">
          <ac:chgData name="Sarah GAUVARD" userId="4c03e191-e154-482a-88b2-11de19eac96c" providerId="ADAL" clId="{8245CC27-65FB-483E-B8E7-D04039DBA80D}" dt="2021-05-24T09:49:15.943" v="527"/>
          <ac:picMkLst>
            <pc:docMk/>
            <pc:sldMk cId="3781687056" sldId="10437"/>
            <ac:picMk id="188" creationId="{5FA28EE2-C979-4388-9ED2-DA6542A7AF67}"/>
          </ac:picMkLst>
        </pc:picChg>
        <pc:cxnChg chg="mod ord">
          <ac:chgData name="Sarah GAUVARD" userId="4c03e191-e154-482a-88b2-11de19eac96c" providerId="ADAL" clId="{8245CC27-65FB-483E-B8E7-D04039DBA80D}" dt="2021-05-24T09:49:15.891" v="380"/>
          <ac:cxnSpMkLst>
            <pc:docMk/>
            <pc:sldMk cId="3781687056" sldId="10437"/>
            <ac:cxnSpMk id="24" creationId="{328D9AA7-F8DB-470E-A57C-08ADB006C361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5T15:25:43.107" v="27834"/>
        <pc:sldMkLst>
          <pc:docMk/>
          <pc:sldMk cId="203190409" sldId="10438"/>
        </pc:sldMkLst>
        <pc:spChg chg="mod">
          <ac:chgData name="Sarah GAUVARD" userId="4c03e191-e154-482a-88b2-11de19eac96c" providerId="ADAL" clId="{8245CC27-65FB-483E-B8E7-D04039DBA80D}" dt="2021-05-25T15:25:43.051" v="27792" actId="948"/>
          <ac:spMkLst>
            <pc:docMk/>
            <pc:sldMk cId="203190409" sldId="10438"/>
            <ac:spMk id="2" creationId="{1B8B41D0-3B5A-41F2-BD36-274CA5605C3A}"/>
          </ac:spMkLst>
        </pc:spChg>
        <pc:spChg chg="mod">
          <ac:chgData name="Sarah GAUVARD" userId="4c03e191-e154-482a-88b2-11de19eac96c" providerId="ADAL" clId="{8245CC27-65FB-483E-B8E7-D04039DBA80D}" dt="2021-05-24T16:09:28.300" v="16336" actId="790"/>
          <ac:spMkLst>
            <pc:docMk/>
            <pc:sldMk cId="203190409" sldId="10438"/>
            <ac:spMk id="3" creationId="{F2961EB7-FC0B-4AEF-8BF3-7969101BE0A7}"/>
          </ac:spMkLst>
        </pc:spChg>
        <pc:spChg chg="mod">
          <ac:chgData name="Sarah GAUVARD" userId="4c03e191-e154-482a-88b2-11de19eac96c" providerId="ADAL" clId="{8245CC27-65FB-483E-B8E7-D04039DBA80D}" dt="2021-05-24T16:09:28.301" v="16337" actId="790"/>
          <ac:spMkLst>
            <pc:docMk/>
            <pc:sldMk cId="203190409" sldId="10438"/>
            <ac:spMk id="4" creationId="{43E0D5C7-0986-42B1-8E8C-7B58D0CBD773}"/>
          </ac:spMkLst>
        </pc:spChg>
        <pc:spChg chg="mod">
          <ac:chgData name="Sarah GAUVARD" userId="4c03e191-e154-482a-88b2-11de19eac96c" providerId="ADAL" clId="{8245CC27-65FB-483E-B8E7-D04039DBA80D}" dt="2021-05-24T16:09:28.309" v="16345" actId="790"/>
          <ac:spMkLst>
            <pc:docMk/>
            <pc:sldMk cId="203190409" sldId="10438"/>
            <ac:spMk id="5" creationId="{32E0BE14-B2E8-4A96-ADE4-0BE247A47D79}"/>
          </ac:spMkLst>
        </pc:spChg>
        <pc:spChg chg="mod">
          <ac:chgData name="Sarah GAUVARD" userId="4c03e191-e154-482a-88b2-11de19eac96c" providerId="ADAL" clId="{8245CC27-65FB-483E-B8E7-D04039DBA80D}" dt="2021-05-24T16:09:28.310" v="16346" actId="790"/>
          <ac:spMkLst>
            <pc:docMk/>
            <pc:sldMk cId="203190409" sldId="10438"/>
            <ac:spMk id="6" creationId="{8AEA1672-C0F9-4DB2-A6F4-76831980F749}"/>
          </ac:spMkLst>
        </pc:spChg>
        <pc:spChg chg="mod">
          <ac:chgData name="Sarah GAUVARD" userId="4c03e191-e154-482a-88b2-11de19eac96c" providerId="ADAL" clId="{8245CC27-65FB-483E-B8E7-D04039DBA80D}" dt="2021-05-24T16:09:28.304" v="16342" actId="790"/>
          <ac:spMkLst>
            <pc:docMk/>
            <pc:sldMk cId="203190409" sldId="10438"/>
            <ac:spMk id="7" creationId="{064EAC16-1947-4EB5-B699-F79BA984701D}"/>
          </ac:spMkLst>
        </pc:spChg>
        <pc:spChg chg="mod">
          <ac:chgData name="Sarah GAUVARD" userId="4c03e191-e154-482a-88b2-11de19eac96c" providerId="ADAL" clId="{8245CC27-65FB-483E-B8E7-D04039DBA80D}" dt="2021-05-24T16:09:28.305" v="16343" actId="790"/>
          <ac:spMkLst>
            <pc:docMk/>
            <pc:sldMk cId="203190409" sldId="10438"/>
            <ac:spMk id="8" creationId="{17235FB0-B480-4F11-BAB2-ECCE97A0AE35}"/>
          </ac:spMkLst>
        </pc:spChg>
        <pc:spChg chg="mod">
          <ac:chgData name="Sarah GAUVARD" userId="4c03e191-e154-482a-88b2-11de19eac96c" providerId="ADAL" clId="{8245CC27-65FB-483E-B8E7-D04039DBA80D}" dt="2021-05-24T16:09:28.311" v="16347" actId="790"/>
          <ac:spMkLst>
            <pc:docMk/>
            <pc:sldMk cId="203190409" sldId="10438"/>
            <ac:spMk id="9" creationId="{E57AC7D2-FC03-4826-B2B4-B86B10C8A912}"/>
          </ac:spMkLst>
        </pc:spChg>
        <pc:spChg chg="mod">
          <ac:chgData name="Sarah GAUVARD" userId="4c03e191-e154-482a-88b2-11de19eac96c" providerId="ADAL" clId="{8245CC27-65FB-483E-B8E7-D04039DBA80D}" dt="2021-05-24T16:09:28.329" v="16361" actId="790"/>
          <ac:spMkLst>
            <pc:docMk/>
            <pc:sldMk cId="203190409" sldId="10438"/>
            <ac:spMk id="10" creationId="{EC4BC8E5-CDE6-4BDA-8B1B-E89284306AC8}"/>
          </ac:spMkLst>
        </pc:spChg>
        <pc:spChg chg="add del mod modVis">
          <ac:chgData name="Sarah GAUVARD" userId="4c03e191-e154-482a-88b2-11de19eac96c" providerId="ADAL" clId="{8245CC27-65FB-483E-B8E7-D04039DBA80D}" dt="2021-05-25T15:25:40.457" v="27788"/>
          <ac:spMkLst>
            <pc:docMk/>
            <pc:sldMk cId="203190409" sldId="10438"/>
            <ac:spMk id="11" creationId="{37F05083-DD40-41A0-80F3-76DF48958C58}"/>
          </ac:spMkLst>
        </pc:spChg>
        <pc:spChg chg="mod">
          <ac:chgData name="Sarah GAUVARD" userId="4c03e191-e154-482a-88b2-11de19eac96c" providerId="ADAL" clId="{8245CC27-65FB-483E-B8E7-D04039DBA80D}" dt="2021-05-24T16:09:28.303" v="16340" actId="790"/>
          <ac:spMkLst>
            <pc:docMk/>
            <pc:sldMk cId="203190409" sldId="10438"/>
            <ac:spMk id="12" creationId="{06146879-726F-492D-B854-B9E140208671}"/>
          </ac:spMkLst>
        </pc:spChg>
        <pc:spChg chg="mod">
          <ac:chgData name="Sarah GAUVARD" userId="4c03e191-e154-482a-88b2-11de19eac96c" providerId="ADAL" clId="{8245CC27-65FB-483E-B8E7-D04039DBA80D}" dt="2021-05-24T16:09:28.331" v="16367" actId="790"/>
          <ac:spMkLst>
            <pc:docMk/>
            <pc:sldMk cId="203190409" sldId="10438"/>
            <ac:spMk id="13" creationId="{E9F049B4-9F79-4754-AA4A-B557B2A6D3C9}"/>
          </ac:spMkLst>
        </pc:spChg>
        <pc:spChg chg="add del mod modVis">
          <ac:chgData name="Sarah GAUVARD" userId="4c03e191-e154-482a-88b2-11de19eac96c" providerId="ADAL" clId="{8245CC27-65FB-483E-B8E7-D04039DBA80D}" dt="2021-05-25T15:25:43.106" v="27832"/>
          <ac:spMkLst>
            <pc:docMk/>
            <pc:sldMk cId="203190409" sldId="10438"/>
            <ac:spMk id="15" creationId="{8FA1B19D-57A6-4F18-AAA9-1AB4F4A1719B}"/>
          </ac:spMkLst>
        </pc:spChg>
        <pc:spChg chg="mod">
          <ac:chgData name="Sarah GAUVARD" userId="4c03e191-e154-482a-88b2-11de19eac96c" providerId="ADAL" clId="{8245CC27-65FB-483E-B8E7-D04039DBA80D}" dt="2021-05-24T16:09:28.323" v="16357" actId="790"/>
          <ac:spMkLst>
            <pc:docMk/>
            <pc:sldMk cId="203190409" sldId="10438"/>
            <ac:spMk id="18" creationId="{E5E5B17C-AF5B-4FCB-935E-796FE66056AC}"/>
          </ac:spMkLst>
        </pc:spChg>
        <pc:spChg chg="mod">
          <ac:chgData name="Sarah GAUVARD" userId="4c03e191-e154-482a-88b2-11de19eac96c" providerId="ADAL" clId="{8245CC27-65FB-483E-B8E7-D04039DBA80D}" dt="2021-05-24T16:09:28.311" v="16348" actId="790"/>
          <ac:spMkLst>
            <pc:docMk/>
            <pc:sldMk cId="203190409" sldId="10438"/>
            <ac:spMk id="19" creationId="{D183DC4A-A310-4818-8DE5-DD81DA31ACA2}"/>
          </ac:spMkLst>
        </pc:spChg>
        <pc:spChg chg="mod">
          <ac:chgData name="Sarah GAUVARD" userId="4c03e191-e154-482a-88b2-11de19eac96c" providerId="ADAL" clId="{8245CC27-65FB-483E-B8E7-D04039DBA80D}" dt="2021-05-24T16:09:28.312" v="16349" actId="790"/>
          <ac:spMkLst>
            <pc:docMk/>
            <pc:sldMk cId="203190409" sldId="10438"/>
            <ac:spMk id="20" creationId="{54E8F179-87EF-4A92-9C29-92D7E20EB946}"/>
          </ac:spMkLst>
        </pc:spChg>
        <pc:spChg chg="mod">
          <ac:chgData name="Sarah GAUVARD" userId="4c03e191-e154-482a-88b2-11de19eac96c" providerId="ADAL" clId="{8245CC27-65FB-483E-B8E7-D04039DBA80D}" dt="2021-05-24T16:09:28.313" v="16350" actId="790"/>
          <ac:spMkLst>
            <pc:docMk/>
            <pc:sldMk cId="203190409" sldId="10438"/>
            <ac:spMk id="21" creationId="{44BA4EC0-19D7-41DC-B319-396D8267BC37}"/>
          </ac:spMkLst>
        </pc:spChg>
        <pc:spChg chg="mod">
          <ac:chgData name="Sarah GAUVARD" userId="4c03e191-e154-482a-88b2-11de19eac96c" providerId="ADAL" clId="{8245CC27-65FB-483E-B8E7-D04039DBA80D}" dt="2021-05-24T16:09:28.313" v="16351" actId="790"/>
          <ac:spMkLst>
            <pc:docMk/>
            <pc:sldMk cId="203190409" sldId="10438"/>
            <ac:spMk id="22" creationId="{43B8FABF-5816-42AC-8939-29224794884E}"/>
          </ac:spMkLst>
        </pc:spChg>
        <pc:spChg chg="mod">
          <ac:chgData name="Sarah GAUVARD" userId="4c03e191-e154-482a-88b2-11de19eac96c" providerId="ADAL" clId="{8245CC27-65FB-483E-B8E7-D04039DBA80D}" dt="2021-05-24T16:09:28.323" v="16358" actId="790"/>
          <ac:spMkLst>
            <pc:docMk/>
            <pc:sldMk cId="203190409" sldId="10438"/>
            <ac:spMk id="33" creationId="{243F8FAD-0118-4F1B-B40B-A7D84FD36396}"/>
          </ac:spMkLst>
        </pc:spChg>
        <pc:spChg chg="add del mod modVis">
          <ac:chgData name="Sarah GAUVARD" userId="4c03e191-e154-482a-88b2-11de19eac96c" providerId="ADAL" clId="{8245CC27-65FB-483E-B8E7-D04039DBA80D}" dt="2021-05-24T15:34:46.444" v="12061"/>
          <ac:spMkLst>
            <pc:docMk/>
            <pc:sldMk cId="203190409" sldId="10438"/>
            <ac:spMk id="34" creationId="{240FA8D7-8AA8-4C45-8AF5-FFA2C82D89E6}"/>
          </ac:spMkLst>
        </pc:spChg>
        <pc:spChg chg="mod">
          <ac:chgData name="Sarah GAUVARD" userId="4c03e191-e154-482a-88b2-11de19eac96c" providerId="ADAL" clId="{8245CC27-65FB-483E-B8E7-D04039DBA80D}" dt="2021-05-24T16:09:28.314" v="16352" actId="790"/>
          <ac:spMkLst>
            <pc:docMk/>
            <pc:sldMk cId="203190409" sldId="10438"/>
            <ac:spMk id="47" creationId="{9E10C541-E455-4AF2-AA1A-715E3DF2DDC1}"/>
          </ac:spMkLst>
        </pc:spChg>
        <pc:spChg chg="mod">
          <ac:chgData name="Sarah GAUVARD" userId="4c03e191-e154-482a-88b2-11de19eac96c" providerId="ADAL" clId="{8245CC27-65FB-483E-B8E7-D04039DBA80D}" dt="2021-05-24T16:09:28.315" v="16353" actId="790"/>
          <ac:spMkLst>
            <pc:docMk/>
            <pc:sldMk cId="203190409" sldId="10438"/>
            <ac:spMk id="49" creationId="{B10468A4-1BAC-4153-BC9A-99B8715C0AD1}"/>
          </ac:spMkLst>
        </pc:spChg>
        <pc:spChg chg="mod">
          <ac:chgData name="Sarah GAUVARD" userId="4c03e191-e154-482a-88b2-11de19eac96c" providerId="ADAL" clId="{8245CC27-65FB-483E-B8E7-D04039DBA80D}" dt="2021-05-24T16:09:28.304" v="16341" actId="790"/>
          <ac:spMkLst>
            <pc:docMk/>
            <pc:sldMk cId="203190409" sldId="10438"/>
            <ac:spMk id="50" creationId="{06AD3339-7557-4559-B2EA-6A391CF2BF0C}"/>
          </ac:spMkLst>
        </pc:spChg>
        <pc:spChg chg="mod">
          <ac:chgData name="Sarah GAUVARD" userId="4c03e191-e154-482a-88b2-11de19eac96c" providerId="ADAL" clId="{8245CC27-65FB-483E-B8E7-D04039DBA80D}" dt="2021-05-24T16:09:28.329" v="16359" actId="790"/>
          <ac:spMkLst>
            <pc:docMk/>
            <pc:sldMk cId="203190409" sldId="10438"/>
            <ac:spMk id="88" creationId="{336D463B-B815-4500-8F61-78A091129044}"/>
          </ac:spMkLst>
        </pc:spChg>
        <pc:spChg chg="mod">
          <ac:chgData name="Sarah GAUVARD" userId="4c03e191-e154-482a-88b2-11de19eac96c" providerId="ADAL" clId="{8245CC27-65FB-483E-B8E7-D04039DBA80D}" dt="2021-05-24T16:09:28.331" v="16365" actId="790"/>
          <ac:spMkLst>
            <pc:docMk/>
            <pc:sldMk cId="203190409" sldId="10438"/>
            <ac:spMk id="96" creationId="{5BB653FA-7502-456B-9DD5-1867522D3A88}"/>
          </ac:spMkLst>
        </pc:spChg>
        <pc:spChg chg="mod">
          <ac:chgData name="Sarah GAUVARD" userId="4c03e191-e154-482a-88b2-11de19eac96c" providerId="ADAL" clId="{8245CC27-65FB-483E-B8E7-D04039DBA80D}" dt="2021-05-24T16:09:28.316" v="16354" actId="790"/>
          <ac:spMkLst>
            <pc:docMk/>
            <pc:sldMk cId="203190409" sldId="10438"/>
            <ac:spMk id="100" creationId="{EF6C7B41-C54E-4684-BB9A-36701E115EBF}"/>
          </ac:spMkLst>
        </pc:spChg>
        <pc:spChg chg="mod">
          <ac:chgData name="Sarah GAUVARD" userId="4c03e191-e154-482a-88b2-11de19eac96c" providerId="ADAL" clId="{8245CC27-65FB-483E-B8E7-D04039DBA80D}" dt="2021-05-24T16:09:28.342" v="16378" actId="790"/>
          <ac:spMkLst>
            <pc:docMk/>
            <pc:sldMk cId="203190409" sldId="10438"/>
            <ac:spMk id="101" creationId="{DA7B562D-2A6F-42DF-9E67-3035C79FFC2C}"/>
          </ac:spMkLst>
        </pc:spChg>
        <pc:spChg chg="mod">
          <ac:chgData name="Sarah GAUVARD" userId="4c03e191-e154-482a-88b2-11de19eac96c" providerId="ADAL" clId="{8245CC27-65FB-483E-B8E7-D04039DBA80D}" dt="2021-05-24T16:09:28.302" v="16338" actId="790"/>
          <ac:spMkLst>
            <pc:docMk/>
            <pc:sldMk cId="203190409" sldId="10438"/>
            <ac:spMk id="107" creationId="{31D0AEAA-51DD-4312-8DD3-D5664A3B479D}"/>
          </ac:spMkLst>
        </pc:spChg>
        <pc:spChg chg="mod">
          <ac:chgData name="Sarah GAUVARD" userId="4c03e191-e154-482a-88b2-11de19eac96c" providerId="ADAL" clId="{8245CC27-65FB-483E-B8E7-D04039DBA80D}" dt="2021-05-24T16:09:28.329" v="16360" actId="790"/>
          <ac:spMkLst>
            <pc:docMk/>
            <pc:sldMk cId="203190409" sldId="10438"/>
            <ac:spMk id="108" creationId="{B4E79E7D-0395-4CE2-8F8E-F7FFDE4BA106}"/>
          </ac:spMkLst>
        </pc:spChg>
        <pc:spChg chg="mod">
          <ac:chgData name="Sarah GAUVARD" userId="4c03e191-e154-482a-88b2-11de19eac96c" providerId="ADAL" clId="{8245CC27-65FB-483E-B8E7-D04039DBA80D}" dt="2021-05-24T16:09:28.331" v="16362" actId="790"/>
          <ac:spMkLst>
            <pc:docMk/>
            <pc:sldMk cId="203190409" sldId="10438"/>
            <ac:spMk id="119" creationId="{EEF55E94-FD53-41D7-A423-6B56C40D88A1}"/>
          </ac:spMkLst>
        </pc:spChg>
        <pc:spChg chg="mod">
          <ac:chgData name="Sarah GAUVARD" userId="4c03e191-e154-482a-88b2-11de19eac96c" providerId="ADAL" clId="{8245CC27-65FB-483E-B8E7-D04039DBA80D}" dt="2021-05-24T16:09:28.331" v="16364" actId="790"/>
          <ac:spMkLst>
            <pc:docMk/>
            <pc:sldMk cId="203190409" sldId="10438"/>
            <ac:spMk id="120" creationId="{697B9F9F-BFD2-4BBC-A2BC-06F0D17B4298}"/>
          </ac:spMkLst>
        </pc:spChg>
        <pc:spChg chg="mod">
          <ac:chgData name="Sarah GAUVARD" userId="4c03e191-e154-482a-88b2-11de19eac96c" providerId="ADAL" clId="{8245CC27-65FB-483E-B8E7-D04039DBA80D}" dt="2021-05-24T16:09:28.331" v="16363" actId="790"/>
          <ac:spMkLst>
            <pc:docMk/>
            <pc:sldMk cId="203190409" sldId="10438"/>
            <ac:spMk id="122" creationId="{7ED4A8D8-06EE-4620-B65B-5E3B52A3ABAE}"/>
          </ac:spMkLst>
        </pc:spChg>
        <pc:spChg chg="mod">
          <ac:chgData name="Sarah GAUVARD" userId="4c03e191-e154-482a-88b2-11de19eac96c" providerId="ADAL" clId="{8245CC27-65FB-483E-B8E7-D04039DBA80D}" dt="2021-05-24T16:09:28.331" v="16366" actId="790"/>
          <ac:spMkLst>
            <pc:docMk/>
            <pc:sldMk cId="203190409" sldId="10438"/>
            <ac:spMk id="123" creationId="{CCD5F39F-64EB-4F4E-BE6B-002C617492EF}"/>
          </ac:spMkLst>
        </pc:spChg>
        <pc:spChg chg="mod">
          <ac:chgData name="Sarah GAUVARD" userId="4c03e191-e154-482a-88b2-11de19eac96c" providerId="ADAL" clId="{8245CC27-65FB-483E-B8E7-D04039DBA80D}" dt="2021-05-24T16:09:28.342" v="16375" actId="790"/>
          <ac:spMkLst>
            <pc:docMk/>
            <pc:sldMk cId="203190409" sldId="10438"/>
            <ac:spMk id="154" creationId="{A7269958-7FC5-479F-B17B-49D115F118B6}"/>
          </ac:spMkLst>
        </pc:spChg>
        <pc:spChg chg="mod">
          <ac:chgData name="Sarah GAUVARD" userId="4c03e191-e154-482a-88b2-11de19eac96c" providerId="ADAL" clId="{8245CC27-65FB-483E-B8E7-D04039DBA80D}" dt="2021-05-24T16:09:28.331" v="16368" actId="790"/>
          <ac:spMkLst>
            <pc:docMk/>
            <pc:sldMk cId="203190409" sldId="10438"/>
            <ac:spMk id="165" creationId="{C389F3EC-7313-454E-9942-F14FD0BD4C77}"/>
          </ac:spMkLst>
        </pc:spChg>
        <pc:spChg chg="mod">
          <ac:chgData name="Sarah GAUVARD" userId="4c03e191-e154-482a-88b2-11de19eac96c" providerId="ADAL" clId="{8245CC27-65FB-483E-B8E7-D04039DBA80D}" dt="2021-05-24T16:09:28.331" v="16369" actId="790"/>
          <ac:spMkLst>
            <pc:docMk/>
            <pc:sldMk cId="203190409" sldId="10438"/>
            <ac:spMk id="166" creationId="{A3938D6F-1923-42FF-B2ED-6C2BEA79BA03}"/>
          </ac:spMkLst>
        </pc:spChg>
        <pc:spChg chg="mod">
          <ac:chgData name="Sarah GAUVARD" userId="4c03e191-e154-482a-88b2-11de19eac96c" providerId="ADAL" clId="{8245CC27-65FB-483E-B8E7-D04039DBA80D}" dt="2021-05-24T16:09:28.331" v="16370" actId="790"/>
          <ac:spMkLst>
            <pc:docMk/>
            <pc:sldMk cId="203190409" sldId="10438"/>
            <ac:spMk id="168" creationId="{C423BD9F-9E4A-46B8-89D7-67C1FE84B168}"/>
          </ac:spMkLst>
        </pc:spChg>
        <pc:spChg chg="mod">
          <ac:chgData name="Sarah GAUVARD" userId="4c03e191-e154-482a-88b2-11de19eac96c" providerId="ADAL" clId="{8245CC27-65FB-483E-B8E7-D04039DBA80D}" dt="2021-05-24T16:09:28.331" v="16371" actId="790"/>
          <ac:spMkLst>
            <pc:docMk/>
            <pc:sldMk cId="203190409" sldId="10438"/>
            <ac:spMk id="169" creationId="{7881ABC3-A97B-4E90-939F-E48D9595FFFF}"/>
          </ac:spMkLst>
        </pc:spChg>
        <pc:spChg chg="mod">
          <ac:chgData name="Sarah GAUVARD" userId="4c03e191-e154-482a-88b2-11de19eac96c" providerId="ADAL" clId="{8245CC27-65FB-483E-B8E7-D04039DBA80D}" dt="2021-05-24T16:09:28.340" v="16372" actId="790"/>
          <ac:spMkLst>
            <pc:docMk/>
            <pc:sldMk cId="203190409" sldId="10438"/>
            <ac:spMk id="170" creationId="{A886CA56-9620-415B-9489-A004AB6EB706}"/>
          </ac:spMkLst>
        </pc:spChg>
        <pc:spChg chg="mod">
          <ac:chgData name="Sarah GAUVARD" userId="4c03e191-e154-482a-88b2-11de19eac96c" providerId="ADAL" clId="{8245CC27-65FB-483E-B8E7-D04039DBA80D}" dt="2021-05-24T16:09:28.340" v="16373" actId="790"/>
          <ac:spMkLst>
            <pc:docMk/>
            <pc:sldMk cId="203190409" sldId="10438"/>
            <ac:spMk id="171" creationId="{BCC6DEFD-6FEB-4777-9432-E3B2F5C51000}"/>
          </ac:spMkLst>
        </pc:spChg>
        <pc:spChg chg="mod">
          <ac:chgData name="Sarah GAUVARD" userId="4c03e191-e154-482a-88b2-11de19eac96c" providerId="ADAL" clId="{8245CC27-65FB-483E-B8E7-D04039DBA80D}" dt="2021-05-24T16:09:28.340" v="16374" actId="790"/>
          <ac:spMkLst>
            <pc:docMk/>
            <pc:sldMk cId="203190409" sldId="10438"/>
            <ac:spMk id="172" creationId="{04568322-5012-422B-991D-C9A4712E25C9}"/>
          </ac:spMkLst>
        </pc:spChg>
        <pc:spChg chg="mod">
          <ac:chgData name="Sarah GAUVARD" userId="4c03e191-e154-482a-88b2-11de19eac96c" providerId="ADAL" clId="{8245CC27-65FB-483E-B8E7-D04039DBA80D}" dt="2021-05-24T16:09:28.342" v="16376" actId="790"/>
          <ac:spMkLst>
            <pc:docMk/>
            <pc:sldMk cId="203190409" sldId="10438"/>
            <ac:spMk id="197" creationId="{EB1ED8EE-1371-4F31-B475-A7FD22F01C88}"/>
          </ac:spMkLst>
        </pc:spChg>
        <pc:spChg chg="mod">
          <ac:chgData name="Sarah GAUVARD" userId="4c03e191-e154-482a-88b2-11de19eac96c" providerId="ADAL" clId="{8245CC27-65FB-483E-B8E7-D04039DBA80D}" dt="2021-05-24T16:09:28.342" v="16377" actId="790"/>
          <ac:spMkLst>
            <pc:docMk/>
            <pc:sldMk cId="203190409" sldId="10438"/>
            <ac:spMk id="212" creationId="{F492C173-DFD6-47CF-9BB4-C8925127E1EE}"/>
          </ac:spMkLst>
        </pc:spChg>
        <pc:spChg chg="mod">
          <ac:chgData name="Sarah GAUVARD" userId="4c03e191-e154-482a-88b2-11de19eac96c" providerId="ADAL" clId="{8245CC27-65FB-483E-B8E7-D04039DBA80D}" dt="2021-05-24T16:09:28.323" v="16355" actId="790"/>
          <ac:spMkLst>
            <pc:docMk/>
            <pc:sldMk cId="203190409" sldId="10438"/>
            <ac:spMk id="1031" creationId="{A3845A5C-C65F-4C44-AE3B-D3285DF51268}"/>
          </ac:spMkLst>
        </pc:spChg>
        <pc:spChg chg="mod">
          <ac:chgData name="Sarah GAUVARD" userId="4c03e191-e154-482a-88b2-11de19eac96c" providerId="ADAL" clId="{8245CC27-65FB-483E-B8E7-D04039DBA80D}" dt="2021-05-24T16:09:28.323" v="16356" actId="790"/>
          <ac:spMkLst>
            <pc:docMk/>
            <pc:sldMk cId="203190409" sldId="10438"/>
            <ac:spMk id="1035" creationId="{9164A53F-4711-41A4-BE3D-8D2F4243A495}"/>
          </ac:spMkLst>
        </pc:spChg>
        <pc:spChg chg="mod">
          <ac:chgData name="Sarah GAUVARD" userId="4c03e191-e154-482a-88b2-11de19eac96c" providerId="ADAL" clId="{8245CC27-65FB-483E-B8E7-D04039DBA80D}" dt="2021-05-24T16:09:28.302" v="16339" actId="790"/>
          <ac:spMkLst>
            <pc:docMk/>
            <pc:sldMk cId="203190409" sldId="10438"/>
            <ac:spMk id="4107" creationId="{EBC573C8-C4E3-432A-81F7-B99236DF594A}"/>
          </ac:spMkLst>
        </pc:spChg>
        <pc:graphicFrameChg chg="mod">
          <ac:chgData name="Sarah GAUVARD" userId="4c03e191-e154-482a-88b2-11de19eac96c" providerId="ADAL" clId="{8245CC27-65FB-483E-B8E7-D04039DBA80D}" dt="2021-05-25T15:25:43.107" v="27834"/>
          <ac:graphicFrameMkLst>
            <pc:docMk/>
            <pc:sldMk cId="203190409" sldId="10438"/>
            <ac:graphicFrameMk id="17" creationId="{FF44A7FF-DA1D-48E9-88AF-BFA57A1D74D1}"/>
          </ac:graphicFrameMkLst>
        </pc:graphicFrameChg>
      </pc:sldChg>
      <pc:sldChg chg="addSp modSp del mod ord">
        <pc:chgData name="Sarah GAUVARD" userId="4c03e191-e154-482a-88b2-11de19eac96c" providerId="ADAL" clId="{8245CC27-65FB-483E-B8E7-D04039DBA80D}" dt="2021-05-24T12:57:12.648" v="3368" actId="47"/>
        <pc:sldMkLst>
          <pc:docMk/>
          <pc:sldMk cId="442974380" sldId="10440"/>
        </pc:sldMkLst>
        <pc:spChg chg="mod">
          <ac:chgData name="Sarah GAUVARD" userId="4c03e191-e154-482a-88b2-11de19eac96c" providerId="ADAL" clId="{8245CC27-65FB-483E-B8E7-D04039DBA80D}" dt="2021-05-24T12:24:44.228" v="3238" actId="1076"/>
          <ac:spMkLst>
            <pc:docMk/>
            <pc:sldMk cId="442974380" sldId="10440"/>
            <ac:spMk id="69" creationId="{6CC4A358-2A09-460F-8DE2-7FC6205936D8}"/>
          </ac:spMkLst>
        </pc:spChg>
        <pc:spChg chg="add mod">
          <ac:chgData name="Sarah GAUVARD" userId="4c03e191-e154-482a-88b2-11de19eac96c" providerId="ADAL" clId="{8245CC27-65FB-483E-B8E7-D04039DBA80D}" dt="2021-05-24T12:15:30.799" v="3151" actId="20577"/>
          <ac:spMkLst>
            <pc:docMk/>
            <pc:sldMk cId="442974380" sldId="10440"/>
            <ac:spMk id="103" creationId="{AB5B624F-B8DE-4B24-A57D-3CABAC015EF4}"/>
          </ac:spMkLst>
        </pc:spChg>
      </pc:sldChg>
      <pc:sldChg chg="addSp delSp modSp mod">
        <pc:chgData name="Sarah GAUVARD" userId="4c03e191-e154-482a-88b2-11de19eac96c" providerId="ADAL" clId="{8245CC27-65FB-483E-B8E7-D04039DBA80D}" dt="2021-05-25T15:25:27.924" v="27746"/>
        <pc:sldMkLst>
          <pc:docMk/>
          <pc:sldMk cId="1845337448" sldId="10441"/>
        </pc:sldMkLst>
        <pc:spChg chg="mod">
          <ac:chgData name="Sarah GAUVARD" userId="4c03e191-e154-482a-88b2-11de19eac96c" providerId="ADAL" clId="{8245CC27-65FB-483E-B8E7-D04039DBA80D}" dt="2021-05-25T15:25:27.865" v="27704" actId="948"/>
          <ac:spMkLst>
            <pc:docMk/>
            <pc:sldMk cId="1845337448" sldId="10441"/>
            <ac:spMk id="2" creationId="{1B8B41D0-3B5A-41F2-BD36-274CA5605C3A}"/>
          </ac:spMkLst>
        </pc:spChg>
        <pc:spChg chg="mod">
          <ac:chgData name="Sarah GAUVARD" userId="4c03e191-e154-482a-88b2-11de19eac96c" providerId="ADAL" clId="{8245CC27-65FB-483E-B8E7-D04039DBA80D}" dt="2021-05-24T16:09:26.937" v="14962" actId="790"/>
          <ac:spMkLst>
            <pc:docMk/>
            <pc:sldMk cId="1845337448" sldId="10441"/>
            <ac:spMk id="3" creationId="{F2961EB7-FC0B-4AEF-8BF3-7969101BE0A7}"/>
          </ac:spMkLst>
        </pc:spChg>
        <pc:spChg chg="mod">
          <ac:chgData name="Sarah GAUVARD" userId="4c03e191-e154-482a-88b2-11de19eac96c" providerId="ADAL" clId="{8245CC27-65FB-483E-B8E7-D04039DBA80D}" dt="2021-05-24T16:09:26.937" v="14963" actId="790"/>
          <ac:spMkLst>
            <pc:docMk/>
            <pc:sldMk cId="1845337448" sldId="10441"/>
            <ac:spMk id="4" creationId="{43E0D5C7-0986-42B1-8E8C-7B58D0CBD773}"/>
          </ac:spMkLst>
        </pc:spChg>
        <pc:spChg chg="mod">
          <ac:chgData name="Sarah GAUVARD" userId="4c03e191-e154-482a-88b2-11de19eac96c" providerId="ADAL" clId="{8245CC27-65FB-483E-B8E7-D04039DBA80D}" dt="2021-05-24T16:09:26.937" v="14970" actId="790"/>
          <ac:spMkLst>
            <pc:docMk/>
            <pc:sldMk cId="1845337448" sldId="10441"/>
            <ac:spMk id="5" creationId="{32E0BE14-B2E8-4A96-ADE4-0BE247A47D79}"/>
          </ac:spMkLst>
        </pc:spChg>
        <pc:spChg chg="mod">
          <ac:chgData name="Sarah GAUVARD" userId="4c03e191-e154-482a-88b2-11de19eac96c" providerId="ADAL" clId="{8245CC27-65FB-483E-B8E7-D04039DBA80D}" dt="2021-05-24T16:09:26.937" v="14971" actId="790"/>
          <ac:spMkLst>
            <pc:docMk/>
            <pc:sldMk cId="1845337448" sldId="10441"/>
            <ac:spMk id="6" creationId="{8AEA1672-C0F9-4DB2-A6F4-76831980F749}"/>
          </ac:spMkLst>
        </pc:spChg>
        <pc:spChg chg="mod">
          <ac:chgData name="Sarah GAUVARD" userId="4c03e191-e154-482a-88b2-11de19eac96c" providerId="ADAL" clId="{8245CC27-65FB-483E-B8E7-D04039DBA80D}" dt="2021-05-24T16:09:26.937" v="14968" actId="790"/>
          <ac:spMkLst>
            <pc:docMk/>
            <pc:sldMk cId="1845337448" sldId="10441"/>
            <ac:spMk id="7" creationId="{064EAC16-1947-4EB5-B699-F79BA984701D}"/>
          </ac:spMkLst>
        </pc:spChg>
        <pc:spChg chg="mod">
          <ac:chgData name="Sarah GAUVARD" userId="4c03e191-e154-482a-88b2-11de19eac96c" providerId="ADAL" clId="{8245CC27-65FB-483E-B8E7-D04039DBA80D}" dt="2021-05-24T16:09:26.937" v="14969" actId="790"/>
          <ac:spMkLst>
            <pc:docMk/>
            <pc:sldMk cId="1845337448" sldId="10441"/>
            <ac:spMk id="8" creationId="{17235FB0-B480-4F11-BAB2-ECCE97A0AE35}"/>
          </ac:spMkLst>
        </pc:spChg>
        <pc:spChg chg="mod">
          <ac:chgData name="Sarah GAUVARD" userId="4c03e191-e154-482a-88b2-11de19eac96c" providerId="ADAL" clId="{8245CC27-65FB-483E-B8E7-D04039DBA80D}" dt="2021-05-24T16:09:26.937" v="14972" actId="790"/>
          <ac:spMkLst>
            <pc:docMk/>
            <pc:sldMk cId="1845337448" sldId="10441"/>
            <ac:spMk id="9" creationId="{E57AC7D2-FC03-4826-B2B4-B86B10C8A912}"/>
          </ac:spMkLst>
        </pc:spChg>
        <pc:spChg chg="mod">
          <ac:chgData name="Sarah GAUVARD" userId="4c03e191-e154-482a-88b2-11de19eac96c" providerId="ADAL" clId="{8245CC27-65FB-483E-B8E7-D04039DBA80D}" dt="2021-05-24T16:09:26.957" v="14986" actId="790"/>
          <ac:spMkLst>
            <pc:docMk/>
            <pc:sldMk cId="1845337448" sldId="10441"/>
            <ac:spMk id="10" creationId="{EC4BC8E5-CDE6-4BDA-8B1B-E89284306AC8}"/>
          </ac:spMkLst>
        </pc:spChg>
        <pc:spChg chg="del">
          <ac:chgData name="Sarah GAUVARD" userId="4c03e191-e154-482a-88b2-11de19eac96c" providerId="ADAL" clId="{8245CC27-65FB-483E-B8E7-D04039DBA80D}" dt="2021-05-25T11:06:12.519" v="19731" actId="478"/>
          <ac:spMkLst>
            <pc:docMk/>
            <pc:sldMk cId="1845337448" sldId="10441"/>
            <ac:spMk id="11" creationId="{9FCF51CF-1529-4B62-8125-E2230C13243E}"/>
          </ac:spMkLst>
        </pc:spChg>
        <pc:spChg chg="add del mod modVis">
          <ac:chgData name="Sarah GAUVARD" userId="4c03e191-e154-482a-88b2-11de19eac96c" providerId="ADAL" clId="{8245CC27-65FB-483E-B8E7-D04039DBA80D}" dt="2021-05-24T15:34:46.236" v="11961"/>
          <ac:spMkLst>
            <pc:docMk/>
            <pc:sldMk cId="1845337448" sldId="10441"/>
            <ac:spMk id="11" creationId="{DEC460BC-9F9C-4FD9-9015-3B0C52815278}"/>
          </ac:spMkLst>
        </pc:spChg>
        <pc:spChg chg="mod">
          <ac:chgData name="Sarah GAUVARD" userId="4c03e191-e154-482a-88b2-11de19eac96c" providerId="ADAL" clId="{8245CC27-65FB-483E-B8E7-D04039DBA80D}" dt="2021-05-24T16:09:26.937" v="14966" actId="790"/>
          <ac:spMkLst>
            <pc:docMk/>
            <pc:sldMk cId="1845337448" sldId="10441"/>
            <ac:spMk id="12" creationId="{06146879-726F-492D-B854-B9E140208671}"/>
          </ac:spMkLst>
        </pc:spChg>
        <pc:spChg chg="mod">
          <ac:chgData name="Sarah GAUVARD" userId="4c03e191-e154-482a-88b2-11de19eac96c" providerId="ADAL" clId="{8245CC27-65FB-483E-B8E7-D04039DBA80D}" dt="2021-05-24T16:09:26.965" v="14993" actId="790"/>
          <ac:spMkLst>
            <pc:docMk/>
            <pc:sldMk cId="1845337448" sldId="10441"/>
            <ac:spMk id="13" creationId="{E9F049B4-9F79-4754-AA4A-B557B2A6D3C9}"/>
          </ac:spMkLst>
        </pc:spChg>
        <pc:spChg chg="del">
          <ac:chgData name="Sarah GAUVARD" userId="4c03e191-e154-482a-88b2-11de19eac96c" providerId="ADAL" clId="{8245CC27-65FB-483E-B8E7-D04039DBA80D}" dt="2021-05-25T15:24:32.060" v="27658" actId="478"/>
          <ac:spMkLst>
            <pc:docMk/>
            <pc:sldMk cId="1845337448" sldId="10441"/>
            <ac:spMk id="15" creationId="{F7EB4D52-F761-46DD-8A27-ACFCD9D9408B}"/>
          </ac:spMkLst>
        </pc:spChg>
        <pc:spChg chg="add del mod modVis">
          <ac:chgData name="Sarah GAUVARD" userId="4c03e191-e154-482a-88b2-11de19eac96c" providerId="ADAL" clId="{8245CC27-65FB-483E-B8E7-D04039DBA80D}" dt="2021-05-25T15:25:13.911" v="27700"/>
          <ac:spMkLst>
            <pc:docMk/>
            <pc:sldMk cId="1845337448" sldId="10441"/>
            <ac:spMk id="16" creationId="{639725F9-FD2C-43B7-9015-B76AF89045BF}"/>
          </ac:spMkLst>
        </pc:spChg>
        <pc:spChg chg="mod">
          <ac:chgData name="Sarah GAUVARD" userId="4c03e191-e154-482a-88b2-11de19eac96c" providerId="ADAL" clId="{8245CC27-65FB-483E-B8E7-D04039DBA80D}" dt="2021-05-24T16:09:26.957" v="14982" actId="790"/>
          <ac:spMkLst>
            <pc:docMk/>
            <pc:sldMk cId="1845337448" sldId="10441"/>
            <ac:spMk id="18" creationId="{E5E5B17C-AF5B-4FCB-935E-796FE66056AC}"/>
          </ac:spMkLst>
        </pc:spChg>
        <pc:spChg chg="mod">
          <ac:chgData name="Sarah GAUVARD" userId="4c03e191-e154-482a-88b2-11de19eac96c" providerId="ADAL" clId="{8245CC27-65FB-483E-B8E7-D04039DBA80D}" dt="2021-05-24T16:09:26.945" v="14973" actId="790"/>
          <ac:spMkLst>
            <pc:docMk/>
            <pc:sldMk cId="1845337448" sldId="10441"/>
            <ac:spMk id="19" creationId="{D183DC4A-A310-4818-8DE5-DD81DA31ACA2}"/>
          </ac:spMkLst>
        </pc:spChg>
        <pc:spChg chg="mod">
          <ac:chgData name="Sarah GAUVARD" userId="4c03e191-e154-482a-88b2-11de19eac96c" providerId="ADAL" clId="{8245CC27-65FB-483E-B8E7-D04039DBA80D}" dt="2021-05-25T10:47:11.321" v="19545" actId="20577"/>
          <ac:spMkLst>
            <pc:docMk/>
            <pc:sldMk cId="1845337448" sldId="10441"/>
            <ac:spMk id="20" creationId="{54E8F179-87EF-4A92-9C29-92D7E20EB946}"/>
          </ac:spMkLst>
        </pc:spChg>
        <pc:spChg chg="mod">
          <ac:chgData name="Sarah GAUVARD" userId="4c03e191-e154-482a-88b2-11de19eac96c" providerId="ADAL" clId="{8245CC27-65FB-483E-B8E7-D04039DBA80D}" dt="2021-05-24T16:09:26.945" v="14975" actId="790"/>
          <ac:spMkLst>
            <pc:docMk/>
            <pc:sldMk cId="1845337448" sldId="10441"/>
            <ac:spMk id="21" creationId="{44BA4EC0-19D7-41DC-B319-396D8267BC37}"/>
          </ac:spMkLst>
        </pc:spChg>
        <pc:spChg chg="mod">
          <ac:chgData name="Sarah GAUVARD" userId="4c03e191-e154-482a-88b2-11de19eac96c" providerId="ADAL" clId="{8245CC27-65FB-483E-B8E7-D04039DBA80D}" dt="2021-05-24T16:09:26.947" v="14976" actId="790"/>
          <ac:spMkLst>
            <pc:docMk/>
            <pc:sldMk cId="1845337448" sldId="10441"/>
            <ac:spMk id="22" creationId="{43B8FABF-5816-42AC-8939-29224794884E}"/>
          </ac:spMkLst>
        </pc:spChg>
        <pc:spChg chg="add del mod modVis">
          <ac:chgData name="Sarah GAUVARD" userId="4c03e191-e154-482a-88b2-11de19eac96c" providerId="ADAL" clId="{8245CC27-65FB-483E-B8E7-D04039DBA80D}" dt="2021-05-25T15:25:27.922" v="27744"/>
          <ac:spMkLst>
            <pc:docMk/>
            <pc:sldMk cId="1845337448" sldId="10441"/>
            <ac:spMk id="24" creationId="{8887B47A-8522-44CA-8FEC-3D25E805389F}"/>
          </ac:spMkLst>
        </pc:spChg>
        <pc:spChg chg="mod">
          <ac:chgData name="Sarah GAUVARD" userId="4c03e191-e154-482a-88b2-11de19eac96c" providerId="ADAL" clId="{8245CC27-65FB-483E-B8E7-D04039DBA80D}" dt="2021-05-25T12:17:47.423" v="21278" actId="20577"/>
          <ac:spMkLst>
            <pc:docMk/>
            <pc:sldMk cId="1845337448" sldId="10441"/>
            <ac:spMk id="33" creationId="{243F8FAD-0118-4F1B-B40B-A7D84FD36396}"/>
          </ac:spMkLst>
        </pc:spChg>
        <pc:spChg chg="mod">
          <ac:chgData name="Sarah GAUVARD" userId="4c03e191-e154-482a-88b2-11de19eac96c" providerId="ADAL" clId="{8245CC27-65FB-483E-B8E7-D04039DBA80D}" dt="2021-05-24T16:09:26.947" v="14977" actId="790"/>
          <ac:spMkLst>
            <pc:docMk/>
            <pc:sldMk cId="1845337448" sldId="10441"/>
            <ac:spMk id="47" creationId="{9E10C541-E455-4AF2-AA1A-715E3DF2DDC1}"/>
          </ac:spMkLst>
        </pc:spChg>
        <pc:spChg chg="mod">
          <ac:chgData name="Sarah GAUVARD" userId="4c03e191-e154-482a-88b2-11de19eac96c" providerId="ADAL" clId="{8245CC27-65FB-483E-B8E7-D04039DBA80D}" dt="2021-05-24T16:09:26.947" v="14978" actId="790"/>
          <ac:spMkLst>
            <pc:docMk/>
            <pc:sldMk cId="1845337448" sldId="10441"/>
            <ac:spMk id="49" creationId="{B10468A4-1BAC-4153-BC9A-99B8715C0AD1}"/>
          </ac:spMkLst>
        </pc:spChg>
        <pc:spChg chg="mod">
          <ac:chgData name="Sarah GAUVARD" userId="4c03e191-e154-482a-88b2-11de19eac96c" providerId="ADAL" clId="{8245CC27-65FB-483E-B8E7-D04039DBA80D}" dt="2021-05-24T16:09:26.937" v="14967" actId="790"/>
          <ac:spMkLst>
            <pc:docMk/>
            <pc:sldMk cId="1845337448" sldId="10441"/>
            <ac:spMk id="50" creationId="{06AD3339-7557-4559-B2EA-6A391CF2BF0C}"/>
          </ac:spMkLst>
        </pc:spChg>
        <pc:spChg chg="mod">
          <ac:chgData name="Sarah GAUVARD" userId="4c03e191-e154-482a-88b2-11de19eac96c" providerId="ADAL" clId="{8245CC27-65FB-483E-B8E7-D04039DBA80D}" dt="2021-05-24T16:09:26.957" v="14984" actId="790"/>
          <ac:spMkLst>
            <pc:docMk/>
            <pc:sldMk cId="1845337448" sldId="10441"/>
            <ac:spMk id="88" creationId="{336D463B-B815-4500-8F61-78A091129044}"/>
          </ac:spMkLst>
        </pc:spChg>
        <pc:spChg chg="mod">
          <ac:chgData name="Sarah GAUVARD" userId="4c03e191-e154-482a-88b2-11de19eac96c" providerId="ADAL" clId="{8245CC27-65FB-483E-B8E7-D04039DBA80D}" dt="2021-05-24T16:09:26.957" v="14988" actId="790"/>
          <ac:spMkLst>
            <pc:docMk/>
            <pc:sldMk cId="1845337448" sldId="10441"/>
            <ac:spMk id="90" creationId="{C1682200-357E-4434-8AD7-5A0786BF6D1B}"/>
          </ac:spMkLst>
        </pc:spChg>
        <pc:spChg chg="mod">
          <ac:chgData name="Sarah GAUVARD" userId="4c03e191-e154-482a-88b2-11de19eac96c" providerId="ADAL" clId="{8245CC27-65FB-483E-B8E7-D04039DBA80D}" dt="2021-05-24T16:09:26.965" v="14991" actId="790"/>
          <ac:spMkLst>
            <pc:docMk/>
            <pc:sldMk cId="1845337448" sldId="10441"/>
            <ac:spMk id="96" creationId="{5BB653FA-7502-456B-9DD5-1867522D3A88}"/>
          </ac:spMkLst>
        </pc:spChg>
        <pc:spChg chg="mod">
          <ac:chgData name="Sarah GAUVARD" userId="4c03e191-e154-482a-88b2-11de19eac96c" providerId="ADAL" clId="{8245CC27-65FB-483E-B8E7-D04039DBA80D}" dt="2021-05-24T16:09:26.947" v="14979" actId="790"/>
          <ac:spMkLst>
            <pc:docMk/>
            <pc:sldMk cId="1845337448" sldId="10441"/>
            <ac:spMk id="100" creationId="{EF6C7B41-C54E-4684-BB9A-36701E115EBF}"/>
          </ac:spMkLst>
        </pc:spChg>
        <pc:spChg chg="mod">
          <ac:chgData name="Sarah GAUVARD" userId="4c03e191-e154-482a-88b2-11de19eac96c" providerId="ADAL" clId="{8245CC27-65FB-483E-B8E7-D04039DBA80D}" dt="2021-05-24T16:09:26.967" v="15004" actId="790"/>
          <ac:spMkLst>
            <pc:docMk/>
            <pc:sldMk cId="1845337448" sldId="10441"/>
            <ac:spMk id="101" creationId="{8EB0214B-2FE2-432F-AA82-C10DEC9DB30E}"/>
          </ac:spMkLst>
        </pc:spChg>
        <pc:spChg chg="del">
          <ac:chgData name="Sarah GAUVARD" userId="4c03e191-e154-482a-88b2-11de19eac96c" providerId="ADAL" clId="{8245CC27-65FB-483E-B8E7-D04039DBA80D}" dt="2021-05-24T09:51:09.860" v="929" actId="478"/>
          <ac:spMkLst>
            <pc:docMk/>
            <pc:sldMk cId="1845337448" sldId="10441"/>
            <ac:spMk id="102" creationId="{E454C079-FF1D-4271-AA97-0FFDFD69ACA7}"/>
          </ac:spMkLst>
        </pc:spChg>
        <pc:spChg chg="del">
          <ac:chgData name="Sarah GAUVARD" userId="4c03e191-e154-482a-88b2-11de19eac96c" providerId="ADAL" clId="{8245CC27-65FB-483E-B8E7-D04039DBA80D}" dt="2021-05-24T09:51:09.860" v="929" actId="478"/>
          <ac:spMkLst>
            <pc:docMk/>
            <pc:sldMk cId="1845337448" sldId="10441"/>
            <ac:spMk id="104" creationId="{EB044B9B-3317-4EDD-B1BE-CE722320F9ED}"/>
          </ac:spMkLst>
        </pc:spChg>
        <pc:spChg chg="mod">
          <ac:chgData name="Sarah GAUVARD" userId="4c03e191-e154-482a-88b2-11de19eac96c" providerId="ADAL" clId="{8245CC27-65FB-483E-B8E7-D04039DBA80D}" dt="2021-05-24T16:09:26.937" v="14964" actId="790"/>
          <ac:spMkLst>
            <pc:docMk/>
            <pc:sldMk cId="1845337448" sldId="10441"/>
            <ac:spMk id="107" creationId="{31D0AEAA-51DD-4312-8DD3-D5664A3B479D}"/>
          </ac:spMkLst>
        </pc:spChg>
        <pc:spChg chg="mod">
          <ac:chgData name="Sarah GAUVARD" userId="4c03e191-e154-482a-88b2-11de19eac96c" providerId="ADAL" clId="{8245CC27-65FB-483E-B8E7-D04039DBA80D}" dt="2021-05-24T16:09:26.957" v="14985" actId="790"/>
          <ac:spMkLst>
            <pc:docMk/>
            <pc:sldMk cId="1845337448" sldId="10441"/>
            <ac:spMk id="108" creationId="{B4E79E7D-0395-4CE2-8F8E-F7FFDE4BA106}"/>
          </ac:spMkLst>
        </pc:spChg>
        <pc:spChg chg="mod">
          <ac:chgData name="Sarah GAUVARD" userId="4c03e191-e154-482a-88b2-11de19eac96c" providerId="ADAL" clId="{8245CC27-65FB-483E-B8E7-D04039DBA80D}" dt="2021-05-24T16:09:26.957" v="14987" actId="790"/>
          <ac:spMkLst>
            <pc:docMk/>
            <pc:sldMk cId="1845337448" sldId="10441"/>
            <ac:spMk id="119" creationId="{EEF55E94-FD53-41D7-A423-6B56C40D88A1}"/>
          </ac:spMkLst>
        </pc:spChg>
        <pc:spChg chg="mod">
          <ac:chgData name="Sarah GAUVARD" userId="4c03e191-e154-482a-88b2-11de19eac96c" providerId="ADAL" clId="{8245CC27-65FB-483E-B8E7-D04039DBA80D}" dt="2021-05-25T11:07:09.045" v="19790" actId="20577"/>
          <ac:spMkLst>
            <pc:docMk/>
            <pc:sldMk cId="1845337448" sldId="10441"/>
            <ac:spMk id="120" creationId="{697B9F9F-BFD2-4BBC-A2BC-06F0D17B4298}"/>
          </ac:spMkLst>
        </pc:spChg>
        <pc:spChg chg="mod">
          <ac:chgData name="Sarah GAUVARD" userId="4c03e191-e154-482a-88b2-11de19eac96c" providerId="ADAL" clId="{8245CC27-65FB-483E-B8E7-D04039DBA80D}" dt="2021-05-25T11:06:41.433" v="19767" actId="20577"/>
          <ac:spMkLst>
            <pc:docMk/>
            <pc:sldMk cId="1845337448" sldId="10441"/>
            <ac:spMk id="122" creationId="{7ED4A8D8-06EE-4620-B65B-5E3B52A3ABAE}"/>
          </ac:spMkLst>
        </pc:spChg>
        <pc:spChg chg="mod">
          <ac:chgData name="Sarah GAUVARD" userId="4c03e191-e154-482a-88b2-11de19eac96c" providerId="ADAL" clId="{8245CC27-65FB-483E-B8E7-D04039DBA80D}" dt="2021-05-24T16:09:26.965" v="14992" actId="790"/>
          <ac:spMkLst>
            <pc:docMk/>
            <pc:sldMk cId="1845337448" sldId="10441"/>
            <ac:spMk id="123" creationId="{CCD5F39F-64EB-4F4E-BE6B-002C617492EF}"/>
          </ac:spMkLst>
        </pc:spChg>
        <pc:spChg chg="del">
          <ac:chgData name="Sarah GAUVARD" userId="4c03e191-e154-482a-88b2-11de19eac96c" providerId="ADAL" clId="{8245CC27-65FB-483E-B8E7-D04039DBA80D}" dt="2021-05-24T09:51:09.860" v="929" actId="478"/>
          <ac:spMkLst>
            <pc:docMk/>
            <pc:sldMk cId="1845337448" sldId="10441"/>
            <ac:spMk id="126" creationId="{D16FD6B1-A05D-4ED6-89A1-D54311C82485}"/>
          </ac:spMkLst>
        </pc:spChg>
        <pc:spChg chg="del">
          <ac:chgData name="Sarah GAUVARD" userId="4c03e191-e154-482a-88b2-11de19eac96c" providerId="ADAL" clId="{8245CC27-65FB-483E-B8E7-D04039DBA80D}" dt="2021-05-25T11:25:56.231" v="20452" actId="478"/>
          <ac:spMkLst>
            <pc:docMk/>
            <pc:sldMk cId="1845337448" sldId="10441"/>
            <ac:spMk id="133" creationId="{24284652-47EB-43CC-87EB-BEEB65193ECD}"/>
          </ac:spMkLst>
        </pc:spChg>
        <pc:spChg chg="del">
          <ac:chgData name="Sarah GAUVARD" userId="4c03e191-e154-482a-88b2-11de19eac96c" providerId="ADAL" clId="{8245CC27-65FB-483E-B8E7-D04039DBA80D}" dt="2021-05-24T09:51:09.860" v="929" actId="478"/>
          <ac:spMkLst>
            <pc:docMk/>
            <pc:sldMk cId="1845337448" sldId="10441"/>
            <ac:spMk id="133" creationId="{D106617F-1204-4F3D-995B-CD0F0CF862E2}"/>
          </ac:spMkLst>
        </pc:spChg>
        <pc:spChg chg="del mod">
          <ac:chgData name="Sarah GAUVARD" userId="4c03e191-e154-482a-88b2-11de19eac96c" providerId="ADAL" clId="{8245CC27-65FB-483E-B8E7-D04039DBA80D}" dt="2021-05-24T09:51:09.860" v="929" actId="478"/>
          <ac:spMkLst>
            <pc:docMk/>
            <pc:sldMk cId="1845337448" sldId="10441"/>
            <ac:spMk id="134" creationId="{19C804EA-F93C-4797-B1E2-E53FC5B755E8}"/>
          </ac:spMkLst>
        </pc:spChg>
        <pc:spChg chg="del">
          <ac:chgData name="Sarah GAUVARD" userId="4c03e191-e154-482a-88b2-11de19eac96c" providerId="ADAL" clId="{8245CC27-65FB-483E-B8E7-D04039DBA80D}" dt="2021-05-25T11:22:10.744" v="20340" actId="478"/>
          <ac:spMkLst>
            <pc:docMk/>
            <pc:sldMk cId="1845337448" sldId="10441"/>
            <ac:spMk id="135" creationId="{BEA4B1EB-1724-43B4-B472-FABCE6D3B8CD}"/>
          </ac:spMkLst>
        </pc:spChg>
        <pc:spChg chg="del mod">
          <ac:chgData name="Sarah GAUVARD" userId="4c03e191-e154-482a-88b2-11de19eac96c" providerId="ADAL" clId="{8245CC27-65FB-483E-B8E7-D04039DBA80D}" dt="2021-05-24T09:52:04.383" v="988" actId="478"/>
          <ac:spMkLst>
            <pc:docMk/>
            <pc:sldMk cId="1845337448" sldId="10441"/>
            <ac:spMk id="135" creationId="{DFEC2C56-4B0F-4B31-880E-6EF71AB667BF}"/>
          </ac:spMkLst>
        </pc:spChg>
        <pc:spChg chg="add del mod">
          <ac:chgData name="Sarah GAUVARD" userId="4c03e191-e154-482a-88b2-11de19eac96c" providerId="ADAL" clId="{8245CC27-65FB-483E-B8E7-D04039DBA80D}" dt="2021-05-24T09:51:06.110" v="928" actId="21"/>
          <ac:spMkLst>
            <pc:docMk/>
            <pc:sldMk cId="1845337448" sldId="10441"/>
            <ac:spMk id="136" creationId="{5B72C60B-8BE0-42ED-ABCC-BF19ECDDD861}"/>
          </ac:spMkLst>
        </pc:spChg>
        <pc:spChg chg="add del mod">
          <ac:chgData name="Sarah GAUVARD" userId="4c03e191-e154-482a-88b2-11de19eac96c" providerId="ADAL" clId="{8245CC27-65FB-483E-B8E7-D04039DBA80D}" dt="2021-05-24T09:51:06.110" v="928" actId="21"/>
          <ac:spMkLst>
            <pc:docMk/>
            <pc:sldMk cId="1845337448" sldId="10441"/>
            <ac:spMk id="137" creationId="{E32E7E1C-52CB-4E31-8C44-F6E49D13A1DB}"/>
          </ac:spMkLst>
        </pc:spChg>
        <pc:spChg chg="add del mod">
          <ac:chgData name="Sarah GAUVARD" userId="4c03e191-e154-482a-88b2-11de19eac96c" providerId="ADAL" clId="{8245CC27-65FB-483E-B8E7-D04039DBA80D}" dt="2021-05-24T09:51:06.110" v="928" actId="21"/>
          <ac:spMkLst>
            <pc:docMk/>
            <pc:sldMk cId="1845337448" sldId="10441"/>
            <ac:spMk id="138" creationId="{9AD29D63-151D-4CAC-9ACF-CF6D37F56077}"/>
          </ac:spMkLst>
        </pc:spChg>
        <pc:spChg chg="add del mod">
          <ac:chgData name="Sarah GAUVARD" userId="4c03e191-e154-482a-88b2-11de19eac96c" providerId="ADAL" clId="{8245CC27-65FB-483E-B8E7-D04039DBA80D}" dt="2021-05-24T09:51:06.110" v="928" actId="21"/>
          <ac:spMkLst>
            <pc:docMk/>
            <pc:sldMk cId="1845337448" sldId="10441"/>
            <ac:spMk id="139" creationId="{B4067817-700C-4C6B-B404-382893E53EC3}"/>
          </ac:spMkLst>
        </pc:spChg>
        <pc:spChg chg="add del mod">
          <ac:chgData name="Sarah GAUVARD" userId="4c03e191-e154-482a-88b2-11de19eac96c" providerId="ADAL" clId="{8245CC27-65FB-483E-B8E7-D04039DBA80D}" dt="2021-05-24T09:51:06.110" v="928" actId="21"/>
          <ac:spMkLst>
            <pc:docMk/>
            <pc:sldMk cId="1845337448" sldId="10441"/>
            <ac:spMk id="140" creationId="{66FF2510-DC90-480C-909D-0EBFE0DED72B}"/>
          </ac:spMkLst>
        </pc:spChg>
        <pc:spChg chg="add mod">
          <ac:chgData name="Sarah GAUVARD" userId="4c03e191-e154-482a-88b2-11de19eac96c" providerId="ADAL" clId="{8245CC27-65FB-483E-B8E7-D04039DBA80D}" dt="2021-05-24T09:51:16.620" v="934" actId="1038"/>
          <ac:spMkLst>
            <pc:docMk/>
            <pc:sldMk cId="1845337448" sldId="10441"/>
            <ac:spMk id="141" creationId="{C19E2399-AA4C-4252-873E-38280C3DF296}"/>
          </ac:spMkLst>
        </pc:spChg>
        <pc:spChg chg="add mod">
          <ac:chgData name="Sarah GAUVARD" userId="4c03e191-e154-482a-88b2-11de19eac96c" providerId="ADAL" clId="{8245CC27-65FB-483E-B8E7-D04039DBA80D}" dt="2021-05-24T09:51:16.620" v="934" actId="1038"/>
          <ac:spMkLst>
            <pc:docMk/>
            <pc:sldMk cId="1845337448" sldId="10441"/>
            <ac:spMk id="144" creationId="{1AE2D588-096B-4C4C-B474-EC3FF281ECD7}"/>
          </ac:spMkLst>
        </pc:spChg>
        <pc:spChg chg="add mod">
          <ac:chgData name="Sarah GAUVARD" userId="4c03e191-e154-482a-88b2-11de19eac96c" providerId="ADAL" clId="{8245CC27-65FB-483E-B8E7-D04039DBA80D}" dt="2021-05-24T09:51:16.620" v="934" actId="1038"/>
          <ac:spMkLst>
            <pc:docMk/>
            <pc:sldMk cId="1845337448" sldId="10441"/>
            <ac:spMk id="146" creationId="{16575D1F-B714-4E35-B5DC-2A598E791BBC}"/>
          </ac:spMkLst>
        </pc:spChg>
        <pc:spChg chg="add mod">
          <ac:chgData name="Sarah GAUVARD" userId="4c03e191-e154-482a-88b2-11de19eac96c" providerId="ADAL" clId="{8245CC27-65FB-483E-B8E7-D04039DBA80D}" dt="2021-05-24T09:51:16.620" v="934" actId="1038"/>
          <ac:spMkLst>
            <pc:docMk/>
            <pc:sldMk cId="1845337448" sldId="10441"/>
            <ac:spMk id="153" creationId="{C4D2AEA3-DC3E-4430-855E-11D7FEBA0E01}"/>
          </ac:spMkLst>
        </pc:spChg>
        <pc:spChg chg="mod">
          <ac:chgData name="Sarah GAUVARD" userId="4c03e191-e154-482a-88b2-11de19eac96c" providerId="ADAL" clId="{8245CC27-65FB-483E-B8E7-D04039DBA80D}" dt="2021-05-24T16:09:26.967" v="15001" actId="790"/>
          <ac:spMkLst>
            <pc:docMk/>
            <pc:sldMk cId="1845337448" sldId="10441"/>
            <ac:spMk id="154" creationId="{A7269958-7FC5-479F-B17B-49D115F118B6}"/>
          </ac:spMkLst>
        </pc:spChg>
        <pc:spChg chg="add mod">
          <ac:chgData name="Sarah GAUVARD" userId="4c03e191-e154-482a-88b2-11de19eac96c" providerId="ADAL" clId="{8245CC27-65FB-483E-B8E7-D04039DBA80D}" dt="2021-05-24T09:51:16.620" v="934" actId="1038"/>
          <ac:spMkLst>
            <pc:docMk/>
            <pc:sldMk cId="1845337448" sldId="10441"/>
            <ac:spMk id="155" creationId="{24811E8C-1BDE-449F-8847-3DF240F42E2A}"/>
          </ac:spMkLst>
        </pc:spChg>
        <pc:spChg chg="mod">
          <ac:chgData name="Sarah GAUVARD" userId="4c03e191-e154-482a-88b2-11de19eac96c" providerId="ADAL" clId="{8245CC27-65FB-483E-B8E7-D04039DBA80D}" dt="2021-05-24T16:09:26.975" v="15005" actId="790"/>
          <ac:spMkLst>
            <pc:docMk/>
            <pc:sldMk cId="1845337448" sldId="10441"/>
            <ac:spMk id="156" creationId="{78B42A74-8402-46F7-85B4-4EA55358E9EE}"/>
          </ac:spMkLst>
        </pc:spChg>
        <pc:spChg chg="mod">
          <ac:chgData name="Sarah GAUVARD" userId="4c03e191-e154-482a-88b2-11de19eac96c" providerId="ADAL" clId="{8245CC27-65FB-483E-B8E7-D04039DBA80D}" dt="2021-05-24T16:09:26.975" v="15006" actId="790"/>
          <ac:spMkLst>
            <pc:docMk/>
            <pc:sldMk cId="1845337448" sldId="10441"/>
            <ac:spMk id="158" creationId="{018C1073-1707-42C1-9EB1-0419864D0894}"/>
          </ac:spMkLst>
        </pc:spChg>
        <pc:spChg chg="mod">
          <ac:chgData name="Sarah GAUVARD" userId="4c03e191-e154-482a-88b2-11de19eac96c" providerId="ADAL" clId="{8245CC27-65FB-483E-B8E7-D04039DBA80D}" dt="2021-05-24T16:09:26.975" v="15007" actId="790"/>
          <ac:spMkLst>
            <pc:docMk/>
            <pc:sldMk cId="1845337448" sldId="10441"/>
            <ac:spMk id="159" creationId="{1F60C19C-B20E-4713-B9B2-B460BB96CBCC}"/>
          </ac:spMkLst>
        </pc:spChg>
        <pc:spChg chg="mod">
          <ac:chgData name="Sarah GAUVARD" userId="4c03e191-e154-482a-88b2-11de19eac96c" providerId="ADAL" clId="{8245CC27-65FB-483E-B8E7-D04039DBA80D}" dt="2021-05-24T16:09:26.977" v="15008" actId="790"/>
          <ac:spMkLst>
            <pc:docMk/>
            <pc:sldMk cId="1845337448" sldId="10441"/>
            <ac:spMk id="160" creationId="{17966E04-7D6E-4A88-871C-02D8F9F76972}"/>
          </ac:spMkLst>
        </pc:spChg>
        <pc:spChg chg="mod">
          <ac:chgData name="Sarah GAUVARD" userId="4c03e191-e154-482a-88b2-11de19eac96c" providerId="ADAL" clId="{8245CC27-65FB-483E-B8E7-D04039DBA80D}" dt="2021-05-24T16:09:26.977" v="15009" actId="790"/>
          <ac:spMkLst>
            <pc:docMk/>
            <pc:sldMk cId="1845337448" sldId="10441"/>
            <ac:spMk id="161" creationId="{B53FB642-A247-41DF-B8C1-743170CD37A4}"/>
          </ac:spMkLst>
        </pc:spChg>
        <pc:spChg chg="mod">
          <ac:chgData name="Sarah GAUVARD" userId="4c03e191-e154-482a-88b2-11de19eac96c" providerId="ADAL" clId="{8245CC27-65FB-483E-B8E7-D04039DBA80D}" dt="2021-05-24T16:09:26.977" v="15010" actId="790"/>
          <ac:spMkLst>
            <pc:docMk/>
            <pc:sldMk cId="1845337448" sldId="10441"/>
            <ac:spMk id="162" creationId="{9F73F5EE-B015-43F6-8CCF-FE13D398FD9A}"/>
          </ac:spMkLst>
        </pc:spChg>
        <pc:spChg chg="mod">
          <ac:chgData name="Sarah GAUVARD" userId="4c03e191-e154-482a-88b2-11de19eac96c" providerId="ADAL" clId="{8245CC27-65FB-483E-B8E7-D04039DBA80D}" dt="2021-05-24T16:09:26.977" v="15011" actId="790"/>
          <ac:spMkLst>
            <pc:docMk/>
            <pc:sldMk cId="1845337448" sldId="10441"/>
            <ac:spMk id="163" creationId="{915CE087-6A01-4C8B-9F1A-FC807317FFA9}"/>
          </ac:spMkLst>
        </pc:spChg>
        <pc:spChg chg="mod">
          <ac:chgData name="Sarah GAUVARD" userId="4c03e191-e154-482a-88b2-11de19eac96c" providerId="ADAL" clId="{8245CC27-65FB-483E-B8E7-D04039DBA80D}" dt="2021-05-24T16:09:26.967" v="14994" actId="790"/>
          <ac:spMkLst>
            <pc:docMk/>
            <pc:sldMk cId="1845337448" sldId="10441"/>
            <ac:spMk id="165" creationId="{C389F3EC-7313-454E-9942-F14FD0BD4C77}"/>
          </ac:spMkLst>
        </pc:spChg>
        <pc:spChg chg="mod">
          <ac:chgData name="Sarah GAUVARD" userId="4c03e191-e154-482a-88b2-11de19eac96c" providerId="ADAL" clId="{8245CC27-65FB-483E-B8E7-D04039DBA80D}" dt="2021-05-24T16:09:26.967" v="14995" actId="790"/>
          <ac:spMkLst>
            <pc:docMk/>
            <pc:sldMk cId="1845337448" sldId="10441"/>
            <ac:spMk id="166" creationId="{A3938D6F-1923-42FF-B2ED-6C2BEA79BA03}"/>
          </ac:spMkLst>
        </pc:spChg>
        <pc:spChg chg="mod">
          <ac:chgData name="Sarah GAUVARD" userId="4c03e191-e154-482a-88b2-11de19eac96c" providerId="ADAL" clId="{8245CC27-65FB-483E-B8E7-D04039DBA80D}" dt="2021-05-24T16:09:26.967" v="14996" actId="790"/>
          <ac:spMkLst>
            <pc:docMk/>
            <pc:sldMk cId="1845337448" sldId="10441"/>
            <ac:spMk id="168" creationId="{C423BD9F-9E4A-46B8-89D7-67C1FE84B168}"/>
          </ac:spMkLst>
        </pc:spChg>
        <pc:spChg chg="mod">
          <ac:chgData name="Sarah GAUVARD" userId="4c03e191-e154-482a-88b2-11de19eac96c" providerId="ADAL" clId="{8245CC27-65FB-483E-B8E7-D04039DBA80D}" dt="2021-05-24T16:09:26.967" v="14997" actId="790"/>
          <ac:spMkLst>
            <pc:docMk/>
            <pc:sldMk cId="1845337448" sldId="10441"/>
            <ac:spMk id="169" creationId="{7881ABC3-A97B-4E90-939F-E48D9595FFFF}"/>
          </ac:spMkLst>
        </pc:spChg>
        <pc:spChg chg="mod">
          <ac:chgData name="Sarah GAUVARD" userId="4c03e191-e154-482a-88b2-11de19eac96c" providerId="ADAL" clId="{8245CC27-65FB-483E-B8E7-D04039DBA80D}" dt="2021-05-24T16:09:26.967" v="14998" actId="790"/>
          <ac:spMkLst>
            <pc:docMk/>
            <pc:sldMk cId="1845337448" sldId="10441"/>
            <ac:spMk id="170" creationId="{A886CA56-9620-415B-9489-A004AB6EB706}"/>
          </ac:spMkLst>
        </pc:spChg>
        <pc:spChg chg="mod">
          <ac:chgData name="Sarah GAUVARD" userId="4c03e191-e154-482a-88b2-11de19eac96c" providerId="ADAL" clId="{8245CC27-65FB-483E-B8E7-D04039DBA80D}" dt="2021-05-24T16:09:26.967" v="14999" actId="790"/>
          <ac:spMkLst>
            <pc:docMk/>
            <pc:sldMk cId="1845337448" sldId="10441"/>
            <ac:spMk id="171" creationId="{BCC6DEFD-6FEB-4777-9432-E3B2F5C51000}"/>
          </ac:spMkLst>
        </pc:spChg>
        <pc:spChg chg="mod">
          <ac:chgData name="Sarah GAUVARD" userId="4c03e191-e154-482a-88b2-11de19eac96c" providerId="ADAL" clId="{8245CC27-65FB-483E-B8E7-D04039DBA80D}" dt="2021-05-24T16:09:26.967" v="15000" actId="790"/>
          <ac:spMkLst>
            <pc:docMk/>
            <pc:sldMk cId="1845337448" sldId="10441"/>
            <ac:spMk id="172" creationId="{04568322-5012-422B-991D-C9A4712E25C9}"/>
          </ac:spMkLst>
        </pc:spChg>
        <pc:spChg chg="mod">
          <ac:chgData name="Sarah GAUVARD" userId="4c03e191-e154-482a-88b2-11de19eac96c" providerId="ADAL" clId="{8245CC27-65FB-483E-B8E7-D04039DBA80D}" dt="2021-05-24T16:09:26.967" v="15002" actId="790"/>
          <ac:spMkLst>
            <pc:docMk/>
            <pc:sldMk cId="1845337448" sldId="10441"/>
            <ac:spMk id="197" creationId="{EB1ED8EE-1371-4F31-B475-A7FD22F01C88}"/>
          </ac:spMkLst>
        </pc:spChg>
        <pc:spChg chg="mod">
          <ac:chgData name="Sarah GAUVARD" userId="4c03e191-e154-482a-88b2-11de19eac96c" providerId="ADAL" clId="{8245CC27-65FB-483E-B8E7-D04039DBA80D}" dt="2021-05-24T16:09:26.967" v="15003" actId="790"/>
          <ac:spMkLst>
            <pc:docMk/>
            <pc:sldMk cId="1845337448" sldId="10441"/>
            <ac:spMk id="212" creationId="{F492C173-DFD6-47CF-9BB4-C8925127E1EE}"/>
          </ac:spMkLst>
        </pc:spChg>
        <pc:spChg chg="mod">
          <ac:chgData name="Sarah GAUVARD" userId="4c03e191-e154-482a-88b2-11de19eac96c" providerId="ADAL" clId="{8245CC27-65FB-483E-B8E7-D04039DBA80D}" dt="2021-05-24T16:09:26.957" v="14980" actId="790"/>
          <ac:spMkLst>
            <pc:docMk/>
            <pc:sldMk cId="1845337448" sldId="10441"/>
            <ac:spMk id="1031" creationId="{A3845A5C-C65F-4C44-AE3B-D3285DF51268}"/>
          </ac:spMkLst>
        </pc:spChg>
        <pc:spChg chg="mod">
          <ac:chgData name="Sarah GAUVARD" userId="4c03e191-e154-482a-88b2-11de19eac96c" providerId="ADAL" clId="{8245CC27-65FB-483E-B8E7-D04039DBA80D}" dt="2021-05-24T16:09:26.957" v="14981" actId="790"/>
          <ac:spMkLst>
            <pc:docMk/>
            <pc:sldMk cId="1845337448" sldId="10441"/>
            <ac:spMk id="1035" creationId="{9164A53F-4711-41A4-BE3D-8D2F4243A495}"/>
          </ac:spMkLst>
        </pc:spChg>
        <pc:spChg chg="mod">
          <ac:chgData name="Sarah GAUVARD" userId="4c03e191-e154-482a-88b2-11de19eac96c" providerId="ADAL" clId="{8245CC27-65FB-483E-B8E7-D04039DBA80D}" dt="2021-05-24T16:09:26.937" v="14965" actId="790"/>
          <ac:spMkLst>
            <pc:docMk/>
            <pc:sldMk cId="1845337448" sldId="10441"/>
            <ac:spMk id="4107" creationId="{EBC573C8-C4E3-432A-81F7-B99236DF594A}"/>
          </ac:spMkLst>
        </pc:spChg>
        <pc:graphicFrameChg chg="mod">
          <ac:chgData name="Sarah GAUVARD" userId="4c03e191-e154-482a-88b2-11de19eac96c" providerId="ADAL" clId="{8245CC27-65FB-483E-B8E7-D04039DBA80D}" dt="2021-05-25T15:25:27.924" v="27746"/>
          <ac:graphicFrameMkLst>
            <pc:docMk/>
            <pc:sldMk cId="1845337448" sldId="10441"/>
            <ac:graphicFrameMk id="17" creationId="{FF44A7FF-DA1D-48E9-88AF-BFA57A1D74D1}"/>
          </ac:graphicFrameMkLst>
        </pc:graphicFrameChg>
        <pc:picChg chg="del">
          <ac:chgData name="Sarah GAUVARD" userId="4c03e191-e154-482a-88b2-11de19eac96c" providerId="ADAL" clId="{8245CC27-65FB-483E-B8E7-D04039DBA80D}" dt="2021-05-25T11:25:57.821" v="20453" actId="478"/>
          <ac:picMkLst>
            <pc:docMk/>
            <pc:sldMk cId="1845337448" sldId="10441"/>
            <ac:picMk id="41" creationId="{8ADC216A-F93F-421D-872E-AFDDDE309ED2}"/>
          </ac:picMkLst>
        </pc:picChg>
        <pc:picChg chg="mod">
          <ac:chgData name="Sarah GAUVARD" userId="4c03e191-e154-482a-88b2-11de19eac96c" providerId="ADAL" clId="{8245CC27-65FB-483E-B8E7-D04039DBA80D}" dt="2021-05-25T11:07:11.979" v="19791" actId="1076"/>
          <ac:picMkLst>
            <pc:docMk/>
            <pc:sldMk cId="1845337448" sldId="10441"/>
            <ac:picMk id="54" creationId="{07B25E78-4CD6-494B-A353-BC2567B82901}"/>
          </ac:picMkLst>
        </pc:picChg>
        <pc:picChg chg="add mod">
          <ac:chgData name="Sarah GAUVARD" userId="4c03e191-e154-482a-88b2-11de19eac96c" providerId="ADAL" clId="{8245CC27-65FB-483E-B8E7-D04039DBA80D}" dt="2021-05-25T11:06:17.327" v="19734" actId="1076"/>
          <ac:picMkLst>
            <pc:docMk/>
            <pc:sldMk cId="1845337448" sldId="10441"/>
            <ac:picMk id="134" creationId="{E53388F6-941C-440A-BD0B-20C1F4AD2EF7}"/>
          </ac:picMkLst>
        </pc:picChg>
        <pc:picChg chg="add mod">
          <ac:chgData name="Sarah GAUVARD" userId="4c03e191-e154-482a-88b2-11de19eac96c" providerId="ADAL" clId="{8245CC27-65FB-483E-B8E7-D04039DBA80D}" dt="2021-05-25T11:26:03.250" v="20459" actId="1038"/>
          <ac:picMkLst>
            <pc:docMk/>
            <pc:sldMk cId="1845337448" sldId="10441"/>
            <ac:picMk id="140" creationId="{2EAD89C5-26FC-45ED-A1DA-748F4B83DD1B}"/>
          </ac:picMkLst>
        </pc:picChg>
      </pc:sldChg>
      <pc:sldChg chg="addSp delSp modSp mod">
        <pc:chgData name="Sarah GAUVARD" userId="4c03e191-e154-482a-88b2-11de19eac96c" providerId="ADAL" clId="{8245CC27-65FB-483E-B8E7-D04039DBA80D}" dt="2021-05-24T16:09:30.031" v="17477"/>
        <pc:sldMkLst>
          <pc:docMk/>
          <pc:sldMk cId="119867206" sldId="10442"/>
        </pc:sldMkLst>
        <pc:spChg chg="mod">
          <ac:chgData name="Sarah GAUVARD" userId="4c03e191-e154-482a-88b2-11de19eac96c" providerId="ADAL" clId="{8245CC27-65FB-483E-B8E7-D04039DBA80D}" dt="2021-05-24T16:09:29.970" v="17423" actId="948"/>
          <ac:spMkLst>
            <pc:docMk/>
            <pc:sldMk cId="119867206" sldId="10442"/>
            <ac:spMk id="2" creationId="{65FB54C3-7A29-4F52-9D6B-AA323F834961}"/>
          </ac:spMkLst>
        </pc:spChg>
        <pc:spChg chg="mod">
          <ac:chgData name="Sarah GAUVARD" userId="4c03e191-e154-482a-88b2-11de19eac96c" providerId="ADAL" clId="{8245CC27-65FB-483E-B8E7-D04039DBA80D}" dt="2021-05-24T16:09:28.210" v="16276" actId="790"/>
          <ac:spMkLst>
            <pc:docMk/>
            <pc:sldMk cId="119867206" sldId="10442"/>
            <ac:spMk id="16" creationId="{E625AD53-64CF-42F3-AA64-D4ABD13045AB}"/>
          </ac:spMkLst>
        </pc:spChg>
        <pc:spChg chg="mod">
          <ac:chgData name="Sarah GAUVARD" userId="4c03e191-e154-482a-88b2-11de19eac96c" providerId="ADAL" clId="{8245CC27-65FB-483E-B8E7-D04039DBA80D}" dt="2021-05-24T16:09:28.210" v="16277" actId="790"/>
          <ac:spMkLst>
            <pc:docMk/>
            <pc:sldMk cId="119867206" sldId="10442"/>
            <ac:spMk id="19" creationId="{CE784874-640E-4FCC-A7A8-772CCF499F02}"/>
          </ac:spMkLst>
        </pc:spChg>
        <pc:spChg chg="mod">
          <ac:chgData name="Sarah GAUVARD" userId="4c03e191-e154-482a-88b2-11de19eac96c" providerId="ADAL" clId="{8245CC27-65FB-483E-B8E7-D04039DBA80D}" dt="2021-05-24T16:09:28.230" v="16294" actId="790"/>
          <ac:spMkLst>
            <pc:docMk/>
            <pc:sldMk cId="119867206" sldId="10442"/>
            <ac:spMk id="20" creationId="{D1FA0833-EFF2-4B7E-9171-123851B44050}"/>
          </ac:spMkLst>
        </pc:spChg>
        <pc:spChg chg="mod">
          <ac:chgData name="Sarah GAUVARD" userId="4c03e191-e154-482a-88b2-11de19eac96c" providerId="ADAL" clId="{8245CC27-65FB-483E-B8E7-D04039DBA80D}" dt="2021-05-24T16:09:28.230" v="16296" actId="790"/>
          <ac:spMkLst>
            <pc:docMk/>
            <pc:sldMk cId="119867206" sldId="10442"/>
            <ac:spMk id="22" creationId="{F3C04D9E-BF7B-4E81-8F68-CB75E5A8639B}"/>
          </ac:spMkLst>
        </pc:spChg>
        <pc:spChg chg="mod">
          <ac:chgData name="Sarah GAUVARD" userId="4c03e191-e154-482a-88b2-11de19eac96c" providerId="ADAL" clId="{8245CC27-65FB-483E-B8E7-D04039DBA80D}" dt="2021-05-24T16:09:28.230" v="16298" actId="790"/>
          <ac:spMkLst>
            <pc:docMk/>
            <pc:sldMk cId="119867206" sldId="10442"/>
            <ac:spMk id="23" creationId="{69708570-8585-4B93-8B60-BFE38DA082AC}"/>
          </ac:spMkLst>
        </pc:spChg>
        <pc:spChg chg="mod">
          <ac:chgData name="Sarah GAUVARD" userId="4c03e191-e154-482a-88b2-11de19eac96c" providerId="ADAL" clId="{8245CC27-65FB-483E-B8E7-D04039DBA80D}" dt="2021-05-24T15:34:38.971" v="7935" actId="790"/>
          <ac:spMkLst>
            <pc:docMk/>
            <pc:sldMk cId="119867206" sldId="10442"/>
            <ac:spMk id="25" creationId="{B2E15A85-4EF3-4C76-84D0-C91E31B750E5}"/>
          </ac:spMkLst>
        </pc:spChg>
        <pc:spChg chg="mod">
          <ac:chgData name="Sarah GAUVARD" userId="4c03e191-e154-482a-88b2-11de19eac96c" providerId="ADAL" clId="{8245CC27-65FB-483E-B8E7-D04039DBA80D}" dt="2021-05-24T15:34:38.972" v="7936" actId="790"/>
          <ac:spMkLst>
            <pc:docMk/>
            <pc:sldMk cId="119867206" sldId="10442"/>
            <ac:spMk id="26" creationId="{25B6D64A-3C90-4850-94AA-93589F113A33}"/>
          </ac:spMkLst>
        </pc:spChg>
        <pc:spChg chg="mod">
          <ac:chgData name="Sarah GAUVARD" userId="4c03e191-e154-482a-88b2-11de19eac96c" providerId="ADAL" clId="{8245CC27-65FB-483E-B8E7-D04039DBA80D}" dt="2021-05-24T15:34:38.973" v="7937" actId="790"/>
          <ac:spMkLst>
            <pc:docMk/>
            <pc:sldMk cId="119867206" sldId="10442"/>
            <ac:spMk id="27" creationId="{59E9AB94-AF02-4118-8DB2-E6821C5EFC90}"/>
          </ac:spMkLst>
        </pc:spChg>
        <pc:spChg chg="mod">
          <ac:chgData name="Sarah GAUVARD" userId="4c03e191-e154-482a-88b2-11de19eac96c" providerId="ADAL" clId="{8245CC27-65FB-483E-B8E7-D04039DBA80D}" dt="2021-05-24T16:09:28.210" v="16278" actId="790"/>
          <ac:spMkLst>
            <pc:docMk/>
            <pc:sldMk cId="119867206" sldId="10442"/>
            <ac:spMk id="28" creationId="{138E85E6-5B09-4B9A-A67C-B8BF0299E406}"/>
          </ac:spMkLst>
        </pc:spChg>
        <pc:spChg chg="mod">
          <ac:chgData name="Sarah GAUVARD" userId="4c03e191-e154-482a-88b2-11de19eac96c" providerId="ADAL" clId="{8245CC27-65FB-483E-B8E7-D04039DBA80D}" dt="2021-05-24T16:09:28.210" v="16279" actId="790"/>
          <ac:spMkLst>
            <pc:docMk/>
            <pc:sldMk cId="119867206" sldId="10442"/>
            <ac:spMk id="29" creationId="{4D05E647-B2AC-4967-8A12-04BF6D849BA2}"/>
          </ac:spMkLst>
        </pc:spChg>
        <pc:spChg chg="mod">
          <ac:chgData name="Sarah GAUVARD" userId="4c03e191-e154-482a-88b2-11de19eac96c" providerId="ADAL" clId="{8245CC27-65FB-483E-B8E7-D04039DBA80D}" dt="2021-05-24T16:09:28.220" v="16288" actId="790"/>
          <ac:spMkLst>
            <pc:docMk/>
            <pc:sldMk cId="119867206" sldId="10442"/>
            <ac:spMk id="30" creationId="{3234BEDE-0EAA-43C8-B745-6264596C01F6}"/>
          </ac:spMkLst>
        </pc:spChg>
        <pc:spChg chg="mod">
          <ac:chgData name="Sarah GAUVARD" userId="4c03e191-e154-482a-88b2-11de19eac96c" providerId="ADAL" clId="{8245CC27-65FB-483E-B8E7-D04039DBA80D}" dt="2021-05-24T16:09:28.220" v="16290" actId="790"/>
          <ac:spMkLst>
            <pc:docMk/>
            <pc:sldMk cId="119867206" sldId="10442"/>
            <ac:spMk id="31" creationId="{FBCCFBAE-290E-4D09-9A7A-6DD2B4B74D5E}"/>
          </ac:spMkLst>
        </pc:spChg>
        <pc:spChg chg="mod">
          <ac:chgData name="Sarah GAUVARD" userId="4c03e191-e154-482a-88b2-11de19eac96c" providerId="ADAL" clId="{8245CC27-65FB-483E-B8E7-D04039DBA80D}" dt="2021-05-24T16:09:28.230" v="16292" actId="790"/>
          <ac:spMkLst>
            <pc:docMk/>
            <pc:sldMk cId="119867206" sldId="10442"/>
            <ac:spMk id="33" creationId="{D943280D-7597-44ED-8893-A5890193057B}"/>
          </ac:spMkLst>
        </pc:spChg>
        <pc:spChg chg="mod">
          <ac:chgData name="Sarah GAUVARD" userId="4c03e191-e154-482a-88b2-11de19eac96c" providerId="ADAL" clId="{8245CC27-65FB-483E-B8E7-D04039DBA80D}" dt="2021-05-24T16:09:28.220" v="16284" actId="790"/>
          <ac:spMkLst>
            <pc:docMk/>
            <pc:sldMk cId="119867206" sldId="10442"/>
            <ac:spMk id="34" creationId="{4FDBDE50-D4D5-423B-89F8-28819E20B66A}"/>
          </ac:spMkLst>
        </pc:spChg>
        <pc:spChg chg="mod">
          <ac:chgData name="Sarah GAUVARD" userId="4c03e191-e154-482a-88b2-11de19eac96c" providerId="ADAL" clId="{8245CC27-65FB-483E-B8E7-D04039DBA80D}" dt="2021-05-24T16:09:28.220" v="16286" actId="790"/>
          <ac:spMkLst>
            <pc:docMk/>
            <pc:sldMk cId="119867206" sldId="10442"/>
            <ac:spMk id="35" creationId="{04821F65-85B0-49C8-8185-2D9762D2388E}"/>
          </ac:spMkLst>
        </pc:spChg>
        <pc:spChg chg="mod">
          <ac:chgData name="Sarah GAUVARD" userId="4c03e191-e154-482a-88b2-11de19eac96c" providerId="ADAL" clId="{8245CC27-65FB-483E-B8E7-D04039DBA80D}" dt="2021-05-24T16:09:28.218" v="16281" actId="790"/>
          <ac:spMkLst>
            <pc:docMk/>
            <pc:sldMk cId="119867206" sldId="10442"/>
            <ac:spMk id="36" creationId="{482A1232-234F-4E6C-ABD1-A62108139B77}"/>
          </ac:spMkLst>
        </pc:spChg>
        <pc:spChg chg="mod">
          <ac:chgData name="Sarah GAUVARD" userId="4c03e191-e154-482a-88b2-11de19eac96c" providerId="ADAL" clId="{8245CC27-65FB-483E-B8E7-D04039DBA80D}" dt="2021-05-24T16:09:28.218" v="16280" actId="790"/>
          <ac:spMkLst>
            <pc:docMk/>
            <pc:sldMk cId="119867206" sldId="10442"/>
            <ac:spMk id="38" creationId="{044C8133-1CA2-451F-9021-BE7A6E1D59C4}"/>
          </ac:spMkLst>
        </pc:spChg>
        <pc:spChg chg="mod">
          <ac:chgData name="Sarah GAUVARD" userId="4c03e191-e154-482a-88b2-11de19eac96c" providerId="ADAL" clId="{8245CC27-65FB-483E-B8E7-D04039DBA80D}" dt="2021-05-24T15:34:38.977" v="7941" actId="790"/>
          <ac:spMkLst>
            <pc:docMk/>
            <pc:sldMk cId="119867206" sldId="10442"/>
            <ac:spMk id="39" creationId="{E585079B-0F36-4D3F-AA82-90D247DEC22E}"/>
          </ac:spMkLst>
        </pc:spChg>
        <pc:spChg chg="mod">
          <ac:chgData name="Sarah GAUVARD" userId="4c03e191-e154-482a-88b2-11de19eac96c" providerId="ADAL" clId="{8245CC27-65FB-483E-B8E7-D04039DBA80D}" dt="2021-05-24T15:34:39.002" v="7958" actId="790"/>
          <ac:spMkLst>
            <pc:docMk/>
            <pc:sldMk cId="119867206" sldId="10442"/>
            <ac:spMk id="42" creationId="{1FE38CBB-0B74-461A-A649-61D588FFA9EF}"/>
          </ac:spMkLst>
        </pc:spChg>
        <pc:spChg chg="mod">
          <ac:chgData name="Sarah GAUVARD" userId="4c03e191-e154-482a-88b2-11de19eac96c" providerId="ADAL" clId="{8245CC27-65FB-483E-B8E7-D04039DBA80D}" dt="2021-05-24T15:34:39.013" v="7961" actId="790"/>
          <ac:spMkLst>
            <pc:docMk/>
            <pc:sldMk cId="119867206" sldId="10442"/>
            <ac:spMk id="43" creationId="{E5E24738-C897-4DDC-B560-8464687EA58D}"/>
          </ac:spMkLst>
        </pc:spChg>
        <pc:spChg chg="mod">
          <ac:chgData name="Sarah GAUVARD" userId="4c03e191-e154-482a-88b2-11de19eac96c" providerId="ADAL" clId="{8245CC27-65FB-483E-B8E7-D04039DBA80D}" dt="2021-05-24T16:09:28.220" v="16282" actId="790"/>
          <ac:spMkLst>
            <pc:docMk/>
            <pc:sldMk cId="119867206" sldId="10442"/>
            <ac:spMk id="45" creationId="{3E502BB1-A8E8-4A13-9372-A8667C6FB05E}"/>
          </ac:spMkLst>
        </pc:spChg>
        <pc:spChg chg="mod">
          <ac:chgData name="Sarah GAUVARD" userId="4c03e191-e154-482a-88b2-11de19eac96c" providerId="ADAL" clId="{8245CC27-65FB-483E-B8E7-D04039DBA80D}" dt="2021-05-24T16:09:28.220" v="16283" actId="790"/>
          <ac:spMkLst>
            <pc:docMk/>
            <pc:sldMk cId="119867206" sldId="10442"/>
            <ac:spMk id="53" creationId="{2D090911-243F-4A27-B4DB-205B60F55F47}"/>
          </ac:spMkLst>
        </pc:spChg>
        <pc:spChg chg="mod">
          <ac:chgData name="Sarah GAUVARD" userId="4c03e191-e154-482a-88b2-11de19eac96c" providerId="ADAL" clId="{8245CC27-65FB-483E-B8E7-D04039DBA80D}" dt="2021-05-24T16:09:28.220" v="16285" actId="790"/>
          <ac:spMkLst>
            <pc:docMk/>
            <pc:sldMk cId="119867206" sldId="10442"/>
            <ac:spMk id="55" creationId="{22FD3FE4-143E-452C-8A68-21746130045F}"/>
          </ac:spMkLst>
        </pc:spChg>
        <pc:spChg chg="mod">
          <ac:chgData name="Sarah GAUVARD" userId="4c03e191-e154-482a-88b2-11de19eac96c" providerId="ADAL" clId="{8245CC27-65FB-483E-B8E7-D04039DBA80D}" dt="2021-05-24T16:09:28.220" v="16287" actId="790"/>
          <ac:spMkLst>
            <pc:docMk/>
            <pc:sldMk cId="119867206" sldId="10442"/>
            <ac:spMk id="56" creationId="{33345204-2C0C-4D2E-A957-6156AE4001F9}"/>
          </ac:spMkLst>
        </pc:spChg>
        <pc:spChg chg="mod">
          <ac:chgData name="Sarah GAUVARD" userId="4c03e191-e154-482a-88b2-11de19eac96c" providerId="ADAL" clId="{8245CC27-65FB-483E-B8E7-D04039DBA80D}" dt="2021-05-24T16:09:28.220" v="16289" actId="790"/>
          <ac:spMkLst>
            <pc:docMk/>
            <pc:sldMk cId="119867206" sldId="10442"/>
            <ac:spMk id="57" creationId="{4C0ABB09-009A-4915-B6C6-174B5F04C563}"/>
          </ac:spMkLst>
        </pc:spChg>
        <pc:spChg chg="mod">
          <ac:chgData name="Sarah GAUVARD" userId="4c03e191-e154-482a-88b2-11de19eac96c" providerId="ADAL" clId="{8245CC27-65FB-483E-B8E7-D04039DBA80D}" dt="2021-05-24T16:09:28.228" v="16291" actId="790"/>
          <ac:spMkLst>
            <pc:docMk/>
            <pc:sldMk cId="119867206" sldId="10442"/>
            <ac:spMk id="58" creationId="{824D8A0B-4FEC-4235-92B9-B2E5612B441F}"/>
          </ac:spMkLst>
        </pc:spChg>
        <pc:spChg chg="mod">
          <ac:chgData name="Sarah GAUVARD" userId="4c03e191-e154-482a-88b2-11de19eac96c" providerId="ADAL" clId="{8245CC27-65FB-483E-B8E7-D04039DBA80D}" dt="2021-05-24T16:09:28.230" v="16293" actId="790"/>
          <ac:spMkLst>
            <pc:docMk/>
            <pc:sldMk cId="119867206" sldId="10442"/>
            <ac:spMk id="59" creationId="{D24B7842-328D-4964-A761-7041F79F2020}"/>
          </ac:spMkLst>
        </pc:spChg>
        <pc:spChg chg="mod">
          <ac:chgData name="Sarah GAUVARD" userId="4c03e191-e154-482a-88b2-11de19eac96c" providerId="ADAL" clId="{8245CC27-65FB-483E-B8E7-D04039DBA80D}" dt="2021-05-24T16:09:28.230" v="16295" actId="790"/>
          <ac:spMkLst>
            <pc:docMk/>
            <pc:sldMk cId="119867206" sldId="10442"/>
            <ac:spMk id="61" creationId="{2344C252-77C1-47F1-9695-C9D5C41D6734}"/>
          </ac:spMkLst>
        </pc:spChg>
        <pc:spChg chg="mod">
          <ac:chgData name="Sarah GAUVARD" userId="4c03e191-e154-482a-88b2-11de19eac96c" providerId="ADAL" clId="{8245CC27-65FB-483E-B8E7-D04039DBA80D}" dt="2021-05-24T16:09:28.230" v="16297" actId="790"/>
          <ac:spMkLst>
            <pc:docMk/>
            <pc:sldMk cId="119867206" sldId="10442"/>
            <ac:spMk id="63" creationId="{2FE9B556-371C-4FD0-9F35-D909BFD38D55}"/>
          </ac:spMkLst>
        </pc:spChg>
        <pc:spChg chg="mod">
          <ac:chgData name="Sarah GAUVARD" userId="4c03e191-e154-482a-88b2-11de19eac96c" providerId="ADAL" clId="{8245CC27-65FB-483E-B8E7-D04039DBA80D}" dt="2021-05-24T16:09:28.230" v="16299" actId="790"/>
          <ac:spMkLst>
            <pc:docMk/>
            <pc:sldMk cId="119867206" sldId="10442"/>
            <ac:spMk id="64" creationId="{26041E40-EA63-4937-8610-E0F42F136D9A}"/>
          </ac:spMkLst>
        </pc:spChg>
        <pc:spChg chg="mod">
          <ac:chgData name="Sarah GAUVARD" userId="4c03e191-e154-482a-88b2-11de19eac96c" providerId="ADAL" clId="{8245CC27-65FB-483E-B8E7-D04039DBA80D}" dt="2021-05-24T15:34:39.018" v="7963" actId="790"/>
          <ac:spMkLst>
            <pc:docMk/>
            <pc:sldMk cId="119867206" sldId="10442"/>
            <ac:spMk id="80" creationId="{E547160A-58BE-400C-8CFC-578FD6CD1124}"/>
          </ac:spMkLst>
        </pc:spChg>
        <pc:spChg chg="mod">
          <ac:chgData name="Sarah GAUVARD" userId="4c03e191-e154-482a-88b2-11de19eac96c" providerId="ADAL" clId="{8245CC27-65FB-483E-B8E7-D04039DBA80D}" dt="2021-05-24T15:34:39.019" v="7964" actId="790"/>
          <ac:spMkLst>
            <pc:docMk/>
            <pc:sldMk cId="119867206" sldId="10442"/>
            <ac:spMk id="86" creationId="{FACE4A09-AB06-48BA-AFD2-0F43DA4A23A4}"/>
          </ac:spMkLst>
        </pc:spChg>
        <pc:spChg chg="mod">
          <ac:chgData name="Sarah GAUVARD" userId="4c03e191-e154-482a-88b2-11de19eac96c" providerId="ADAL" clId="{8245CC27-65FB-483E-B8E7-D04039DBA80D}" dt="2021-05-24T15:34:39.020" v="7965" actId="790"/>
          <ac:spMkLst>
            <pc:docMk/>
            <pc:sldMk cId="119867206" sldId="10442"/>
            <ac:spMk id="91" creationId="{78C979AE-3187-499E-A3C5-418B7774E4A2}"/>
          </ac:spMkLst>
        </pc:spChg>
        <pc:spChg chg="mod">
          <ac:chgData name="Sarah GAUVARD" userId="4c03e191-e154-482a-88b2-11de19eac96c" providerId="ADAL" clId="{8245CC27-65FB-483E-B8E7-D04039DBA80D}" dt="2021-05-24T15:34:39.021" v="7966" actId="790"/>
          <ac:spMkLst>
            <pc:docMk/>
            <pc:sldMk cId="119867206" sldId="10442"/>
            <ac:spMk id="93" creationId="{2C9D4BBD-4C58-4EC0-BF06-C9B17B857874}"/>
          </ac:spMkLst>
        </pc:spChg>
        <pc:spChg chg="mod">
          <ac:chgData name="Sarah GAUVARD" userId="4c03e191-e154-482a-88b2-11de19eac96c" providerId="ADAL" clId="{8245CC27-65FB-483E-B8E7-D04039DBA80D}" dt="2021-05-24T15:34:39.022" v="7967" actId="790"/>
          <ac:spMkLst>
            <pc:docMk/>
            <pc:sldMk cId="119867206" sldId="10442"/>
            <ac:spMk id="96" creationId="{0764A5AB-DCC3-4CE6-AE60-51C093E036A2}"/>
          </ac:spMkLst>
        </pc:spChg>
        <pc:spChg chg="mod">
          <ac:chgData name="Sarah GAUVARD" userId="4c03e191-e154-482a-88b2-11de19eac96c" providerId="ADAL" clId="{8245CC27-65FB-483E-B8E7-D04039DBA80D}" dt="2021-05-24T15:34:39.023" v="7968" actId="790"/>
          <ac:spMkLst>
            <pc:docMk/>
            <pc:sldMk cId="119867206" sldId="10442"/>
            <ac:spMk id="100" creationId="{85636F83-DB9C-4DAD-934F-36113E64E237}"/>
          </ac:spMkLst>
        </pc:spChg>
        <pc:spChg chg="mod">
          <ac:chgData name="Sarah GAUVARD" userId="4c03e191-e154-482a-88b2-11de19eac96c" providerId="ADAL" clId="{8245CC27-65FB-483E-B8E7-D04039DBA80D}" dt="2021-05-24T15:34:39.024" v="7969" actId="790"/>
          <ac:spMkLst>
            <pc:docMk/>
            <pc:sldMk cId="119867206" sldId="10442"/>
            <ac:spMk id="101" creationId="{87771EFF-B38C-4396-9EF7-7662156F6461}"/>
          </ac:spMkLst>
        </pc:spChg>
        <pc:spChg chg="mod">
          <ac:chgData name="Sarah GAUVARD" userId="4c03e191-e154-482a-88b2-11de19eac96c" providerId="ADAL" clId="{8245CC27-65FB-483E-B8E7-D04039DBA80D}" dt="2021-05-24T15:34:39.026" v="7970" actId="790"/>
          <ac:spMkLst>
            <pc:docMk/>
            <pc:sldMk cId="119867206" sldId="10442"/>
            <ac:spMk id="102" creationId="{EC423598-61ED-49B8-B730-14F93B8DBEF1}"/>
          </ac:spMkLst>
        </pc:spChg>
        <pc:spChg chg="mod">
          <ac:chgData name="Sarah GAUVARD" userId="4c03e191-e154-482a-88b2-11de19eac96c" providerId="ADAL" clId="{8245CC27-65FB-483E-B8E7-D04039DBA80D}" dt="2021-05-24T16:09:28.238" v="16300" actId="790"/>
          <ac:spMkLst>
            <pc:docMk/>
            <pc:sldMk cId="119867206" sldId="10442"/>
            <ac:spMk id="104" creationId="{4533AB2B-0301-4919-81AB-4BE02FE8A291}"/>
          </ac:spMkLst>
        </pc:spChg>
        <pc:spChg chg="mod">
          <ac:chgData name="Sarah GAUVARD" userId="4c03e191-e154-482a-88b2-11de19eac96c" providerId="ADAL" clId="{8245CC27-65FB-483E-B8E7-D04039DBA80D}" dt="2021-05-24T16:09:28.238" v="16301" actId="790"/>
          <ac:spMkLst>
            <pc:docMk/>
            <pc:sldMk cId="119867206" sldId="10442"/>
            <ac:spMk id="105" creationId="{B75BBABA-FB81-456B-BD42-DFD10AA7AE3B}"/>
          </ac:spMkLst>
        </pc:spChg>
        <pc:spChg chg="mod">
          <ac:chgData name="Sarah GAUVARD" userId="4c03e191-e154-482a-88b2-11de19eac96c" providerId="ADAL" clId="{8245CC27-65FB-483E-B8E7-D04039DBA80D}" dt="2021-05-24T16:09:28.240" v="16302" actId="790"/>
          <ac:spMkLst>
            <pc:docMk/>
            <pc:sldMk cId="119867206" sldId="10442"/>
            <ac:spMk id="106" creationId="{A133B2BE-2068-4A99-9833-0DA5D8BC0137}"/>
          </ac:spMkLst>
        </pc:spChg>
        <pc:spChg chg="mod">
          <ac:chgData name="Sarah GAUVARD" userId="4c03e191-e154-482a-88b2-11de19eac96c" providerId="ADAL" clId="{8245CC27-65FB-483E-B8E7-D04039DBA80D}" dt="2021-05-24T16:09:28.240" v="16303" actId="790"/>
          <ac:spMkLst>
            <pc:docMk/>
            <pc:sldMk cId="119867206" sldId="10442"/>
            <ac:spMk id="108" creationId="{F09EEB06-45F0-47E2-B53C-B3DD95201528}"/>
          </ac:spMkLst>
        </pc:spChg>
        <pc:spChg chg="mod">
          <ac:chgData name="Sarah GAUVARD" userId="4c03e191-e154-482a-88b2-11de19eac96c" providerId="ADAL" clId="{8245CC27-65FB-483E-B8E7-D04039DBA80D}" dt="2021-05-24T16:09:28.240" v="16304" actId="790"/>
          <ac:spMkLst>
            <pc:docMk/>
            <pc:sldMk cId="119867206" sldId="10442"/>
            <ac:spMk id="109" creationId="{6E2B6BAA-BDFD-4BED-B53C-733E75F8298A}"/>
          </ac:spMkLst>
        </pc:spChg>
        <pc:spChg chg="mod">
          <ac:chgData name="Sarah GAUVARD" userId="4c03e191-e154-482a-88b2-11de19eac96c" providerId="ADAL" clId="{8245CC27-65FB-483E-B8E7-D04039DBA80D}" dt="2021-05-24T16:09:28.240" v="16305" actId="790"/>
          <ac:spMkLst>
            <pc:docMk/>
            <pc:sldMk cId="119867206" sldId="10442"/>
            <ac:spMk id="110" creationId="{F899CAD4-8D7B-4725-8ACD-6E5C03C61B9B}"/>
          </ac:spMkLst>
        </pc:spChg>
        <pc:spChg chg="mod">
          <ac:chgData name="Sarah GAUVARD" userId="4c03e191-e154-482a-88b2-11de19eac96c" providerId="ADAL" clId="{8245CC27-65FB-483E-B8E7-D04039DBA80D}" dt="2021-05-24T15:34:39.041" v="7977" actId="790"/>
          <ac:spMkLst>
            <pc:docMk/>
            <pc:sldMk cId="119867206" sldId="10442"/>
            <ac:spMk id="111" creationId="{82B3AA66-B2C9-48D5-8070-D01FA5B7F9D7}"/>
          </ac:spMkLst>
        </pc:spChg>
        <pc:spChg chg="mod">
          <ac:chgData name="Sarah GAUVARD" userId="4c03e191-e154-482a-88b2-11de19eac96c" providerId="ADAL" clId="{8245CC27-65FB-483E-B8E7-D04039DBA80D}" dt="2021-05-24T16:09:28.240" v="16306" actId="790"/>
          <ac:spMkLst>
            <pc:docMk/>
            <pc:sldMk cId="119867206" sldId="10442"/>
            <ac:spMk id="112" creationId="{891230FB-1862-448C-B85F-FFE2EADAC578}"/>
          </ac:spMkLst>
        </pc:spChg>
        <pc:spChg chg="mod">
          <ac:chgData name="Sarah GAUVARD" userId="4c03e191-e154-482a-88b2-11de19eac96c" providerId="ADAL" clId="{8245CC27-65FB-483E-B8E7-D04039DBA80D}" dt="2021-05-24T16:09:28.248" v="16307" actId="790"/>
          <ac:spMkLst>
            <pc:docMk/>
            <pc:sldMk cId="119867206" sldId="10442"/>
            <ac:spMk id="113" creationId="{71A9A602-8981-4663-A273-24A1CB6A59CE}"/>
          </ac:spMkLst>
        </pc:spChg>
        <pc:spChg chg="mod">
          <ac:chgData name="Sarah GAUVARD" userId="4c03e191-e154-482a-88b2-11de19eac96c" providerId="ADAL" clId="{8245CC27-65FB-483E-B8E7-D04039DBA80D}" dt="2021-05-24T15:34:39.053" v="7980" actId="790"/>
          <ac:spMkLst>
            <pc:docMk/>
            <pc:sldMk cId="119867206" sldId="10442"/>
            <ac:spMk id="114" creationId="{A64678DA-38FD-4EC8-8379-990A221FDB42}"/>
          </ac:spMkLst>
        </pc:spChg>
        <pc:spChg chg="add del mod modVis">
          <ac:chgData name="Sarah GAUVARD" userId="4c03e191-e154-482a-88b2-11de19eac96c" providerId="ADAL" clId="{8245CC27-65FB-483E-B8E7-D04039DBA80D}" dt="2021-05-24T16:09:30.031" v="17475"/>
          <ac:spMkLst>
            <pc:docMk/>
            <pc:sldMk cId="119867206" sldId="10442"/>
            <ac:spMk id="115" creationId="{87D1A848-B5E2-49B6-A9CF-D8271F95F63B}"/>
          </ac:spMkLst>
        </pc:spChg>
        <pc:spChg chg="mod">
          <ac:chgData name="Sarah GAUVARD" userId="4c03e191-e154-482a-88b2-11de19eac96c" providerId="ADAL" clId="{8245CC27-65FB-483E-B8E7-D04039DBA80D}" dt="2021-05-24T16:09:28.250" v="16308" actId="790"/>
          <ac:spMkLst>
            <pc:docMk/>
            <pc:sldMk cId="119867206" sldId="10442"/>
            <ac:spMk id="129" creationId="{823B65AE-6671-43D3-A32F-C41395D3CB4C}"/>
          </ac:spMkLst>
        </pc:spChg>
        <pc:spChg chg="mod">
          <ac:chgData name="Sarah GAUVARD" userId="4c03e191-e154-482a-88b2-11de19eac96c" providerId="ADAL" clId="{8245CC27-65FB-483E-B8E7-D04039DBA80D}" dt="2021-05-24T16:09:28.250" v="16309" actId="790"/>
          <ac:spMkLst>
            <pc:docMk/>
            <pc:sldMk cId="119867206" sldId="10442"/>
            <ac:spMk id="130" creationId="{7274C6BD-E1D3-4025-AEAC-93EF095573B3}"/>
          </ac:spMkLst>
        </pc:spChg>
        <pc:spChg chg="mod">
          <ac:chgData name="Sarah GAUVARD" userId="4c03e191-e154-482a-88b2-11de19eac96c" providerId="ADAL" clId="{8245CC27-65FB-483E-B8E7-D04039DBA80D}" dt="2021-05-24T16:09:28.257" v="16310" actId="790"/>
          <ac:spMkLst>
            <pc:docMk/>
            <pc:sldMk cId="119867206" sldId="10442"/>
            <ac:spMk id="175" creationId="{5C2DEDAC-44EB-4334-9FDA-E49190484943}"/>
          </ac:spMkLst>
        </pc:spChg>
        <pc:spChg chg="mod">
          <ac:chgData name="Sarah GAUVARD" userId="4c03e191-e154-482a-88b2-11de19eac96c" providerId="ADAL" clId="{8245CC27-65FB-483E-B8E7-D04039DBA80D}" dt="2021-05-24T16:09:28.258" v="16311" actId="790"/>
          <ac:spMkLst>
            <pc:docMk/>
            <pc:sldMk cId="119867206" sldId="10442"/>
            <ac:spMk id="176" creationId="{91408530-0C52-4970-8D86-5CE1F7C05DE8}"/>
          </ac:spMkLst>
        </pc:spChg>
        <pc:spChg chg="mod">
          <ac:chgData name="Sarah GAUVARD" userId="4c03e191-e154-482a-88b2-11de19eac96c" providerId="ADAL" clId="{8245CC27-65FB-483E-B8E7-D04039DBA80D}" dt="2021-05-24T16:09:28.259" v="16312" actId="790"/>
          <ac:spMkLst>
            <pc:docMk/>
            <pc:sldMk cId="119867206" sldId="10442"/>
            <ac:spMk id="177" creationId="{4C7285FD-5877-4C09-A20C-3127954D24A7}"/>
          </ac:spMkLst>
        </pc:spChg>
        <pc:spChg chg="mod">
          <ac:chgData name="Sarah GAUVARD" userId="4c03e191-e154-482a-88b2-11de19eac96c" providerId="ADAL" clId="{8245CC27-65FB-483E-B8E7-D04039DBA80D}" dt="2021-05-24T16:09:28.260" v="16313" actId="790"/>
          <ac:spMkLst>
            <pc:docMk/>
            <pc:sldMk cId="119867206" sldId="10442"/>
            <ac:spMk id="178" creationId="{D64EFAA4-6D69-4699-8A02-F0DB7533D687}"/>
          </ac:spMkLst>
        </pc:spChg>
        <pc:spChg chg="mod">
          <ac:chgData name="Sarah GAUVARD" userId="4c03e191-e154-482a-88b2-11de19eac96c" providerId="ADAL" clId="{8245CC27-65FB-483E-B8E7-D04039DBA80D}" dt="2021-05-24T16:09:28.260" v="16314" actId="790"/>
          <ac:spMkLst>
            <pc:docMk/>
            <pc:sldMk cId="119867206" sldId="10442"/>
            <ac:spMk id="181" creationId="{5A48DF51-841E-4C28-8685-6DEC806A15D8}"/>
          </ac:spMkLst>
        </pc:spChg>
        <pc:spChg chg="mod">
          <ac:chgData name="Sarah GAUVARD" userId="4c03e191-e154-482a-88b2-11de19eac96c" providerId="ADAL" clId="{8245CC27-65FB-483E-B8E7-D04039DBA80D}" dt="2021-05-24T16:09:28.261" v="16315" actId="790"/>
          <ac:spMkLst>
            <pc:docMk/>
            <pc:sldMk cId="119867206" sldId="10442"/>
            <ac:spMk id="182" creationId="{76599DB5-B50D-4D47-A7C5-E17568B9C49D}"/>
          </ac:spMkLst>
        </pc:spChg>
        <pc:spChg chg="mod">
          <ac:chgData name="Sarah GAUVARD" userId="4c03e191-e154-482a-88b2-11de19eac96c" providerId="ADAL" clId="{8245CC27-65FB-483E-B8E7-D04039DBA80D}" dt="2021-05-24T16:09:28.269" v="16316" actId="790"/>
          <ac:spMkLst>
            <pc:docMk/>
            <pc:sldMk cId="119867206" sldId="10442"/>
            <ac:spMk id="202" creationId="{7AEDB99C-DE6E-44A0-96B3-4866C7E1A7D2}"/>
          </ac:spMkLst>
        </pc:spChg>
        <pc:spChg chg="mod">
          <ac:chgData name="Sarah GAUVARD" userId="4c03e191-e154-482a-88b2-11de19eac96c" providerId="ADAL" clId="{8245CC27-65FB-483E-B8E7-D04039DBA80D}" dt="2021-05-24T16:09:28.271" v="16317" actId="790"/>
          <ac:spMkLst>
            <pc:docMk/>
            <pc:sldMk cId="119867206" sldId="10442"/>
            <ac:spMk id="203" creationId="{188A6C56-2174-4152-976A-6D8A2575B158}"/>
          </ac:spMkLst>
        </pc:spChg>
        <pc:spChg chg="mod">
          <ac:chgData name="Sarah GAUVARD" userId="4c03e191-e154-482a-88b2-11de19eac96c" providerId="ADAL" clId="{8245CC27-65FB-483E-B8E7-D04039DBA80D}" dt="2021-05-24T16:09:28.271" v="16318" actId="790"/>
          <ac:spMkLst>
            <pc:docMk/>
            <pc:sldMk cId="119867206" sldId="10442"/>
            <ac:spMk id="204" creationId="{DD0C0FD2-5C64-4550-AD6C-2FE2255D828D}"/>
          </ac:spMkLst>
        </pc:spChg>
        <pc:spChg chg="mod">
          <ac:chgData name="Sarah GAUVARD" userId="4c03e191-e154-482a-88b2-11de19eac96c" providerId="ADAL" clId="{8245CC27-65FB-483E-B8E7-D04039DBA80D}" dt="2021-05-24T16:09:28.271" v="16319" actId="790"/>
          <ac:spMkLst>
            <pc:docMk/>
            <pc:sldMk cId="119867206" sldId="10442"/>
            <ac:spMk id="206" creationId="{E74E2BC6-B95F-4767-B3ED-44D142CD7092}"/>
          </ac:spMkLst>
        </pc:spChg>
        <pc:spChg chg="mod">
          <ac:chgData name="Sarah GAUVARD" userId="4c03e191-e154-482a-88b2-11de19eac96c" providerId="ADAL" clId="{8245CC27-65FB-483E-B8E7-D04039DBA80D}" dt="2021-05-24T16:09:28.271" v="16320" actId="790"/>
          <ac:spMkLst>
            <pc:docMk/>
            <pc:sldMk cId="119867206" sldId="10442"/>
            <ac:spMk id="209" creationId="{F4CE7B0C-5294-4930-B5A4-B333C27010D3}"/>
          </ac:spMkLst>
        </pc:spChg>
        <pc:spChg chg="mod">
          <ac:chgData name="Sarah GAUVARD" userId="4c03e191-e154-482a-88b2-11de19eac96c" providerId="ADAL" clId="{8245CC27-65FB-483E-B8E7-D04039DBA80D}" dt="2021-05-24T16:09:28.271" v="16321" actId="790"/>
          <ac:spMkLst>
            <pc:docMk/>
            <pc:sldMk cId="119867206" sldId="10442"/>
            <ac:spMk id="210" creationId="{9DAE5F46-A6B4-4B74-8576-ABA442D6A216}"/>
          </ac:spMkLst>
        </pc:spChg>
        <pc:spChg chg="mod">
          <ac:chgData name="Sarah GAUVARD" userId="4c03e191-e154-482a-88b2-11de19eac96c" providerId="ADAL" clId="{8245CC27-65FB-483E-B8E7-D04039DBA80D}" dt="2021-05-24T16:09:28.271" v="16322" actId="790"/>
          <ac:spMkLst>
            <pc:docMk/>
            <pc:sldMk cId="119867206" sldId="10442"/>
            <ac:spMk id="212" creationId="{FACEDCAC-5D6C-4607-8510-1FE1033318FA}"/>
          </ac:spMkLst>
        </pc:spChg>
        <pc:spChg chg="mod">
          <ac:chgData name="Sarah GAUVARD" userId="4c03e191-e154-482a-88b2-11de19eac96c" providerId="ADAL" clId="{8245CC27-65FB-483E-B8E7-D04039DBA80D}" dt="2021-05-24T16:09:28.271" v="16323" actId="790"/>
          <ac:spMkLst>
            <pc:docMk/>
            <pc:sldMk cId="119867206" sldId="10442"/>
            <ac:spMk id="213" creationId="{7C91C66F-61E5-43C3-8903-04464463B492}"/>
          </ac:spMkLst>
        </pc:spChg>
        <pc:spChg chg="mod">
          <ac:chgData name="Sarah GAUVARD" userId="4c03e191-e154-482a-88b2-11de19eac96c" providerId="ADAL" clId="{8245CC27-65FB-483E-B8E7-D04039DBA80D}" dt="2021-05-24T16:09:28.279" v="16324" actId="790"/>
          <ac:spMkLst>
            <pc:docMk/>
            <pc:sldMk cId="119867206" sldId="10442"/>
            <ac:spMk id="221" creationId="{8379F084-8F95-415E-B6D7-CFB4E7A3FBC3}"/>
          </ac:spMkLst>
        </pc:spChg>
        <pc:spChg chg="mod">
          <ac:chgData name="Sarah GAUVARD" userId="4c03e191-e154-482a-88b2-11de19eac96c" providerId="ADAL" clId="{8245CC27-65FB-483E-B8E7-D04039DBA80D}" dt="2021-05-24T16:09:28.281" v="16325" actId="790"/>
          <ac:spMkLst>
            <pc:docMk/>
            <pc:sldMk cId="119867206" sldId="10442"/>
            <ac:spMk id="222" creationId="{157E94B0-0409-44CE-B65C-7866FFC77D20}"/>
          </ac:spMkLst>
        </pc:spChg>
        <pc:spChg chg="mod">
          <ac:chgData name="Sarah GAUVARD" userId="4c03e191-e154-482a-88b2-11de19eac96c" providerId="ADAL" clId="{8245CC27-65FB-483E-B8E7-D04039DBA80D}" dt="2021-05-24T16:09:28.281" v="16326" actId="790"/>
          <ac:spMkLst>
            <pc:docMk/>
            <pc:sldMk cId="119867206" sldId="10442"/>
            <ac:spMk id="223" creationId="{59ED9AFD-7240-46F5-B8E5-2E05AA930F79}"/>
          </ac:spMkLst>
        </pc:spChg>
        <pc:spChg chg="mod">
          <ac:chgData name="Sarah GAUVARD" userId="4c03e191-e154-482a-88b2-11de19eac96c" providerId="ADAL" clId="{8245CC27-65FB-483E-B8E7-D04039DBA80D}" dt="2021-05-24T16:09:28.282" v="16327" actId="790"/>
          <ac:spMkLst>
            <pc:docMk/>
            <pc:sldMk cId="119867206" sldId="10442"/>
            <ac:spMk id="224" creationId="{0F99E4E2-C619-4FF5-88D4-C03F403E16A2}"/>
          </ac:spMkLst>
        </pc:spChg>
        <pc:graphicFrameChg chg="mod">
          <ac:chgData name="Sarah GAUVARD" userId="4c03e191-e154-482a-88b2-11de19eac96c" providerId="ADAL" clId="{8245CC27-65FB-483E-B8E7-D04039DBA80D}" dt="2021-05-24T16:09:30.031" v="17477"/>
          <ac:graphicFrameMkLst>
            <pc:docMk/>
            <pc:sldMk cId="119867206" sldId="10442"/>
            <ac:graphicFrameMk id="5" creationId="{01D08C26-676F-415E-8FAE-7E04E6FCB34C}"/>
          </ac:graphicFrameMkLst>
        </pc:graphicFrameChg>
      </pc:sldChg>
      <pc:sldChg chg="modSp mod ord modTransition modShow">
        <pc:chgData name="Sarah GAUVARD" userId="4c03e191-e154-482a-88b2-11de19eac96c" providerId="ADAL" clId="{8245CC27-65FB-483E-B8E7-D04039DBA80D}" dt="2021-05-24T09:08:18.612" v="182"/>
        <pc:sldMkLst>
          <pc:docMk/>
          <pc:sldMk cId="378554613" sldId="10443"/>
        </pc:sldMkLst>
        <pc:spChg chg="mod">
          <ac:chgData name="Sarah GAUVARD" userId="4c03e191-e154-482a-88b2-11de19eac96c" providerId="ADAL" clId="{8245CC27-65FB-483E-B8E7-D04039DBA80D}" dt="2021-05-24T08:36:22.694" v="0" actId="1076"/>
          <ac:spMkLst>
            <pc:docMk/>
            <pc:sldMk cId="378554613" sldId="10443"/>
            <ac:spMk id="162" creationId="{A5B49362-B700-474F-869D-13632EDB5039}"/>
          </ac:spMkLst>
        </pc:spChg>
      </pc:sldChg>
      <pc:sldChg chg="addSp delSp modSp mod ord">
        <pc:chgData name="Sarah GAUVARD" userId="4c03e191-e154-482a-88b2-11de19eac96c" providerId="ADAL" clId="{8245CC27-65FB-483E-B8E7-D04039DBA80D}" dt="2021-05-25T15:16:55.498" v="27600" actId="478"/>
        <pc:sldMkLst>
          <pc:docMk/>
          <pc:sldMk cId="3186676131" sldId="10444"/>
        </pc:sldMkLst>
        <pc:spChg chg="mod">
          <ac:chgData name="Sarah GAUVARD" userId="4c03e191-e154-482a-88b2-11de19eac96c" providerId="ADAL" clId="{8245CC27-65FB-483E-B8E7-D04039DBA80D}" dt="2021-05-25T12:48:08.035" v="22589" actId="948"/>
          <ac:spMkLst>
            <pc:docMk/>
            <pc:sldMk cId="3186676131" sldId="10444"/>
            <ac:spMk id="2" creationId="{1B8B41D0-3B5A-41F2-BD36-274CA5605C3A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3" creationId="{F2961EB7-FC0B-4AEF-8BF3-7969101BE0A7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4" creationId="{43E0D5C7-0986-42B1-8E8C-7B58D0CBD773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5" creationId="{32E0BE14-B2E8-4A96-ADE4-0BE247A47D79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6" creationId="{8AEA1672-C0F9-4DB2-A6F4-76831980F749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7" creationId="{064EAC16-1947-4EB5-B699-F79BA984701D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8" creationId="{17235FB0-B480-4F11-BAB2-ECCE97A0AE35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9" creationId="{E57AC7D2-FC03-4826-B2B4-B86B10C8A912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0" creationId="{EC4BC8E5-CDE6-4BDA-8B1B-E89284306AC8}"/>
          </ac:spMkLst>
        </pc:spChg>
        <pc:spChg chg="add del mod">
          <ac:chgData name="Sarah GAUVARD" userId="4c03e191-e154-482a-88b2-11de19eac96c" providerId="ADAL" clId="{8245CC27-65FB-483E-B8E7-D04039DBA80D}" dt="2021-05-25T12:16:48.345" v="21273" actId="478"/>
          <ac:spMkLst>
            <pc:docMk/>
            <pc:sldMk cId="3186676131" sldId="10444"/>
            <ac:spMk id="11" creationId="{1023122A-2CA1-41F3-BA16-F65F07DA2C7A}"/>
          </ac:spMkLst>
        </pc:spChg>
        <pc:spChg chg="add del mod modVis">
          <ac:chgData name="Sarah GAUVARD" userId="4c03e191-e154-482a-88b2-11de19eac96c" providerId="ADAL" clId="{8245CC27-65FB-483E-B8E7-D04039DBA80D}" dt="2021-05-24T15:34:46.276" v="11985"/>
          <ac:spMkLst>
            <pc:docMk/>
            <pc:sldMk cId="3186676131" sldId="10444"/>
            <ac:spMk id="11" creationId="{BE07C0AE-99ED-43B7-BE22-9E47FF565F9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" creationId="{06146879-726F-492D-B854-B9E14020867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3" creationId="{E9F049B4-9F79-4754-AA4A-B557B2A6D3C9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8" creationId="{E5E5B17C-AF5B-4FCB-935E-796FE66056AC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9" creationId="{D183DC4A-A310-4818-8DE5-DD81DA31ACA2}"/>
          </ac:spMkLst>
        </pc:spChg>
        <pc:spChg chg="mod">
          <ac:chgData name="Sarah GAUVARD" userId="4c03e191-e154-482a-88b2-11de19eac96c" providerId="ADAL" clId="{8245CC27-65FB-483E-B8E7-D04039DBA80D}" dt="2021-05-25T13:32:00.777" v="24555" actId="20577"/>
          <ac:spMkLst>
            <pc:docMk/>
            <pc:sldMk cId="3186676131" sldId="10444"/>
            <ac:spMk id="20" creationId="{54E8F179-87EF-4A92-9C29-92D7E20EB946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21" creationId="{44BA4EC0-19D7-41DC-B319-396D8267BC37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22" creationId="{43B8FABF-5816-42AC-8939-29224794884E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29" creationId="{D4661B80-5EE1-48F5-BFBD-98AF2499F029}"/>
          </ac:spMkLst>
        </pc:spChg>
        <pc:spChg chg="del mod">
          <ac:chgData name="Sarah GAUVARD" userId="4c03e191-e154-482a-88b2-11de19eac96c" providerId="ADAL" clId="{8245CC27-65FB-483E-B8E7-D04039DBA80D}" dt="2021-05-25T11:36:52.145" v="21260"/>
          <ac:spMkLst>
            <pc:docMk/>
            <pc:sldMk cId="3186676131" sldId="10444"/>
            <ac:spMk id="30" creationId="{4664322B-46CF-4600-ADE7-3C75A293095E}"/>
          </ac:spMkLst>
        </pc:spChg>
        <pc:spChg chg="mod">
          <ac:chgData name="Sarah GAUVARD" userId="4c03e191-e154-482a-88b2-11de19eac96c" providerId="ADAL" clId="{8245CC27-65FB-483E-B8E7-D04039DBA80D}" dt="2021-05-25T11:37:06.930" v="21264" actId="1076"/>
          <ac:spMkLst>
            <pc:docMk/>
            <pc:sldMk cId="3186676131" sldId="10444"/>
            <ac:spMk id="31" creationId="{F500BC1C-AA53-401D-9643-96A794054CB4}"/>
          </ac:spMkLst>
        </pc:spChg>
        <pc:spChg chg="mod">
          <ac:chgData name="Sarah GAUVARD" userId="4c03e191-e154-482a-88b2-11de19eac96c" providerId="ADAL" clId="{8245CC27-65FB-483E-B8E7-D04039DBA80D}" dt="2021-05-25T11:37:06.930" v="21264" actId="1076"/>
          <ac:spMkLst>
            <pc:docMk/>
            <pc:sldMk cId="3186676131" sldId="10444"/>
            <ac:spMk id="32" creationId="{FC6B128D-283F-47F0-8196-7F1909AEC29A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33" creationId="{243F8FAD-0118-4F1B-B40B-A7D84FD36396}"/>
          </ac:spMkLst>
        </pc:spChg>
        <pc:spChg chg="add del mod modVis">
          <ac:chgData name="Sarah GAUVARD" userId="4c03e191-e154-482a-88b2-11de19eac96c" providerId="ADAL" clId="{8245CC27-65FB-483E-B8E7-D04039DBA80D}" dt="2021-05-25T12:47:44.173" v="22388"/>
          <ac:spMkLst>
            <pc:docMk/>
            <pc:sldMk cId="3186676131" sldId="10444"/>
            <ac:spMk id="34" creationId="{3BAE94A5-7B12-4220-AB08-1072EA3DB939}"/>
          </ac:spMkLst>
        </pc:spChg>
        <pc:spChg chg="add del mod modVis">
          <ac:chgData name="Sarah GAUVARD" userId="4c03e191-e154-482a-88b2-11de19eac96c" providerId="ADAL" clId="{8245CC27-65FB-483E-B8E7-D04039DBA80D}" dt="2021-05-25T12:47:46.519" v="22444"/>
          <ac:spMkLst>
            <pc:docMk/>
            <pc:sldMk cId="3186676131" sldId="10444"/>
            <ac:spMk id="35" creationId="{71699320-A32C-4668-B0B2-DD83BF634836}"/>
          </ac:spMkLst>
        </pc:spChg>
        <pc:spChg chg="add del mod modVis">
          <ac:chgData name="Sarah GAUVARD" userId="4c03e191-e154-482a-88b2-11de19eac96c" providerId="ADAL" clId="{8245CC27-65FB-483E-B8E7-D04039DBA80D}" dt="2021-05-25T12:47:51.639" v="22521"/>
          <ac:spMkLst>
            <pc:docMk/>
            <pc:sldMk cId="3186676131" sldId="10444"/>
            <ac:spMk id="36" creationId="{93C9E2DC-16D1-484C-921A-E24323E6C5F4}"/>
          </ac:spMkLst>
        </pc:spChg>
        <pc:spChg chg="add del mod modVis">
          <ac:chgData name="Sarah GAUVARD" userId="4c03e191-e154-482a-88b2-11de19eac96c" providerId="ADAL" clId="{8245CC27-65FB-483E-B8E7-D04039DBA80D}" dt="2021-05-25T12:48:03.534" v="22585"/>
          <ac:spMkLst>
            <pc:docMk/>
            <pc:sldMk cId="3186676131" sldId="10444"/>
            <ac:spMk id="37" creationId="{A23A28E9-AAF0-478C-944F-E10B7F9701F9}"/>
          </ac:spMkLst>
        </pc:spChg>
        <pc:spChg chg="add del mod modVis">
          <ac:chgData name="Sarah GAUVARD" userId="4c03e191-e154-482a-88b2-11de19eac96c" providerId="ADAL" clId="{8245CC27-65FB-483E-B8E7-D04039DBA80D}" dt="2021-05-25T12:48:08.083" v="22629"/>
          <ac:spMkLst>
            <pc:docMk/>
            <pc:sldMk cId="3186676131" sldId="10444"/>
            <ac:spMk id="38" creationId="{ADB6515F-8743-4C1A-A37E-78895C87C21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47" creationId="{9E10C541-E455-4AF2-AA1A-715E3DF2DDC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49" creationId="{B10468A4-1BAC-4153-BC9A-99B8715C0AD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50" creationId="{06AD3339-7557-4559-B2EA-6A391CF2BF0C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88" creationId="{336D463B-B815-4500-8F61-78A091129044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90" creationId="{C1682200-357E-4434-8AD7-5A0786BF6D1B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96" creationId="{5BB653FA-7502-456B-9DD5-1867522D3A88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00" creationId="{EF6C7B41-C54E-4684-BB9A-36701E115EBF}"/>
          </ac:spMkLst>
        </pc:spChg>
        <pc:spChg chg="mod topLvl">
          <ac:chgData name="Sarah GAUVARD" userId="4c03e191-e154-482a-88b2-11de19eac96c" providerId="ADAL" clId="{8245CC27-65FB-483E-B8E7-D04039DBA80D}" dt="2021-05-25T12:54:42.803" v="22747" actId="207"/>
          <ac:spMkLst>
            <pc:docMk/>
            <pc:sldMk cId="3186676131" sldId="10444"/>
            <ac:spMk id="102" creationId="{F73D6114-13EA-4394-9588-C5437D84D81B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07" creationId="{31D0AEAA-51DD-4312-8DD3-D5664A3B479D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08" creationId="{B4E79E7D-0395-4CE2-8F8E-F7FFDE4BA106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12" creationId="{C5751987-1F6D-468E-BCB6-AA3D35B8C712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13" creationId="{40DAC720-6B4C-4D4A-A0D6-A7C60A444C2C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14" creationId="{44291D4E-47A6-41AE-9182-38FA1ED23545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15" creationId="{4656EAF1-7B5C-4837-BE5A-DB82B5F1717E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16" creationId="{AA4BB076-B77C-4C73-AEB4-EE2E4A2ACF14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19" creationId="{EEF55E94-FD53-41D7-A423-6B56C40D88A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0" creationId="{697B9F9F-BFD2-4BBC-A2BC-06F0D17B4298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1" creationId="{F04F0ACD-7349-4D32-9C1C-9C43D9AB91F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2" creationId="{7ED4A8D8-06EE-4620-B65B-5E3B52A3ABAE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3" creationId="{CCD5F39F-64EB-4F4E-BE6B-002C617492EF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6" creationId="{7CB14217-751F-46AB-A2CD-C5652663DAC6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8" creationId="{B36459A2-8E6F-48FA-84B4-9101A05ED225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29" creationId="{6DCC6291-134F-48BA-93F5-19E432FDA1D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30" creationId="{4550F9A6-1A29-4EE0-A71F-2DBCCFAB5366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31" creationId="{5CEEE347-7351-4DD5-B767-FD0427A3D1D8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32" creationId="{1766436D-48B8-47A5-8862-347B33971F3F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33" creationId="{78F3D65A-E23E-4406-8D89-C5C325886B48}"/>
          </ac:spMkLst>
        </pc:spChg>
        <pc:spChg chg="mod">
          <ac:chgData name="Sarah GAUVARD" userId="4c03e191-e154-482a-88b2-11de19eac96c" providerId="ADAL" clId="{8245CC27-65FB-483E-B8E7-D04039DBA80D}" dt="2021-05-25T15:15:46.887" v="27596" actId="207"/>
          <ac:spMkLst>
            <pc:docMk/>
            <pc:sldMk cId="3186676131" sldId="10444"/>
            <ac:spMk id="134" creationId="{6B4E0DC8-DDD6-4557-BA29-2351AE686AFF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36" creationId="{896AB1F6-35C4-4467-92A0-946A0B5B2B0C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37" creationId="{3D321B8B-4582-4432-912B-161AD68D6800}"/>
          </ac:spMkLst>
        </pc:spChg>
        <pc:spChg chg="mod">
          <ac:chgData name="Sarah GAUVARD" userId="4c03e191-e154-482a-88b2-11de19eac96c" providerId="ADAL" clId="{8245CC27-65FB-483E-B8E7-D04039DBA80D}" dt="2021-05-25T12:54:55.253" v="22756" actId="20577"/>
          <ac:spMkLst>
            <pc:docMk/>
            <pc:sldMk cId="3186676131" sldId="10444"/>
            <ac:spMk id="138" creationId="{279E6DEF-1C4D-4696-B825-7122AC695BE5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40" creationId="{7461A3A3-DECA-4042-B3C0-42B22E8A9ACE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41" creationId="{58B6DCA7-42DA-4ECB-8AE2-CFFF5D90ED77}"/>
          </ac:spMkLst>
        </pc:spChg>
        <pc:spChg chg="mod">
          <ac:chgData name="Sarah GAUVARD" userId="4c03e191-e154-482a-88b2-11de19eac96c" providerId="ADAL" clId="{8245CC27-65FB-483E-B8E7-D04039DBA80D}" dt="2021-05-25T12:54:34.579" v="22745" actId="207"/>
          <ac:spMkLst>
            <pc:docMk/>
            <pc:sldMk cId="3186676131" sldId="10444"/>
            <ac:spMk id="144" creationId="{8F3BDE8F-DB0C-4D11-B86C-50FF55DED7FE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48" creationId="{045D3513-3311-40DD-A5E0-5360A5414D23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49" creationId="{61AD4D43-6E34-4697-9FA1-6F853F324FDA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0" creationId="{502D44FB-8326-4B43-A757-CA688C9D89BB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1" creationId="{4B1BB967-8F79-4615-9779-1E3BE8D25AF4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2" creationId="{2F08DC0C-8087-4200-8A68-AEB71A977F83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3" creationId="{CAFC8686-A7C9-4A73-805C-CBE0E745F760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4" creationId="{A7269958-7FC5-479F-B17B-49D115F118B6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5" creationId="{54981013-0ED1-4F45-AE61-D3FA54EC2814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7" creationId="{C5239505-8D48-484E-905B-E2EC5E6F3797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58" creationId="{50FD244E-74C2-4BDD-9E62-39D4990A5BF6}"/>
          </ac:spMkLst>
        </pc:spChg>
        <pc:spChg chg="mod">
          <ac:chgData name="Sarah GAUVARD" userId="4c03e191-e154-482a-88b2-11de19eac96c" providerId="ADAL" clId="{8245CC27-65FB-483E-B8E7-D04039DBA80D}" dt="2021-05-25T13:32:05.764" v="24556" actId="14100"/>
          <ac:spMkLst>
            <pc:docMk/>
            <pc:sldMk cId="3186676131" sldId="10444"/>
            <ac:spMk id="159" creationId="{B1BCC205-D7BB-4643-BF09-2992F3238E10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61" creationId="{43782D20-EA6D-48F5-A57A-0563D7C3444A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62" creationId="{769A704F-A673-44BE-9A71-130C3B860224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64" creationId="{14746A72-8F8E-45C7-B3F8-5B2AD0B7D328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65" creationId="{C389F3EC-7313-454E-9942-F14FD0BD4C77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66" creationId="{A3938D6F-1923-42FF-B2ED-6C2BEA79BA03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68" creationId="{C423BD9F-9E4A-46B8-89D7-67C1FE84B168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69" creationId="{7881ABC3-A97B-4E90-939F-E48D9595FFFF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70" creationId="{A886CA56-9620-415B-9489-A004AB6EB706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71" creationId="{BCC6DEFD-6FEB-4777-9432-E3B2F5C51000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72" creationId="{04568322-5012-422B-991D-C9A4712E25C9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73" creationId="{C8193D60-58E6-4F76-8A4A-37AEC83C88A3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74" creationId="{DC0F08AF-8ADE-4433-8307-ED43F84D0DCC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81" creationId="{7B1EA177-A78F-476E-9C85-82B6D6EE8C9B}"/>
          </ac:spMkLst>
        </pc:spChg>
        <pc:spChg chg="del">
          <ac:chgData name="Sarah GAUVARD" userId="4c03e191-e154-482a-88b2-11de19eac96c" providerId="ADAL" clId="{8245CC27-65FB-483E-B8E7-D04039DBA80D}" dt="2021-05-24T09:51:32.080" v="939" actId="478"/>
          <ac:spMkLst>
            <pc:docMk/>
            <pc:sldMk cId="3186676131" sldId="10444"/>
            <ac:spMk id="181" creationId="{ED7B72EB-47B7-4B63-8456-80081D75A81C}"/>
          </ac:spMkLst>
        </pc:spChg>
        <pc:spChg chg="del">
          <ac:chgData name="Sarah GAUVARD" userId="4c03e191-e154-482a-88b2-11de19eac96c" providerId="ADAL" clId="{8245CC27-65FB-483E-B8E7-D04039DBA80D}" dt="2021-05-24T09:51:32.080" v="939" actId="478"/>
          <ac:spMkLst>
            <pc:docMk/>
            <pc:sldMk cId="3186676131" sldId="10444"/>
            <ac:spMk id="182" creationId="{55863E1C-7C46-483C-AD32-5034544A9ED9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83" creationId="{0B82F722-7307-45F1-BCDC-54AF78D10E83}"/>
          </ac:spMkLst>
        </pc:spChg>
        <pc:spChg chg="del">
          <ac:chgData name="Sarah GAUVARD" userId="4c03e191-e154-482a-88b2-11de19eac96c" providerId="ADAL" clId="{8245CC27-65FB-483E-B8E7-D04039DBA80D}" dt="2021-05-24T09:51:32.080" v="939" actId="478"/>
          <ac:spMkLst>
            <pc:docMk/>
            <pc:sldMk cId="3186676131" sldId="10444"/>
            <ac:spMk id="183" creationId="{263FD6C4-CA62-4283-AE1F-B972B6F6FBF5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84" creationId="{10A87F2B-CE19-49A3-9FC4-902C47706B1B}"/>
          </ac:spMkLst>
        </pc:spChg>
        <pc:spChg chg="del">
          <ac:chgData name="Sarah GAUVARD" userId="4c03e191-e154-482a-88b2-11de19eac96c" providerId="ADAL" clId="{8245CC27-65FB-483E-B8E7-D04039DBA80D}" dt="2021-05-24T09:51:32.080" v="939" actId="478"/>
          <ac:spMkLst>
            <pc:docMk/>
            <pc:sldMk cId="3186676131" sldId="10444"/>
            <ac:spMk id="184" creationId="{29CBDB14-B9C1-425E-8876-B8A575805923}"/>
          </ac:spMkLst>
        </pc:spChg>
        <pc:spChg chg="del">
          <ac:chgData name="Sarah GAUVARD" userId="4c03e191-e154-482a-88b2-11de19eac96c" providerId="ADAL" clId="{8245CC27-65FB-483E-B8E7-D04039DBA80D}" dt="2021-05-24T09:51:32.080" v="939" actId="478"/>
          <ac:spMkLst>
            <pc:docMk/>
            <pc:sldMk cId="3186676131" sldId="10444"/>
            <ac:spMk id="185" creationId="{BF95B96F-5C22-4289-91FE-CA0C431EE1B8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85" creationId="{C68575BD-C83D-43AB-B618-1CDCA176A1D8}"/>
          </ac:spMkLst>
        </pc:spChg>
        <pc:spChg chg="del mod">
          <ac:chgData name="Sarah GAUVARD" userId="4c03e191-e154-482a-88b2-11de19eac96c" providerId="ADAL" clId="{8245CC27-65FB-483E-B8E7-D04039DBA80D}" dt="2021-05-25T12:16:48.345" v="21273" actId="478"/>
          <ac:spMkLst>
            <pc:docMk/>
            <pc:sldMk cId="3186676131" sldId="10444"/>
            <ac:spMk id="186" creationId="{D4769F11-2D8E-44A6-9652-977BE5E5275C}"/>
          </ac:spMkLst>
        </pc:spChg>
        <pc:spChg chg="add mod">
          <ac:chgData name="Sarah GAUVARD" userId="4c03e191-e154-482a-88b2-11de19eac96c" providerId="ADAL" clId="{8245CC27-65FB-483E-B8E7-D04039DBA80D}" dt="2021-05-24T09:51:32.275" v="940"/>
          <ac:spMkLst>
            <pc:docMk/>
            <pc:sldMk cId="3186676131" sldId="10444"/>
            <ac:spMk id="186" creationId="{F2FE201E-FB2E-4FB2-9AF8-51F02E7F68D2}"/>
          </ac:spMkLst>
        </pc:spChg>
        <pc:spChg chg="add mod">
          <ac:chgData name="Sarah GAUVARD" userId="4c03e191-e154-482a-88b2-11de19eac96c" providerId="ADAL" clId="{8245CC27-65FB-483E-B8E7-D04039DBA80D}" dt="2021-05-24T09:51:32.275" v="940"/>
          <ac:spMkLst>
            <pc:docMk/>
            <pc:sldMk cId="3186676131" sldId="10444"/>
            <ac:spMk id="187" creationId="{3ECD9B9B-A705-4089-9594-212A41EF7034}"/>
          </ac:spMkLst>
        </pc:spChg>
        <pc:spChg chg="add mod">
          <ac:chgData name="Sarah GAUVARD" userId="4c03e191-e154-482a-88b2-11de19eac96c" providerId="ADAL" clId="{8245CC27-65FB-483E-B8E7-D04039DBA80D}" dt="2021-05-24T09:51:32.275" v="940"/>
          <ac:spMkLst>
            <pc:docMk/>
            <pc:sldMk cId="3186676131" sldId="10444"/>
            <ac:spMk id="188" creationId="{8650B8D7-2F20-41EF-942C-3138C502BDDF}"/>
          </ac:spMkLst>
        </pc:spChg>
        <pc:spChg chg="add mod">
          <ac:chgData name="Sarah GAUVARD" userId="4c03e191-e154-482a-88b2-11de19eac96c" providerId="ADAL" clId="{8245CC27-65FB-483E-B8E7-D04039DBA80D}" dt="2021-05-24T09:51:32.275" v="940"/>
          <ac:spMkLst>
            <pc:docMk/>
            <pc:sldMk cId="3186676131" sldId="10444"/>
            <ac:spMk id="189" creationId="{13186B74-6471-4593-A76A-1D0500A1A6AC}"/>
          </ac:spMkLst>
        </pc:spChg>
        <pc:spChg chg="mod">
          <ac:chgData name="Sarah GAUVARD" userId="4c03e191-e154-482a-88b2-11de19eac96c" providerId="ADAL" clId="{8245CC27-65FB-483E-B8E7-D04039DBA80D}" dt="2021-05-25T12:16:54.147" v="21274" actId="207"/>
          <ac:spMkLst>
            <pc:docMk/>
            <pc:sldMk cId="3186676131" sldId="10444"/>
            <ac:spMk id="189" creationId="{F82F8CF7-943B-4ED8-8EE5-44353AB332F5}"/>
          </ac:spMkLst>
        </pc:spChg>
        <pc:spChg chg="add mod">
          <ac:chgData name="Sarah GAUVARD" userId="4c03e191-e154-482a-88b2-11de19eac96c" providerId="ADAL" clId="{8245CC27-65FB-483E-B8E7-D04039DBA80D}" dt="2021-05-24T09:51:32.275" v="940"/>
          <ac:spMkLst>
            <pc:docMk/>
            <pc:sldMk cId="3186676131" sldId="10444"/>
            <ac:spMk id="190" creationId="{F7D7AD75-8C50-41A1-97D2-7048446D7ED5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91" creationId="{BCCB0F70-F9E3-49F7-B9CC-4810707D22BC}"/>
          </ac:spMkLst>
        </pc:spChg>
        <pc:spChg chg="mod">
          <ac:chgData name="Sarah GAUVARD" userId="4c03e191-e154-482a-88b2-11de19eac96c" providerId="ADAL" clId="{8245CC27-65FB-483E-B8E7-D04039DBA80D}" dt="2021-05-24T16:09:27.169" v="15173" actId="790"/>
          <ac:spMkLst>
            <pc:docMk/>
            <pc:sldMk cId="3186676131" sldId="10444"/>
            <ac:spMk id="192" creationId="{94A34A46-8E0E-47FF-881E-66715653B41E}"/>
          </ac:spMkLst>
        </pc:spChg>
        <pc:spChg chg="mod">
          <ac:chgData name="Sarah GAUVARD" userId="4c03e191-e154-482a-88b2-11de19eac96c" providerId="ADAL" clId="{8245CC27-65FB-483E-B8E7-D04039DBA80D}" dt="2021-05-24T16:09:27.169" v="15174" actId="790"/>
          <ac:spMkLst>
            <pc:docMk/>
            <pc:sldMk cId="3186676131" sldId="10444"/>
            <ac:spMk id="193" creationId="{D7E2235E-5186-4226-B6BB-3EC83201E1E8}"/>
          </ac:spMkLst>
        </pc:spChg>
        <pc:spChg chg="mod">
          <ac:chgData name="Sarah GAUVARD" userId="4c03e191-e154-482a-88b2-11de19eac96c" providerId="ADAL" clId="{8245CC27-65FB-483E-B8E7-D04039DBA80D}" dt="2021-05-24T16:09:27.169" v="15175" actId="790"/>
          <ac:spMkLst>
            <pc:docMk/>
            <pc:sldMk cId="3186676131" sldId="10444"/>
            <ac:spMk id="194" creationId="{5733A862-B877-44F6-A87C-4D2A2B1AA3D5}"/>
          </ac:spMkLst>
        </pc:spChg>
        <pc:spChg chg="mod">
          <ac:chgData name="Sarah GAUVARD" userId="4c03e191-e154-482a-88b2-11de19eac96c" providerId="ADAL" clId="{8245CC27-65FB-483E-B8E7-D04039DBA80D}" dt="2021-05-24T16:09:27.169" v="15176" actId="790"/>
          <ac:spMkLst>
            <pc:docMk/>
            <pc:sldMk cId="3186676131" sldId="10444"/>
            <ac:spMk id="195" creationId="{9134F630-89B7-4C04-85D0-A0215E053331}"/>
          </ac:spMkLst>
        </pc:spChg>
        <pc:spChg chg="mod">
          <ac:chgData name="Sarah GAUVARD" userId="4c03e191-e154-482a-88b2-11de19eac96c" providerId="ADAL" clId="{8245CC27-65FB-483E-B8E7-D04039DBA80D}" dt="2021-05-24T16:09:27.169" v="15177" actId="790"/>
          <ac:spMkLst>
            <pc:docMk/>
            <pc:sldMk cId="3186676131" sldId="10444"/>
            <ac:spMk id="196" creationId="{E4224438-3C05-4BDB-9AF9-00E317DDDEB1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97" creationId="{EB1ED8EE-1371-4F31-B475-A7FD22F01C88}"/>
          </ac:spMkLst>
        </pc:spChg>
        <pc:spChg chg="mod">
          <ac:chgData name="Sarah GAUVARD" userId="4c03e191-e154-482a-88b2-11de19eac96c" providerId="ADAL" clId="{8245CC27-65FB-483E-B8E7-D04039DBA80D}" dt="2021-05-24T16:09:27.169" v="15178" actId="790"/>
          <ac:spMkLst>
            <pc:docMk/>
            <pc:sldMk cId="3186676131" sldId="10444"/>
            <ac:spMk id="198" creationId="{AD17A495-0B0F-4F46-9F7D-200C03BF0AF5}"/>
          </ac:spMkLst>
        </pc:spChg>
        <pc:spChg chg="del mod">
          <ac:chgData name="Sarah GAUVARD" userId="4c03e191-e154-482a-88b2-11de19eac96c" providerId="ADAL" clId="{8245CC27-65FB-483E-B8E7-D04039DBA80D}" dt="2021-05-25T11:35:48.942" v="21236" actId="478"/>
          <ac:spMkLst>
            <pc:docMk/>
            <pc:sldMk cId="3186676131" sldId="10444"/>
            <ac:spMk id="199" creationId="{7AA1D634-A123-45D9-AAFC-6D2B4169F0D3}"/>
          </ac:spMkLst>
        </pc:spChg>
        <pc:spChg chg="del mod">
          <ac:chgData name="Sarah GAUVARD" userId="4c03e191-e154-482a-88b2-11de19eac96c" providerId="ADAL" clId="{8245CC27-65FB-483E-B8E7-D04039DBA80D}" dt="2021-05-25T11:35:45.601" v="21235" actId="478"/>
          <ac:spMkLst>
            <pc:docMk/>
            <pc:sldMk cId="3186676131" sldId="10444"/>
            <ac:spMk id="200" creationId="{19457CAC-00D2-47BF-AD2E-06310CBD6917}"/>
          </ac:spMkLst>
        </pc:spChg>
        <pc:spChg chg="mod">
          <ac:chgData name="Sarah GAUVARD" userId="4c03e191-e154-482a-88b2-11de19eac96c" providerId="ADAL" clId="{8245CC27-65FB-483E-B8E7-D04039DBA80D}" dt="2021-05-25T11:37:30.476" v="21271" actId="408"/>
          <ac:spMkLst>
            <pc:docMk/>
            <pc:sldMk cId="3186676131" sldId="10444"/>
            <ac:spMk id="202" creationId="{43CEBDC6-9570-4DF4-AEBC-4EA33D983550}"/>
          </ac:spMkLst>
        </pc:spChg>
        <pc:spChg chg="mod">
          <ac:chgData name="Sarah GAUVARD" userId="4c03e191-e154-482a-88b2-11de19eac96c" providerId="ADAL" clId="{8245CC27-65FB-483E-B8E7-D04039DBA80D}" dt="2021-05-25T11:37:30.476" v="21271" actId="408"/>
          <ac:spMkLst>
            <pc:docMk/>
            <pc:sldMk cId="3186676131" sldId="10444"/>
            <ac:spMk id="203" creationId="{C9DEC2C5-553A-433B-9E73-C1B88EBDDB99}"/>
          </ac:spMkLst>
        </pc:spChg>
        <pc:spChg chg="mod">
          <ac:chgData name="Sarah GAUVARD" userId="4c03e191-e154-482a-88b2-11de19eac96c" providerId="ADAL" clId="{8245CC27-65FB-483E-B8E7-D04039DBA80D}" dt="2021-05-25T11:37:25.785" v="21270" actId="1076"/>
          <ac:spMkLst>
            <pc:docMk/>
            <pc:sldMk cId="3186676131" sldId="10444"/>
            <ac:spMk id="205" creationId="{0ED3738F-2A1F-481F-90BC-CB33F42B420F}"/>
          </ac:spMkLst>
        </pc:spChg>
        <pc:spChg chg="mod">
          <ac:chgData name="Sarah GAUVARD" userId="4c03e191-e154-482a-88b2-11de19eac96c" providerId="ADAL" clId="{8245CC27-65FB-483E-B8E7-D04039DBA80D}" dt="2021-05-25T11:37:25.785" v="21270" actId="1076"/>
          <ac:spMkLst>
            <pc:docMk/>
            <pc:sldMk cId="3186676131" sldId="10444"/>
            <ac:spMk id="206" creationId="{44E40D49-93AD-44AB-8E0E-C9F47F42FB03}"/>
          </ac:spMkLst>
        </pc:spChg>
        <pc:spChg chg="add del mod">
          <ac:chgData name="Sarah GAUVARD" userId="4c03e191-e154-482a-88b2-11de19eac96c" providerId="ADAL" clId="{8245CC27-65FB-483E-B8E7-D04039DBA80D}" dt="2021-05-25T15:15:53.202" v="27597" actId="478"/>
          <ac:spMkLst>
            <pc:docMk/>
            <pc:sldMk cId="3186676131" sldId="10444"/>
            <ac:spMk id="208" creationId="{1FCE2BC8-399D-4C4E-9B10-5C4EABE5F81D}"/>
          </ac:spMkLst>
        </pc:spChg>
        <pc:spChg chg="add del mod">
          <ac:chgData name="Sarah GAUVARD" userId="4c03e191-e154-482a-88b2-11de19eac96c" providerId="ADAL" clId="{8245CC27-65FB-483E-B8E7-D04039DBA80D}" dt="2021-05-25T15:16:55.498" v="27600" actId="478"/>
          <ac:spMkLst>
            <pc:docMk/>
            <pc:sldMk cId="3186676131" sldId="10444"/>
            <ac:spMk id="209" creationId="{EBCFE058-9F09-4E3B-AE8B-AEDAF3FC2B1D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212" creationId="{F492C173-DFD6-47CF-9BB4-C8925127E1EE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025" creationId="{308FC967-D46E-4BB5-97B6-0297E9035F94}"/>
          </ac:spMkLst>
        </pc:spChg>
        <pc:spChg chg="mod">
          <ac:chgData name="Sarah GAUVARD" userId="4c03e191-e154-482a-88b2-11de19eac96c" providerId="ADAL" clId="{8245CC27-65FB-483E-B8E7-D04039DBA80D}" dt="2021-05-24T16:09:27.126" v="15138" actId="790"/>
          <ac:spMkLst>
            <pc:docMk/>
            <pc:sldMk cId="3186676131" sldId="10444"/>
            <ac:spMk id="1031" creationId="{A3845A5C-C65F-4C44-AE3B-D3285DF51268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1035" creationId="{9164A53F-4711-41A4-BE3D-8D2F4243A495}"/>
          </ac:spMkLst>
        </pc:spChg>
        <pc:spChg chg="mod">
          <ac:chgData name="Sarah GAUVARD" userId="4c03e191-e154-482a-88b2-11de19eac96c" providerId="ADAL" clId="{8245CC27-65FB-483E-B8E7-D04039DBA80D}" dt="2021-05-25T11:36:52.145" v="21259"/>
          <ac:spMkLst>
            <pc:docMk/>
            <pc:sldMk cId="3186676131" sldId="10444"/>
            <ac:spMk id="4107" creationId="{EBC573C8-C4E3-432A-81F7-B99236DF594A}"/>
          </ac:spMkLst>
        </pc:s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" creationId="{00000000-0000-0000-0000-000000000000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24" creationId="{C4837868-EA88-4105-8AFC-C5C7F2608006}"/>
          </ac:grpSpMkLst>
        </pc:grpChg>
        <pc:grpChg chg="del">
          <ac:chgData name="Sarah GAUVARD" userId="4c03e191-e154-482a-88b2-11de19eac96c" providerId="ADAL" clId="{8245CC27-65FB-483E-B8E7-D04039DBA80D}" dt="2021-05-25T11:35:21.290" v="21207" actId="165"/>
          <ac:grpSpMkLst>
            <pc:docMk/>
            <pc:sldMk cId="3186676131" sldId="10444"/>
            <ac:grpSpMk id="26" creationId="{139062F8-208B-4135-8E2A-4E29C1C78564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27" creationId="{EA08B364-2359-4F49-AC90-B0624510EFC6}"/>
          </ac:grpSpMkLst>
        </pc:grpChg>
        <pc:grpChg chg="mod">
          <ac:chgData name="Sarah GAUVARD" userId="4c03e191-e154-482a-88b2-11de19eac96c" providerId="ADAL" clId="{8245CC27-65FB-483E-B8E7-D04039DBA80D}" dt="2021-05-25T11:37:30.476" v="21271" actId="408"/>
          <ac:grpSpMkLst>
            <pc:docMk/>
            <pc:sldMk cId="3186676131" sldId="10444"/>
            <ac:grpSpMk id="28" creationId="{90EBD061-B490-4C01-9A98-0AE6EE3B137D}"/>
          </ac:grpSpMkLst>
        </pc:grpChg>
        <pc:grpChg chg="add del mod topLvl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04" creationId="{B882499C-1677-47D8-974F-0CBEDC209417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09" creationId="{DA05C7C7-7C16-496C-87D6-257145CDEEC2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27" creationId="{F8B61F7D-3CEC-4816-9A96-4F8E6B9C9272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35" creationId="{2C041EA5-AA00-489E-9865-08607979DC09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39" creationId="{186E2752-0A1F-495B-9241-266BD52D0AA4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46" creationId="{D761AD5C-EC94-4530-A013-3B15E174E9B3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47" creationId="{0EAFAB15-20CA-4736-9CC6-0CC44E23C5DB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56" creationId="{C743D667-8191-45E8-ACD5-C0A91EF42D3A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60" creationId="{3E8D0841-66E5-40FB-B067-1E52BEE74445}"/>
          </ac:grpSpMkLst>
        </pc:grpChg>
        <pc:grpChg chg="mod">
          <ac:chgData name="Sarah GAUVARD" userId="4c03e191-e154-482a-88b2-11de19eac96c" providerId="ADAL" clId="{8245CC27-65FB-483E-B8E7-D04039DBA80D}" dt="2021-05-25T11:36:52.145" v="21259"/>
          <ac:grpSpMkLst>
            <pc:docMk/>
            <pc:sldMk cId="3186676131" sldId="10444"/>
            <ac:grpSpMk id="163" creationId="{E229724D-394B-4649-A3FD-FD52D2FDDB79}"/>
          </ac:grpSpMkLst>
        </pc:grpChg>
        <pc:grpChg chg="add del mod">
          <ac:chgData name="Sarah GAUVARD" userId="4c03e191-e154-482a-88b2-11de19eac96c" providerId="ADAL" clId="{8245CC27-65FB-483E-B8E7-D04039DBA80D}" dt="2021-05-25T11:35:48.942" v="21236" actId="478"/>
          <ac:grpSpMkLst>
            <pc:docMk/>
            <pc:sldMk cId="3186676131" sldId="10444"/>
            <ac:grpSpMk id="188" creationId="{8958E303-2EB0-4259-A3CC-A492060BBF92}"/>
          </ac:grpSpMkLst>
        </pc:grpChg>
        <pc:grpChg chg="del mod">
          <ac:chgData name="Sarah GAUVARD" userId="4c03e191-e154-482a-88b2-11de19eac96c" providerId="ADAL" clId="{8245CC27-65FB-483E-B8E7-D04039DBA80D}" dt="2021-05-25T11:35:45.601" v="21235" actId="478"/>
          <ac:grpSpMkLst>
            <pc:docMk/>
            <pc:sldMk cId="3186676131" sldId="10444"/>
            <ac:grpSpMk id="190" creationId="{D4A06580-9679-4614-B479-EE0DA2CE9742}"/>
          </ac:grpSpMkLst>
        </pc:grpChg>
        <pc:grpChg chg="add mod">
          <ac:chgData name="Sarah GAUVARD" userId="4c03e191-e154-482a-88b2-11de19eac96c" providerId="ADAL" clId="{8245CC27-65FB-483E-B8E7-D04039DBA80D}" dt="2021-05-25T11:37:30.476" v="21271" actId="408"/>
          <ac:grpSpMkLst>
            <pc:docMk/>
            <pc:sldMk cId="3186676131" sldId="10444"/>
            <ac:grpSpMk id="201" creationId="{5FC0248F-4C8C-4BD8-AC06-AA7C3F8F8618}"/>
          </ac:grpSpMkLst>
        </pc:grpChg>
        <pc:grpChg chg="add mod">
          <ac:chgData name="Sarah GAUVARD" userId="4c03e191-e154-482a-88b2-11de19eac96c" providerId="ADAL" clId="{8245CC27-65FB-483E-B8E7-D04039DBA80D}" dt="2021-05-25T11:37:30.476" v="21271" actId="408"/>
          <ac:grpSpMkLst>
            <pc:docMk/>
            <pc:sldMk cId="3186676131" sldId="10444"/>
            <ac:grpSpMk id="204" creationId="{B02CF47B-AAD3-4DEA-868D-1238CF029F91}"/>
          </ac:grpSpMkLst>
        </pc:grpChg>
        <pc:graphicFrameChg chg="mod">
          <ac:chgData name="Sarah GAUVARD" userId="4c03e191-e154-482a-88b2-11de19eac96c" providerId="ADAL" clId="{8245CC27-65FB-483E-B8E7-D04039DBA80D}" dt="2021-05-25T12:48:08.085" v="22631"/>
          <ac:graphicFrameMkLst>
            <pc:docMk/>
            <pc:sldMk cId="3186676131" sldId="10444"/>
            <ac:graphicFrameMk id="17" creationId="{FF44A7FF-DA1D-48E9-88AF-BFA57A1D74D1}"/>
          </ac:graphicFrameMkLst>
        </pc:graphicFrame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4" creationId="{07DF01FF-E042-464B-8D89-C1DD5F2A3011}"/>
          </ac:picMkLst>
        </pc:picChg>
        <pc:picChg chg="add del 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6" creationId="{CB1AD155-E180-4139-8A05-55BF55369932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23" creationId="{10DDE8F1-2170-4DF0-8833-D0085E79F4B2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25" creationId="{52C3E3D2-FA50-4D83-A414-4CF548A04E1F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40" creationId="{6973F59E-1207-42B8-8B66-3703D3A33B05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41" creationId="{8ADC216A-F93F-421D-872E-AFDDDE309ED2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45" creationId="{2519CE9B-647E-4A44-9B9B-B4D8A02BF2BA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51" creationId="{B4C0CFA4-0C87-4D7E-9B0B-73EB90390152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57" creationId="{7942C9D1-CC4E-494E-B1BA-B41C956CB052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60" creationId="{7AEB38C8-2556-4BC2-9E79-6253524A0CCD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61" creationId="{FF1C9A56-12FF-44D7-90CE-6B642AC09E35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65" creationId="{245D2F08-96C5-499A-9CAA-7A69709E63DB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67" creationId="{B0909538-F737-4485-8082-4DB38A0FF8CC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03" creationId="{520C1FAC-FCFE-4A89-9DA8-09CB29181CA9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05" creationId="{3DA39742-9DCB-4AB2-9681-35F7ACA3416B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06" creationId="{45AA7DA4-1D8B-49F9-8B16-D31A557ECCB2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10" creationId="{0CA5CCEF-DC39-4724-9838-CB259D062516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17" creationId="{5087AD5E-B480-4901-ADEC-92EA2ECF910A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18" creationId="{975EBD52-E20A-45C4-A7D9-4C7CCD2371DA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24" creationId="{398FCF7F-0656-461E-B04A-460C35D41F1D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25" creationId="{A7D19573-C9B3-43A2-9A66-2C75EA18DA8A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42" creationId="{6DB4194A-253A-487A-AC1A-6904664F3CE3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43" creationId="{F8202681-741E-4768-987D-F8F75B24E3F0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45" creationId="{BD81860D-CA7E-4613-BB0C-A876A9C65F8F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67" creationId="{BC814D15-0E72-41F9-9944-FFAFD64289C8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75" creationId="{C74B7E2C-E213-4983-9867-52C8984C0DD3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76" creationId="{3B7F6D9F-6461-46B7-97EE-628A24CC125E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77" creationId="{54FB996A-4AE4-4EF0-BB7D-ADA35423D0B6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78" creationId="{75E0466B-CA53-4C81-8223-2E3E1B753F14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79" creationId="{ED85D58E-45F2-4CC4-8BE3-9C9F574AAAEC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80" creationId="{31B7F512-7F20-4044-A1E3-F3E6C08ACA1E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82" creationId="{BDF161B8-9EB7-4E9C-B875-F4E304F06B4B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029" creationId="{A54F61C6-B2D6-44DA-8C71-B936C281E248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1034" creationId="{6AD63904-CC83-445F-AEAA-4856B3E8FEC2}"/>
          </ac:picMkLst>
        </pc:picChg>
        <pc:picChg chg="mod">
          <ac:chgData name="Sarah GAUVARD" userId="4c03e191-e154-482a-88b2-11de19eac96c" providerId="ADAL" clId="{8245CC27-65FB-483E-B8E7-D04039DBA80D}" dt="2021-05-25T11:36:52.145" v="21259"/>
          <ac:picMkLst>
            <pc:docMk/>
            <pc:sldMk cId="3186676131" sldId="10444"/>
            <ac:picMk id="4096" creationId="{89737987-2421-4267-8CCA-DCD14179A700}"/>
          </ac:picMkLst>
        </pc:picChg>
        <pc:cxnChg chg="mod">
          <ac:chgData name="Sarah GAUVARD" userId="4c03e191-e154-482a-88b2-11de19eac96c" providerId="ADAL" clId="{8245CC27-65FB-483E-B8E7-D04039DBA80D}" dt="2021-05-25T11:36:52.145" v="21259"/>
          <ac:cxnSpMkLst>
            <pc:docMk/>
            <pc:sldMk cId="3186676131" sldId="10444"/>
            <ac:cxnSpMk id="99" creationId="{FA4D10C6-B565-4FB9-A5A3-2BBB57BBDE42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4T16:09:28.208" v="16274" actId="790"/>
        <pc:sldMkLst>
          <pc:docMk/>
          <pc:sldMk cId="3037564285" sldId="10446"/>
        </pc:sldMkLst>
        <pc:spChg chg="mod">
          <ac:chgData name="Sarah GAUVARD" userId="4c03e191-e154-482a-88b2-11de19eac96c" providerId="ADAL" clId="{8245CC27-65FB-483E-B8E7-D04039DBA80D}" dt="2021-05-24T16:09:28.180" v="16247" actId="790"/>
          <ac:spMkLst>
            <pc:docMk/>
            <pc:sldMk cId="3037564285" sldId="10446"/>
            <ac:spMk id="2" creationId="{F603210B-1675-4AF7-9A14-5F2A22C81270}"/>
          </ac:spMkLst>
        </pc:spChg>
        <pc:spChg chg="add del mod modVis">
          <ac:chgData name="Sarah GAUVARD" userId="4c03e191-e154-482a-88b2-11de19eac96c" providerId="ADAL" clId="{8245CC27-65FB-483E-B8E7-D04039DBA80D}" dt="2021-05-24T15:34:46.036" v="11853"/>
          <ac:spMkLst>
            <pc:docMk/>
            <pc:sldMk cId="3037564285" sldId="10446"/>
            <ac:spMk id="3" creationId="{E226A33C-E758-4A88-981F-14DD19F0F327}"/>
          </ac:spMkLst>
        </pc:spChg>
        <pc:spChg chg="mod">
          <ac:chgData name="Sarah GAUVARD" userId="4c03e191-e154-482a-88b2-11de19eac96c" providerId="ADAL" clId="{8245CC27-65FB-483E-B8E7-D04039DBA80D}" dt="2021-05-24T16:09:28.180" v="16248" actId="790"/>
          <ac:spMkLst>
            <pc:docMk/>
            <pc:sldMk cId="3037564285" sldId="10446"/>
            <ac:spMk id="4" creationId="{74ADDBE6-49E4-4049-B7BF-EE415633C5F5}"/>
          </ac:spMkLst>
        </pc:spChg>
        <pc:spChg chg="mod">
          <ac:chgData name="Sarah GAUVARD" userId="4c03e191-e154-482a-88b2-11de19eac96c" providerId="ADAL" clId="{8245CC27-65FB-483E-B8E7-D04039DBA80D}" dt="2021-05-24T16:09:28.180" v="16249" actId="790"/>
          <ac:spMkLst>
            <pc:docMk/>
            <pc:sldMk cId="3037564285" sldId="10446"/>
            <ac:spMk id="5" creationId="{B0DA252B-E0E1-4EDA-AD43-C3699C200482}"/>
          </ac:spMkLst>
        </pc:spChg>
        <pc:spChg chg="mod">
          <ac:chgData name="Sarah GAUVARD" userId="4c03e191-e154-482a-88b2-11de19eac96c" providerId="ADAL" clId="{8245CC27-65FB-483E-B8E7-D04039DBA80D}" dt="2021-05-24T16:09:28.180" v="16250" actId="790"/>
          <ac:spMkLst>
            <pc:docMk/>
            <pc:sldMk cId="3037564285" sldId="10446"/>
            <ac:spMk id="6" creationId="{459DE8FF-F3A0-454B-89BD-EA7D3F0085F4}"/>
          </ac:spMkLst>
        </pc:spChg>
        <pc:spChg chg="mod">
          <ac:chgData name="Sarah GAUVARD" userId="4c03e191-e154-482a-88b2-11de19eac96c" providerId="ADAL" clId="{8245CC27-65FB-483E-B8E7-D04039DBA80D}" dt="2021-05-24T16:09:28.180" v="16251" actId="790"/>
          <ac:spMkLst>
            <pc:docMk/>
            <pc:sldMk cId="3037564285" sldId="10446"/>
            <ac:spMk id="8" creationId="{A6584CFE-199B-42FA-9B02-35D30052E24D}"/>
          </ac:spMkLst>
        </pc:spChg>
        <pc:spChg chg="mod">
          <ac:chgData name="Sarah GAUVARD" userId="4c03e191-e154-482a-88b2-11de19eac96c" providerId="ADAL" clId="{8245CC27-65FB-483E-B8E7-D04039DBA80D}" dt="2021-05-24T16:09:28.188" v="16252" actId="790"/>
          <ac:spMkLst>
            <pc:docMk/>
            <pc:sldMk cId="3037564285" sldId="10446"/>
            <ac:spMk id="9" creationId="{5513411E-B0D4-4A2B-B16E-9DD5102ED097}"/>
          </ac:spMkLst>
        </pc:spChg>
        <pc:spChg chg="mod">
          <ac:chgData name="Sarah GAUVARD" userId="4c03e191-e154-482a-88b2-11de19eac96c" providerId="ADAL" clId="{8245CC27-65FB-483E-B8E7-D04039DBA80D}" dt="2021-05-24T16:09:28.200" v="16268" actId="790"/>
          <ac:spMkLst>
            <pc:docMk/>
            <pc:sldMk cId="3037564285" sldId="10446"/>
            <ac:spMk id="11" creationId="{E7BC247D-1E44-429A-AF83-8E39E9FFE026}"/>
          </ac:spMkLst>
        </pc:spChg>
        <pc:spChg chg="mod">
          <ac:chgData name="Sarah GAUVARD" userId="4c03e191-e154-482a-88b2-11de19eac96c" providerId="ADAL" clId="{8245CC27-65FB-483E-B8E7-D04039DBA80D}" dt="2021-05-24T16:09:28.200" v="16267" actId="790"/>
          <ac:spMkLst>
            <pc:docMk/>
            <pc:sldMk cId="3037564285" sldId="10446"/>
            <ac:spMk id="12" creationId="{C7013414-76D7-4268-AAD2-A87055DAACA5}"/>
          </ac:spMkLst>
        </pc:spChg>
        <pc:spChg chg="mod">
          <ac:chgData name="Sarah GAUVARD" userId="4c03e191-e154-482a-88b2-11de19eac96c" providerId="ADAL" clId="{8245CC27-65FB-483E-B8E7-D04039DBA80D}" dt="2021-05-24T16:09:28.200" v="16269" actId="790"/>
          <ac:spMkLst>
            <pc:docMk/>
            <pc:sldMk cId="3037564285" sldId="10446"/>
            <ac:spMk id="31" creationId="{97E5D4A5-0DD4-47F0-90BC-7FD43285E269}"/>
          </ac:spMkLst>
        </pc:spChg>
        <pc:spChg chg="mod">
          <ac:chgData name="Sarah GAUVARD" userId="4c03e191-e154-482a-88b2-11de19eac96c" providerId="ADAL" clId="{8245CC27-65FB-483E-B8E7-D04039DBA80D}" dt="2021-05-24T16:09:28.188" v="16253" actId="790"/>
          <ac:spMkLst>
            <pc:docMk/>
            <pc:sldMk cId="3037564285" sldId="10446"/>
            <ac:spMk id="32" creationId="{72E4FA22-5F72-4B8A-966C-5EAB2962F5DE}"/>
          </ac:spMkLst>
        </pc:spChg>
        <pc:spChg chg="mod">
          <ac:chgData name="Sarah GAUVARD" userId="4c03e191-e154-482a-88b2-11de19eac96c" providerId="ADAL" clId="{8245CC27-65FB-483E-B8E7-D04039DBA80D}" dt="2021-05-24T16:09:28.190" v="16254" actId="790"/>
          <ac:spMkLst>
            <pc:docMk/>
            <pc:sldMk cId="3037564285" sldId="10446"/>
            <ac:spMk id="33" creationId="{BC847A98-E385-4268-A8B8-68418B0916EB}"/>
          </ac:spMkLst>
        </pc:spChg>
        <pc:spChg chg="mod">
          <ac:chgData name="Sarah GAUVARD" userId="4c03e191-e154-482a-88b2-11de19eac96c" providerId="ADAL" clId="{8245CC27-65FB-483E-B8E7-D04039DBA80D}" dt="2021-05-24T16:09:28.190" v="16255" actId="790"/>
          <ac:spMkLst>
            <pc:docMk/>
            <pc:sldMk cId="3037564285" sldId="10446"/>
            <ac:spMk id="34" creationId="{98055D65-32A6-4AE6-AA0E-584E4895BE34}"/>
          </ac:spMkLst>
        </pc:spChg>
        <pc:spChg chg="mod">
          <ac:chgData name="Sarah GAUVARD" userId="4c03e191-e154-482a-88b2-11de19eac96c" providerId="ADAL" clId="{8245CC27-65FB-483E-B8E7-D04039DBA80D}" dt="2021-05-24T16:09:28.190" v="16256" actId="790"/>
          <ac:spMkLst>
            <pc:docMk/>
            <pc:sldMk cId="3037564285" sldId="10446"/>
            <ac:spMk id="35" creationId="{81BD3286-79C1-4AD5-827B-F5E96A7F940D}"/>
          </ac:spMkLst>
        </pc:spChg>
        <pc:spChg chg="mod">
          <ac:chgData name="Sarah GAUVARD" userId="4c03e191-e154-482a-88b2-11de19eac96c" providerId="ADAL" clId="{8245CC27-65FB-483E-B8E7-D04039DBA80D}" dt="2021-05-24T16:09:28.190" v="16257" actId="790"/>
          <ac:spMkLst>
            <pc:docMk/>
            <pc:sldMk cId="3037564285" sldId="10446"/>
            <ac:spMk id="36" creationId="{9D0D108D-E040-46E8-9D27-8421B7B8A6B6}"/>
          </ac:spMkLst>
        </pc:spChg>
        <pc:spChg chg="mod">
          <ac:chgData name="Sarah GAUVARD" userId="4c03e191-e154-482a-88b2-11de19eac96c" providerId="ADAL" clId="{8245CC27-65FB-483E-B8E7-D04039DBA80D}" dt="2021-05-24T16:09:28.198" v="16258" actId="790"/>
          <ac:spMkLst>
            <pc:docMk/>
            <pc:sldMk cId="3037564285" sldId="10446"/>
            <ac:spMk id="37" creationId="{685DD430-D135-4898-B681-DADA54449406}"/>
          </ac:spMkLst>
        </pc:spChg>
        <pc:spChg chg="mod">
          <ac:chgData name="Sarah GAUVARD" userId="4c03e191-e154-482a-88b2-11de19eac96c" providerId="ADAL" clId="{8245CC27-65FB-483E-B8E7-D04039DBA80D}" dt="2021-05-24T16:09:28.198" v="16259" actId="790"/>
          <ac:spMkLst>
            <pc:docMk/>
            <pc:sldMk cId="3037564285" sldId="10446"/>
            <ac:spMk id="38" creationId="{33227BCF-594C-48FC-A668-E9496B25076E}"/>
          </ac:spMkLst>
        </pc:spChg>
        <pc:spChg chg="mod">
          <ac:chgData name="Sarah GAUVARD" userId="4c03e191-e154-482a-88b2-11de19eac96c" providerId="ADAL" clId="{8245CC27-65FB-483E-B8E7-D04039DBA80D}" dt="2021-05-24T16:09:28.198" v="16260" actId="790"/>
          <ac:spMkLst>
            <pc:docMk/>
            <pc:sldMk cId="3037564285" sldId="10446"/>
            <ac:spMk id="42" creationId="{FB53C860-4349-483B-9A2E-4EA3FEEC44A4}"/>
          </ac:spMkLst>
        </pc:spChg>
        <pc:spChg chg="mod">
          <ac:chgData name="Sarah GAUVARD" userId="4c03e191-e154-482a-88b2-11de19eac96c" providerId="ADAL" clId="{8245CC27-65FB-483E-B8E7-D04039DBA80D}" dt="2021-05-24T16:09:28.200" v="16261" actId="790"/>
          <ac:spMkLst>
            <pc:docMk/>
            <pc:sldMk cId="3037564285" sldId="10446"/>
            <ac:spMk id="43" creationId="{9BAD9349-B578-4C93-89B0-5E143458F95D}"/>
          </ac:spMkLst>
        </pc:spChg>
        <pc:spChg chg="mod">
          <ac:chgData name="Sarah GAUVARD" userId="4c03e191-e154-482a-88b2-11de19eac96c" providerId="ADAL" clId="{8245CC27-65FB-483E-B8E7-D04039DBA80D}" dt="2021-05-24T16:09:28.208" v="16274" actId="790"/>
          <ac:spMkLst>
            <pc:docMk/>
            <pc:sldMk cId="3037564285" sldId="10446"/>
            <ac:spMk id="45" creationId="{9858D135-1CE8-4023-B383-64DDA4FA4FF5}"/>
          </ac:spMkLst>
        </pc:spChg>
        <pc:spChg chg="mod">
          <ac:chgData name="Sarah GAUVARD" userId="4c03e191-e154-482a-88b2-11de19eac96c" providerId="ADAL" clId="{8245CC27-65FB-483E-B8E7-D04039DBA80D}" dt="2021-05-24T16:09:28.200" v="16262" actId="790"/>
          <ac:spMkLst>
            <pc:docMk/>
            <pc:sldMk cId="3037564285" sldId="10446"/>
            <ac:spMk id="58" creationId="{F3BBC108-E3A8-4285-8482-6573BB5A9BFA}"/>
          </ac:spMkLst>
        </pc:spChg>
        <pc:spChg chg="mod">
          <ac:chgData name="Sarah GAUVARD" userId="4c03e191-e154-482a-88b2-11de19eac96c" providerId="ADAL" clId="{8245CC27-65FB-483E-B8E7-D04039DBA80D}" dt="2021-05-24T16:09:28.200" v="16263" actId="790"/>
          <ac:spMkLst>
            <pc:docMk/>
            <pc:sldMk cId="3037564285" sldId="10446"/>
            <ac:spMk id="60" creationId="{502A1A2A-5BE4-4CEC-87C8-F81B82FE17A0}"/>
          </ac:spMkLst>
        </pc:spChg>
        <pc:spChg chg="mod">
          <ac:chgData name="Sarah GAUVARD" userId="4c03e191-e154-482a-88b2-11de19eac96c" providerId="ADAL" clId="{8245CC27-65FB-483E-B8E7-D04039DBA80D}" dt="2021-05-24T16:09:28.200" v="16264" actId="790"/>
          <ac:spMkLst>
            <pc:docMk/>
            <pc:sldMk cId="3037564285" sldId="10446"/>
            <ac:spMk id="69" creationId="{19F48430-90DF-40FF-A00A-84E93A59C005}"/>
          </ac:spMkLst>
        </pc:spChg>
        <pc:spChg chg="mod">
          <ac:chgData name="Sarah GAUVARD" userId="4c03e191-e154-482a-88b2-11de19eac96c" providerId="ADAL" clId="{8245CC27-65FB-483E-B8E7-D04039DBA80D}" dt="2021-05-24T16:09:28.200" v="16265" actId="790"/>
          <ac:spMkLst>
            <pc:docMk/>
            <pc:sldMk cId="3037564285" sldId="10446"/>
            <ac:spMk id="70" creationId="{712AF8AD-F5B4-45E9-AA35-3836D1A918F9}"/>
          </ac:spMkLst>
        </pc:spChg>
        <pc:spChg chg="mod">
          <ac:chgData name="Sarah GAUVARD" userId="4c03e191-e154-482a-88b2-11de19eac96c" providerId="ADAL" clId="{8245CC27-65FB-483E-B8E7-D04039DBA80D}" dt="2021-05-24T16:09:28.200" v="16266" actId="790"/>
          <ac:spMkLst>
            <pc:docMk/>
            <pc:sldMk cId="3037564285" sldId="10446"/>
            <ac:spMk id="73" creationId="{37CE42CA-0196-4A12-823E-1A27C547E4D3}"/>
          </ac:spMkLst>
        </pc:spChg>
        <pc:spChg chg="mod">
          <ac:chgData name="Sarah GAUVARD" userId="4c03e191-e154-482a-88b2-11de19eac96c" providerId="ADAL" clId="{8245CC27-65FB-483E-B8E7-D04039DBA80D}" dt="2021-05-24T16:09:28.200" v="16270" actId="790"/>
          <ac:spMkLst>
            <pc:docMk/>
            <pc:sldMk cId="3037564285" sldId="10446"/>
            <ac:spMk id="78" creationId="{9A9481B5-737E-45DE-81D8-2F715985CC57}"/>
          </ac:spMkLst>
        </pc:spChg>
        <pc:spChg chg="mod">
          <ac:chgData name="Sarah GAUVARD" userId="4c03e191-e154-482a-88b2-11de19eac96c" providerId="ADAL" clId="{8245CC27-65FB-483E-B8E7-D04039DBA80D}" dt="2021-05-24T16:09:28.200" v="16271" actId="790"/>
          <ac:spMkLst>
            <pc:docMk/>
            <pc:sldMk cId="3037564285" sldId="10446"/>
            <ac:spMk id="80" creationId="{53EEF4E9-317D-4996-82F1-5D806F6EA3E2}"/>
          </ac:spMkLst>
        </pc:spChg>
        <pc:spChg chg="mod">
          <ac:chgData name="Sarah GAUVARD" userId="4c03e191-e154-482a-88b2-11de19eac96c" providerId="ADAL" clId="{8245CC27-65FB-483E-B8E7-D04039DBA80D}" dt="2021-05-24T16:09:28.208" v="16272" actId="790"/>
          <ac:spMkLst>
            <pc:docMk/>
            <pc:sldMk cId="3037564285" sldId="10446"/>
            <ac:spMk id="84" creationId="{4A5E7AB0-2297-4CD5-A92F-B96EE98B1D1A}"/>
          </ac:spMkLst>
        </pc:spChg>
        <pc:spChg chg="mod">
          <ac:chgData name="Sarah GAUVARD" userId="4c03e191-e154-482a-88b2-11de19eac96c" providerId="ADAL" clId="{8245CC27-65FB-483E-B8E7-D04039DBA80D}" dt="2021-05-24T16:09:28.208" v="16273" actId="790"/>
          <ac:spMkLst>
            <pc:docMk/>
            <pc:sldMk cId="3037564285" sldId="10446"/>
            <ac:spMk id="85" creationId="{1A835908-83BB-404C-AE36-6D07AE32C2A9}"/>
          </ac:spMkLst>
        </pc:spChg>
        <pc:graphicFrameChg chg="mod">
          <ac:chgData name="Sarah GAUVARD" userId="4c03e191-e154-482a-88b2-11de19eac96c" providerId="ADAL" clId="{8245CC27-65FB-483E-B8E7-D04039DBA80D}" dt="2021-05-24T15:34:46.039" v="11855"/>
          <ac:graphicFrameMkLst>
            <pc:docMk/>
            <pc:sldMk cId="3037564285" sldId="10446"/>
            <ac:graphicFrameMk id="13" creationId="{9407379A-9B01-4AE4-98E8-CA428D86DF00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6.906" v="14926" actId="790"/>
        <pc:sldMkLst>
          <pc:docMk/>
          <pc:sldMk cId="3968368318" sldId="10448"/>
        </pc:sldMkLst>
        <pc:spChg chg="mod ord">
          <ac:chgData name="Sarah GAUVARD" userId="4c03e191-e154-482a-88b2-11de19eac96c" providerId="ADAL" clId="{8245CC27-65FB-483E-B8E7-D04039DBA80D}" dt="2021-05-24T16:09:26.874" v="14892" actId="790"/>
          <ac:spMkLst>
            <pc:docMk/>
            <pc:sldMk cId="3968368318" sldId="10448"/>
            <ac:spMk id="2" creationId="{22CE637A-08CD-4B57-9E43-4D794A97D425}"/>
          </ac:spMkLst>
        </pc:spChg>
        <pc:spChg chg="add del mod modVis">
          <ac:chgData name="Sarah GAUVARD" userId="4c03e191-e154-482a-88b2-11de19eac96c" providerId="ADAL" clId="{8245CC27-65FB-483E-B8E7-D04039DBA80D}" dt="2021-05-24T09:49:54.600" v="907"/>
          <ac:spMkLst>
            <pc:docMk/>
            <pc:sldMk cId="3968368318" sldId="10448"/>
            <ac:spMk id="4" creationId="{ACB1E4C0-5B84-4C8B-A6B7-4A726DAA39BA}"/>
          </ac:spMkLst>
        </pc:spChg>
        <pc:spChg chg="add del mod modVis">
          <ac:chgData name="Sarah GAUVARD" userId="4c03e191-e154-482a-88b2-11de19eac96c" providerId="ADAL" clId="{8245CC27-65FB-483E-B8E7-D04039DBA80D}" dt="2021-05-24T15:34:46.573" v="12112"/>
          <ac:spMkLst>
            <pc:docMk/>
            <pc:sldMk cId="3968368318" sldId="10448"/>
            <ac:spMk id="6" creationId="{E7381019-63D3-4921-9489-7E42D06616E3}"/>
          </ac:spMkLst>
        </pc:spChg>
        <pc:spChg chg="mod ord">
          <ac:chgData name="Sarah GAUVARD" userId="4c03e191-e154-482a-88b2-11de19eac96c" providerId="ADAL" clId="{8245CC27-65FB-483E-B8E7-D04039DBA80D}" dt="2021-05-24T16:09:26.874" v="14894" actId="790"/>
          <ac:spMkLst>
            <pc:docMk/>
            <pc:sldMk cId="3968368318" sldId="10448"/>
            <ac:spMk id="18" creationId="{B77F2001-EECC-4091-A46F-B13C297AFD91}"/>
          </ac:spMkLst>
        </pc:spChg>
        <pc:spChg chg="mod ord">
          <ac:chgData name="Sarah GAUVARD" userId="4c03e191-e154-482a-88b2-11de19eac96c" providerId="ADAL" clId="{8245CC27-65FB-483E-B8E7-D04039DBA80D}" dt="2021-05-24T16:09:26.874" v="14893" actId="790"/>
          <ac:spMkLst>
            <pc:docMk/>
            <pc:sldMk cId="3968368318" sldId="10448"/>
            <ac:spMk id="23" creationId="{0C95EF0E-C411-407B-BF74-3CD0A42FA4B6}"/>
          </ac:spMkLst>
        </pc:spChg>
        <pc:spChg chg="mod ord">
          <ac:chgData name="Sarah GAUVARD" userId="4c03e191-e154-482a-88b2-11de19eac96c" providerId="ADAL" clId="{8245CC27-65FB-483E-B8E7-D04039DBA80D}" dt="2021-05-24T16:09:26.874" v="14895" actId="790"/>
          <ac:spMkLst>
            <pc:docMk/>
            <pc:sldMk cId="3968368318" sldId="10448"/>
            <ac:spMk id="26" creationId="{1467DC4C-D91B-4890-86E8-8B6B324D9380}"/>
          </ac:spMkLst>
        </pc:spChg>
        <pc:spChg chg="mod ord">
          <ac:chgData name="Sarah GAUVARD" userId="4c03e191-e154-482a-88b2-11de19eac96c" providerId="ADAL" clId="{8245CC27-65FB-483E-B8E7-D04039DBA80D}" dt="2021-05-24T16:09:26.874" v="14896" actId="790"/>
          <ac:spMkLst>
            <pc:docMk/>
            <pc:sldMk cId="3968368318" sldId="10448"/>
            <ac:spMk id="29" creationId="{D49177BB-F71C-42AC-9A8C-812D68405634}"/>
          </ac:spMkLst>
        </pc:spChg>
        <pc:spChg chg="mod ord">
          <ac:chgData name="Sarah GAUVARD" userId="4c03e191-e154-482a-88b2-11de19eac96c" providerId="ADAL" clId="{8245CC27-65FB-483E-B8E7-D04039DBA80D}" dt="2021-05-24T16:09:26.874" v="14897" actId="790"/>
          <ac:spMkLst>
            <pc:docMk/>
            <pc:sldMk cId="3968368318" sldId="10448"/>
            <ac:spMk id="30" creationId="{990B3219-5A14-48A6-A29D-258D28CA817A}"/>
          </ac:spMkLst>
        </pc:spChg>
        <pc:spChg chg="mod ord">
          <ac:chgData name="Sarah GAUVARD" userId="4c03e191-e154-482a-88b2-11de19eac96c" providerId="ADAL" clId="{8245CC27-65FB-483E-B8E7-D04039DBA80D}" dt="2021-05-24T16:09:26.874" v="14898" actId="790"/>
          <ac:spMkLst>
            <pc:docMk/>
            <pc:sldMk cId="3968368318" sldId="10448"/>
            <ac:spMk id="31" creationId="{98270023-57CC-4644-A288-9156D3D5FBCE}"/>
          </ac:spMkLst>
        </pc:spChg>
        <pc:spChg chg="mod ord">
          <ac:chgData name="Sarah GAUVARD" userId="4c03e191-e154-482a-88b2-11de19eac96c" providerId="ADAL" clId="{8245CC27-65FB-483E-B8E7-D04039DBA80D}" dt="2021-05-24T16:09:26.874" v="14899" actId="790"/>
          <ac:spMkLst>
            <pc:docMk/>
            <pc:sldMk cId="3968368318" sldId="10448"/>
            <ac:spMk id="32" creationId="{9E722F19-F936-4688-BE29-34529CE98CFB}"/>
          </ac:spMkLst>
        </pc:spChg>
        <pc:spChg chg="mod ord">
          <ac:chgData name="Sarah GAUVARD" userId="4c03e191-e154-482a-88b2-11de19eac96c" providerId="ADAL" clId="{8245CC27-65FB-483E-B8E7-D04039DBA80D}" dt="2021-05-24T16:09:26.874" v="14900" actId="790"/>
          <ac:spMkLst>
            <pc:docMk/>
            <pc:sldMk cId="3968368318" sldId="10448"/>
            <ac:spMk id="41" creationId="{013DFE0D-012C-4AE2-A406-883249D468BC}"/>
          </ac:spMkLst>
        </pc:spChg>
        <pc:spChg chg="mod ord">
          <ac:chgData name="Sarah GAUVARD" userId="4c03e191-e154-482a-88b2-11de19eac96c" providerId="ADAL" clId="{8245CC27-65FB-483E-B8E7-D04039DBA80D}" dt="2021-05-24T16:09:26.886" v="14908" actId="790"/>
          <ac:spMkLst>
            <pc:docMk/>
            <pc:sldMk cId="3968368318" sldId="10448"/>
            <ac:spMk id="44" creationId="{0B53E553-6743-45FB-AE8E-BF6F0D532CEA}"/>
          </ac:spMkLst>
        </pc:spChg>
        <pc:spChg chg="mod ord">
          <ac:chgData name="Sarah GAUVARD" userId="4c03e191-e154-482a-88b2-11de19eac96c" providerId="ADAL" clId="{8245CC27-65FB-483E-B8E7-D04039DBA80D}" dt="2021-05-24T16:09:26.874" v="14901" actId="790"/>
          <ac:spMkLst>
            <pc:docMk/>
            <pc:sldMk cId="3968368318" sldId="10448"/>
            <ac:spMk id="45" creationId="{81D23D10-6232-4D82-8BCF-13B9525E1855}"/>
          </ac:spMkLst>
        </pc:spChg>
        <pc:spChg chg="mod ord">
          <ac:chgData name="Sarah GAUVARD" userId="4c03e191-e154-482a-88b2-11de19eac96c" providerId="ADAL" clId="{8245CC27-65FB-483E-B8E7-D04039DBA80D}" dt="2021-05-24T16:09:26.874" v="14902" actId="790"/>
          <ac:spMkLst>
            <pc:docMk/>
            <pc:sldMk cId="3968368318" sldId="10448"/>
            <ac:spMk id="46" creationId="{041E4A41-5EFF-4E8D-82D0-B598CD53AEB6}"/>
          </ac:spMkLst>
        </pc:spChg>
        <pc:spChg chg="mod ord">
          <ac:chgData name="Sarah GAUVARD" userId="4c03e191-e154-482a-88b2-11de19eac96c" providerId="ADAL" clId="{8245CC27-65FB-483E-B8E7-D04039DBA80D}" dt="2021-05-24T16:09:26.884" v="14903" actId="790"/>
          <ac:spMkLst>
            <pc:docMk/>
            <pc:sldMk cId="3968368318" sldId="10448"/>
            <ac:spMk id="49" creationId="{9FC58EF0-5CD6-4A71-8940-F6C8C883FBD1}"/>
          </ac:spMkLst>
        </pc:spChg>
        <pc:spChg chg="mod ord">
          <ac:chgData name="Sarah GAUVARD" userId="4c03e191-e154-482a-88b2-11de19eac96c" providerId="ADAL" clId="{8245CC27-65FB-483E-B8E7-D04039DBA80D}" dt="2021-05-24T16:09:26.884" v="14904" actId="790"/>
          <ac:spMkLst>
            <pc:docMk/>
            <pc:sldMk cId="3968368318" sldId="10448"/>
            <ac:spMk id="50" creationId="{0B6C5844-4A3E-4824-8EAE-60D3B3E1BFF5}"/>
          </ac:spMkLst>
        </pc:spChg>
        <pc:spChg chg="mod ord">
          <ac:chgData name="Sarah GAUVARD" userId="4c03e191-e154-482a-88b2-11de19eac96c" providerId="ADAL" clId="{8245CC27-65FB-483E-B8E7-D04039DBA80D}" dt="2021-05-24T16:09:26.884" v="14905" actId="790"/>
          <ac:spMkLst>
            <pc:docMk/>
            <pc:sldMk cId="3968368318" sldId="10448"/>
            <ac:spMk id="51" creationId="{8F8A1894-627E-4A77-8FEF-2E5519D9FC48}"/>
          </ac:spMkLst>
        </pc:spChg>
        <pc:spChg chg="mod ord">
          <ac:chgData name="Sarah GAUVARD" userId="4c03e191-e154-482a-88b2-11de19eac96c" providerId="ADAL" clId="{8245CC27-65FB-483E-B8E7-D04039DBA80D}" dt="2021-05-24T16:09:26.886" v="14906" actId="790"/>
          <ac:spMkLst>
            <pc:docMk/>
            <pc:sldMk cId="3968368318" sldId="10448"/>
            <ac:spMk id="52" creationId="{76A2D6C4-57ED-451A-A7F1-033FE34AB68E}"/>
          </ac:spMkLst>
        </pc:spChg>
        <pc:spChg chg="mod ord">
          <ac:chgData name="Sarah GAUVARD" userId="4c03e191-e154-482a-88b2-11de19eac96c" providerId="ADAL" clId="{8245CC27-65FB-483E-B8E7-D04039DBA80D}" dt="2021-05-24T16:09:26.886" v="14907" actId="790"/>
          <ac:spMkLst>
            <pc:docMk/>
            <pc:sldMk cId="3968368318" sldId="10448"/>
            <ac:spMk id="53" creationId="{1D696651-4ADA-4682-8B2D-872B8258B7F2}"/>
          </ac:spMkLst>
        </pc:spChg>
        <pc:spChg chg="del">
          <ac:chgData name="Sarah GAUVARD" userId="4c03e191-e154-482a-88b2-11de19eac96c" providerId="ADAL" clId="{8245CC27-65FB-483E-B8E7-D04039DBA80D}" dt="2021-05-24T09:49:51.024" v="744" actId="478"/>
          <ac:spMkLst>
            <pc:docMk/>
            <pc:sldMk cId="3968368318" sldId="10448"/>
            <ac:spMk id="55" creationId="{0C141722-A2EF-49DC-9F67-E93B3139C25B}"/>
          </ac:spMkLst>
        </pc:spChg>
        <pc:spChg chg="del">
          <ac:chgData name="Sarah GAUVARD" userId="4c03e191-e154-482a-88b2-11de19eac96c" providerId="ADAL" clId="{8245CC27-65FB-483E-B8E7-D04039DBA80D}" dt="2021-05-24T09:49:51.024" v="744" actId="478"/>
          <ac:spMkLst>
            <pc:docMk/>
            <pc:sldMk cId="3968368318" sldId="10448"/>
            <ac:spMk id="56" creationId="{A6349B2E-65F9-4CBE-8CCF-5E4961E634C0}"/>
          </ac:spMkLst>
        </pc:spChg>
        <pc:spChg chg="del">
          <ac:chgData name="Sarah GAUVARD" userId="4c03e191-e154-482a-88b2-11de19eac96c" providerId="ADAL" clId="{8245CC27-65FB-483E-B8E7-D04039DBA80D}" dt="2021-05-24T09:49:51.024" v="744" actId="478"/>
          <ac:spMkLst>
            <pc:docMk/>
            <pc:sldMk cId="3968368318" sldId="10448"/>
            <ac:spMk id="57" creationId="{E90B7430-5601-4ECE-AAD3-6FB768C85534}"/>
          </ac:spMkLst>
        </pc:spChg>
        <pc:spChg chg="mod ord">
          <ac:chgData name="Sarah GAUVARD" userId="4c03e191-e154-482a-88b2-11de19eac96c" providerId="ADAL" clId="{8245CC27-65FB-483E-B8E7-D04039DBA80D}" dt="2021-05-24T16:09:26.886" v="14909" actId="790"/>
          <ac:spMkLst>
            <pc:docMk/>
            <pc:sldMk cId="3968368318" sldId="10448"/>
            <ac:spMk id="59" creationId="{3DAFC222-EE91-423E-A279-AC68BF7E5200}"/>
          </ac:spMkLst>
        </pc:spChg>
        <pc:spChg chg="del">
          <ac:chgData name="Sarah GAUVARD" userId="4c03e191-e154-482a-88b2-11de19eac96c" providerId="ADAL" clId="{8245CC27-65FB-483E-B8E7-D04039DBA80D}" dt="2021-05-24T09:49:51.024" v="744" actId="478"/>
          <ac:spMkLst>
            <pc:docMk/>
            <pc:sldMk cId="3968368318" sldId="10448"/>
            <ac:spMk id="61" creationId="{DC4554B5-055C-4796-96D5-8AE7F9FC77CD}"/>
          </ac:spMkLst>
        </pc:spChg>
        <pc:spChg chg="del">
          <ac:chgData name="Sarah GAUVARD" userId="4c03e191-e154-482a-88b2-11de19eac96c" providerId="ADAL" clId="{8245CC27-65FB-483E-B8E7-D04039DBA80D}" dt="2021-05-24T09:49:51.024" v="744" actId="478"/>
          <ac:spMkLst>
            <pc:docMk/>
            <pc:sldMk cId="3968368318" sldId="10448"/>
            <ac:spMk id="62" creationId="{A38D78E0-148A-4F50-8A85-1252B5681E60}"/>
          </ac:spMkLst>
        </pc:spChg>
        <pc:spChg chg="mod ord">
          <ac:chgData name="Sarah GAUVARD" userId="4c03e191-e154-482a-88b2-11de19eac96c" providerId="ADAL" clId="{8245CC27-65FB-483E-B8E7-D04039DBA80D}" dt="2021-05-24T09:49:54.577" v="859"/>
          <ac:spMkLst>
            <pc:docMk/>
            <pc:sldMk cId="3968368318" sldId="10448"/>
            <ac:spMk id="63" creationId="{E332C26C-6982-4266-9F93-4F2FAEAC1F59}"/>
          </ac:spMkLst>
        </pc:spChg>
        <pc:spChg chg="mod ord">
          <ac:chgData name="Sarah GAUVARD" userId="4c03e191-e154-482a-88b2-11de19eac96c" providerId="ADAL" clId="{8245CC27-65FB-483E-B8E7-D04039DBA80D}" dt="2021-05-24T09:49:54.593" v="891"/>
          <ac:spMkLst>
            <pc:docMk/>
            <pc:sldMk cId="3968368318" sldId="10448"/>
            <ac:spMk id="64" creationId="{1A18C6B3-2FBD-4D14-B6FE-A7A205C9EA40}"/>
          </ac:spMkLst>
        </pc:spChg>
        <pc:spChg chg="mod ord">
          <ac:chgData name="Sarah GAUVARD" userId="4c03e191-e154-482a-88b2-11de19eac96c" providerId="ADAL" clId="{8245CC27-65FB-483E-B8E7-D04039DBA80D}" dt="2021-05-24T09:49:54.598" v="905"/>
          <ac:spMkLst>
            <pc:docMk/>
            <pc:sldMk cId="3968368318" sldId="10448"/>
            <ac:spMk id="65" creationId="{14DBDE30-5E3A-4F1E-9FBC-F7821E12A88B}"/>
          </ac:spMkLst>
        </pc:spChg>
        <pc:spChg chg="add mod ord">
          <ac:chgData name="Sarah GAUVARD" userId="4c03e191-e154-482a-88b2-11de19eac96c" providerId="ADAL" clId="{8245CC27-65FB-483E-B8E7-D04039DBA80D}" dt="2021-05-24T09:49:54.594" v="895"/>
          <ac:spMkLst>
            <pc:docMk/>
            <pc:sldMk cId="3968368318" sldId="10448"/>
            <ac:spMk id="66" creationId="{B9F94985-511B-4593-BED8-531D9DDB34BC}"/>
          </ac:spMkLst>
        </pc:spChg>
        <pc:spChg chg="mod ord">
          <ac:chgData name="Sarah GAUVARD" userId="4c03e191-e154-482a-88b2-11de19eac96c" providerId="ADAL" clId="{8245CC27-65FB-483E-B8E7-D04039DBA80D}" dt="2021-05-24T09:49:54.578" v="863"/>
          <ac:spMkLst>
            <pc:docMk/>
            <pc:sldMk cId="3968368318" sldId="10448"/>
            <ac:spMk id="67" creationId="{2166AFB3-822C-4F0C-86C2-2CF099B5D8CB}"/>
          </ac:spMkLst>
        </pc:spChg>
        <pc:spChg chg="mod ord">
          <ac:chgData name="Sarah GAUVARD" userId="4c03e191-e154-482a-88b2-11de19eac96c" providerId="ADAL" clId="{8245CC27-65FB-483E-B8E7-D04039DBA80D}" dt="2021-05-24T09:49:54.580" v="867"/>
          <ac:spMkLst>
            <pc:docMk/>
            <pc:sldMk cId="3968368318" sldId="10448"/>
            <ac:spMk id="68" creationId="{B86316C1-E02D-43CA-AC7B-2A954859A66C}"/>
          </ac:spMkLst>
        </pc:spChg>
        <pc:spChg chg="add mod ord">
          <ac:chgData name="Sarah GAUVARD" userId="4c03e191-e154-482a-88b2-11de19eac96c" providerId="ADAL" clId="{8245CC27-65FB-483E-B8E7-D04039DBA80D}" dt="2021-05-24T09:49:54.595" v="897"/>
          <ac:spMkLst>
            <pc:docMk/>
            <pc:sldMk cId="3968368318" sldId="10448"/>
            <ac:spMk id="69" creationId="{DA89BA4E-15F3-45D7-AC53-C7B00BDF69BA}"/>
          </ac:spMkLst>
        </pc:spChg>
        <pc:spChg chg="add mod ord">
          <ac:chgData name="Sarah GAUVARD" userId="4c03e191-e154-482a-88b2-11de19eac96c" providerId="ADAL" clId="{8245CC27-65FB-483E-B8E7-D04039DBA80D}" dt="2021-05-24T09:49:54.596" v="899"/>
          <ac:spMkLst>
            <pc:docMk/>
            <pc:sldMk cId="3968368318" sldId="10448"/>
            <ac:spMk id="70" creationId="{1C84C3EF-8C31-4EE7-872D-C166B49C2FF4}"/>
          </ac:spMkLst>
        </pc:spChg>
        <pc:spChg chg="mod ord">
          <ac:chgData name="Sarah GAUVARD" userId="4c03e191-e154-482a-88b2-11de19eac96c" providerId="ADAL" clId="{8245CC27-65FB-483E-B8E7-D04039DBA80D}" dt="2021-05-24T09:49:54.582" v="871"/>
          <ac:spMkLst>
            <pc:docMk/>
            <pc:sldMk cId="3968368318" sldId="10448"/>
            <ac:spMk id="71" creationId="{DB0DEF92-6473-4E49-922E-2E9179832804}"/>
          </ac:spMkLst>
        </pc:spChg>
        <pc:spChg chg="add mod ord">
          <ac:chgData name="Sarah GAUVARD" userId="4c03e191-e154-482a-88b2-11de19eac96c" providerId="ADAL" clId="{8245CC27-65FB-483E-B8E7-D04039DBA80D}" dt="2021-05-24T09:49:54.597" v="901"/>
          <ac:spMkLst>
            <pc:docMk/>
            <pc:sldMk cId="3968368318" sldId="10448"/>
            <ac:spMk id="72" creationId="{EBB284DA-4049-4637-8581-206F535B6594}"/>
          </ac:spMkLst>
        </pc:spChg>
        <pc:spChg chg="add mod ord">
          <ac:chgData name="Sarah GAUVARD" userId="4c03e191-e154-482a-88b2-11de19eac96c" providerId="ADAL" clId="{8245CC27-65FB-483E-B8E7-D04039DBA80D}" dt="2021-05-24T09:49:54.597" v="903"/>
          <ac:spMkLst>
            <pc:docMk/>
            <pc:sldMk cId="3968368318" sldId="10448"/>
            <ac:spMk id="73" creationId="{31A358C9-E62F-4623-B89B-3A51CD1BAD3E}"/>
          </ac:spMkLst>
        </pc:spChg>
        <pc:spChg chg="mod ord">
          <ac:chgData name="Sarah GAUVARD" userId="4c03e191-e154-482a-88b2-11de19eac96c" providerId="ADAL" clId="{8245CC27-65FB-483E-B8E7-D04039DBA80D}" dt="2021-05-24T09:49:54.584" v="875"/>
          <ac:spMkLst>
            <pc:docMk/>
            <pc:sldMk cId="3968368318" sldId="10448"/>
            <ac:spMk id="74" creationId="{79AF8252-2A93-4F69-955B-9B76FDCC3FB8}"/>
          </ac:spMkLst>
        </pc:spChg>
        <pc:spChg chg="mod">
          <ac:chgData name="Sarah GAUVARD" userId="4c03e191-e154-482a-88b2-11de19eac96c" providerId="ADAL" clId="{8245CC27-65FB-483E-B8E7-D04039DBA80D}" dt="2021-05-24T16:09:26.896" v="14913" actId="790"/>
          <ac:spMkLst>
            <pc:docMk/>
            <pc:sldMk cId="3968368318" sldId="10448"/>
            <ac:spMk id="75" creationId="{3B90C99E-5118-46A1-8F4B-BC0DCBD5F532}"/>
          </ac:spMkLst>
        </pc:spChg>
        <pc:spChg chg="mod ord">
          <ac:chgData name="Sarah GAUVARD" userId="4c03e191-e154-482a-88b2-11de19eac96c" providerId="ADAL" clId="{8245CC27-65FB-483E-B8E7-D04039DBA80D}" dt="2021-05-24T09:49:54.587" v="879"/>
          <ac:spMkLst>
            <pc:docMk/>
            <pc:sldMk cId="3968368318" sldId="10448"/>
            <ac:spMk id="77" creationId="{10F7DCE8-AA8B-4757-B7AF-E90D9003445A}"/>
          </ac:spMkLst>
        </pc:spChg>
        <pc:spChg chg="mod">
          <ac:chgData name="Sarah GAUVARD" userId="4c03e191-e154-482a-88b2-11de19eac96c" providerId="ADAL" clId="{8245CC27-65FB-483E-B8E7-D04039DBA80D}" dt="2021-05-24T16:09:26.896" v="14920" actId="790"/>
          <ac:spMkLst>
            <pc:docMk/>
            <pc:sldMk cId="3968368318" sldId="10448"/>
            <ac:spMk id="77" creationId="{BC4455CD-3F6E-4577-AC5C-0ACD067A5D2E}"/>
          </ac:spMkLst>
        </pc:spChg>
        <pc:spChg chg="mod">
          <ac:chgData name="Sarah GAUVARD" userId="4c03e191-e154-482a-88b2-11de19eac96c" providerId="ADAL" clId="{8245CC27-65FB-483E-B8E7-D04039DBA80D}" dt="2021-05-24T16:09:26.896" v="14914" actId="790"/>
          <ac:spMkLst>
            <pc:docMk/>
            <pc:sldMk cId="3968368318" sldId="10448"/>
            <ac:spMk id="78" creationId="{29A37347-61AA-4078-80BD-C960E43A81AF}"/>
          </ac:spMkLst>
        </pc:spChg>
        <pc:spChg chg="mod">
          <ac:chgData name="Sarah GAUVARD" userId="4c03e191-e154-482a-88b2-11de19eac96c" providerId="ADAL" clId="{8245CC27-65FB-483E-B8E7-D04039DBA80D}" dt="2021-05-24T16:09:26.896" v="14917" actId="790"/>
          <ac:spMkLst>
            <pc:docMk/>
            <pc:sldMk cId="3968368318" sldId="10448"/>
            <ac:spMk id="81" creationId="{21CC608C-B99A-4A42-9697-626D17010014}"/>
          </ac:spMkLst>
        </pc:spChg>
        <pc:spChg chg="mod">
          <ac:chgData name="Sarah GAUVARD" userId="4c03e191-e154-482a-88b2-11de19eac96c" providerId="ADAL" clId="{8245CC27-65FB-483E-B8E7-D04039DBA80D}" dt="2021-05-24T16:09:26.896" v="14921" actId="790"/>
          <ac:spMkLst>
            <pc:docMk/>
            <pc:sldMk cId="3968368318" sldId="10448"/>
            <ac:spMk id="82" creationId="{BD62E9E8-E0BF-4E73-B1AF-3ADA82858B78}"/>
          </ac:spMkLst>
        </pc:spChg>
        <pc:spChg chg="mod">
          <ac:chgData name="Sarah GAUVARD" userId="4c03e191-e154-482a-88b2-11de19eac96c" providerId="ADAL" clId="{8245CC27-65FB-483E-B8E7-D04039DBA80D}" dt="2021-05-24T16:09:26.896" v="14922" actId="790"/>
          <ac:spMkLst>
            <pc:docMk/>
            <pc:sldMk cId="3968368318" sldId="10448"/>
            <ac:spMk id="83" creationId="{42E8BC0F-9E16-44E3-A5C1-56DDFB8C41D3}"/>
          </ac:spMkLst>
        </pc:spChg>
        <pc:spChg chg="mod">
          <ac:chgData name="Sarah GAUVARD" userId="4c03e191-e154-482a-88b2-11de19eac96c" providerId="ADAL" clId="{8245CC27-65FB-483E-B8E7-D04039DBA80D}" dt="2021-05-24T16:09:26.904" v="14923" actId="790"/>
          <ac:spMkLst>
            <pc:docMk/>
            <pc:sldMk cId="3968368318" sldId="10448"/>
            <ac:spMk id="84" creationId="{64B7059C-3B40-4861-9A53-5FCA0408ECF1}"/>
          </ac:spMkLst>
        </pc:spChg>
        <pc:spChg chg="mod">
          <ac:chgData name="Sarah GAUVARD" userId="4c03e191-e154-482a-88b2-11de19eac96c" providerId="ADAL" clId="{8245CC27-65FB-483E-B8E7-D04039DBA80D}" dt="2021-05-24T16:09:26.904" v="14924" actId="790"/>
          <ac:spMkLst>
            <pc:docMk/>
            <pc:sldMk cId="3968368318" sldId="10448"/>
            <ac:spMk id="85" creationId="{B3E08325-F9BB-4C29-B377-B00F7C54BC7E}"/>
          </ac:spMkLst>
        </pc:spChg>
        <pc:spChg chg="mod">
          <ac:chgData name="Sarah GAUVARD" userId="4c03e191-e154-482a-88b2-11de19eac96c" providerId="ADAL" clId="{8245CC27-65FB-483E-B8E7-D04039DBA80D}" dt="2021-05-24T16:09:26.904" v="14925" actId="790"/>
          <ac:spMkLst>
            <pc:docMk/>
            <pc:sldMk cId="3968368318" sldId="10448"/>
            <ac:spMk id="86" creationId="{B2F4B5C2-B876-4D81-9B74-C2FFF92AD648}"/>
          </ac:spMkLst>
        </pc:spChg>
        <pc:spChg chg="mod">
          <ac:chgData name="Sarah GAUVARD" userId="4c03e191-e154-482a-88b2-11de19eac96c" providerId="ADAL" clId="{8245CC27-65FB-483E-B8E7-D04039DBA80D}" dt="2021-05-24T16:09:26.896" v="14915" actId="790"/>
          <ac:spMkLst>
            <pc:docMk/>
            <pc:sldMk cId="3968368318" sldId="10448"/>
            <ac:spMk id="87" creationId="{011A9D4A-70AD-43A5-9A8B-1BA37B50CD90}"/>
          </ac:spMkLst>
        </pc:spChg>
        <pc:spChg chg="mod">
          <ac:chgData name="Sarah GAUVARD" userId="4c03e191-e154-482a-88b2-11de19eac96c" providerId="ADAL" clId="{8245CC27-65FB-483E-B8E7-D04039DBA80D}" dt="2021-05-24T16:09:26.906" v="14926" actId="790"/>
          <ac:spMkLst>
            <pc:docMk/>
            <pc:sldMk cId="3968368318" sldId="10448"/>
            <ac:spMk id="89" creationId="{6C12B321-3DB8-4176-AF24-B9FBD9E1B678}"/>
          </ac:spMkLst>
        </pc:spChg>
        <pc:spChg chg="mod">
          <ac:chgData name="Sarah GAUVARD" userId="4c03e191-e154-482a-88b2-11de19eac96c" providerId="ADAL" clId="{8245CC27-65FB-483E-B8E7-D04039DBA80D}" dt="2021-05-24T16:09:26.896" v="14916" actId="790"/>
          <ac:spMkLst>
            <pc:docMk/>
            <pc:sldMk cId="3968368318" sldId="10448"/>
            <ac:spMk id="92" creationId="{8AB39739-AED6-4791-9E02-58EE9F6AB505}"/>
          </ac:spMkLst>
        </pc:spChg>
        <pc:spChg chg="mod ord">
          <ac:chgData name="Sarah GAUVARD" userId="4c03e191-e154-482a-88b2-11de19eac96c" providerId="ADAL" clId="{8245CC27-65FB-483E-B8E7-D04039DBA80D}" dt="2021-05-24T16:09:26.886" v="14910" actId="790"/>
          <ac:spMkLst>
            <pc:docMk/>
            <pc:sldMk cId="3968368318" sldId="10448"/>
            <ac:spMk id="94" creationId="{BF59A564-3768-4FD0-BB89-C2C9D89D7D6F}"/>
          </ac:spMkLst>
        </pc:spChg>
        <pc:spChg chg="mod">
          <ac:chgData name="Sarah GAUVARD" userId="4c03e191-e154-482a-88b2-11de19eac96c" providerId="ADAL" clId="{8245CC27-65FB-483E-B8E7-D04039DBA80D}" dt="2021-05-24T16:09:26.896" v="14918" actId="790"/>
          <ac:spMkLst>
            <pc:docMk/>
            <pc:sldMk cId="3968368318" sldId="10448"/>
            <ac:spMk id="96" creationId="{CE4E2441-955C-4882-BD20-B9505DC3A971}"/>
          </ac:spMkLst>
        </pc:spChg>
        <pc:spChg chg="mod ord">
          <ac:chgData name="Sarah GAUVARD" userId="4c03e191-e154-482a-88b2-11de19eac96c" providerId="ADAL" clId="{8245CC27-65FB-483E-B8E7-D04039DBA80D}" dt="2021-05-24T16:09:26.894" v="14911" actId="790"/>
          <ac:spMkLst>
            <pc:docMk/>
            <pc:sldMk cId="3968368318" sldId="10448"/>
            <ac:spMk id="97" creationId="{8FC70572-4538-4FAA-BEC9-F74E3EC477C1}"/>
          </ac:spMkLst>
        </pc:spChg>
        <pc:spChg chg="mod ord">
          <ac:chgData name="Sarah GAUVARD" userId="4c03e191-e154-482a-88b2-11de19eac96c" providerId="ADAL" clId="{8245CC27-65FB-483E-B8E7-D04039DBA80D}" dt="2021-05-24T16:09:26.896" v="14912" actId="790"/>
          <ac:spMkLst>
            <pc:docMk/>
            <pc:sldMk cId="3968368318" sldId="10448"/>
            <ac:spMk id="98" creationId="{FC1F4A9D-DB6A-4376-88B8-66395C2A5202}"/>
          </ac:spMkLst>
        </pc:spChg>
        <pc:spChg chg="mod">
          <ac:chgData name="Sarah GAUVARD" userId="4c03e191-e154-482a-88b2-11de19eac96c" providerId="ADAL" clId="{8245CC27-65FB-483E-B8E7-D04039DBA80D}" dt="2021-05-24T16:09:26.896" v="14919" actId="790"/>
          <ac:spMkLst>
            <pc:docMk/>
            <pc:sldMk cId="3968368318" sldId="10448"/>
            <ac:spMk id="99" creationId="{A3D680AA-841F-4FE7-9115-FEE6A855B5C5}"/>
          </ac:spMkLst>
        </pc:spChg>
        <pc:grpChg chg="mod ord">
          <ac:chgData name="Sarah GAUVARD" userId="4c03e191-e154-482a-88b2-11de19eac96c" providerId="ADAL" clId="{8245CC27-65FB-483E-B8E7-D04039DBA80D}" dt="2021-05-24T09:49:54.555" v="805"/>
          <ac:grpSpMkLst>
            <pc:docMk/>
            <pc:sldMk cId="3968368318" sldId="10448"/>
            <ac:grpSpMk id="14" creationId="{38F6F087-9913-44CA-8929-CCCB784498AE}"/>
          </ac:grpSpMkLst>
        </pc:grpChg>
        <pc:graphicFrameChg chg="mod">
          <ac:chgData name="Sarah GAUVARD" userId="4c03e191-e154-482a-88b2-11de19eac96c" providerId="ADAL" clId="{8245CC27-65FB-483E-B8E7-D04039DBA80D}" dt="2021-05-24T15:34:46.578" v="12114"/>
          <ac:graphicFrameMkLst>
            <pc:docMk/>
            <pc:sldMk cId="3968368318" sldId="10448"/>
            <ac:graphicFrameMk id="3" creationId="{44A8661F-A698-4B3A-8522-3EA11ED55901}"/>
          </ac:graphicFrameMkLst>
        </pc:graphicFrameChg>
        <pc:picChg chg="mod ord">
          <ac:chgData name="Sarah GAUVARD" userId="4c03e191-e154-482a-88b2-11de19eac96c" providerId="ADAL" clId="{8245CC27-65FB-483E-B8E7-D04039DBA80D}" dt="2021-05-24T09:49:54.554" v="803"/>
          <ac:picMkLst>
            <pc:docMk/>
            <pc:sldMk cId="3968368318" sldId="10448"/>
            <ac:picMk id="5" creationId="{D2F1D639-27C1-48E1-A2DC-A3E4628C0CBD}"/>
          </ac:picMkLst>
        </pc:picChg>
        <pc:picChg chg="mod ord">
          <ac:chgData name="Sarah GAUVARD" userId="4c03e191-e154-482a-88b2-11de19eac96c" providerId="ADAL" clId="{8245CC27-65FB-483E-B8E7-D04039DBA80D}" dt="2021-05-24T09:49:54.576" v="857"/>
          <ac:picMkLst>
            <pc:docMk/>
            <pc:sldMk cId="3968368318" sldId="10448"/>
            <ac:picMk id="43" creationId="{0581F7B7-2060-46C8-8A4E-3CA430EA55BF}"/>
          </ac:picMkLst>
        </pc:picChg>
        <pc:picChg chg="mod ord">
          <ac:chgData name="Sarah GAUVARD" userId="4c03e191-e154-482a-88b2-11de19eac96c" providerId="ADAL" clId="{8245CC27-65FB-483E-B8E7-D04039DBA80D}" dt="2021-05-24T09:49:54.594" v="893"/>
          <ac:picMkLst>
            <pc:docMk/>
            <pc:sldMk cId="3968368318" sldId="10448"/>
            <ac:picMk id="54" creationId="{59A14BDB-B1A6-4486-9B90-B044F141A9A7}"/>
          </ac:picMkLst>
        </pc:picChg>
        <pc:picChg chg="mod ord">
          <ac:chgData name="Sarah GAUVARD" userId="4c03e191-e154-482a-88b2-11de19eac96c" providerId="ADAL" clId="{8245CC27-65FB-483E-B8E7-D04039DBA80D}" dt="2021-05-24T09:49:54.579" v="865"/>
          <ac:picMkLst>
            <pc:docMk/>
            <pc:sldMk cId="3968368318" sldId="10448"/>
            <ac:picMk id="60" creationId="{89570A62-3876-4F5C-8001-59F7F68A8582}"/>
          </ac:picMkLst>
        </pc:picChg>
        <pc:picChg chg="mod ord">
          <ac:chgData name="Sarah GAUVARD" userId="4c03e191-e154-482a-88b2-11de19eac96c" providerId="ADAL" clId="{8245CC27-65FB-483E-B8E7-D04039DBA80D}" dt="2021-05-24T09:49:54.578" v="861"/>
          <ac:picMkLst>
            <pc:docMk/>
            <pc:sldMk cId="3968368318" sldId="10448"/>
            <ac:picMk id="1024" creationId="{3DBDD6D3-592B-41B4-BB2A-CD25085483A2}"/>
          </ac:picMkLst>
        </pc:picChg>
        <pc:picChg chg="mod ord">
          <ac:chgData name="Sarah GAUVARD" userId="4c03e191-e154-482a-88b2-11de19eac96c" providerId="ADAL" clId="{8245CC27-65FB-483E-B8E7-D04039DBA80D}" dt="2021-05-24T09:49:54.581" v="869"/>
          <ac:picMkLst>
            <pc:docMk/>
            <pc:sldMk cId="3968368318" sldId="10448"/>
            <ac:picMk id="1026" creationId="{D7CFE2EB-ABED-4516-9E4E-851665E3F28B}"/>
          </ac:picMkLst>
        </pc:picChg>
        <pc:picChg chg="mod ord">
          <ac:chgData name="Sarah GAUVARD" userId="4c03e191-e154-482a-88b2-11de19eac96c" providerId="ADAL" clId="{8245CC27-65FB-483E-B8E7-D04039DBA80D}" dt="2021-05-24T09:49:54.583" v="873"/>
          <ac:picMkLst>
            <pc:docMk/>
            <pc:sldMk cId="3968368318" sldId="10448"/>
            <ac:picMk id="1029" creationId="{CDC34624-35B4-4A8F-A88D-63CBB70EC502}"/>
          </ac:picMkLst>
        </pc:picChg>
        <pc:picChg chg="mod ord">
          <ac:chgData name="Sarah GAUVARD" userId="4c03e191-e154-482a-88b2-11de19eac96c" providerId="ADAL" clId="{8245CC27-65FB-483E-B8E7-D04039DBA80D}" dt="2021-05-24T09:49:54.586" v="877"/>
          <ac:picMkLst>
            <pc:docMk/>
            <pc:sldMk cId="3968368318" sldId="10448"/>
            <ac:picMk id="1031" creationId="{AFCC9A41-2772-4AF8-A6B2-899ABAB27131}"/>
          </ac:picMkLst>
        </pc:picChg>
        <pc:picChg chg="mod ord">
          <ac:chgData name="Sarah GAUVARD" userId="4c03e191-e154-482a-88b2-11de19eac96c" providerId="ADAL" clId="{8245CC27-65FB-483E-B8E7-D04039DBA80D}" dt="2021-05-24T09:49:54.588" v="881"/>
          <ac:picMkLst>
            <pc:docMk/>
            <pc:sldMk cId="3968368318" sldId="10448"/>
            <ac:picMk id="1047" creationId="{7C57E807-8480-4449-95A6-F9293D6E3669}"/>
          </ac:picMkLst>
        </pc:picChg>
        <pc:picChg chg="mod ord">
          <ac:chgData name="Sarah GAUVARD" userId="4c03e191-e154-482a-88b2-11de19eac96c" providerId="ADAL" clId="{8245CC27-65FB-483E-B8E7-D04039DBA80D}" dt="2021-05-24T09:49:54.591" v="885"/>
          <ac:picMkLst>
            <pc:docMk/>
            <pc:sldMk cId="3968368318" sldId="10448"/>
            <ac:picMk id="1049" creationId="{B62FF67A-0317-4C03-8BAE-DCF23D0F186B}"/>
          </ac:picMkLst>
        </pc:picChg>
        <pc:cxnChg chg="mod ord">
          <ac:chgData name="Sarah GAUVARD" userId="4c03e191-e154-482a-88b2-11de19eac96c" providerId="ADAL" clId="{8245CC27-65FB-483E-B8E7-D04039DBA80D}" dt="2021-05-24T09:49:54.556" v="807"/>
          <ac:cxnSpMkLst>
            <pc:docMk/>
            <pc:sldMk cId="3968368318" sldId="10448"/>
            <ac:cxnSpMk id="21" creationId="{B1A639F8-5359-4D66-AB82-E0FEB65FEEE7}"/>
          </ac:cxnSpMkLst>
        </pc:cxnChg>
        <pc:cxnChg chg="mod ord">
          <ac:chgData name="Sarah GAUVARD" userId="4c03e191-e154-482a-88b2-11de19eac96c" providerId="ADAL" clId="{8245CC27-65FB-483E-B8E7-D04039DBA80D}" dt="2021-05-24T09:49:54.556" v="809"/>
          <ac:cxnSpMkLst>
            <pc:docMk/>
            <pc:sldMk cId="3968368318" sldId="10448"/>
            <ac:cxnSpMk id="22" creationId="{9B929B12-AFBA-450E-9525-BA9E595B4D56}"/>
          </ac:cxnSpMkLst>
        </pc:cxnChg>
        <pc:cxnChg chg="mod ord">
          <ac:chgData name="Sarah GAUVARD" userId="4c03e191-e154-482a-88b2-11de19eac96c" providerId="ADAL" clId="{8245CC27-65FB-483E-B8E7-D04039DBA80D}" dt="2021-05-24T09:49:54.561" v="825"/>
          <ac:cxnSpMkLst>
            <pc:docMk/>
            <pc:sldMk cId="3968368318" sldId="10448"/>
            <ac:cxnSpMk id="28" creationId="{B3CE31BC-34D4-4E73-A2F9-1ECCA4A3CF50}"/>
          </ac:cxnSpMkLst>
        </pc:cxnChg>
        <pc:cxnChg chg="mod ord">
          <ac:chgData name="Sarah GAUVARD" userId="4c03e191-e154-482a-88b2-11de19eac96c" providerId="ADAL" clId="{8245CC27-65FB-483E-B8E7-D04039DBA80D}" dt="2021-05-24T09:49:54.562" v="827"/>
          <ac:cxnSpMkLst>
            <pc:docMk/>
            <pc:sldMk cId="3968368318" sldId="10448"/>
            <ac:cxnSpMk id="35" creationId="{C53EA0FF-6AC0-4C1C-BF35-72009DE55036}"/>
          </ac:cxnSpMkLst>
        </pc:cxnChg>
        <pc:cxnChg chg="mod ord">
          <ac:chgData name="Sarah GAUVARD" userId="4c03e191-e154-482a-88b2-11de19eac96c" providerId="ADAL" clId="{8245CC27-65FB-483E-B8E7-D04039DBA80D}" dt="2021-05-24T09:49:54.563" v="829"/>
          <ac:cxnSpMkLst>
            <pc:docMk/>
            <pc:sldMk cId="3968368318" sldId="10448"/>
            <ac:cxnSpMk id="38" creationId="{39BD55F9-6A97-42C2-93FE-FDED86807A94}"/>
          </ac:cxnSpMkLst>
        </pc:cxnChg>
        <pc:cxnChg chg="mod ord">
          <ac:chgData name="Sarah GAUVARD" userId="4c03e191-e154-482a-88b2-11de19eac96c" providerId="ADAL" clId="{8245CC27-65FB-483E-B8E7-D04039DBA80D}" dt="2021-05-24T09:49:54.563" v="831"/>
          <ac:cxnSpMkLst>
            <pc:docMk/>
            <pc:sldMk cId="3968368318" sldId="10448"/>
            <ac:cxnSpMk id="40" creationId="{27B309F8-220B-46A7-9D33-E986C5BD862B}"/>
          </ac:cxnSpMkLst>
        </pc:cxnChg>
        <pc:cxnChg chg="mod ord">
          <ac:chgData name="Sarah GAUVARD" userId="4c03e191-e154-482a-88b2-11de19eac96c" providerId="ADAL" clId="{8245CC27-65FB-483E-B8E7-D04039DBA80D}" dt="2021-05-24T09:49:54.564" v="833"/>
          <ac:cxnSpMkLst>
            <pc:docMk/>
            <pc:sldMk cId="3968368318" sldId="10448"/>
            <ac:cxnSpMk id="42" creationId="{9D02EFEF-CAD6-47B0-9CDC-B01BC87D4886}"/>
          </ac:cxnSpMkLst>
        </pc:cxnChg>
        <pc:cxnChg chg="mod ord">
          <ac:chgData name="Sarah GAUVARD" userId="4c03e191-e154-482a-88b2-11de19eac96c" providerId="ADAL" clId="{8245CC27-65FB-483E-B8E7-D04039DBA80D}" dt="2021-05-24T09:49:54.574" v="853"/>
          <ac:cxnSpMkLst>
            <pc:docMk/>
            <pc:sldMk cId="3968368318" sldId="10448"/>
            <ac:cxnSpMk id="58" creationId="{7D5D11B0-EE80-4972-AB9B-FE160081EFC9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5T09:19:37.733" v="19300" actId="20577"/>
        <pc:sldMkLst>
          <pc:docMk/>
          <pc:sldMk cId="3405907677" sldId="10449"/>
        </pc:sldMkLst>
        <pc:spChg chg="mod">
          <ac:chgData name="Sarah GAUVARD" userId="4c03e191-e154-482a-88b2-11de19eac96c" providerId="ADAL" clId="{8245CC27-65FB-483E-B8E7-D04039DBA80D}" dt="2021-05-25T09:17:11.796" v="19235" actId="948"/>
          <ac:spMkLst>
            <pc:docMk/>
            <pc:sldMk cId="3405907677" sldId="10449"/>
            <ac:spMk id="2" creationId="{531041C5-E8A2-412F-8DD7-D013B496B687}"/>
          </ac:spMkLst>
        </pc:spChg>
        <pc:spChg chg="add del mod modVis">
          <ac:chgData name="Sarah GAUVARD" userId="4c03e191-e154-482a-88b2-11de19eac96c" providerId="ADAL" clId="{8245CC27-65FB-483E-B8E7-D04039DBA80D}" dt="2021-05-25T09:04:36.885" v="19165"/>
          <ac:spMkLst>
            <pc:docMk/>
            <pc:sldMk cId="3405907677" sldId="10449"/>
            <ac:spMk id="3" creationId="{5DC48989-9C92-47F7-BD38-C3AA3978AF76}"/>
          </ac:spMkLst>
        </pc:spChg>
        <pc:spChg chg="add del mod modVis">
          <ac:chgData name="Sarah GAUVARD" userId="4c03e191-e154-482a-88b2-11de19eac96c" providerId="ADAL" clId="{8245CC27-65FB-483E-B8E7-D04039DBA80D}" dt="2021-05-25T09:17:05.246" v="19210"/>
          <ac:spMkLst>
            <pc:docMk/>
            <pc:sldMk cId="3405907677" sldId="10449"/>
            <ac:spMk id="4" creationId="{1FFADBF3-55CF-4D80-AEA9-D6E6AD3DDFAD}"/>
          </ac:spMkLst>
        </pc:spChg>
        <pc:spChg chg="add del mod modVis">
          <ac:chgData name="Sarah GAUVARD" userId="4c03e191-e154-482a-88b2-11de19eac96c" providerId="ADAL" clId="{8245CC27-65FB-483E-B8E7-D04039DBA80D}" dt="2021-05-25T09:17:11.827" v="19275"/>
          <ac:spMkLst>
            <pc:docMk/>
            <pc:sldMk cId="3405907677" sldId="10449"/>
            <ac:spMk id="5" creationId="{87A64042-6FEA-4571-8376-10AAC7982830}"/>
          </ac:spMkLst>
        </pc:spChg>
        <pc:spChg chg="mod">
          <ac:chgData name="Sarah GAUVARD" userId="4c03e191-e154-482a-88b2-11de19eac96c" providerId="ADAL" clId="{8245CC27-65FB-483E-B8E7-D04039DBA80D}" dt="2021-05-24T16:09:27.652" v="15672" actId="790"/>
          <ac:spMkLst>
            <pc:docMk/>
            <pc:sldMk cId="3405907677" sldId="10449"/>
            <ac:spMk id="13" creationId="{3B30A3CA-590A-4A51-AA32-7AFB85C131DA}"/>
          </ac:spMkLst>
        </pc:spChg>
        <pc:spChg chg="mod">
          <ac:chgData name="Sarah GAUVARD" userId="4c03e191-e154-482a-88b2-11de19eac96c" providerId="ADAL" clId="{8245CC27-65FB-483E-B8E7-D04039DBA80D}" dt="2021-05-24T16:09:27.652" v="15673" actId="790"/>
          <ac:spMkLst>
            <pc:docMk/>
            <pc:sldMk cId="3405907677" sldId="10449"/>
            <ac:spMk id="14" creationId="{3B30A3CA-590A-4A51-AA32-7AFB85C131DA}"/>
          </ac:spMkLst>
        </pc:spChg>
        <pc:spChg chg="mod">
          <ac:chgData name="Sarah GAUVARD" userId="4c03e191-e154-482a-88b2-11de19eac96c" providerId="ADAL" clId="{8245CC27-65FB-483E-B8E7-D04039DBA80D}" dt="2021-05-24T16:09:27.652" v="15674" actId="790"/>
          <ac:spMkLst>
            <pc:docMk/>
            <pc:sldMk cId="3405907677" sldId="10449"/>
            <ac:spMk id="16" creationId="{A3DDF398-9E20-4E28-92A0-F1C2DBE27BF0}"/>
          </ac:spMkLst>
        </pc:spChg>
        <pc:spChg chg="mod">
          <ac:chgData name="Sarah GAUVARD" userId="4c03e191-e154-482a-88b2-11de19eac96c" providerId="ADAL" clId="{8245CC27-65FB-483E-B8E7-D04039DBA80D}" dt="2021-05-24T16:09:27.652" v="15675" actId="790"/>
          <ac:spMkLst>
            <pc:docMk/>
            <pc:sldMk cId="3405907677" sldId="10449"/>
            <ac:spMk id="17" creationId="{31CD3EEA-CBD9-4B6E-8261-B1EE77EE3676}"/>
          </ac:spMkLst>
        </pc:spChg>
        <pc:spChg chg="add del mod modVis">
          <ac:chgData name="Sarah GAUVARD" userId="4c03e191-e154-482a-88b2-11de19eac96c" providerId="ADAL" clId="{8245CC27-65FB-483E-B8E7-D04039DBA80D}" dt="2021-05-24T15:34:46.050" v="11865"/>
          <ac:spMkLst>
            <pc:docMk/>
            <pc:sldMk cId="3405907677" sldId="10449"/>
            <ac:spMk id="57" creationId="{6C6357CA-33DE-49E9-B3E4-66269A4BAC8C}"/>
          </ac:spMkLst>
        </pc:spChg>
        <pc:spChg chg="mod">
          <ac:chgData name="Sarah GAUVARD" userId="4c03e191-e154-482a-88b2-11de19eac96c" providerId="ADAL" clId="{8245CC27-65FB-483E-B8E7-D04039DBA80D}" dt="2021-05-24T16:09:27.681" v="15708" actId="790"/>
          <ac:spMkLst>
            <pc:docMk/>
            <pc:sldMk cId="3405907677" sldId="10449"/>
            <ac:spMk id="159" creationId="{FB3F06D8-EE42-4C35-8957-C056125A063F}"/>
          </ac:spMkLst>
        </pc:spChg>
        <pc:spChg chg="mod">
          <ac:chgData name="Sarah GAUVARD" userId="4c03e191-e154-482a-88b2-11de19eac96c" providerId="ADAL" clId="{8245CC27-65FB-483E-B8E7-D04039DBA80D}" dt="2021-05-24T16:09:27.642" v="15652" actId="790"/>
          <ac:spMkLst>
            <pc:docMk/>
            <pc:sldMk cId="3405907677" sldId="10449"/>
            <ac:spMk id="210" creationId="{FAD83A7F-F110-47F4-9764-8294FCD34C3B}"/>
          </ac:spMkLst>
        </pc:spChg>
        <pc:spChg chg="mod">
          <ac:chgData name="Sarah GAUVARD" userId="4c03e191-e154-482a-88b2-11de19eac96c" providerId="ADAL" clId="{8245CC27-65FB-483E-B8E7-D04039DBA80D}" dt="2021-05-24T16:09:27.673" v="15695" actId="790"/>
          <ac:spMkLst>
            <pc:docMk/>
            <pc:sldMk cId="3405907677" sldId="10449"/>
            <ac:spMk id="225" creationId="{7679DE8E-39F8-485C-A0DC-BE05C3B4972F}"/>
          </ac:spMkLst>
        </pc:spChg>
        <pc:spChg chg="mod">
          <ac:chgData name="Sarah GAUVARD" userId="4c03e191-e154-482a-88b2-11de19eac96c" providerId="ADAL" clId="{8245CC27-65FB-483E-B8E7-D04039DBA80D}" dt="2021-05-25T09:01:41.003" v="19074" actId="20577"/>
          <ac:spMkLst>
            <pc:docMk/>
            <pc:sldMk cId="3405907677" sldId="10449"/>
            <ac:spMk id="230" creationId="{9EA79B0A-01B5-4610-951C-41B3946C28C3}"/>
          </ac:spMkLst>
        </pc:spChg>
        <pc:spChg chg="mod">
          <ac:chgData name="Sarah GAUVARD" userId="4c03e191-e154-482a-88b2-11de19eac96c" providerId="ADAL" clId="{8245CC27-65FB-483E-B8E7-D04039DBA80D}" dt="2021-05-24T16:09:27.681" v="15709" actId="790"/>
          <ac:spMkLst>
            <pc:docMk/>
            <pc:sldMk cId="3405907677" sldId="10449"/>
            <ac:spMk id="239" creationId="{4F02B17A-8312-4B62-988C-BEB3EB7580B4}"/>
          </ac:spMkLst>
        </pc:spChg>
        <pc:spChg chg="mod">
          <ac:chgData name="Sarah GAUVARD" userId="4c03e191-e154-482a-88b2-11de19eac96c" providerId="ADAL" clId="{8245CC27-65FB-483E-B8E7-D04039DBA80D}" dt="2021-05-24T16:09:27.683" v="15710" actId="790"/>
          <ac:spMkLst>
            <pc:docMk/>
            <pc:sldMk cId="3405907677" sldId="10449"/>
            <ac:spMk id="240" creationId="{140A5ECC-59E7-4A8F-8AAA-188375FB7A58}"/>
          </ac:spMkLst>
        </pc:spChg>
        <pc:spChg chg="mod">
          <ac:chgData name="Sarah GAUVARD" userId="4c03e191-e154-482a-88b2-11de19eac96c" providerId="ADAL" clId="{8245CC27-65FB-483E-B8E7-D04039DBA80D}" dt="2021-05-24T16:09:27.683" v="15711" actId="790"/>
          <ac:spMkLst>
            <pc:docMk/>
            <pc:sldMk cId="3405907677" sldId="10449"/>
            <ac:spMk id="241" creationId="{8A0D1443-E572-4F8C-992F-B94B18BD1E4F}"/>
          </ac:spMkLst>
        </pc:spChg>
        <pc:spChg chg="mod">
          <ac:chgData name="Sarah GAUVARD" userId="4c03e191-e154-482a-88b2-11de19eac96c" providerId="ADAL" clId="{8245CC27-65FB-483E-B8E7-D04039DBA80D}" dt="2021-05-24T16:09:27.683" v="15712" actId="790"/>
          <ac:spMkLst>
            <pc:docMk/>
            <pc:sldMk cId="3405907677" sldId="10449"/>
            <ac:spMk id="242" creationId="{78D5196F-1640-4EF1-B9AF-8BDEDC5A0403}"/>
          </ac:spMkLst>
        </pc:spChg>
        <pc:spChg chg="mod">
          <ac:chgData name="Sarah GAUVARD" userId="4c03e191-e154-482a-88b2-11de19eac96c" providerId="ADAL" clId="{8245CC27-65FB-483E-B8E7-D04039DBA80D}" dt="2021-05-24T16:09:27.683" v="15713" actId="790"/>
          <ac:spMkLst>
            <pc:docMk/>
            <pc:sldMk cId="3405907677" sldId="10449"/>
            <ac:spMk id="243" creationId="{10A460B4-BD08-47E3-9A8C-D65D510D36D0}"/>
          </ac:spMkLst>
        </pc:spChg>
        <pc:spChg chg="mod">
          <ac:chgData name="Sarah GAUVARD" userId="4c03e191-e154-482a-88b2-11de19eac96c" providerId="ADAL" clId="{8245CC27-65FB-483E-B8E7-D04039DBA80D}" dt="2021-05-25T09:01:07.084" v="19068"/>
          <ac:spMkLst>
            <pc:docMk/>
            <pc:sldMk cId="3405907677" sldId="10449"/>
            <ac:spMk id="244" creationId="{813205A3-2F26-4707-BDD6-F05C30CC0265}"/>
          </ac:spMkLst>
        </pc:spChg>
        <pc:spChg chg="mod">
          <ac:chgData name="Sarah GAUVARD" userId="4c03e191-e154-482a-88b2-11de19eac96c" providerId="ADAL" clId="{8245CC27-65FB-483E-B8E7-D04039DBA80D}" dt="2021-05-24T16:09:27.683" v="15715" actId="790"/>
          <ac:spMkLst>
            <pc:docMk/>
            <pc:sldMk cId="3405907677" sldId="10449"/>
            <ac:spMk id="245" creationId="{B7F07B0D-CDB2-4A1E-8ECB-48CB7A464556}"/>
          </ac:spMkLst>
        </pc:spChg>
        <pc:spChg chg="mod">
          <ac:chgData name="Sarah GAUVARD" userId="4c03e191-e154-482a-88b2-11de19eac96c" providerId="ADAL" clId="{8245CC27-65FB-483E-B8E7-D04039DBA80D}" dt="2021-05-24T16:09:27.652" v="15671" actId="790"/>
          <ac:spMkLst>
            <pc:docMk/>
            <pc:sldMk cId="3405907677" sldId="10449"/>
            <ac:spMk id="246" creationId="{7F1F97ED-F6F2-481A-8BE1-2903CCD48A4D}"/>
          </ac:spMkLst>
        </pc:spChg>
        <pc:spChg chg="mod">
          <ac:chgData name="Sarah GAUVARD" userId="4c03e191-e154-482a-88b2-11de19eac96c" providerId="ADAL" clId="{8245CC27-65FB-483E-B8E7-D04039DBA80D}" dt="2021-05-24T16:09:27.683" v="15716" actId="790"/>
          <ac:spMkLst>
            <pc:docMk/>
            <pc:sldMk cId="3405907677" sldId="10449"/>
            <ac:spMk id="248" creationId="{877630E0-6749-4105-9DEF-3F53A7D7C123}"/>
          </ac:spMkLst>
        </pc:spChg>
        <pc:spChg chg="mod">
          <ac:chgData name="Sarah GAUVARD" userId="4c03e191-e154-482a-88b2-11de19eac96c" providerId="ADAL" clId="{8245CC27-65FB-483E-B8E7-D04039DBA80D}" dt="2021-05-24T16:09:27.683" v="15717" actId="790"/>
          <ac:spMkLst>
            <pc:docMk/>
            <pc:sldMk cId="3405907677" sldId="10449"/>
            <ac:spMk id="249" creationId="{46F4DB19-4F2B-4B61-BD17-FC2DFAA2FA1C}"/>
          </ac:spMkLst>
        </pc:spChg>
        <pc:spChg chg="mod">
          <ac:chgData name="Sarah GAUVARD" userId="4c03e191-e154-482a-88b2-11de19eac96c" providerId="ADAL" clId="{8245CC27-65FB-483E-B8E7-D04039DBA80D}" dt="2021-05-24T16:09:27.683" v="15718" actId="790"/>
          <ac:spMkLst>
            <pc:docMk/>
            <pc:sldMk cId="3405907677" sldId="10449"/>
            <ac:spMk id="250" creationId="{5A9A6392-FC3C-4337-9B83-45362AEC62DA}"/>
          </ac:spMkLst>
        </pc:spChg>
        <pc:spChg chg="mod">
          <ac:chgData name="Sarah GAUVARD" userId="4c03e191-e154-482a-88b2-11de19eac96c" providerId="ADAL" clId="{8245CC27-65FB-483E-B8E7-D04039DBA80D}" dt="2021-05-24T16:09:27.691" v="15719" actId="790"/>
          <ac:spMkLst>
            <pc:docMk/>
            <pc:sldMk cId="3405907677" sldId="10449"/>
            <ac:spMk id="251" creationId="{384D57D2-2E4A-4619-9DCA-32276997CBE7}"/>
          </ac:spMkLst>
        </pc:spChg>
        <pc:spChg chg="mod">
          <ac:chgData name="Sarah GAUVARD" userId="4c03e191-e154-482a-88b2-11de19eac96c" providerId="ADAL" clId="{8245CC27-65FB-483E-B8E7-D04039DBA80D}" dt="2021-05-24T16:09:27.652" v="15676" actId="790"/>
          <ac:spMkLst>
            <pc:docMk/>
            <pc:sldMk cId="3405907677" sldId="10449"/>
            <ac:spMk id="252" creationId="{77C078FA-ECDF-445F-AB6F-0A015B53334F}"/>
          </ac:spMkLst>
        </pc:spChg>
        <pc:spChg chg="mod">
          <ac:chgData name="Sarah GAUVARD" userId="4c03e191-e154-482a-88b2-11de19eac96c" providerId="ADAL" clId="{8245CC27-65FB-483E-B8E7-D04039DBA80D}" dt="2021-05-24T16:09:27.652" v="15677" actId="790"/>
          <ac:spMkLst>
            <pc:docMk/>
            <pc:sldMk cId="3405907677" sldId="10449"/>
            <ac:spMk id="253" creationId="{C5F8EE71-A1ED-49D0-8285-A1A08F8BD77E}"/>
          </ac:spMkLst>
        </pc:spChg>
        <pc:spChg chg="mod">
          <ac:chgData name="Sarah GAUVARD" userId="4c03e191-e154-482a-88b2-11de19eac96c" providerId="ADAL" clId="{8245CC27-65FB-483E-B8E7-D04039DBA80D}" dt="2021-05-24T16:09:27.652" v="15678" actId="790"/>
          <ac:spMkLst>
            <pc:docMk/>
            <pc:sldMk cId="3405907677" sldId="10449"/>
            <ac:spMk id="254" creationId="{4E933E1C-26AB-49C1-AEE7-14922BFE7D2E}"/>
          </ac:spMkLst>
        </pc:spChg>
        <pc:spChg chg="mod">
          <ac:chgData name="Sarah GAUVARD" userId="4c03e191-e154-482a-88b2-11de19eac96c" providerId="ADAL" clId="{8245CC27-65FB-483E-B8E7-D04039DBA80D}" dt="2021-05-24T16:09:27.673" v="15696" actId="790"/>
          <ac:spMkLst>
            <pc:docMk/>
            <pc:sldMk cId="3405907677" sldId="10449"/>
            <ac:spMk id="258" creationId="{1B6A9CD0-BD14-4B49-B9C9-1ABF2E3962FC}"/>
          </ac:spMkLst>
        </pc:spChg>
        <pc:spChg chg="mod">
          <ac:chgData name="Sarah GAUVARD" userId="4c03e191-e154-482a-88b2-11de19eac96c" providerId="ADAL" clId="{8245CC27-65FB-483E-B8E7-D04039DBA80D}" dt="2021-05-24T16:09:27.673" v="15697" actId="790"/>
          <ac:spMkLst>
            <pc:docMk/>
            <pc:sldMk cId="3405907677" sldId="10449"/>
            <ac:spMk id="259" creationId="{7A14C56E-AF07-47D5-8815-E79B103F6FD5}"/>
          </ac:spMkLst>
        </pc:spChg>
        <pc:spChg chg="mod">
          <ac:chgData name="Sarah GAUVARD" userId="4c03e191-e154-482a-88b2-11de19eac96c" providerId="ADAL" clId="{8245CC27-65FB-483E-B8E7-D04039DBA80D}" dt="2021-05-24T16:09:27.673" v="15698" actId="790"/>
          <ac:spMkLst>
            <pc:docMk/>
            <pc:sldMk cId="3405907677" sldId="10449"/>
            <ac:spMk id="260" creationId="{64AB9227-8BE1-4C2E-9A38-EF0B676ACF54}"/>
          </ac:spMkLst>
        </pc:spChg>
        <pc:spChg chg="mod">
          <ac:chgData name="Sarah GAUVARD" userId="4c03e191-e154-482a-88b2-11de19eac96c" providerId="ADAL" clId="{8245CC27-65FB-483E-B8E7-D04039DBA80D}" dt="2021-05-24T16:09:27.673" v="15699" actId="790"/>
          <ac:spMkLst>
            <pc:docMk/>
            <pc:sldMk cId="3405907677" sldId="10449"/>
            <ac:spMk id="261" creationId="{94FBBCA6-AF5C-44AA-BF8A-57315C46BA18}"/>
          </ac:spMkLst>
        </pc:spChg>
        <pc:spChg chg="mod">
          <ac:chgData name="Sarah GAUVARD" userId="4c03e191-e154-482a-88b2-11de19eac96c" providerId="ADAL" clId="{8245CC27-65FB-483E-B8E7-D04039DBA80D}" dt="2021-05-24T16:09:27.652" v="15679" actId="790"/>
          <ac:spMkLst>
            <pc:docMk/>
            <pc:sldMk cId="3405907677" sldId="10449"/>
            <ac:spMk id="263" creationId="{3A6AD19D-020C-4F8C-8E3B-886049E25C88}"/>
          </ac:spMkLst>
        </pc:spChg>
        <pc:spChg chg="mod">
          <ac:chgData name="Sarah GAUVARD" userId="4c03e191-e154-482a-88b2-11de19eac96c" providerId="ADAL" clId="{8245CC27-65FB-483E-B8E7-D04039DBA80D}" dt="2021-05-24T16:09:27.660" v="15680" actId="790"/>
          <ac:spMkLst>
            <pc:docMk/>
            <pc:sldMk cId="3405907677" sldId="10449"/>
            <ac:spMk id="264" creationId="{8F73D28A-8F96-44B4-A55A-2FF4A5EAACBE}"/>
          </ac:spMkLst>
        </pc:spChg>
        <pc:spChg chg="mod">
          <ac:chgData name="Sarah GAUVARD" userId="4c03e191-e154-482a-88b2-11de19eac96c" providerId="ADAL" clId="{8245CC27-65FB-483E-B8E7-D04039DBA80D}" dt="2021-05-24T16:09:27.691" v="15720" actId="790"/>
          <ac:spMkLst>
            <pc:docMk/>
            <pc:sldMk cId="3405907677" sldId="10449"/>
            <ac:spMk id="265" creationId="{B01E651D-29D8-458D-9846-BBB17EBDBB5A}"/>
          </ac:spMkLst>
        </pc:spChg>
        <pc:spChg chg="mod">
          <ac:chgData name="Sarah GAUVARD" userId="4c03e191-e154-482a-88b2-11de19eac96c" providerId="ADAL" clId="{8245CC27-65FB-483E-B8E7-D04039DBA80D}" dt="2021-05-24T16:09:27.691" v="15721" actId="790"/>
          <ac:spMkLst>
            <pc:docMk/>
            <pc:sldMk cId="3405907677" sldId="10449"/>
            <ac:spMk id="267" creationId="{A530B267-B046-4BBA-8EF5-FD0E0828C497}"/>
          </ac:spMkLst>
        </pc:spChg>
        <pc:spChg chg="mod">
          <ac:chgData name="Sarah GAUVARD" userId="4c03e191-e154-482a-88b2-11de19eac96c" providerId="ADAL" clId="{8245CC27-65FB-483E-B8E7-D04039DBA80D}" dt="2021-05-24T16:09:27.691" v="15722" actId="790"/>
          <ac:spMkLst>
            <pc:docMk/>
            <pc:sldMk cId="3405907677" sldId="10449"/>
            <ac:spMk id="268" creationId="{8685786A-CA22-4DB0-8D7F-6481F4425A62}"/>
          </ac:spMkLst>
        </pc:spChg>
        <pc:spChg chg="mod">
          <ac:chgData name="Sarah GAUVARD" userId="4c03e191-e154-482a-88b2-11de19eac96c" providerId="ADAL" clId="{8245CC27-65FB-483E-B8E7-D04039DBA80D}" dt="2021-05-24T16:09:27.691" v="15723" actId="790"/>
          <ac:spMkLst>
            <pc:docMk/>
            <pc:sldMk cId="3405907677" sldId="10449"/>
            <ac:spMk id="269" creationId="{31A9CA3A-DDFC-46C6-A7FC-D9BBE435E2EB}"/>
          </ac:spMkLst>
        </pc:spChg>
        <pc:spChg chg="mod">
          <ac:chgData name="Sarah GAUVARD" userId="4c03e191-e154-482a-88b2-11de19eac96c" providerId="ADAL" clId="{8245CC27-65FB-483E-B8E7-D04039DBA80D}" dt="2021-05-25T08:51:31.904" v="18857"/>
          <ac:spMkLst>
            <pc:docMk/>
            <pc:sldMk cId="3405907677" sldId="10449"/>
            <ac:spMk id="270" creationId="{DC8B482B-4D88-4447-B4DE-DDB4D4F1A338}"/>
          </ac:spMkLst>
        </pc:spChg>
        <pc:spChg chg="mod">
          <ac:chgData name="Sarah GAUVARD" userId="4c03e191-e154-482a-88b2-11de19eac96c" providerId="ADAL" clId="{8245CC27-65FB-483E-B8E7-D04039DBA80D}" dt="2021-05-24T16:09:27.691" v="15725" actId="790"/>
          <ac:spMkLst>
            <pc:docMk/>
            <pc:sldMk cId="3405907677" sldId="10449"/>
            <ac:spMk id="271" creationId="{62831129-55F7-40C5-AC04-164F509DA8A7}"/>
          </ac:spMkLst>
        </pc:spChg>
        <pc:spChg chg="mod">
          <ac:chgData name="Sarah GAUVARD" userId="4c03e191-e154-482a-88b2-11de19eac96c" providerId="ADAL" clId="{8245CC27-65FB-483E-B8E7-D04039DBA80D}" dt="2021-05-24T16:09:27.691" v="15726" actId="790"/>
          <ac:spMkLst>
            <pc:docMk/>
            <pc:sldMk cId="3405907677" sldId="10449"/>
            <ac:spMk id="273" creationId="{041A4FA2-3636-434E-86F3-C87D3FB17B7D}"/>
          </ac:spMkLst>
        </pc:spChg>
        <pc:spChg chg="mod">
          <ac:chgData name="Sarah GAUVARD" userId="4c03e191-e154-482a-88b2-11de19eac96c" providerId="ADAL" clId="{8245CC27-65FB-483E-B8E7-D04039DBA80D}" dt="2021-05-24T16:09:27.691" v="15727" actId="790"/>
          <ac:spMkLst>
            <pc:docMk/>
            <pc:sldMk cId="3405907677" sldId="10449"/>
            <ac:spMk id="274" creationId="{B785EA7D-9D34-460C-BD94-A86CCAB15E11}"/>
          </ac:spMkLst>
        </pc:spChg>
        <pc:spChg chg="mod">
          <ac:chgData name="Sarah GAUVARD" userId="4c03e191-e154-482a-88b2-11de19eac96c" providerId="ADAL" clId="{8245CC27-65FB-483E-B8E7-D04039DBA80D}" dt="2021-05-24T16:09:27.691" v="15728" actId="790"/>
          <ac:spMkLst>
            <pc:docMk/>
            <pc:sldMk cId="3405907677" sldId="10449"/>
            <ac:spMk id="275" creationId="{B85657CA-238C-4622-9010-E096EEB09D05}"/>
          </ac:spMkLst>
        </pc:spChg>
        <pc:spChg chg="mod">
          <ac:chgData name="Sarah GAUVARD" userId="4c03e191-e154-482a-88b2-11de19eac96c" providerId="ADAL" clId="{8245CC27-65FB-483E-B8E7-D04039DBA80D}" dt="2021-05-24T16:09:27.691" v="15729" actId="790"/>
          <ac:spMkLst>
            <pc:docMk/>
            <pc:sldMk cId="3405907677" sldId="10449"/>
            <ac:spMk id="276" creationId="{945690DA-9C53-4F37-A9CC-38C533297AE9}"/>
          </ac:spMkLst>
        </pc:spChg>
        <pc:spChg chg="mod">
          <ac:chgData name="Sarah GAUVARD" userId="4c03e191-e154-482a-88b2-11de19eac96c" providerId="ADAL" clId="{8245CC27-65FB-483E-B8E7-D04039DBA80D}" dt="2021-05-24T16:09:27.691" v="15730" actId="790"/>
          <ac:spMkLst>
            <pc:docMk/>
            <pc:sldMk cId="3405907677" sldId="10449"/>
            <ac:spMk id="277" creationId="{29A82E92-D2F5-428D-9182-460A2B8E27C3}"/>
          </ac:spMkLst>
        </pc:spChg>
        <pc:spChg chg="mod">
          <ac:chgData name="Sarah GAUVARD" userId="4c03e191-e154-482a-88b2-11de19eac96c" providerId="ADAL" clId="{8245CC27-65FB-483E-B8E7-D04039DBA80D}" dt="2021-05-24T16:09:27.691" v="15731" actId="790"/>
          <ac:spMkLst>
            <pc:docMk/>
            <pc:sldMk cId="3405907677" sldId="10449"/>
            <ac:spMk id="279" creationId="{E729ADE8-6313-435A-9351-E6D78D52080F}"/>
          </ac:spMkLst>
        </pc:spChg>
        <pc:spChg chg="mod">
          <ac:chgData name="Sarah GAUVARD" userId="4c03e191-e154-482a-88b2-11de19eac96c" providerId="ADAL" clId="{8245CC27-65FB-483E-B8E7-D04039DBA80D}" dt="2021-05-24T16:09:27.701" v="15732" actId="790"/>
          <ac:spMkLst>
            <pc:docMk/>
            <pc:sldMk cId="3405907677" sldId="10449"/>
            <ac:spMk id="280" creationId="{20D67F30-7BDF-43CB-B234-B922EFE2BC4C}"/>
          </ac:spMkLst>
        </pc:spChg>
        <pc:spChg chg="mod">
          <ac:chgData name="Sarah GAUVARD" userId="4c03e191-e154-482a-88b2-11de19eac96c" providerId="ADAL" clId="{8245CC27-65FB-483E-B8E7-D04039DBA80D}" dt="2021-05-24T16:09:27.640" v="15649" actId="790"/>
          <ac:spMkLst>
            <pc:docMk/>
            <pc:sldMk cId="3405907677" sldId="10449"/>
            <ac:spMk id="282" creationId="{9A3BB686-B99E-4F71-B428-DE8D1AE104AB}"/>
          </ac:spMkLst>
        </pc:spChg>
        <pc:spChg chg="mod">
          <ac:chgData name="Sarah GAUVARD" userId="4c03e191-e154-482a-88b2-11de19eac96c" providerId="ADAL" clId="{8245CC27-65FB-483E-B8E7-D04039DBA80D}" dt="2021-05-24T16:09:27.701" v="15733" actId="790"/>
          <ac:spMkLst>
            <pc:docMk/>
            <pc:sldMk cId="3405907677" sldId="10449"/>
            <ac:spMk id="288" creationId="{C876106F-6AA9-41BF-B417-328016532DFA}"/>
          </ac:spMkLst>
        </pc:spChg>
        <pc:spChg chg="mod">
          <ac:chgData name="Sarah GAUVARD" userId="4c03e191-e154-482a-88b2-11de19eac96c" providerId="ADAL" clId="{8245CC27-65FB-483E-B8E7-D04039DBA80D}" dt="2021-05-24T16:09:27.701" v="15734" actId="790"/>
          <ac:spMkLst>
            <pc:docMk/>
            <pc:sldMk cId="3405907677" sldId="10449"/>
            <ac:spMk id="303" creationId="{39F148EA-4A80-4229-A365-10C0B966451A}"/>
          </ac:spMkLst>
        </pc:spChg>
        <pc:spChg chg="mod">
          <ac:chgData name="Sarah GAUVARD" userId="4c03e191-e154-482a-88b2-11de19eac96c" providerId="ADAL" clId="{8245CC27-65FB-483E-B8E7-D04039DBA80D}" dt="2021-05-24T16:09:27.703" v="15735" actId="790"/>
          <ac:spMkLst>
            <pc:docMk/>
            <pc:sldMk cId="3405907677" sldId="10449"/>
            <ac:spMk id="305" creationId="{20DE95CC-BDA4-494A-ADFD-6C41CA6D835C}"/>
          </ac:spMkLst>
        </pc:spChg>
        <pc:spChg chg="mod">
          <ac:chgData name="Sarah GAUVARD" userId="4c03e191-e154-482a-88b2-11de19eac96c" providerId="ADAL" clId="{8245CC27-65FB-483E-B8E7-D04039DBA80D}" dt="2021-05-24T16:09:27.703" v="15736" actId="790"/>
          <ac:spMkLst>
            <pc:docMk/>
            <pc:sldMk cId="3405907677" sldId="10449"/>
            <ac:spMk id="306" creationId="{829EC29E-FDD9-4623-BAD2-53716B007704}"/>
          </ac:spMkLst>
        </pc:spChg>
        <pc:spChg chg="mod">
          <ac:chgData name="Sarah GAUVARD" userId="4c03e191-e154-482a-88b2-11de19eac96c" providerId="ADAL" clId="{8245CC27-65FB-483E-B8E7-D04039DBA80D}" dt="2021-05-24T16:09:27.703" v="15737" actId="790"/>
          <ac:spMkLst>
            <pc:docMk/>
            <pc:sldMk cId="3405907677" sldId="10449"/>
            <ac:spMk id="308" creationId="{82FFD2AB-FAA1-4FF3-AE15-5D83432F3F47}"/>
          </ac:spMkLst>
        </pc:spChg>
        <pc:spChg chg="mod">
          <ac:chgData name="Sarah GAUVARD" userId="4c03e191-e154-482a-88b2-11de19eac96c" providerId="ADAL" clId="{8245CC27-65FB-483E-B8E7-D04039DBA80D}" dt="2021-05-24T16:09:27.650" v="15666" actId="790"/>
          <ac:spMkLst>
            <pc:docMk/>
            <pc:sldMk cId="3405907677" sldId="10449"/>
            <ac:spMk id="309" creationId="{6326AC09-FB2D-49D6-9A41-1BD99472263C}"/>
          </ac:spMkLst>
        </pc:spChg>
        <pc:spChg chg="mod">
          <ac:chgData name="Sarah GAUVARD" userId="4c03e191-e154-482a-88b2-11de19eac96c" providerId="ADAL" clId="{8245CC27-65FB-483E-B8E7-D04039DBA80D}" dt="2021-05-24T16:09:27.650" v="15667" actId="790"/>
          <ac:spMkLst>
            <pc:docMk/>
            <pc:sldMk cId="3405907677" sldId="10449"/>
            <ac:spMk id="310" creationId="{3FC58E51-6775-4127-B48F-5ABF3ED0F0B6}"/>
          </ac:spMkLst>
        </pc:spChg>
        <pc:spChg chg="mod">
          <ac:chgData name="Sarah GAUVARD" userId="4c03e191-e154-482a-88b2-11de19eac96c" providerId="ADAL" clId="{8245CC27-65FB-483E-B8E7-D04039DBA80D}" dt="2021-05-24T16:09:27.652" v="15668" actId="790"/>
          <ac:spMkLst>
            <pc:docMk/>
            <pc:sldMk cId="3405907677" sldId="10449"/>
            <ac:spMk id="311" creationId="{1BB45DCF-F95E-4B08-AB01-307F72D17446}"/>
          </ac:spMkLst>
        </pc:spChg>
        <pc:spChg chg="mod">
          <ac:chgData name="Sarah GAUVARD" userId="4c03e191-e154-482a-88b2-11de19eac96c" providerId="ADAL" clId="{8245CC27-65FB-483E-B8E7-D04039DBA80D}" dt="2021-05-24T16:09:27.652" v="15669" actId="790"/>
          <ac:spMkLst>
            <pc:docMk/>
            <pc:sldMk cId="3405907677" sldId="10449"/>
            <ac:spMk id="312" creationId="{DBCFB3BC-7F78-47EC-93C4-C909CB2A6241}"/>
          </ac:spMkLst>
        </pc:spChg>
        <pc:spChg chg="mod">
          <ac:chgData name="Sarah GAUVARD" userId="4c03e191-e154-482a-88b2-11de19eac96c" providerId="ADAL" clId="{8245CC27-65FB-483E-B8E7-D04039DBA80D}" dt="2021-05-24T16:09:27.703" v="15738" actId="790"/>
          <ac:spMkLst>
            <pc:docMk/>
            <pc:sldMk cId="3405907677" sldId="10449"/>
            <ac:spMk id="313" creationId="{5AFED507-3962-4E30-9626-587754FD972D}"/>
          </ac:spMkLst>
        </pc:spChg>
        <pc:spChg chg="mod">
          <ac:chgData name="Sarah GAUVARD" userId="4c03e191-e154-482a-88b2-11de19eac96c" providerId="ADAL" clId="{8245CC27-65FB-483E-B8E7-D04039DBA80D}" dt="2021-05-24T16:09:27.703" v="15739" actId="790"/>
          <ac:spMkLst>
            <pc:docMk/>
            <pc:sldMk cId="3405907677" sldId="10449"/>
            <ac:spMk id="314" creationId="{95056B63-DFF5-4F9C-9A19-4524DB0B663F}"/>
          </ac:spMkLst>
        </pc:spChg>
        <pc:spChg chg="mod">
          <ac:chgData name="Sarah GAUVARD" userId="4c03e191-e154-482a-88b2-11de19eac96c" providerId="ADAL" clId="{8245CC27-65FB-483E-B8E7-D04039DBA80D}" dt="2021-05-24T16:09:27.660" v="15681" actId="790"/>
          <ac:spMkLst>
            <pc:docMk/>
            <pc:sldMk cId="3405907677" sldId="10449"/>
            <ac:spMk id="315" creationId="{B86ACEAE-279E-4464-B0F1-1E4FB796DFDE}"/>
          </ac:spMkLst>
        </pc:spChg>
        <pc:spChg chg="mod">
          <ac:chgData name="Sarah GAUVARD" userId="4c03e191-e154-482a-88b2-11de19eac96c" providerId="ADAL" clId="{8245CC27-65FB-483E-B8E7-D04039DBA80D}" dt="2021-05-24T16:09:27.660" v="15682" actId="790"/>
          <ac:spMkLst>
            <pc:docMk/>
            <pc:sldMk cId="3405907677" sldId="10449"/>
            <ac:spMk id="316" creationId="{5094EB3A-CC95-48C9-973F-C760B1D22377}"/>
          </ac:spMkLst>
        </pc:spChg>
        <pc:spChg chg="mod">
          <ac:chgData name="Sarah GAUVARD" userId="4c03e191-e154-482a-88b2-11de19eac96c" providerId="ADAL" clId="{8245CC27-65FB-483E-B8E7-D04039DBA80D}" dt="2021-05-24T16:09:27.660" v="15683" actId="790"/>
          <ac:spMkLst>
            <pc:docMk/>
            <pc:sldMk cId="3405907677" sldId="10449"/>
            <ac:spMk id="317" creationId="{28F06F48-8434-46C1-8D21-2FC449B9E820}"/>
          </ac:spMkLst>
        </pc:spChg>
        <pc:spChg chg="mod">
          <ac:chgData name="Sarah GAUVARD" userId="4c03e191-e154-482a-88b2-11de19eac96c" providerId="ADAL" clId="{8245CC27-65FB-483E-B8E7-D04039DBA80D}" dt="2021-05-24T16:09:27.662" v="15684" actId="790"/>
          <ac:spMkLst>
            <pc:docMk/>
            <pc:sldMk cId="3405907677" sldId="10449"/>
            <ac:spMk id="318" creationId="{787C0A04-9899-45CE-9A1A-3EFD61E0AC8A}"/>
          </ac:spMkLst>
        </pc:spChg>
        <pc:spChg chg="mod">
          <ac:chgData name="Sarah GAUVARD" userId="4c03e191-e154-482a-88b2-11de19eac96c" providerId="ADAL" clId="{8245CC27-65FB-483E-B8E7-D04039DBA80D}" dt="2021-05-24T16:09:27.662" v="15685" actId="790"/>
          <ac:spMkLst>
            <pc:docMk/>
            <pc:sldMk cId="3405907677" sldId="10449"/>
            <ac:spMk id="319" creationId="{DF1B2BCA-D17E-4D59-BDC5-0C42B763FA55}"/>
          </ac:spMkLst>
        </pc:spChg>
        <pc:spChg chg="mod">
          <ac:chgData name="Sarah GAUVARD" userId="4c03e191-e154-482a-88b2-11de19eac96c" providerId="ADAL" clId="{8245CC27-65FB-483E-B8E7-D04039DBA80D}" dt="2021-05-24T16:09:27.662" v="15686" actId="790"/>
          <ac:spMkLst>
            <pc:docMk/>
            <pc:sldMk cId="3405907677" sldId="10449"/>
            <ac:spMk id="320" creationId="{71E3C298-CA74-4D82-A078-25A5451AEC25}"/>
          </ac:spMkLst>
        </pc:spChg>
        <pc:spChg chg="mod">
          <ac:chgData name="Sarah GAUVARD" userId="4c03e191-e154-482a-88b2-11de19eac96c" providerId="ADAL" clId="{8245CC27-65FB-483E-B8E7-D04039DBA80D}" dt="2021-05-24T16:09:27.673" v="15700" actId="790"/>
          <ac:spMkLst>
            <pc:docMk/>
            <pc:sldMk cId="3405907677" sldId="10449"/>
            <ac:spMk id="321" creationId="{61F25FAD-8ADD-40CA-906E-E3BBF7CB8A72}"/>
          </ac:spMkLst>
        </pc:spChg>
        <pc:spChg chg="mod">
          <ac:chgData name="Sarah GAUVARD" userId="4c03e191-e154-482a-88b2-11de19eac96c" providerId="ADAL" clId="{8245CC27-65FB-483E-B8E7-D04039DBA80D}" dt="2021-05-24T16:09:27.673" v="15701" actId="790"/>
          <ac:spMkLst>
            <pc:docMk/>
            <pc:sldMk cId="3405907677" sldId="10449"/>
            <ac:spMk id="322" creationId="{AC26A4A3-DEBA-4717-A686-5C1FA8FBDA57}"/>
          </ac:spMkLst>
        </pc:spChg>
        <pc:spChg chg="mod">
          <ac:chgData name="Sarah GAUVARD" userId="4c03e191-e154-482a-88b2-11de19eac96c" providerId="ADAL" clId="{8245CC27-65FB-483E-B8E7-D04039DBA80D}" dt="2021-05-24T16:09:27.673" v="15702" actId="790"/>
          <ac:spMkLst>
            <pc:docMk/>
            <pc:sldMk cId="3405907677" sldId="10449"/>
            <ac:spMk id="323" creationId="{9B6F7FFE-7063-4A6A-A04E-C4AE43A36CB9}"/>
          </ac:spMkLst>
        </pc:spChg>
        <pc:spChg chg="mod">
          <ac:chgData name="Sarah GAUVARD" userId="4c03e191-e154-482a-88b2-11de19eac96c" providerId="ADAL" clId="{8245CC27-65FB-483E-B8E7-D04039DBA80D}" dt="2021-05-24T16:09:27.673" v="15703" actId="790"/>
          <ac:spMkLst>
            <pc:docMk/>
            <pc:sldMk cId="3405907677" sldId="10449"/>
            <ac:spMk id="324" creationId="{94F0003E-7749-460A-A9F7-A3FF0DAB91E5}"/>
          </ac:spMkLst>
        </pc:spChg>
        <pc:spChg chg="mod">
          <ac:chgData name="Sarah GAUVARD" userId="4c03e191-e154-482a-88b2-11de19eac96c" providerId="ADAL" clId="{8245CC27-65FB-483E-B8E7-D04039DBA80D}" dt="2021-05-24T16:09:27.703" v="15740" actId="790"/>
          <ac:spMkLst>
            <pc:docMk/>
            <pc:sldMk cId="3405907677" sldId="10449"/>
            <ac:spMk id="325" creationId="{BF126D74-5C8D-42DD-86B4-10C27C741F1E}"/>
          </ac:spMkLst>
        </pc:spChg>
        <pc:spChg chg="mod">
          <ac:chgData name="Sarah GAUVARD" userId="4c03e191-e154-482a-88b2-11de19eac96c" providerId="ADAL" clId="{8245CC27-65FB-483E-B8E7-D04039DBA80D}" dt="2021-05-24T16:09:27.703" v="15741" actId="790"/>
          <ac:spMkLst>
            <pc:docMk/>
            <pc:sldMk cId="3405907677" sldId="10449"/>
            <ac:spMk id="326" creationId="{919EEE06-0C44-4F8F-8E35-AA4842899679}"/>
          </ac:spMkLst>
        </pc:spChg>
        <pc:spChg chg="mod">
          <ac:chgData name="Sarah GAUVARD" userId="4c03e191-e154-482a-88b2-11de19eac96c" providerId="ADAL" clId="{8245CC27-65FB-483E-B8E7-D04039DBA80D}" dt="2021-05-25T09:19:37.733" v="19300" actId="20577"/>
          <ac:spMkLst>
            <pc:docMk/>
            <pc:sldMk cId="3405907677" sldId="10449"/>
            <ac:spMk id="365" creationId="{022F56B6-6CA0-428C-A1FD-15AD176ACAB3}"/>
          </ac:spMkLst>
        </pc:spChg>
        <pc:spChg chg="mod">
          <ac:chgData name="Sarah GAUVARD" userId="4c03e191-e154-482a-88b2-11de19eac96c" providerId="ADAL" clId="{8245CC27-65FB-483E-B8E7-D04039DBA80D}" dt="2021-05-25T09:02:57.750" v="19099" actId="20577"/>
          <ac:spMkLst>
            <pc:docMk/>
            <pc:sldMk cId="3405907677" sldId="10449"/>
            <ac:spMk id="368" creationId="{9C6C47F8-E4C9-45FE-82BC-DEC6B210DFA0}"/>
          </ac:spMkLst>
        </pc:spChg>
        <pc:spChg chg="mod">
          <ac:chgData name="Sarah GAUVARD" userId="4c03e191-e154-482a-88b2-11de19eac96c" providerId="ADAL" clId="{8245CC27-65FB-483E-B8E7-D04039DBA80D}" dt="2021-05-24T16:09:27.662" v="15689" actId="790"/>
          <ac:spMkLst>
            <pc:docMk/>
            <pc:sldMk cId="3405907677" sldId="10449"/>
            <ac:spMk id="391" creationId="{1999737A-7803-4DC2-98FF-CAFCE5F2598A}"/>
          </ac:spMkLst>
        </pc:spChg>
        <pc:spChg chg="mod">
          <ac:chgData name="Sarah GAUVARD" userId="4c03e191-e154-482a-88b2-11de19eac96c" providerId="ADAL" clId="{8245CC27-65FB-483E-B8E7-D04039DBA80D}" dt="2021-05-24T16:09:27.671" v="15690" actId="790"/>
          <ac:spMkLst>
            <pc:docMk/>
            <pc:sldMk cId="3405907677" sldId="10449"/>
            <ac:spMk id="392" creationId="{598A130F-C4B7-434F-8605-446749819923}"/>
          </ac:spMkLst>
        </pc:spChg>
        <pc:spChg chg="mod">
          <ac:chgData name="Sarah GAUVARD" userId="4c03e191-e154-482a-88b2-11de19eac96c" providerId="ADAL" clId="{8245CC27-65FB-483E-B8E7-D04039DBA80D}" dt="2021-05-24T16:09:27.671" v="15691" actId="790"/>
          <ac:spMkLst>
            <pc:docMk/>
            <pc:sldMk cId="3405907677" sldId="10449"/>
            <ac:spMk id="398" creationId="{DB737A02-47A9-4110-AD8F-5EBC15C8C563}"/>
          </ac:spMkLst>
        </pc:spChg>
        <pc:spChg chg="mod">
          <ac:chgData name="Sarah GAUVARD" userId="4c03e191-e154-482a-88b2-11de19eac96c" providerId="ADAL" clId="{8245CC27-65FB-483E-B8E7-D04039DBA80D}" dt="2021-05-24T16:09:27.671" v="15692" actId="790"/>
          <ac:spMkLst>
            <pc:docMk/>
            <pc:sldMk cId="3405907677" sldId="10449"/>
            <ac:spMk id="420" creationId="{E758489A-B83E-492E-B5E7-1CC796CC11FC}"/>
          </ac:spMkLst>
        </pc:spChg>
        <pc:spChg chg="mod">
          <ac:chgData name="Sarah GAUVARD" userId="4c03e191-e154-482a-88b2-11de19eac96c" providerId="ADAL" clId="{8245CC27-65FB-483E-B8E7-D04039DBA80D}" dt="2021-05-24T16:09:27.671" v="15693" actId="790"/>
          <ac:spMkLst>
            <pc:docMk/>
            <pc:sldMk cId="3405907677" sldId="10449"/>
            <ac:spMk id="421" creationId="{B5C1707A-482D-47FA-B168-1782C921FE2A}"/>
          </ac:spMkLst>
        </pc:spChg>
        <pc:spChg chg="mod">
          <ac:chgData name="Sarah GAUVARD" userId="4c03e191-e154-482a-88b2-11de19eac96c" providerId="ADAL" clId="{8245CC27-65FB-483E-B8E7-D04039DBA80D}" dt="2021-05-24T16:09:27.673" v="15704" actId="790"/>
          <ac:spMkLst>
            <pc:docMk/>
            <pc:sldMk cId="3405907677" sldId="10449"/>
            <ac:spMk id="429" creationId="{A6A4A3DA-94B6-42FD-9F6F-035B520E187C}"/>
          </ac:spMkLst>
        </pc:spChg>
        <pc:spChg chg="mod">
          <ac:chgData name="Sarah GAUVARD" userId="4c03e191-e154-482a-88b2-11de19eac96c" providerId="ADAL" clId="{8245CC27-65FB-483E-B8E7-D04039DBA80D}" dt="2021-05-24T16:09:27.652" v="15670" actId="790"/>
          <ac:spMkLst>
            <pc:docMk/>
            <pc:sldMk cId="3405907677" sldId="10449"/>
            <ac:spMk id="430" creationId="{191E158E-C1A2-48A8-BC15-B7A4CBB9C67F}"/>
          </ac:spMkLst>
        </pc:spChg>
        <pc:spChg chg="mod">
          <ac:chgData name="Sarah GAUVARD" userId="4c03e191-e154-482a-88b2-11de19eac96c" providerId="ADAL" clId="{8245CC27-65FB-483E-B8E7-D04039DBA80D}" dt="2021-05-24T16:09:27.673" v="15705" actId="790"/>
          <ac:spMkLst>
            <pc:docMk/>
            <pc:sldMk cId="3405907677" sldId="10449"/>
            <ac:spMk id="431" creationId="{9F2EE954-13E2-43A5-BEF9-E8AFAC5ACDFE}"/>
          </ac:spMkLst>
        </pc:spChg>
        <pc:spChg chg="mod">
          <ac:chgData name="Sarah GAUVARD" userId="4c03e191-e154-482a-88b2-11de19eac96c" providerId="ADAL" clId="{8245CC27-65FB-483E-B8E7-D04039DBA80D}" dt="2021-05-24T16:09:27.673" v="15706" actId="790"/>
          <ac:spMkLst>
            <pc:docMk/>
            <pc:sldMk cId="3405907677" sldId="10449"/>
            <ac:spMk id="433" creationId="{D3C91C66-3ADF-4EB9-8900-EF3E74E554CF}"/>
          </ac:spMkLst>
        </pc:spChg>
        <pc:spChg chg="mod">
          <ac:chgData name="Sarah GAUVARD" userId="4c03e191-e154-482a-88b2-11de19eac96c" providerId="ADAL" clId="{8245CC27-65FB-483E-B8E7-D04039DBA80D}" dt="2021-05-24T16:09:27.673" v="15707" actId="790"/>
          <ac:spMkLst>
            <pc:docMk/>
            <pc:sldMk cId="3405907677" sldId="10449"/>
            <ac:spMk id="434" creationId="{7F9A7766-BCA7-4A19-AC45-1019C0EB77E6}"/>
          </ac:spMkLst>
        </pc:spChg>
        <pc:spChg chg="mod">
          <ac:chgData name="Sarah GAUVARD" userId="4c03e191-e154-482a-88b2-11de19eac96c" providerId="ADAL" clId="{8245CC27-65FB-483E-B8E7-D04039DBA80D}" dt="2021-05-24T16:09:27.673" v="15694" actId="790"/>
          <ac:spMkLst>
            <pc:docMk/>
            <pc:sldMk cId="3405907677" sldId="10449"/>
            <ac:spMk id="460" creationId="{31CDE07A-A1FC-4955-B7A7-BD78D1E3566B}"/>
          </ac:spMkLst>
        </pc:spChg>
        <pc:spChg chg="mod">
          <ac:chgData name="Sarah GAUVARD" userId="4c03e191-e154-482a-88b2-11de19eac96c" providerId="ADAL" clId="{8245CC27-65FB-483E-B8E7-D04039DBA80D}" dt="2021-05-24T16:09:27.642" v="15653" actId="790"/>
          <ac:spMkLst>
            <pc:docMk/>
            <pc:sldMk cId="3405907677" sldId="10449"/>
            <ac:spMk id="468" creationId="{3DBC210C-F1CF-4B2A-9D46-4F8687949454}"/>
          </ac:spMkLst>
        </pc:spChg>
        <pc:spChg chg="mod">
          <ac:chgData name="Sarah GAUVARD" userId="4c03e191-e154-482a-88b2-11de19eac96c" providerId="ADAL" clId="{8245CC27-65FB-483E-B8E7-D04039DBA80D}" dt="2021-05-24T16:09:27.642" v="15654" actId="790"/>
          <ac:spMkLst>
            <pc:docMk/>
            <pc:sldMk cId="3405907677" sldId="10449"/>
            <ac:spMk id="471" creationId="{4D823A75-B35B-4C54-B6BB-830191E50981}"/>
          </ac:spMkLst>
        </pc:spChg>
        <pc:spChg chg="mod">
          <ac:chgData name="Sarah GAUVARD" userId="4c03e191-e154-482a-88b2-11de19eac96c" providerId="ADAL" clId="{8245CC27-65FB-483E-B8E7-D04039DBA80D}" dt="2021-05-24T16:09:27.642" v="15655" actId="790"/>
          <ac:spMkLst>
            <pc:docMk/>
            <pc:sldMk cId="3405907677" sldId="10449"/>
            <ac:spMk id="507" creationId="{895380CE-A7E7-45AB-8442-D668F5697CC3}"/>
          </ac:spMkLst>
        </pc:spChg>
        <pc:spChg chg="mod">
          <ac:chgData name="Sarah GAUVARD" userId="4c03e191-e154-482a-88b2-11de19eac96c" providerId="ADAL" clId="{8245CC27-65FB-483E-B8E7-D04039DBA80D}" dt="2021-05-24T16:09:27.642" v="15656" actId="790"/>
          <ac:spMkLst>
            <pc:docMk/>
            <pc:sldMk cId="3405907677" sldId="10449"/>
            <ac:spMk id="520" creationId="{D1C985CF-D0AA-4ACF-A173-830EFD756774}"/>
          </ac:spMkLst>
        </pc:spChg>
        <pc:spChg chg="mod">
          <ac:chgData name="Sarah GAUVARD" userId="4c03e191-e154-482a-88b2-11de19eac96c" providerId="ADAL" clId="{8245CC27-65FB-483E-B8E7-D04039DBA80D}" dt="2021-05-24T16:09:27.640" v="15650" actId="790"/>
          <ac:spMkLst>
            <pc:docMk/>
            <pc:sldMk cId="3405907677" sldId="10449"/>
            <ac:spMk id="524" creationId="{9DA0C13D-FDE2-432F-842A-8FDF5BC8E38A}"/>
          </ac:spMkLst>
        </pc:spChg>
        <pc:spChg chg="mod">
          <ac:chgData name="Sarah GAUVARD" userId="4c03e191-e154-482a-88b2-11de19eac96c" providerId="ADAL" clId="{8245CC27-65FB-483E-B8E7-D04039DBA80D}" dt="2021-05-24T16:09:27.642" v="15651" actId="790"/>
          <ac:spMkLst>
            <pc:docMk/>
            <pc:sldMk cId="3405907677" sldId="10449"/>
            <ac:spMk id="526" creationId="{1E61C816-480E-4818-B936-DD577AC6BF1D}"/>
          </ac:spMkLst>
        </pc:spChg>
        <pc:spChg chg="mod">
          <ac:chgData name="Sarah GAUVARD" userId="4c03e191-e154-482a-88b2-11de19eac96c" providerId="ADAL" clId="{8245CC27-65FB-483E-B8E7-D04039DBA80D}" dt="2021-05-24T16:09:27.642" v="15657" actId="790"/>
          <ac:spMkLst>
            <pc:docMk/>
            <pc:sldMk cId="3405907677" sldId="10449"/>
            <ac:spMk id="561" creationId="{01A2DBAA-4474-458E-BDEF-E340E8995855}"/>
          </ac:spMkLst>
        </pc:spChg>
        <pc:spChg chg="mod">
          <ac:chgData name="Sarah GAUVARD" userId="4c03e191-e154-482a-88b2-11de19eac96c" providerId="ADAL" clId="{8245CC27-65FB-483E-B8E7-D04039DBA80D}" dt="2021-05-24T16:09:27.642" v="15658" actId="790"/>
          <ac:spMkLst>
            <pc:docMk/>
            <pc:sldMk cId="3405907677" sldId="10449"/>
            <ac:spMk id="562" creationId="{A2D6A696-51A5-4993-9FD5-8FFC3593925F}"/>
          </ac:spMkLst>
        </pc:spChg>
        <pc:spChg chg="mod">
          <ac:chgData name="Sarah GAUVARD" userId="4c03e191-e154-482a-88b2-11de19eac96c" providerId="ADAL" clId="{8245CC27-65FB-483E-B8E7-D04039DBA80D}" dt="2021-05-24T16:09:27.642" v="15659" actId="790"/>
          <ac:spMkLst>
            <pc:docMk/>
            <pc:sldMk cId="3405907677" sldId="10449"/>
            <ac:spMk id="563" creationId="{194B8928-FB65-4150-B5CC-395DC7F4EF82}"/>
          </ac:spMkLst>
        </pc:spChg>
        <pc:spChg chg="mod">
          <ac:chgData name="Sarah GAUVARD" userId="4c03e191-e154-482a-88b2-11de19eac96c" providerId="ADAL" clId="{8245CC27-65FB-483E-B8E7-D04039DBA80D}" dt="2021-05-24T16:09:27.642" v="15660" actId="790"/>
          <ac:spMkLst>
            <pc:docMk/>
            <pc:sldMk cId="3405907677" sldId="10449"/>
            <ac:spMk id="564" creationId="{A6547FC9-EA78-4953-999B-6D8A1C03D5D9}"/>
          </ac:spMkLst>
        </pc:spChg>
        <pc:spChg chg="mod">
          <ac:chgData name="Sarah GAUVARD" userId="4c03e191-e154-482a-88b2-11de19eac96c" providerId="ADAL" clId="{8245CC27-65FB-483E-B8E7-D04039DBA80D}" dt="2021-05-24T16:09:27.642" v="15661" actId="790"/>
          <ac:spMkLst>
            <pc:docMk/>
            <pc:sldMk cId="3405907677" sldId="10449"/>
            <ac:spMk id="566" creationId="{5034B735-5470-44C8-9214-2F36EE84557A}"/>
          </ac:spMkLst>
        </pc:spChg>
        <pc:spChg chg="mod">
          <ac:chgData name="Sarah GAUVARD" userId="4c03e191-e154-482a-88b2-11de19eac96c" providerId="ADAL" clId="{8245CC27-65FB-483E-B8E7-D04039DBA80D}" dt="2021-05-24T16:09:27.642" v="15662" actId="790"/>
          <ac:spMkLst>
            <pc:docMk/>
            <pc:sldMk cId="3405907677" sldId="10449"/>
            <ac:spMk id="567" creationId="{7A7AC5FD-4972-4698-9C29-EBE0BC229D2C}"/>
          </ac:spMkLst>
        </pc:spChg>
        <pc:spChg chg="mod">
          <ac:chgData name="Sarah GAUVARD" userId="4c03e191-e154-482a-88b2-11de19eac96c" providerId="ADAL" clId="{8245CC27-65FB-483E-B8E7-D04039DBA80D}" dt="2021-05-24T16:09:27.642" v="15663" actId="790"/>
          <ac:spMkLst>
            <pc:docMk/>
            <pc:sldMk cId="3405907677" sldId="10449"/>
            <ac:spMk id="568" creationId="{1BB99FC1-A755-41C4-A5B0-42BF784157D7}"/>
          </ac:spMkLst>
        </pc:spChg>
        <pc:spChg chg="mod">
          <ac:chgData name="Sarah GAUVARD" userId="4c03e191-e154-482a-88b2-11de19eac96c" providerId="ADAL" clId="{8245CC27-65FB-483E-B8E7-D04039DBA80D}" dt="2021-05-24T16:09:27.642" v="15664" actId="790"/>
          <ac:spMkLst>
            <pc:docMk/>
            <pc:sldMk cId="3405907677" sldId="10449"/>
            <ac:spMk id="569" creationId="{03B48CD2-8D5F-467F-95E5-9374434808F1}"/>
          </ac:spMkLst>
        </pc:spChg>
        <pc:spChg chg="mod">
          <ac:chgData name="Sarah GAUVARD" userId="4c03e191-e154-482a-88b2-11de19eac96c" providerId="ADAL" clId="{8245CC27-65FB-483E-B8E7-D04039DBA80D}" dt="2021-05-24T16:09:27.650" v="15665" actId="790"/>
          <ac:spMkLst>
            <pc:docMk/>
            <pc:sldMk cId="3405907677" sldId="10449"/>
            <ac:spMk id="570" creationId="{A6FC9F8E-9407-4068-9614-2C9B33825B85}"/>
          </ac:spMkLst>
        </pc:spChg>
        <pc:graphicFrameChg chg="mod">
          <ac:chgData name="Sarah GAUVARD" userId="4c03e191-e154-482a-88b2-11de19eac96c" providerId="ADAL" clId="{8245CC27-65FB-483E-B8E7-D04039DBA80D}" dt="2021-05-25T09:17:11.827" v="19277"/>
          <ac:graphicFrameMkLst>
            <pc:docMk/>
            <pc:sldMk cId="3405907677" sldId="10449"/>
            <ac:graphicFrameMk id="7" creationId="{85240F7D-9497-471F-89C9-677377D2D53A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733" v="15773" actId="790"/>
        <pc:sldMkLst>
          <pc:docMk/>
          <pc:sldMk cId="1257605897" sldId="10450"/>
        </pc:sldMkLst>
        <pc:spChg chg="add del mod modVis">
          <ac:chgData name="Sarah GAUVARD" userId="4c03e191-e154-482a-88b2-11de19eac96c" providerId="ADAL" clId="{8245CC27-65FB-483E-B8E7-D04039DBA80D}" dt="2021-05-24T15:34:46.057" v="11869"/>
          <ac:spMkLst>
            <pc:docMk/>
            <pc:sldMk cId="1257605897" sldId="10450"/>
            <ac:spMk id="2" creationId="{0F18DC00-19AE-492E-A29C-943386176ADC}"/>
          </ac:spMkLst>
        </pc:spChg>
        <pc:spChg chg="mod">
          <ac:chgData name="Sarah GAUVARD" userId="4c03e191-e154-482a-88b2-11de19eac96c" providerId="ADAL" clId="{8245CC27-65FB-483E-B8E7-D04039DBA80D}" dt="2021-05-24T16:09:27.703" v="15742" actId="790"/>
          <ac:spMkLst>
            <pc:docMk/>
            <pc:sldMk cId="1257605897" sldId="10450"/>
            <ac:spMk id="6" creationId="{FF59DF4D-1286-4935-9878-F5678D3BE873}"/>
          </ac:spMkLst>
        </pc:spChg>
        <pc:spChg chg="mod">
          <ac:chgData name="Sarah GAUVARD" userId="4c03e191-e154-482a-88b2-11de19eac96c" providerId="ADAL" clId="{8245CC27-65FB-483E-B8E7-D04039DBA80D}" dt="2021-05-24T16:09:27.703" v="15743" actId="790"/>
          <ac:spMkLst>
            <pc:docMk/>
            <pc:sldMk cId="1257605897" sldId="10450"/>
            <ac:spMk id="8" creationId="{9AFE9B11-1BCA-43BA-B650-E93B58945BD5}"/>
          </ac:spMkLst>
        </pc:spChg>
        <pc:spChg chg="mod">
          <ac:chgData name="Sarah GAUVARD" userId="4c03e191-e154-482a-88b2-11de19eac96c" providerId="ADAL" clId="{8245CC27-65FB-483E-B8E7-D04039DBA80D}" dt="2021-05-24T16:09:27.731" v="15771" actId="790"/>
          <ac:spMkLst>
            <pc:docMk/>
            <pc:sldMk cId="1257605897" sldId="10450"/>
            <ac:spMk id="32" creationId="{9EDD2B4C-E564-475C-AE3E-772167E3D075}"/>
          </ac:spMkLst>
        </pc:spChg>
        <pc:spChg chg="mod">
          <ac:chgData name="Sarah GAUVARD" userId="4c03e191-e154-482a-88b2-11de19eac96c" providerId="ADAL" clId="{8245CC27-65FB-483E-B8E7-D04039DBA80D}" dt="2021-05-24T16:09:27.733" v="15773" actId="790"/>
          <ac:spMkLst>
            <pc:docMk/>
            <pc:sldMk cId="1257605897" sldId="10450"/>
            <ac:spMk id="38" creationId="{CDB7A5D3-3E60-4B04-BB46-5E6F186462DD}"/>
          </ac:spMkLst>
        </pc:spChg>
        <pc:spChg chg="mod">
          <ac:chgData name="Sarah GAUVARD" userId="4c03e191-e154-482a-88b2-11de19eac96c" providerId="ADAL" clId="{8245CC27-65FB-483E-B8E7-D04039DBA80D}" dt="2021-05-24T16:09:27.711" v="15744" actId="790"/>
          <ac:spMkLst>
            <pc:docMk/>
            <pc:sldMk cId="1257605897" sldId="10450"/>
            <ac:spMk id="121" creationId="{47882E2C-6CB5-423E-8264-570847330D13}"/>
          </ac:spMkLst>
        </pc:spChg>
        <pc:spChg chg="mod">
          <ac:chgData name="Sarah GAUVARD" userId="4c03e191-e154-482a-88b2-11de19eac96c" providerId="ADAL" clId="{8245CC27-65FB-483E-B8E7-D04039DBA80D}" dt="2021-05-24T16:09:27.711" v="15745" actId="790"/>
          <ac:spMkLst>
            <pc:docMk/>
            <pc:sldMk cId="1257605897" sldId="10450"/>
            <ac:spMk id="126" creationId="{B679CA33-4BE2-4814-A3F0-D6A3530FF50C}"/>
          </ac:spMkLst>
        </pc:spChg>
        <pc:spChg chg="mod">
          <ac:chgData name="Sarah GAUVARD" userId="4c03e191-e154-482a-88b2-11de19eac96c" providerId="ADAL" clId="{8245CC27-65FB-483E-B8E7-D04039DBA80D}" dt="2021-05-24T16:09:27.713" v="15746" actId="790"/>
          <ac:spMkLst>
            <pc:docMk/>
            <pc:sldMk cId="1257605897" sldId="10450"/>
            <ac:spMk id="127" creationId="{267F6C37-45F8-4FDB-802A-F81C77D3FF76}"/>
          </ac:spMkLst>
        </pc:spChg>
        <pc:spChg chg="mod">
          <ac:chgData name="Sarah GAUVARD" userId="4c03e191-e154-482a-88b2-11de19eac96c" providerId="ADAL" clId="{8245CC27-65FB-483E-B8E7-D04039DBA80D}" dt="2021-05-24T16:09:27.713" v="15747" actId="790"/>
          <ac:spMkLst>
            <pc:docMk/>
            <pc:sldMk cId="1257605897" sldId="10450"/>
            <ac:spMk id="128" creationId="{1E677BA0-44F7-4135-94B8-943CCB0E9DEA}"/>
          </ac:spMkLst>
        </pc:spChg>
        <pc:spChg chg="mod">
          <ac:chgData name="Sarah GAUVARD" userId="4c03e191-e154-482a-88b2-11de19eac96c" providerId="ADAL" clId="{8245CC27-65FB-483E-B8E7-D04039DBA80D}" dt="2021-05-24T16:09:27.713" v="15748" actId="790"/>
          <ac:spMkLst>
            <pc:docMk/>
            <pc:sldMk cId="1257605897" sldId="10450"/>
            <ac:spMk id="161" creationId="{EF2C1507-96DB-4D06-96B8-849FD319EC76}"/>
          </ac:spMkLst>
        </pc:spChg>
        <pc:spChg chg="mod">
          <ac:chgData name="Sarah GAUVARD" userId="4c03e191-e154-482a-88b2-11de19eac96c" providerId="ADAL" clId="{8245CC27-65FB-483E-B8E7-D04039DBA80D}" dt="2021-05-24T16:09:27.713" v="15749" actId="790"/>
          <ac:spMkLst>
            <pc:docMk/>
            <pc:sldMk cId="1257605897" sldId="10450"/>
            <ac:spMk id="162" creationId="{3B00978C-7DF2-4D38-81B6-88F852D421E4}"/>
          </ac:spMkLst>
        </pc:spChg>
        <pc:spChg chg="mod">
          <ac:chgData name="Sarah GAUVARD" userId="4c03e191-e154-482a-88b2-11de19eac96c" providerId="ADAL" clId="{8245CC27-65FB-483E-B8E7-D04039DBA80D}" dt="2021-05-24T16:09:27.713" v="15750" actId="790"/>
          <ac:spMkLst>
            <pc:docMk/>
            <pc:sldMk cId="1257605897" sldId="10450"/>
            <ac:spMk id="163" creationId="{5AC39BD9-F409-4C11-BDE7-A3C52B7DC35E}"/>
          </ac:spMkLst>
        </pc:spChg>
        <pc:spChg chg="mod">
          <ac:chgData name="Sarah GAUVARD" userId="4c03e191-e154-482a-88b2-11de19eac96c" providerId="ADAL" clId="{8245CC27-65FB-483E-B8E7-D04039DBA80D}" dt="2021-05-24T16:09:27.713" v="15751" actId="790"/>
          <ac:spMkLst>
            <pc:docMk/>
            <pc:sldMk cId="1257605897" sldId="10450"/>
            <ac:spMk id="165" creationId="{11B0E31B-DF11-4F77-90D9-B3930E3A282A}"/>
          </ac:spMkLst>
        </pc:spChg>
        <pc:spChg chg="mod">
          <ac:chgData name="Sarah GAUVARD" userId="4c03e191-e154-482a-88b2-11de19eac96c" providerId="ADAL" clId="{8245CC27-65FB-483E-B8E7-D04039DBA80D}" dt="2021-05-24T16:09:27.713" v="15752" actId="790"/>
          <ac:spMkLst>
            <pc:docMk/>
            <pc:sldMk cId="1257605897" sldId="10450"/>
            <ac:spMk id="166" creationId="{93F25222-C28E-417E-AAA4-154D525DA718}"/>
          </ac:spMkLst>
        </pc:spChg>
        <pc:spChg chg="mod">
          <ac:chgData name="Sarah GAUVARD" userId="4c03e191-e154-482a-88b2-11de19eac96c" providerId="ADAL" clId="{8245CC27-65FB-483E-B8E7-D04039DBA80D}" dt="2021-05-24T16:09:27.713" v="15753" actId="790"/>
          <ac:spMkLst>
            <pc:docMk/>
            <pc:sldMk cId="1257605897" sldId="10450"/>
            <ac:spMk id="167" creationId="{E079BB12-6805-4470-9A19-4CCB55580F83}"/>
          </ac:spMkLst>
        </pc:spChg>
        <pc:spChg chg="mod">
          <ac:chgData name="Sarah GAUVARD" userId="4c03e191-e154-482a-88b2-11de19eac96c" providerId="ADAL" clId="{8245CC27-65FB-483E-B8E7-D04039DBA80D}" dt="2021-05-24T16:09:27.721" v="15754" actId="790"/>
          <ac:spMkLst>
            <pc:docMk/>
            <pc:sldMk cId="1257605897" sldId="10450"/>
            <ac:spMk id="168" creationId="{AA8C97FA-E852-46B0-88F3-315D68DCD70D}"/>
          </ac:spMkLst>
        </pc:spChg>
        <pc:spChg chg="mod">
          <ac:chgData name="Sarah GAUVARD" userId="4c03e191-e154-482a-88b2-11de19eac96c" providerId="ADAL" clId="{8245CC27-65FB-483E-B8E7-D04039DBA80D}" dt="2021-05-24T16:09:27.721" v="15755" actId="790"/>
          <ac:spMkLst>
            <pc:docMk/>
            <pc:sldMk cId="1257605897" sldId="10450"/>
            <ac:spMk id="169" creationId="{F55EF163-CC0E-48F7-9FB3-E7A813E73035}"/>
          </ac:spMkLst>
        </pc:spChg>
        <pc:spChg chg="mod">
          <ac:chgData name="Sarah GAUVARD" userId="4c03e191-e154-482a-88b2-11de19eac96c" providerId="ADAL" clId="{8245CC27-65FB-483E-B8E7-D04039DBA80D}" dt="2021-05-24T16:09:27.721" v="15756" actId="790"/>
          <ac:spMkLst>
            <pc:docMk/>
            <pc:sldMk cId="1257605897" sldId="10450"/>
            <ac:spMk id="170" creationId="{916415C4-147B-4047-8064-AB3522947855}"/>
          </ac:spMkLst>
        </pc:spChg>
        <pc:spChg chg="mod">
          <ac:chgData name="Sarah GAUVARD" userId="4c03e191-e154-482a-88b2-11de19eac96c" providerId="ADAL" clId="{8245CC27-65FB-483E-B8E7-D04039DBA80D}" dt="2021-05-24T16:09:27.723" v="15757" actId="790"/>
          <ac:spMkLst>
            <pc:docMk/>
            <pc:sldMk cId="1257605897" sldId="10450"/>
            <ac:spMk id="172" creationId="{32FCFF7F-A543-4C44-BDEB-15421FDE2A43}"/>
          </ac:spMkLst>
        </pc:spChg>
        <pc:spChg chg="mod">
          <ac:chgData name="Sarah GAUVARD" userId="4c03e191-e154-482a-88b2-11de19eac96c" providerId="ADAL" clId="{8245CC27-65FB-483E-B8E7-D04039DBA80D}" dt="2021-05-24T16:09:27.723" v="15758" actId="790"/>
          <ac:spMkLst>
            <pc:docMk/>
            <pc:sldMk cId="1257605897" sldId="10450"/>
            <ac:spMk id="173" creationId="{FE26A1FC-A2DB-4DF6-96D8-B46AE8026951}"/>
          </ac:spMkLst>
        </pc:spChg>
        <pc:spChg chg="mod">
          <ac:chgData name="Sarah GAUVARD" userId="4c03e191-e154-482a-88b2-11de19eac96c" providerId="ADAL" clId="{8245CC27-65FB-483E-B8E7-D04039DBA80D}" dt="2021-05-24T16:09:27.723" v="15759" actId="790"/>
          <ac:spMkLst>
            <pc:docMk/>
            <pc:sldMk cId="1257605897" sldId="10450"/>
            <ac:spMk id="174" creationId="{E8B3D778-664A-49A8-B0A7-2E84434ED3A8}"/>
          </ac:spMkLst>
        </pc:spChg>
        <pc:spChg chg="mod">
          <ac:chgData name="Sarah GAUVARD" userId="4c03e191-e154-482a-88b2-11de19eac96c" providerId="ADAL" clId="{8245CC27-65FB-483E-B8E7-D04039DBA80D}" dt="2021-05-24T16:09:27.723" v="15760" actId="790"/>
          <ac:spMkLst>
            <pc:docMk/>
            <pc:sldMk cId="1257605897" sldId="10450"/>
            <ac:spMk id="175" creationId="{80166264-0FBF-4476-844C-81EC2C24C292}"/>
          </ac:spMkLst>
        </pc:spChg>
        <pc:spChg chg="mod">
          <ac:chgData name="Sarah GAUVARD" userId="4c03e191-e154-482a-88b2-11de19eac96c" providerId="ADAL" clId="{8245CC27-65FB-483E-B8E7-D04039DBA80D}" dt="2021-05-24T16:09:27.723" v="15761" actId="790"/>
          <ac:spMkLst>
            <pc:docMk/>
            <pc:sldMk cId="1257605897" sldId="10450"/>
            <ac:spMk id="176" creationId="{885596B5-68CC-4CA2-85A9-8B1C03B8C65D}"/>
          </ac:spMkLst>
        </pc:spChg>
        <pc:spChg chg="mod">
          <ac:chgData name="Sarah GAUVARD" userId="4c03e191-e154-482a-88b2-11de19eac96c" providerId="ADAL" clId="{8245CC27-65FB-483E-B8E7-D04039DBA80D}" dt="2021-05-24T16:09:27.723" v="15762" actId="790"/>
          <ac:spMkLst>
            <pc:docMk/>
            <pc:sldMk cId="1257605897" sldId="10450"/>
            <ac:spMk id="177" creationId="{6826BB62-8A5C-46BF-8049-23D419052F89}"/>
          </ac:spMkLst>
        </pc:spChg>
        <pc:spChg chg="mod">
          <ac:chgData name="Sarah GAUVARD" userId="4c03e191-e154-482a-88b2-11de19eac96c" providerId="ADAL" clId="{8245CC27-65FB-483E-B8E7-D04039DBA80D}" dt="2021-05-24T16:09:27.723" v="15763" actId="790"/>
          <ac:spMkLst>
            <pc:docMk/>
            <pc:sldMk cId="1257605897" sldId="10450"/>
            <ac:spMk id="178" creationId="{75719BA4-2F49-4E16-BD81-8A1955A4DAE4}"/>
          </ac:spMkLst>
        </pc:spChg>
        <pc:spChg chg="mod">
          <ac:chgData name="Sarah GAUVARD" userId="4c03e191-e154-482a-88b2-11de19eac96c" providerId="ADAL" clId="{8245CC27-65FB-483E-B8E7-D04039DBA80D}" dt="2021-05-24T16:09:27.723" v="15764" actId="790"/>
          <ac:spMkLst>
            <pc:docMk/>
            <pc:sldMk cId="1257605897" sldId="10450"/>
            <ac:spMk id="179" creationId="{FBF028CB-7E03-4B99-AE38-380E7F2BC7E3}"/>
          </ac:spMkLst>
        </pc:spChg>
        <pc:spChg chg="mod">
          <ac:chgData name="Sarah GAUVARD" userId="4c03e191-e154-482a-88b2-11de19eac96c" providerId="ADAL" clId="{8245CC27-65FB-483E-B8E7-D04039DBA80D}" dt="2021-05-24T16:09:27.723" v="15765" actId="790"/>
          <ac:spMkLst>
            <pc:docMk/>
            <pc:sldMk cId="1257605897" sldId="10450"/>
            <ac:spMk id="181" creationId="{18A8FF1A-5942-44D5-AD01-129C43FBD7C8}"/>
          </ac:spMkLst>
        </pc:spChg>
        <pc:spChg chg="mod">
          <ac:chgData name="Sarah GAUVARD" userId="4c03e191-e154-482a-88b2-11de19eac96c" providerId="ADAL" clId="{8245CC27-65FB-483E-B8E7-D04039DBA80D}" dt="2021-05-24T16:09:27.723" v="15766" actId="790"/>
          <ac:spMkLst>
            <pc:docMk/>
            <pc:sldMk cId="1257605897" sldId="10450"/>
            <ac:spMk id="183" creationId="{1899D119-F7CF-4BEE-8372-873E8A2C0F76}"/>
          </ac:spMkLst>
        </pc:spChg>
        <pc:spChg chg="mod">
          <ac:chgData name="Sarah GAUVARD" userId="4c03e191-e154-482a-88b2-11de19eac96c" providerId="ADAL" clId="{8245CC27-65FB-483E-B8E7-D04039DBA80D}" dt="2021-05-24T16:09:27.723" v="15767" actId="790"/>
          <ac:spMkLst>
            <pc:docMk/>
            <pc:sldMk cId="1257605897" sldId="10450"/>
            <ac:spMk id="186" creationId="{86AA7CBC-74DA-4388-9DE0-860FAF9E0B81}"/>
          </ac:spMkLst>
        </pc:spChg>
        <pc:spChg chg="mod">
          <ac:chgData name="Sarah GAUVARD" userId="4c03e191-e154-482a-88b2-11de19eac96c" providerId="ADAL" clId="{8245CC27-65FB-483E-B8E7-D04039DBA80D}" dt="2021-05-24T16:09:27.723" v="15768" actId="790"/>
          <ac:spMkLst>
            <pc:docMk/>
            <pc:sldMk cId="1257605897" sldId="10450"/>
            <ac:spMk id="187" creationId="{2B1DFCF5-5CE2-41E4-882A-AA27CCD25FFF}"/>
          </ac:spMkLst>
        </pc:spChg>
        <pc:spChg chg="mod">
          <ac:chgData name="Sarah GAUVARD" userId="4c03e191-e154-482a-88b2-11de19eac96c" providerId="ADAL" clId="{8245CC27-65FB-483E-B8E7-D04039DBA80D}" dt="2021-05-24T16:09:27.723" v="15769" actId="790"/>
          <ac:spMkLst>
            <pc:docMk/>
            <pc:sldMk cId="1257605897" sldId="10450"/>
            <ac:spMk id="189" creationId="{6B9DCBFF-5597-49E5-BFE3-33C520193F03}"/>
          </ac:spMkLst>
        </pc:spChg>
        <pc:spChg chg="mod">
          <ac:chgData name="Sarah GAUVARD" userId="4c03e191-e154-482a-88b2-11de19eac96c" providerId="ADAL" clId="{8245CC27-65FB-483E-B8E7-D04039DBA80D}" dt="2021-05-24T16:09:27.731" v="15770" actId="790"/>
          <ac:spMkLst>
            <pc:docMk/>
            <pc:sldMk cId="1257605897" sldId="10450"/>
            <ac:spMk id="190" creationId="{40A8218D-453D-4A85-A645-943A1BA3319A}"/>
          </ac:spMkLst>
        </pc:spChg>
        <pc:spChg chg="mod">
          <ac:chgData name="Sarah GAUVARD" userId="4c03e191-e154-482a-88b2-11de19eac96c" providerId="ADAL" clId="{8245CC27-65FB-483E-B8E7-D04039DBA80D}" dt="2021-05-24T16:09:27.733" v="15772" actId="790"/>
          <ac:spMkLst>
            <pc:docMk/>
            <pc:sldMk cId="1257605897" sldId="10450"/>
            <ac:spMk id="193" creationId="{71D1FCF9-82DB-43BD-8A7C-4A72C096FE36}"/>
          </ac:spMkLst>
        </pc:spChg>
        <pc:graphicFrameChg chg="mod">
          <ac:chgData name="Sarah GAUVARD" userId="4c03e191-e154-482a-88b2-11de19eac96c" providerId="ADAL" clId="{8245CC27-65FB-483E-B8E7-D04039DBA80D}" dt="2021-05-24T15:34:46.061" v="11871"/>
          <ac:graphicFrameMkLst>
            <pc:docMk/>
            <pc:sldMk cId="1257605897" sldId="10450"/>
            <ac:graphicFrameMk id="7" creationId="{85240F7D-9497-471F-89C9-677377D2D53A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0:50:38.788" v="19581" actId="1076"/>
        <pc:sldMkLst>
          <pc:docMk/>
          <pc:sldMk cId="946667118" sldId="10451"/>
        </pc:sldMkLst>
        <pc:spChg chg="mod">
          <ac:chgData name="Sarah GAUVARD" userId="4c03e191-e154-482a-88b2-11de19eac96c" providerId="ADAL" clId="{8245CC27-65FB-483E-B8E7-D04039DBA80D}" dt="2021-05-24T16:09:28.684" v="16668" actId="790"/>
          <ac:spMkLst>
            <pc:docMk/>
            <pc:sldMk cId="946667118" sldId="10451"/>
            <ac:spMk id="2" creationId="{769247EA-17E8-4C3A-8816-83F479289603}"/>
          </ac:spMkLst>
        </pc:spChg>
        <pc:spChg chg="add mod">
          <ac:chgData name="Sarah GAUVARD" userId="4c03e191-e154-482a-88b2-11de19eac96c" providerId="ADAL" clId="{8245CC27-65FB-483E-B8E7-D04039DBA80D}" dt="2021-05-24T16:09:28.715" v="16700" actId="790"/>
          <ac:spMkLst>
            <pc:docMk/>
            <pc:sldMk cId="946667118" sldId="10451"/>
            <ac:spMk id="3" creationId="{E07D0B56-DB8E-4B78-AC05-7711C9472BF0}"/>
          </ac:spMkLst>
        </pc:spChg>
        <pc:spChg chg="add mod">
          <ac:chgData name="Sarah GAUVARD" userId="4c03e191-e154-482a-88b2-11de19eac96c" providerId="ADAL" clId="{8245CC27-65FB-483E-B8E7-D04039DBA80D}" dt="2021-05-24T16:09:28.715" v="16701" actId="790"/>
          <ac:spMkLst>
            <pc:docMk/>
            <pc:sldMk cId="946667118" sldId="10451"/>
            <ac:spMk id="4" creationId="{9AE5609A-BCBB-4CCB-8260-AB6BF728C30D}"/>
          </ac:spMkLst>
        </pc:spChg>
        <pc:spChg chg="add del mod modVis">
          <ac:chgData name="Sarah GAUVARD" userId="4c03e191-e154-482a-88b2-11de19eac96c" providerId="ADAL" clId="{8245CC27-65FB-483E-B8E7-D04039DBA80D}" dt="2021-05-24T15:34:45.901" v="11776"/>
          <ac:spMkLst>
            <pc:docMk/>
            <pc:sldMk cId="946667118" sldId="10451"/>
            <ac:spMk id="5" creationId="{F013C89A-4B57-4B4F-8C72-DC711248E6F1}"/>
          </ac:spMkLst>
        </pc:spChg>
        <pc:spChg chg="mod">
          <ac:chgData name="Sarah GAUVARD" userId="4c03e191-e154-482a-88b2-11de19eac96c" providerId="ADAL" clId="{8245CC27-65FB-483E-B8E7-D04039DBA80D}" dt="2021-05-24T16:09:28.684" v="16669" actId="790"/>
          <ac:spMkLst>
            <pc:docMk/>
            <pc:sldMk cId="946667118" sldId="10451"/>
            <ac:spMk id="7" creationId="{044946C5-D2A9-4225-9A4A-E922125A0AE1}"/>
          </ac:spMkLst>
        </pc:spChg>
        <pc:spChg chg="add mod">
          <ac:chgData name="Sarah GAUVARD" userId="4c03e191-e154-482a-88b2-11de19eac96c" providerId="ADAL" clId="{8245CC27-65FB-483E-B8E7-D04039DBA80D}" dt="2021-05-25T10:08:22.638" v="19444" actId="1076"/>
          <ac:spMkLst>
            <pc:docMk/>
            <pc:sldMk cId="946667118" sldId="10451"/>
            <ac:spMk id="9" creationId="{FAF41793-0AE2-48FB-B0F7-F9CE65719F59}"/>
          </ac:spMkLst>
        </pc:spChg>
        <pc:spChg chg="add mod">
          <ac:chgData name="Sarah GAUVARD" userId="4c03e191-e154-482a-88b2-11de19eac96c" providerId="ADAL" clId="{8245CC27-65FB-483E-B8E7-D04039DBA80D}" dt="2021-05-25T10:50:35.075" v="19579" actId="1076"/>
          <ac:spMkLst>
            <pc:docMk/>
            <pc:sldMk cId="946667118" sldId="10451"/>
            <ac:spMk id="13" creationId="{E4610930-1FA0-46FB-8AFC-90F831D44116}"/>
          </ac:spMkLst>
        </pc:spChg>
        <pc:spChg chg="mod">
          <ac:chgData name="Sarah GAUVARD" userId="4c03e191-e154-482a-88b2-11de19eac96c" providerId="ADAL" clId="{8245CC27-65FB-483E-B8E7-D04039DBA80D}" dt="2021-05-24T16:09:28.684" v="16670" actId="790"/>
          <ac:spMkLst>
            <pc:docMk/>
            <pc:sldMk cId="946667118" sldId="10451"/>
            <ac:spMk id="17" creationId="{C9EAEAC2-A4FF-4DD8-9228-E949C4DB6A55}"/>
          </ac:spMkLst>
        </pc:spChg>
        <pc:spChg chg="mod">
          <ac:chgData name="Sarah GAUVARD" userId="4c03e191-e154-482a-88b2-11de19eac96c" providerId="ADAL" clId="{8245CC27-65FB-483E-B8E7-D04039DBA80D}" dt="2021-05-24T16:09:28.684" v="16671" actId="790"/>
          <ac:spMkLst>
            <pc:docMk/>
            <pc:sldMk cId="946667118" sldId="10451"/>
            <ac:spMk id="20" creationId="{5F5540D3-73DA-4CB5-8CE1-6C8BEAA293F6}"/>
          </ac:spMkLst>
        </pc:spChg>
        <pc:spChg chg="mod">
          <ac:chgData name="Sarah GAUVARD" userId="4c03e191-e154-482a-88b2-11de19eac96c" providerId="ADAL" clId="{8245CC27-65FB-483E-B8E7-D04039DBA80D}" dt="2021-05-24T16:09:28.684" v="16672" actId="790"/>
          <ac:spMkLst>
            <pc:docMk/>
            <pc:sldMk cId="946667118" sldId="10451"/>
            <ac:spMk id="24" creationId="{9AC553B1-4F81-4C20-B305-7DC8EB1A6187}"/>
          </ac:spMkLst>
        </pc:spChg>
        <pc:spChg chg="mod">
          <ac:chgData name="Sarah GAUVARD" userId="4c03e191-e154-482a-88b2-11de19eac96c" providerId="ADAL" clId="{8245CC27-65FB-483E-B8E7-D04039DBA80D}" dt="2021-05-24T16:09:28.684" v="16673" actId="790"/>
          <ac:spMkLst>
            <pc:docMk/>
            <pc:sldMk cId="946667118" sldId="10451"/>
            <ac:spMk id="25" creationId="{3E109305-F3C7-486E-897E-2E8221625EF8}"/>
          </ac:spMkLst>
        </pc:spChg>
        <pc:spChg chg="mod">
          <ac:chgData name="Sarah GAUVARD" userId="4c03e191-e154-482a-88b2-11de19eac96c" providerId="ADAL" clId="{8245CC27-65FB-483E-B8E7-D04039DBA80D}" dt="2021-05-24T16:09:28.692" v="16678" actId="790"/>
          <ac:spMkLst>
            <pc:docMk/>
            <pc:sldMk cId="946667118" sldId="10451"/>
            <ac:spMk id="28" creationId="{F0A42D70-8359-43E9-B3F0-C9955529B0D8}"/>
          </ac:spMkLst>
        </pc:spChg>
        <pc:spChg chg="mod">
          <ac:chgData name="Sarah GAUVARD" userId="4c03e191-e154-482a-88b2-11de19eac96c" providerId="ADAL" clId="{8245CC27-65FB-483E-B8E7-D04039DBA80D}" dt="2021-05-24T16:09:28.684" v="16674" actId="790"/>
          <ac:spMkLst>
            <pc:docMk/>
            <pc:sldMk cId="946667118" sldId="10451"/>
            <ac:spMk id="29" creationId="{6883ADF0-392A-45C2-A4E3-ABAB2274EB03}"/>
          </ac:spMkLst>
        </pc:spChg>
        <pc:spChg chg="mod">
          <ac:chgData name="Sarah GAUVARD" userId="4c03e191-e154-482a-88b2-11de19eac96c" providerId="ADAL" clId="{8245CC27-65FB-483E-B8E7-D04039DBA80D}" dt="2021-05-24T16:09:28.684" v="16675" actId="790"/>
          <ac:spMkLst>
            <pc:docMk/>
            <pc:sldMk cId="946667118" sldId="10451"/>
            <ac:spMk id="30" creationId="{DEF0A5A1-4D9F-4E2F-9E07-C79302AD07AD}"/>
          </ac:spMkLst>
        </pc:spChg>
        <pc:spChg chg="mod">
          <ac:chgData name="Sarah GAUVARD" userId="4c03e191-e154-482a-88b2-11de19eac96c" providerId="ADAL" clId="{8245CC27-65FB-483E-B8E7-D04039DBA80D}" dt="2021-05-24T16:09:28.692" v="16676" actId="790"/>
          <ac:spMkLst>
            <pc:docMk/>
            <pc:sldMk cId="946667118" sldId="10451"/>
            <ac:spMk id="32" creationId="{3FF3FDF5-52D0-49E0-A0E7-824DFE96C177}"/>
          </ac:spMkLst>
        </pc:spChg>
        <pc:spChg chg="mod">
          <ac:chgData name="Sarah GAUVARD" userId="4c03e191-e154-482a-88b2-11de19eac96c" providerId="ADAL" clId="{8245CC27-65FB-483E-B8E7-D04039DBA80D}" dt="2021-05-24T16:09:28.692" v="16677" actId="790"/>
          <ac:spMkLst>
            <pc:docMk/>
            <pc:sldMk cId="946667118" sldId="10451"/>
            <ac:spMk id="33" creationId="{199DDAA8-0D15-4205-9F4A-142676014187}"/>
          </ac:spMkLst>
        </pc:spChg>
        <pc:spChg chg="mod">
          <ac:chgData name="Sarah GAUVARD" userId="4c03e191-e154-482a-88b2-11de19eac96c" providerId="ADAL" clId="{8245CC27-65FB-483E-B8E7-D04039DBA80D}" dt="2021-05-24T16:09:28.715" v="16699" actId="790"/>
          <ac:spMkLst>
            <pc:docMk/>
            <pc:sldMk cId="946667118" sldId="10451"/>
            <ac:spMk id="44" creationId="{B0E36B4E-889F-4589-9A08-C01D267B1C72}"/>
          </ac:spMkLst>
        </pc:spChg>
        <pc:spChg chg="add mod">
          <ac:chgData name="Sarah GAUVARD" userId="4c03e191-e154-482a-88b2-11de19eac96c" providerId="ADAL" clId="{8245CC27-65FB-483E-B8E7-D04039DBA80D}" dt="2021-05-24T16:09:28.715" v="16702" actId="790"/>
          <ac:spMkLst>
            <pc:docMk/>
            <pc:sldMk cId="946667118" sldId="10451"/>
            <ac:spMk id="50" creationId="{C4864A91-8070-46BD-BB89-03A09EB5B02C}"/>
          </ac:spMkLst>
        </pc:spChg>
        <pc:spChg chg="mod">
          <ac:chgData name="Sarah GAUVARD" userId="4c03e191-e154-482a-88b2-11de19eac96c" providerId="ADAL" clId="{8245CC27-65FB-483E-B8E7-D04039DBA80D}" dt="2021-05-24T16:09:28.715" v="16703" actId="790"/>
          <ac:spMkLst>
            <pc:docMk/>
            <pc:sldMk cId="946667118" sldId="10451"/>
            <ac:spMk id="58" creationId="{8B0B1F27-8215-4EAC-9E9C-BE1DEC1C7AAF}"/>
          </ac:spMkLst>
        </pc:spChg>
        <pc:spChg chg="mod">
          <ac:chgData name="Sarah GAUVARD" userId="4c03e191-e154-482a-88b2-11de19eac96c" providerId="ADAL" clId="{8245CC27-65FB-483E-B8E7-D04039DBA80D}" dt="2021-05-24T16:09:28.692" v="16679" actId="790"/>
          <ac:spMkLst>
            <pc:docMk/>
            <pc:sldMk cId="946667118" sldId="10451"/>
            <ac:spMk id="64" creationId="{D18473C9-8757-432D-9AB2-988A0819821F}"/>
          </ac:spMkLst>
        </pc:spChg>
        <pc:spChg chg="add mod">
          <ac:chgData name="Sarah GAUVARD" userId="4c03e191-e154-482a-88b2-11de19eac96c" providerId="ADAL" clId="{8245CC27-65FB-483E-B8E7-D04039DBA80D}" dt="2021-05-25T10:50:38.788" v="19581" actId="1076"/>
          <ac:spMkLst>
            <pc:docMk/>
            <pc:sldMk cId="946667118" sldId="10451"/>
            <ac:spMk id="68" creationId="{09B355E0-39AF-4149-98DE-8CF7CD14B380}"/>
          </ac:spMkLst>
        </pc:spChg>
        <pc:spChg chg="mod">
          <ac:chgData name="Sarah GAUVARD" userId="4c03e191-e154-482a-88b2-11de19eac96c" providerId="ADAL" clId="{8245CC27-65FB-483E-B8E7-D04039DBA80D}" dt="2021-05-24T16:09:28.692" v="16680" actId="790"/>
          <ac:spMkLst>
            <pc:docMk/>
            <pc:sldMk cId="946667118" sldId="10451"/>
            <ac:spMk id="72" creationId="{53F76EF6-A16A-4416-954E-5734C91DB3EA}"/>
          </ac:spMkLst>
        </pc:spChg>
        <pc:spChg chg="mod">
          <ac:chgData name="Sarah GAUVARD" userId="4c03e191-e154-482a-88b2-11de19eac96c" providerId="ADAL" clId="{8245CC27-65FB-483E-B8E7-D04039DBA80D}" dt="2021-05-24T16:09:28.692" v="16681" actId="790"/>
          <ac:spMkLst>
            <pc:docMk/>
            <pc:sldMk cId="946667118" sldId="10451"/>
            <ac:spMk id="74" creationId="{86FA14E8-7A65-4CBB-A34D-88A87FFA3ACF}"/>
          </ac:spMkLst>
        </pc:spChg>
        <pc:spChg chg="mod">
          <ac:chgData name="Sarah GAUVARD" userId="4c03e191-e154-482a-88b2-11de19eac96c" providerId="ADAL" clId="{8245CC27-65FB-483E-B8E7-D04039DBA80D}" dt="2021-05-24T16:09:28.692" v="16682" actId="790"/>
          <ac:spMkLst>
            <pc:docMk/>
            <pc:sldMk cId="946667118" sldId="10451"/>
            <ac:spMk id="75" creationId="{C116CA5A-79BC-4753-A781-D939D02B2F40}"/>
          </ac:spMkLst>
        </pc:spChg>
        <pc:spChg chg="mod">
          <ac:chgData name="Sarah GAUVARD" userId="4c03e191-e154-482a-88b2-11de19eac96c" providerId="ADAL" clId="{8245CC27-65FB-483E-B8E7-D04039DBA80D}" dt="2021-05-24T16:09:28.692" v="16683" actId="790"/>
          <ac:spMkLst>
            <pc:docMk/>
            <pc:sldMk cId="946667118" sldId="10451"/>
            <ac:spMk id="76" creationId="{610286D6-0078-41F1-9A71-66B2525DCCAB}"/>
          </ac:spMkLst>
        </pc:spChg>
        <pc:spChg chg="mod">
          <ac:chgData name="Sarah GAUVARD" userId="4c03e191-e154-482a-88b2-11de19eac96c" providerId="ADAL" clId="{8245CC27-65FB-483E-B8E7-D04039DBA80D}" dt="2021-05-24T16:09:28.692" v="16684" actId="790"/>
          <ac:spMkLst>
            <pc:docMk/>
            <pc:sldMk cId="946667118" sldId="10451"/>
            <ac:spMk id="77" creationId="{655F16CF-879C-4ED9-9E0C-45719166FD41}"/>
          </ac:spMkLst>
        </pc:spChg>
        <pc:spChg chg="mod">
          <ac:chgData name="Sarah GAUVARD" userId="4c03e191-e154-482a-88b2-11de19eac96c" providerId="ADAL" clId="{8245CC27-65FB-483E-B8E7-D04039DBA80D}" dt="2021-05-24T16:09:28.692" v="16685" actId="790"/>
          <ac:spMkLst>
            <pc:docMk/>
            <pc:sldMk cId="946667118" sldId="10451"/>
            <ac:spMk id="78" creationId="{C87B6AA9-98E8-446F-8FA4-C5C34CFB04AF}"/>
          </ac:spMkLst>
        </pc:spChg>
        <pc:spChg chg="mod">
          <ac:chgData name="Sarah GAUVARD" userId="4c03e191-e154-482a-88b2-11de19eac96c" providerId="ADAL" clId="{8245CC27-65FB-483E-B8E7-D04039DBA80D}" dt="2021-05-24T16:09:28.702" v="16686" actId="790"/>
          <ac:spMkLst>
            <pc:docMk/>
            <pc:sldMk cId="946667118" sldId="10451"/>
            <ac:spMk id="79" creationId="{8EBF367E-E2DA-415E-B281-2B9404ED3A46}"/>
          </ac:spMkLst>
        </pc:spChg>
        <pc:spChg chg="mod">
          <ac:chgData name="Sarah GAUVARD" userId="4c03e191-e154-482a-88b2-11de19eac96c" providerId="ADAL" clId="{8245CC27-65FB-483E-B8E7-D04039DBA80D}" dt="2021-05-24T16:09:28.704" v="16687" actId="790"/>
          <ac:spMkLst>
            <pc:docMk/>
            <pc:sldMk cId="946667118" sldId="10451"/>
            <ac:spMk id="80" creationId="{DF9DF7E7-5FF0-48B8-A1AC-164500254812}"/>
          </ac:spMkLst>
        </pc:spChg>
        <pc:spChg chg="mod">
          <ac:chgData name="Sarah GAUVARD" userId="4c03e191-e154-482a-88b2-11de19eac96c" providerId="ADAL" clId="{8245CC27-65FB-483E-B8E7-D04039DBA80D}" dt="2021-05-24T16:09:28.704" v="16688" actId="790"/>
          <ac:spMkLst>
            <pc:docMk/>
            <pc:sldMk cId="946667118" sldId="10451"/>
            <ac:spMk id="81" creationId="{09E3A3BE-0DD8-4980-A1CF-2EFA556C927A}"/>
          </ac:spMkLst>
        </pc:spChg>
        <pc:spChg chg="mod">
          <ac:chgData name="Sarah GAUVARD" userId="4c03e191-e154-482a-88b2-11de19eac96c" providerId="ADAL" clId="{8245CC27-65FB-483E-B8E7-D04039DBA80D}" dt="2021-05-24T16:09:28.704" v="16689" actId="790"/>
          <ac:spMkLst>
            <pc:docMk/>
            <pc:sldMk cId="946667118" sldId="10451"/>
            <ac:spMk id="82" creationId="{79B17794-B5C3-4B9C-8192-450BCE0A6895}"/>
          </ac:spMkLst>
        </pc:spChg>
        <pc:spChg chg="mod">
          <ac:chgData name="Sarah GAUVARD" userId="4c03e191-e154-482a-88b2-11de19eac96c" providerId="ADAL" clId="{8245CC27-65FB-483E-B8E7-D04039DBA80D}" dt="2021-05-24T16:09:28.704" v="16690" actId="790"/>
          <ac:spMkLst>
            <pc:docMk/>
            <pc:sldMk cId="946667118" sldId="10451"/>
            <ac:spMk id="83" creationId="{A56ACA3E-1DF3-4D17-8A29-417336C3FEA0}"/>
          </ac:spMkLst>
        </pc:spChg>
        <pc:spChg chg="mod">
          <ac:chgData name="Sarah GAUVARD" userId="4c03e191-e154-482a-88b2-11de19eac96c" providerId="ADAL" clId="{8245CC27-65FB-483E-B8E7-D04039DBA80D}" dt="2021-05-24T16:09:28.704" v="16691" actId="790"/>
          <ac:spMkLst>
            <pc:docMk/>
            <pc:sldMk cId="946667118" sldId="10451"/>
            <ac:spMk id="84" creationId="{6D983CC5-2164-4341-A344-C58A95E2C300}"/>
          </ac:spMkLst>
        </pc:spChg>
        <pc:spChg chg="mod">
          <ac:chgData name="Sarah GAUVARD" userId="4c03e191-e154-482a-88b2-11de19eac96c" providerId="ADAL" clId="{8245CC27-65FB-483E-B8E7-D04039DBA80D}" dt="2021-05-24T16:09:28.704" v="16692" actId="790"/>
          <ac:spMkLst>
            <pc:docMk/>
            <pc:sldMk cId="946667118" sldId="10451"/>
            <ac:spMk id="85" creationId="{61074D75-11F2-4326-8B1A-211012AA7EFA}"/>
          </ac:spMkLst>
        </pc:spChg>
        <pc:spChg chg="mod">
          <ac:chgData name="Sarah GAUVARD" userId="4c03e191-e154-482a-88b2-11de19eac96c" providerId="ADAL" clId="{8245CC27-65FB-483E-B8E7-D04039DBA80D}" dt="2021-05-24T16:09:28.715" v="16704" actId="790"/>
          <ac:spMkLst>
            <pc:docMk/>
            <pc:sldMk cId="946667118" sldId="10451"/>
            <ac:spMk id="86" creationId="{8A14FC79-C56E-4484-8887-E9A78030B4D6}"/>
          </ac:spMkLst>
        </pc:spChg>
        <pc:spChg chg="mod">
          <ac:chgData name="Sarah GAUVARD" userId="4c03e191-e154-482a-88b2-11de19eac96c" providerId="ADAL" clId="{8245CC27-65FB-483E-B8E7-D04039DBA80D}" dt="2021-05-24T16:09:28.704" v="16693" actId="790"/>
          <ac:spMkLst>
            <pc:docMk/>
            <pc:sldMk cId="946667118" sldId="10451"/>
            <ac:spMk id="87" creationId="{F033E597-A1B3-4016-A335-0C6A3111FED6}"/>
          </ac:spMkLst>
        </pc:spChg>
        <pc:spChg chg="mod">
          <ac:chgData name="Sarah GAUVARD" userId="4c03e191-e154-482a-88b2-11de19eac96c" providerId="ADAL" clId="{8245CC27-65FB-483E-B8E7-D04039DBA80D}" dt="2021-05-24T16:09:28.712" v="16694" actId="790"/>
          <ac:spMkLst>
            <pc:docMk/>
            <pc:sldMk cId="946667118" sldId="10451"/>
            <ac:spMk id="88" creationId="{840038ED-3862-4130-85EF-095858B0A462}"/>
          </ac:spMkLst>
        </pc:spChg>
        <pc:spChg chg="mod">
          <ac:chgData name="Sarah GAUVARD" userId="4c03e191-e154-482a-88b2-11de19eac96c" providerId="ADAL" clId="{8245CC27-65FB-483E-B8E7-D04039DBA80D}" dt="2021-05-24T16:09:28.712" v="16695" actId="790"/>
          <ac:spMkLst>
            <pc:docMk/>
            <pc:sldMk cId="946667118" sldId="10451"/>
            <ac:spMk id="89" creationId="{EC97F917-C6ED-49BD-B1C9-20BEE6567689}"/>
          </ac:spMkLst>
        </pc:spChg>
        <pc:spChg chg="mod">
          <ac:chgData name="Sarah GAUVARD" userId="4c03e191-e154-482a-88b2-11de19eac96c" providerId="ADAL" clId="{8245CC27-65FB-483E-B8E7-D04039DBA80D}" dt="2021-05-24T16:09:28.715" v="16698" actId="790"/>
          <ac:spMkLst>
            <pc:docMk/>
            <pc:sldMk cId="946667118" sldId="10451"/>
            <ac:spMk id="90" creationId="{96560CEF-D75B-4D59-874C-6BA982B2C860}"/>
          </ac:spMkLst>
        </pc:spChg>
        <pc:spChg chg="mod">
          <ac:chgData name="Sarah GAUVARD" userId="4c03e191-e154-482a-88b2-11de19eac96c" providerId="ADAL" clId="{8245CC27-65FB-483E-B8E7-D04039DBA80D}" dt="2021-05-24T16:09:28.715" v="16705" actId="790"/>
          <ac:spMkLst>
            <pc:docMk/>
            <pc:sldMk cId="946667118" sldId="10451"/>
            <ac:spMk id="91" creationId="{8D2702E6-E17A-4FED-A239-52E2A9498B00}"/>
          </ac:spMkLst>
        </pc:spChg>
        <pc:spChg chg="mod">
          <ac:chgData name="Sarah GAUVARD" userId="4c03e191-e154-482a-88b2-11de19eac96c" providerId="ADAL" clId="{8245CC27-65FB-483E-B8E7-D04039DBA80D}" dt="2021-05-24T16:09:28.715" v="16696" actId="790"/>
          <ac:spMkLst>
            <pc:docMk/>
            <pc:sldMk cId="946667118" sldId="10451"/>
            <ac:spMk id="92" creationId="{DF0A93D5-BC60-4E6D-8984-A337ACD37FF2}"/>
          </ac:spMkLst>
        </pc:spChg>
        <pc:spChg chg="mod">
          <ac:chgData name="Sarah GAUVARD" userId="4c03e191-e154-482a-88b2-11de19eac96c" providerId="ADAL" clId="{8245CC27-65FB-483E-B8E7-D04039DBA80D}" dt="2021-05-25T07:30:54.330" v="17547" actId="20577"/>
          <ac:spMkLst>
            <pc:docMk/>
            <pc:sldMk cId="946667118" sldId="10451"/>
            <ac:spMk id="93" creationId="{7F3E896D-AB39-44B1-A16F-7968DE41B9E3}"/>
          </ac:spMkLst>
        </pc:spChg>
        <pc:spChg chg="mod">
          <ac:chgData name="Sarah GAUVARD" userId="4c03e191-e154-482a-88b2-11de19eac96c" providerId="ADAL" clId="{8245CC27-65FB-483E-B8E7-D04039DBA80D}" dt="2021-05-24T16:09:28.715" v="16706" actId="790"/>
          <ac:spMkLst>
            <pc:docMk/>
            <pc:sldMk cId="946667118" sldId="10451"/>
            <ac:spMk id="94" creationId="{E3370B19-BD69-449F-9C71-B1EC916BCB38}"/>
          </ac:spMkLst>
        </pc:spChg>
        <pc:spChg chg="mod">
          <ac:chgData name="Sarah GAUVARD" userId="4c03e191-e154-482a-88b2-11de19eac96c" providerId="ADAL" clId="{8245CC27-65FB-483E-B8E7-D04039DBA80D}" dt="2021-05-24T16:09:28.723" v="16707" actId="790"/>
          <ac:spMkLst>
            <pc:docMk/>
            <pc:sldMk cId="946667118" sldId="10451"/>
            <ac:spMk id="95" creationId="{D6DD3635-D8C4-4356-8D38-A092F5B54338}"/>
          </ac:spMkLst>
        </pc:spChg>
        <pc:spChg chg="mod">
          <ac:chgData name="Sarah GAUVARD" userId="4c03e191-e154-482a-88b2-11de19eac96c" providerId="ADAL" clId="{8245CC27-65FB-483E-B8E7-D04039DBA80D}" dt="2021-05-24T16:09:28.723" v="16708" actId="790"/>
          <ac:spMkLst>
            <pc:docMk/>
            <pc:sldMk cId="946667118" sldId="10451"/>
            <ac:spMk id="96" creationId="{3AAADA7A-9ABC-4FE7-9FC3-252DBD9FBA26}"/>
          </ac:spMkLst>
        </pc:spChg>
        <pc:spChg chg="mod">
          <ac:chgData name="Sarah GAUVARD" userId="4c03e191-e154-482a-88b2-11de19eac96c" providerId="ADAL" clId="{8245CC27-65FB-483E-B8E7-D04039DBA80D}" dt="2021-05-24T16:09:28.723" v="16709" actId="790"/>
          <ac:spMkLst>
            <pc:docMk/>
            <pc:sldMk cId="946667118" sldId="10451"/>
            <ac:spMk id="97" creationId="{9DEA2FC9-E544-4C7E-A8E7-A6BBC41C266D}"/>
          </ac:spMkLst>
        </pc:spChg>
        <pc:spChg chg="mod">
          <ac:chgData name="Sarah GAUVARD" userId="4c03e191-e154-482a-88b2-11de19eac96c" providerId="ADAL" clId="{8245CC27-65FB-483E-B8E7-D04039DBA80D}" dt="2021-05-24T16:09:28.725" v="16710" actId="790"/>
          <ac:spMkLst>
            <pc:docMk/>
            <pc:sldMk cId="946667118" sldId="10451"/>
            <ac:spMk id="98" creationId="{A8335C43-B2C8-45C7-9493-1227FD0EFBD4}"/>
          </ac:spMkLst>
        </pc:spChg>
        <pc:spChg chg="mod">
          <ac:chgData name="Sarah GAUVARD" userId="4c03e191-e154-482a-88b2-11de19eac96c" providerId="ADAL" clId="{8245CC27-65FB-483E-B8E7-D04039DBA80D}" dt="2021-05-24T16:09:28.725" v="16711" actId="790"/>
          <ac:spMkLst>
            <pc:docMk/>
            <pc:sldMk cId="946667118" sldId="10451"/>
            <ac:spMk id="99" creationId="{BBF0B7C7-34C0-457C-AB36-80E0926AFC06}"/>
          </ac:spMkLst>
        </pc:spChg>
        <pc:graphicFrameChg chg="mod">
          <ac:chgData name="Sarah GAUVARD" userId="4c03e191-e154-482a-88b2-11de19eac96c" providerId="ADAL" clId="{8245CC27-65FB-483E-B8E7-D04039DBA80D}" dt="2021-05-24T15:34:45.905" v="11778"/>
          <ac:graphicFrameMkLst>
            <pc:docMk/>
            <pc:sldMk cId="946667118" sldId="10451"/>
            <ac:graphicFrameMk id="12" creationId="{F79979F6-AFE0-4EE6-B52C-09A6D4303B52}"/>
          </ac:graphicFrameMkLst>
        </pc:graphicFrameChg>
        <pc:picChg chg="add mod">
          <ac:chgData name="Sarah GAUVARD" userId="4c03e191-e154-482a-88b2-11de19eac96c" providerId="ADAL" clId="{8245CC27-65FB-483E-B8E7-D04039DBA80D}" dt="2021-05-24T12:18:50.301" v="3173" actId="1076"/>
          <ac:picMkLst>
            <pc:docMk/>
            <pc:sldMk cId="946667118" sldId="10451"/>
            <ac:picMk id="45" creationId="{9D522030-54BE-415E-BC5E-505143A0D8DF}"/>
          </ac:picMkLst>
        </pc:picChg>
        <pc:picChg chg="add mod">
          <ac:chgData name="Sarah GAUVARD" userId="4c03e191-e154-482a-88b2-11de19eac96c" providerId="ADAL" clId="{8245CC27-65FB-483E-B8E7-D04039DBA80D}" dt="2021-05-24T12:19:17.720" v="3229" actId="1076"/>
          <ac:picMkLst>
            <pc:docMk/>
            <pc:sldMk cId="946667118" sldId="10451"/>
            <ac:picMk id="46" creationId="{99180F55-C66E-4381-BFBD-699263D96549}"/>
          </ac:picMkLst>
        </pc:picChg>
        <pc:picChg chg="add mod">
          <ac:chgData name="Sarah GAUVARD" userId="4c03e191-e154-482a-88b2-11de19eac96c" providerId="ADAL" clId="{8245CC27-65FB-483E-B8E7-D04039DBA80D}" dt="2021-05-24T12:20:31.810" v="3234" actId="571"/>
          <ac:picMkLst>
            <pc:docMk/>
            <pc:sldMk cId="946667118" sldId="10451"/>
            <ac:picMk id="48" creationId="{F899D9C6-0E0E-4438-B8F2-EE00C9CCD0A2}"/>
          </ac:picMkLst>
        </pc:picChg>
      </pc:sldChg>
      <pc:sldChg chg="addSp delSp modSp mod">
        <pc:chgData name="Sarah GAUVARD" userId="4c03e191-e154-482a-88b2-11de19eac96c" providerId="ADAL" clId="{8245CC27-65FB-483E-B8E7-D04039DBA80D}" dt="2021-05-25T11:03:41.750" v="19681" actId="20577"/>
        <pc:sldMkLst>
          <pc:docMk/>
          <pc:sldMk cId="3108913814" sldId="10452"/>
        </pc:sldMkLst>
        <pc:spChg chg="mod">
          <ac:chgData name="Sarah GAUVARD" userId="4c03e191-e154-482a-88b2-11de19eac96c" providerId="ADAL" clId="{8245CC27-65FB-483E-B8E7-D04039DBA80D}" dt="2021-05-24T16:09:28.905" v="16887" actId="790"/>
          <ac:spMkLst>
            <pc:docMk/>
            <pc:sldMk cId="3108913814" sldId="10452"/>
            <ac:spMk id="2" creationId="{18B86666-70E5-4DDB-BE3A-A1A5EE6EC10B}"/>
          </ac:spMkLst>
        </pc:spChg>
        <pc:spChg chg="add del mod modVis">
          <ac:chgData name="Sarah GAUVARD" userId="4c03e191-e154-482a-88b2-11de19eac96c" providerId="ADAL" clId="{8245CC27-65FB-483E-B8E7-D04039DBA80D}" dt="2021-05-24T15:34:46.555" v="12104"/>
          <ac:spMkLst>
            <pc:docMk/>
            <pc:sldMk cId="3108913814" sldId="10452"/>
            <ac:spMk id="4" creationId="{0DA13F33-0169-4CCC-839D-510A108EB029}"/>
          </ac:spMkLst>
        </pc:spChg>
        <pc:spChg chg="mod">
          <ac:chgData name="Sarah GAUVARD" userId="4c03e191-e154-482a-88b2-11de19eac96c" providerId="ADAL" clId="{8245CC27-65FB-483E-B8E7-D04039DBA80D}" dt="2021-05-24T16:09:28.905" v="16888" actId="790"/>
          <ac:spMkLst>
            <pc:docMk/>
            <pc:sldMk cId="3108913814" sldId="10452"/>
            <ac:spMk id="21" creationId="{376D56F4-F25E-4D83-8351-4EB604D803E7}"/>
          </ac:spMkLst>
        </pc:spChg>
        <pc:spChg chg="mod">
          <ac:chgData name="Sarah GAUVARD" userId="4c03e191-e154-482a-88b2-11de19eac96c" providerId="ADAL" clId="{8245CC27-65FB-483E-B8E7-D04039DBA80D}" dt="2021-05-24T16:09:28.907" v="16889" actId="790"/>
          <ac:spMkLst>
            <pc:docMk/>
            <pc:sldMk cId="3108913814" sldId="10452"/>
            <ac:spMk id="23" creationId="{96C8F86D-3456-4E1A-9A38-058BB931B01D}"/>
          </ac:spMkLst>
        </pc:spChg>
        <pc:spChg chg="mod">
          <ac:chgData name="Sarah GAUVARD" userId="4c03e191-e154-482a-88b2-11de19eac96c" providerId="ADAL" clId="{8245CC27-65FB-483E-B8E7-D04039DBA80D}" dt="2021-05-24T15:30:48.824" v="5926" actId="1076"/>
          <ac:spMkLst>
            <pc:docMk/>
            <pc:sldMk cId="3108913814" sldId="10452"/>
            <ac:spMk id="24" creationId="{6A4E0327-FA70-486A-9B21-9141D44F6444}"/>
          </ac:spMkLst>
        </pc:spChg>
        <pc:spChg chg="mod">
          <ac:chgData name="Sarah GAUVARD" userId="4c03e191-e154-482a-88b2-11de19eac96c" providerId="ADAL" clId="{8245CC27-65FB-483E-B8E7-D04039DBA80D}" dt="2021-05-25T11:00:50.406" v="19652" actId="20577"/>
          <ac:spMkLst>
            <pc:docMk/>
            <pc:sldMk cId="3108913814" sldId="10452"/>
            <ac:spMk id="25" creationId="{A24A8565-A5A0-42E3-A297-290DCE3B3F2D}"/>
          </ac:spMkLst>
        </pc:spChg>
        <pc:spChg chg="mod">
          <ac:chgData name="Sarah GAUVARD" userId="4c03e191-e154-482a-88b2-11de19eac96c" providerId="ADAL" clId="{8245CC27-65FB-483E-B8E7-D04039DBA80D}" dt="2021-05-25T11:01:18.480" v="19654" actId="207"/>
          <ac:spMkLst>
            <pc:docMk/>
            <pc:sldMk cId="3108913814" sldId="10452"/>
            <ac:spMk id="26" creationId="{28DA96F7-E2C7-4A2D-AA69-1753555D7016}"/>
          </ac:spMkLst>
        </pc:spChg>
        <pc:spChg chg="mod">
          <ac:chgData name="Sarah GAUVARD" userId="4c03e191-e154-482a-88b2-11de19eac96c" providerId="ADAL" clId="{8245CC27-65FB-483E-B8E7-D04039DBA80D}" dt="2021-05-24T16:09:28.907" v="16892" actId="790"/>
          <ac:spMkLst>
            <pc:docMk/>
            <pc:sldMk cId="3108913814" sldId="10452"/>
            <ac:spMk id="27" creationId="{E9730100-5BE1-474F-801F-EA2F826D0D02}"/>
          </ac:spMkLst>
        </pc:spChg>
        <pc:spChg chg="del mod">
          <ac:chgData name="Sarah GAUVARD" userId="4c03e191-e154-482a-88b2-11de19eac96c" providerId="ADAL" clId="{8245CC27-65FB-483E-B8E7-D04039DBA80D}" dt="2021-05-25T10:58:59.427" v="19603" actId="478"/>
          <ac:spMkLst>
            <pc:docMk/>
            <pc:sldMk cId="3108913814" sldId="10452"/>
            <ac:spMk id="28" creationId="{018147EB-4BD0-4E0A-A4A6-8DAAA4CC078C}"/>
          </ac:spMkLst>
        </pc:spChg>
        <pc:spChg chg="del">
          <ac:chgData name="Sarah GAUVARD" userId="4c03e191-e154-482a-88b2-11de19eac96c" providerId="ADAL" clId="{8245CC27-65FB-483E-B8E7-D04039DBA80D}" dt="2021-05-24T12:21:55.785" v="3236" actId="478"/>
          <ac:spMkLst>
            <pc:docMk/>
            <pc:sldMk cId="3108913814" sldId="10452"/>
            <ac:spMk id="29" creationId="{6559FD51-C702-4EEE-9BC7-9DE99D1419B7}"/>
          </ac:spMkLst>
        </pc:spChg>
        <pc:spChg chg="mod">
          <ac:chgData name="Sarah GAUVARD" userId="4c03e191-e154-482a-88b2-11de19eac96c" providerId="ADAL" clId="{8245CC27-65FB-483E-B8E7-D04039DBA80D}" dt="2021-05-25T11:02:14.865" v="19672" actId="14100"/>
          <ac:spMkLst>
            <pc:docMk/>
            <pc:sldMk cId="3108913814" sldId="10452"/>
            <ac:spMk id="30" creationId="{8001DDD6-9CE5-4D0C-8EC0-91BDDE316A5D}"/>
          </ac:spMkLst>
        </pc:spChg>
        <pc:spChg chg="mod">
          <ac:chgData name="Sarah GAUVARD" userId="4c03e191-e154-482a-88b2-11de19eac96c" providerId="ADAL" clId="{8245CC27-65FB-483E-B8E7-D04039DBA80D}" dt="2021-05-25T11:02:05.691" v="19671" actId="20577"/>
          <ac:spMkLst>
            <pc:docMk/>
            <pc:sldMk cId="3108913814" sldId="10452"/>
            <ac:spMk id="31" creationId="{603FA0EC-0C51-418F-BA57-6852A8F6B5EC}"/>
          </ac:spMkLst>
        </pc:spChg>
        <pc:spChg chg="mod">
          <ac:chgData name="Sarah GAUVARD" userId="4c03e191-e154-482a-88b2-11de19eac96c" providerId="ADAL" clId="{8245CC27-65FB-483E-B8E7-D04039DBA80D}" dt="2021-05-25T11:02:53.184" v="19676" actId="207"/>
          <ac:spMkLst>
            <pc:docMk/>
            <pc:sldMk cId="3108913814" sldId="10452"/>
            <ac:spMk id="32" creationId="{35FE32B4-8DEE-4D93-8A61-A88C1714C5E9}"/>
          </ac:spMkLst>
        </pc:spChg>
        <pc:spChg chg="mod">
          <ac:chgData name="Sarah GAUVARD" userId="4c03e191-e154-482a-88b2-11de19eac96c" providerId="ADAL" clId="{8245CC27-65FB-483E-B8E7-D04039DBA80D}" dt="2021-05-25T11:02:21.497" v="19673" actId="1076"/>
          <ac:spMkLst>
            <pc:docMk/>
            <pc:sldMk cId="3108913814" sldId="10452"/>
            <ac:spMk id="35" creationId="{31FEC7BE-AF8D-439B-B45F-7647E4E57CE3}"/>
          </ac:spMkLst>
        </pc:spChg>
        <pc:spChg chg="mod">
          <ac:chgData name="Sarah GAUVARD" userId="4c03e191-e154-482a-88b2-11de19eac96c" providerId="ADAL" clId="{8245CC27-65FB-483E-B8E7-D04039DBA80D}" dt="2021-05-24T16:09:28.937" v="16911" actId="790"/>
          <ac:spMkLst>
            <pc:docMk/>
            <pc:sldMk cId="3108913814" sldId="10452"/>
            <ac:spMk id="36" creationId="{8C83F8F4-BA09-480F-A569-7FF0322E6749}"/>
          </ac:spMkLst>
        </pc:spChg>
        <pc:spChg chg="mod">
          <ac:chgData name="Sarah GAUVARD" userId="4c03e191-e154-482a-88b2-11de19eac96c" providerId="ADAL" clId="{8245CC27-65FB-483E-B8E7-D04039DBA80D}" dt="2021-05-25T11:03:31.370" v="19678" actId="207"/>
          <ac:spMkLst>
            <pc:docMk/>
            <pc:sldMk cId="3108913814" sldId="10452"/>
            <ac:spMk id="37" creationId="{4C0A9B24-29D4-44A2-B4EE-251402C6EAED}"/>
          </ac:spMkLst>
        </pc:spChg>
        <pc:spChg chg="mod">
          <ac:chgData name="Sarah GAUVARD" userId="4c03e191-e154-482a-88b2-11de19eac96c" providerId="ADAL" clId="{8245CC27-65FB-483E-B8E7-D04039DBA80D}" dt="2021-05-25T11:03:41.750" v="19681" actId="20577"/>
          <ac:spMkLst>
            <pc:docMk/>
            <pc:sldMk cId="3108913814" sldId="10452"/>
            <ac:spMk id="38" creationId="{7C36D82C-A126-4E16-8729-C5D8C53B2882}"/>
          </ac:spMkLst>
        </pc:spChg>
        <pc:spChg chg="mod">
          <ac:chgData name="Sarah GAUVARD" userId="4c03e191-e154-482a-88b2-11de19eac96c" providerId="ADAL" clId="{8245CC27-65FB-483E-B8E7-D04039DBA80D}" dt="2021-05-24T16:09:28.927" v="16900" actId="790"/>
          <ac:spMkLst>
            <pc:docMk/>
            <pc:sldMk cId="3108913814" sldId="10452"/>
            <ac:spMk id="39" creationId="{7EF8488B-74C4-4436-B13F-C414A9E4A12B}"/>
          </ac:spMkLst>
        </pc:spChg>
        <pc:spChg chg="mod">
          <ac:chgData name="Sarah GAUVARD" userId="4c03e191-e154-482a-88b2-11de19eac96c" providerId="ADAL" clId="{8245CC27-65FB-483E-B8E7-D04039DBA80D}" dt="2021-05-24T16:09:28.927" v="16901" actId="790"/>
          <ac:spMkLst>
            <pc:docMk/>
            <pc:sldMk cId="3108913814" sldId="10452"/>
            <ac:spMk id="40" creationId="{74209801-38CE-4C71-8B6B-5A90ABA78849}"/>
          </ac:spMkLst>
        </pc:spChg>
        <pc:spChg chg="mod">
          <ac:chgData name="Sarah GAUVARD" userId="4c03e191-e154-482a-88b2-11de19eac96c" providerId="ADAL" clId="{8245CC27-65FB-483E-B8E7-D04039DBA80D}" dt="2021-05-24T16:09:28.939" v="16912" actId="790"/>
          <ac:spMkLst>
            <pc:docMk/>
            <pc:sldMk cId="3108913814" sldId="10452"/>
            <ac:spMk id="41" creationId="{C3BE5946-4EA9-4EBA-98B3-2E7B4346CC7B}"/>
          </ac:spMkLst>
        </pc:spChg>
        <pc:spChg chg="mod">
          <ac:chgData name="Sarah GAUVARD" userId="4c03e191-e154-482a-88b2-11de19eac96c" providerId="ADAL" clId="{8245CC27-65FB-483E-B8E7-D04039DBA80D}" dt="2021-05-24T16:09:28.927" v="16902" actId="790"/>
          <ac:spMkLst>
            <pc:docMk/>
            <pc:sldMk cId="3108913814" sldId="10452"/>
            <ac:spMk id="42" creationId="{9BEA6BB3-7823-46B7-8F99-978C58F27994}"/>
          </ac:spMkLst>
        </pc:spChg>
        <pc:spChg chg="mod">
          <ac:chgData name="Sarah GAUVARD" userId="4c03e191-e154-482a-88b2-11de19eac96c" providerId="ADAL" clId="{8245CC27-65FB-483E-B8E7-D04039DBA80D}" dt="2021-05-24T16:09:28.927" v="16903" actId="790"/>
          <ac:spMkLst>
            <pc:docMk/>
            <pc:sldMk cId="3108913814" sldId="10452"/>
            <ac:spMk id="43" creationId="{3509C0CA-6733-47F1-9C68-36F5A76A186F}"/>
          </ac:spMkLst>
        </pc:spChg>
        <pc:spChg chg="mod">
          <ac:chgData name="Sarah GAUVARD" userId="4c03e191-e154-482a-88b2-11de19eac96c" providerId="ADAL" clId="{8245CC27-65FB-483E-B8E7-D04039DBA80D}" dt="2021-05-24T16:09:28.927" v="16904" actId="790"/>
          <ac:spMkLst>
            <pc:docMk/>
            <pc:sldMk cId="3108913814" sldId="10452"/>
            <ac:spMk id="44" creationId="{028D5372-11E0-4B6A-AB4E-2F0E62DBE004}"/>
          </ac:spMkLst>
        </pc:spChg>
        <pc:spChg chg="mod">
          <ac:chgData name="Sarah GAUVARD" userId="4c03e191-e154-482a-88b2-11de19eac96c" providerId="ADAL" clId="{8245CC27-65FB-483E-B8E7-D04039DBA80D}" dt="2021-05-24T16:09:28.939" v="16913" actId="790"/>
          <ac:spMkLst>
            <pc:docMk/>
            <pc:sldMk cId="3108913814" sldId="10452"/>
            <ac:spMk id="45" creationId="{FC7F3CBE-50A4-4309-934B-40D538D276D4}"/>
          </ac:spMkLst>
        </pc:spChg>
        <pc:spChg chg="mod">
          <ac:chgData name="Sarah GAUVARD" userId="4c03e191-e154-482a-88b2-11de19eac96c" providerId="ADAL" clId="{8245CC27-65FB-483E-B8E7-D04039DBA80D}" dt="2021-05-24T16:09:28.927" v="16905" actId="790"/>
          <ac:spMkLst>
            <pc:docMk/>
            <pc:sldMk cId="3108913814" sldId="10452"/>
            <ac:spMk id="47" creationId="{2F353796-1633-4991-91E9-0DDC0C5F8959}"/>
          </ac:spMkLst>
        </pc:spChg>
        <pc:spChg chg="mod">
          <ac:chgData name="Sarah GAUVARD" userId="4c03e191-e154-482a-88b2-11de19eac96c" providerId="ADAL" clId="{8245CC27-65FB-483E-B8E7-D04039DBA80D}" dt="2021-05-24T16:09:28.939" v="16914" actId="790"/>
          <ac:spMkLst>
            <pc:docMk/>
            <pc:sldMk cId="3108913814" sldId="10452"/>
            <ac:spMk id="48" creationId="{C9DB6ADF-62CD-463C-9E75-FDF7C77CFBF9}"/>
          </ac:spMkLst>
        </pc:spChg>
        <pc:spChg chg="mod">
          <ac:chgData name="Sarah GAUVARD" userId="4c03e191-e154-482a-88b2-11de19eac96c" providerId="ADAL" clId="{8245CC27-65FB-483E-B8E7-D04039DBA80D}" dt="2021-05-24T16:09:28.939" v="16915" actId="790"/>
          <ac:spMkLst>
            <pc:docMk/>
            <pc:sldMk cId="3108913814" sldId="10452"/>
            <ac:spMk id="49" creationId="{1AE7A9CB-1EFB-49E9-9FE7-187AFF31426B}"/>
          </ac:spMkLst>
        </pc:spChg>
        <pc:spChg chg="mod">
          <ac:chgData name="Sarah GAUVARD" userId="4c03e191-e154-482a-88b2-11de19eac96c" providerId="ADAL" clId="{8245CC27-65FB-483E-B8E7-D04039DBA80D}" dt="2021-05-24T16:09:28.939" v="16916" actId="790"/>
          <ac:spMkLst>
            <pc:docMk/>
            <pc:sldMk cId="3108913814" sldId="10452"/>
            <ac:spMk id="50" creationId="{5E014CA6-C9F2-4731-A89D-FBE8ED541A6F}"/>
          </ac:spMkLst>
        </pc:spChg>
        <pc:spChg chg="mod">
          <ac:chgData name="Sarah GAUVARD" userId="4c03e191-e154-482a-88b2-11de19eac96c" providerId="ADAL" clId="{8245CC27-65FB-483E-B8E7-D04039DBA80D}" dt="2021-05-24T16:09:28.939" v="16917" actId="790"/>
          <ac:spMkLst>
            <pc:docMk/>
            <pc:sldMk cId="3108913814" sldId="10452"/>
            <ac:spMk id="51" creationId="{1B69EFAE-FB0C-427E-924E-3C156D413FCD}"/>
          </ac:spMkLst>
        </pc:spChg>
        <pc:spChg chg="mod">
          <ac:chgData name="Sarah GAUVARD" userId="4c03e191-e154-482a-88b2-11de19eac96c" providerId="ADAL" clId="{8245CC27-65FB-483E-B8E7-D04039DBA80D}" dt="2021-05-24T16:09:28.939" v="16918" actId="790"/>
          <ac:spMkLst>
            <pc:docMk/>
            <pc:sldMk cId="3108913814" sldId="10452"/>
            <ac:spMk id="52" creationId="{61B86BC1-C806-4252-B5F0-E2F5CBA35260}"/>
          </ac:spMkLst>
        </pc:spChg>
        <pc:spChg chg="mod">
          <ac:chgData name="Sarah GAUVARD" userId="4c03e191-e154-482a-88b2-11de19eac96c" providerId="ADAL" clId="{8245CC27-65FB-483E-B8E7-D04039DBA80D}" dt="2021-05-24T16:09:28.939" v="16919" actId="790"/>
          <ac:spMkLst>
            <pc:docMk/>
            <pc:sldMk cId="3108913814" sldId="10452"/>
            <ac:spMk id="53" creationId="{DC17EEC7-F210-49D9-8893-E87D82ACBC32}"/>
          </ac:spMkLst>
        </pc:spChg>
        <pc:spChg chg="add mod">
          <ac:chgData name="Sarah GAUVARD" userId="4c03e191-e154-482a-88b2-11de19eac96c" providerId="ADAL" clId="{8245CC27-65FB-483E-B8E7-D04039DBA80D}" dt="2021-05-24T15:17:38.146" v="5340" actId="571"/>
          <ac:spMkLst>
            <pc:docMk/>
            <pc:sldMk cId="3108913814" sldId="10452"/>
            <ac:spMk id="54" creationId="{212D8129-6E99-4A9E-B8C6-4ACF3E28D979}"/>
          </ac:spMkLst>
        </pc:spChg>
        <pc:spChg chg="add mod">
          <ac:chgData name="Sarah GAUVARD" userId="4c03e191-e154-482a-88b2-11de19eac96c" providerId="ADAL" clId="{8245CC27-65FB-483E-B8E7-D04039DBA80D}" dt="2021-05-25T11:02:21.497" v="19673" actId="1076"/>
          <ac:spMkLst>
            <pc:docMk/>
            <pc:sldMk cId="3108913814" sldId="10452"/>
            <ac:spMk id="55" creationId="{EC3F5A66-E68B-43A0-93DB-3B430BCA31D5}"/>
          </ac:spMkLst>
        </pc:spChg>
        <pc:spChg chg="add mod">
          <ac:chgData name="Sarah GAUVARD" userId="4c03e191-e154-482a-88b2-11de19eac96c" providerId="ADAL" clId="{8245CC27-65FB-483E-B8E7-D04039DBA80D}" dt="2021-05-24T16:09:28.939" v="16921" actId="790"/>
          <ac:spMkLst>
            <pc:docMk/>
            <pc:sldMk cId="3108913814" sldId="10452"/>
            <ac:spMk id="56" creationId="{A0A342E7-603A-4DC0-8BAA-F02E91E5BAFF}"/>
          </ac:spMkLst>
        </pc:spChg>
        <pc:spChg chg="add mod">
          <ac:chgData name="Sarah GAUVARD" userId="4c03e191-e154-482a-88b2-11de19eac96c" providerId="ADAL" clId="{8245CC27-65FB-483E-B8E7-D04039DBA80D}" dt="2021-05-25T11:00:30.399" v="19613" actId="207"/>
          <ac:spMkLst>
            <pc:docMk/>
            <pc:sldMk cId="3108913814" sldId="10452"/>
            <ac:spMk id="57" creationId="{FCC17861-B572-44BC-8BFD-408331CF20AB}"/>
          </ac:spMkLst>
        </pc:spChg>
        <pc:spChg chg="add mod">
          <ac:chgData name="Sarah GAUVARD" userId="4c03e191-e154-482a-88b2-11de19eac96c" providerId="ADAL" clId="{8245CC27-65FB-483E-B8E7-D04039DBA80D}" dt="2021-05-25T10:59:57.579" v="19612" actId="207"/>
          <ac:spMkLst>
            <pc:docMk/>
            <pc:sldMk cId="3108913814" sldId="10452"/>
            <ac:spMk id="58" creationId="{B7E2878B-58C4-44AD-B210-B9058F3C47A8}"/>
          </ac:spMkLst>
        </pc:spChg>
        <pc:spChg chg="add mod">
          <ac:chgData name="Sarah GAUVARD" userId="4c03e191-e154-482a-88b2-11de19eac96c" providerId="ADAL" clId="{8245CC27-65FB-483E-B8E7-D04039DBA80D}" dt="2021-05-24T16:09:28.947" v="16924" actId="790"/>
          <ac:spMkLst>
            <pc:docMk/>
            <pc:sldMk cId="3108913814" sldId="10452"/>
            <ac:spMk id="60" creationId="{8C322FD7-EE8D-43A1-8A57-CB95167019D5}"/>
          </ac:spMkLst>
        </pc:spChg>
        <pc:spChg chg="mod">
          <ac:chgData name="Sarah GAUVARD" userId="4c03e191-e154-482a-88b2-11de19eac96c" providerId="ADAL" clId="{8245CC27-65FB-483E-B8E7-D04039DBA80D}" dt="2021-05-24T16:09:28.927" v="16906" actId="790"/>
          <ac:spMkLst>
            <pc:docMk/>
            <pc:sldMk cId="3108913814" sldId="10452"/>
            <ac:spMk id="67" creationId="{50469B1F-7CD7-49B6-AC12-1AF7D67AA284}"/>
          </ac:spMkLst>
        </pc:spChg>
        <pc:spChg chg="mod">
          <ac:chgData name="Sarah GAUVARD" userId="4c03e191-e154-482a-88b2-11de19eac96c" providerId="ADAL" clId="{8245CC27-65FB-483E-B8E7-D04039DBA80D}" dt="2021-05-24T16:09:28.927" v="16907" actId="790"/>
          <ac:spMkLst>
            <pc:docMk/>
            <pc:sldMk cId="3108913814" sldId="10452"/>
            <ac:spMk id="69" creationId="{8CACD0F1-78C5-47DF-9B55-97782025F6F1}"/>
          </ac:spMkLst>
        </pc:spChg>
        <pc:spChg chg="mod">
          <ac:chgData name="Sarah GAUVARD" userId="4c03e191-e154-482a-88b2-11de19eac96c" providerId="ADAL" clId="{8245CC27-65FB-483E-B8E7-D04039DBA80D}" dt="2021-05-24T16:09:28.935" v="16908" actId="790"/>
          <ac:spMkLst>
            <pc:docMk/>
            <pc:sldMk cId="3108913814" sldId="10452"/>
            <ac:spMk id="74" creationId="{878D71E6-9162-44C2-B9C4-B3270F9F1662}"/>
          </ac:spMkLst>
        </pc:spChg>
        <pc:spChg chg="mod">
          <ac:chgData name="Sarah GAUVARD" userId="4c03e191-e154-482a-88b2-11de19eac96c" providerId="ADAL" clId="{8245CC27-65FB-483E-B8E7-D04039DBA80D}" dt="2021-05-24T16:09:28.937" v="16909" actId="790"/>
          <ac:spMkLst>
            <pc:docMk/>
            <pc:sldMk cId="3108913814" sldId="10452"/>
            <ac:spMk id="75" creationId="{4F7820F8-458C-4E27-9B06-2683EAFC9132}"/>
          </ac:spMkLst>
        </pc:spChg>
        <pc:spChg chg="mod">
          <ac:chgData name="Sarah GAUVARD" userId="4c03e191-e154-482a-88b2-11de19eac96c" providerId="ADAL" clId="{8245CC27-65FB-483E-B8E7-D04039DBA80D}" dt="2021-05-24T16:09:28.937" v="16910" actId="790"/>
          <ac:spMkLst>
            <pc:docMk/>
            <pc:sldMk cId="3108913814" sldId="10452"/>
            <ac:spMk id="76" creationId="{7E569FB1-5338-4D77-B044-98449E372EA0}"/>
          </ac:spMkLst>
        </pc:spChg>
        <pc:graphicFrameChg chg="mod">
          <ac:chgData name="Sarah GAUVARD" userId="4c03e191-e154-482a-88b2-11de19eac96c" providerId="ADAL" clId="{8245CC27-65FB-483E-B8E7-D04039DBA80D}" dt="2021-05-24T15:34:46.560" v="12106"/>
          <ac:graphicFrameMkLst>
            <pc:docMk/>
            <pc:sldMk cId="3108913814" sldId="10452"/>
            <ac:graphicFrameMk id="3" creationId="{87EF2AE4-3F26-4C03-A1FB-373C7EF60D19}"/>
          </ac:graphicFrameMkLst>
        </pc:graphicFrameChg>
        <pc:picChg chg="mod">
          <ac:chgData name="Sarah GAUVARD" userId="4c03e191-e154-482a-88b2-11de19eac96c" providerId="ADAL" clId="{8245CC27-65FB-483E-B8E7-D04039DBA80D}" dt="2021-05-24T15:24:41.557" v="5525" actId="1076"/>
          <ac:picMkLst>
            <pc:docMk/>
            <pc:sldMk cId="3108913814" sldId="10452"/>
            <ac:picMk id="22" creationId="{61CAEED4-4130-47C9-87C5-EDFC1C25FD6F}"/>
          </ac:picMkLst>
        </pc:picChg>
        <pc:picChg chg="add mod">
          <ac:chgData name="Sarah GAUVARD" userId="4c03e191-e154-482a-88b2-11de19eac96c" providerId="ADAL" clId="{8245CC27-65FB-483E-B8E7-D04039DBA80D}" dt="2021-05-24T15:30:13.301" v="5923" actId="1076"/>
          <ac:picMkLst>
            <pc:docMk/>
            <pc:sldMk cId="3108913814" sldId="10452"/>
            <ac:picMk id="59" creationId="{4A5A5546-35BC-4A68-8F8E-BC535C0E518B}"/>
          </ac:picMkLst>
        </pc:picChg>
        <pc:picChg chg="del">
          <ac:chgData name="Sarah GAUVARD" userId="4c03e191-e154-482a-88b2-11de19eac96c" providerId="ADAL" clId="{8245CC27-65FB-483E-B8E7-D04039DBA80D}" dt="2021-05-24T15:18:57.835" v="5494" actId="478"/>
          <ac:picMkLst>
            <pc:docMk/>
            <pc:sldMk cId="3108913814" sldId="10452"/>
            <ac:picMk id="78" creationId="{D20AC9E6-1703-4251-9FA2-69744E9692F0}"/>
          </ac:picMkLst>
        </pc:picChg>
        <pc:cxnChg chg="mod">
          <ac:chgData name="Sarah GAUVARD" userId="4c03e191-e154-482a-88b2-11de19eac96c" providerId="ADAL" clId="{8245CC27-65FB-483E-B8E7-D04039DBA80D}" dt="2021-05-25T10:57:20.869" v="19601" actId="1076"/>
          <ac:cxnSpMkLst>
            <pc:docMk/>
            <pc:sldMk cId="3108913814" sldId="10452"/>
            <ac:cxnSpMk id="34" creationId="{D9617570-8113-4A23-B1CA-140D3760DF39}"/>
          </ac:cxnSpMkLst>
        </pc:cxnChg>
        <pc:cxnChg chg="mod">
          <ac:chgData name="Sarah GAUVARD" userId="4c03e191-e154-482a-88b2-11de19eac96c" providerId="ADAL" clId="{8245CC27-65FB-483E-B8E7-D04039DBA80D}" dt="2021-05-24T15:24:41.557" v="5525" actId="1076"/>
          <ac:cxnSpMkLst>
            <pc:docMk/>
            <pc:sldMk cId="3108913814" sldId="10452"/>
            <ac:cxnSpMk id="62" creationId="{AD4EF0DB-8192-4E09-B4A7-78454921EC41}"/>
          </ac:cxnSpMkLst>
        </pc:cxnChg>
        <pc:cxnChg chg="mod">
          <ac:chgData name="Sarah GAUVARD" userId="4c03e191-e154-482a-88b2-11de19eac96c" providerId="ADAL" clId="{8245CC27-65FB-483E-B8E7-D04039DBA80D}" dt="2021-05-24T15:24:41.557" v="5525" actId="1076"/>
          <ac:cxnSpMkLst>
            <pc:docMk/>
            <pc:sldMk cId="3108913814" sldId="10452"/>
            <ac:cxnSpMk id="64" creationId="{E5584EA8-2108-41D9-A5DA-6EEBC37C14AD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5T07:48:51.047" v="17628" actId="21"/>
        <pc:sldMkLst>
          <pc:docMk/>
          <pc:sldMk cId="3177853375" sldId="10454"/>
        </pc:sldMkLst>
        <pc:spChg chg="add del mod modVis">
          <ac:chgData name="Sarah GAUVARD" userId="4c03e191-e154-482a-88b2-11de19eac96c" providerId="ADAL" clId="{8245CC27-65FB-483E-B8E7-D04039DBA80D}" dt="2021-05-24T15:34:45.912" v="11784"/>
          <ac:spMkLst>
            <pc:docMk/>
            <pc:sldMk cId="3177853375" sldId="10454"/>
            <ac:spMk id="2" creationId="{6907F644-1E29-4C47-9581-6E5841F453BC}"/>
          </ac:spMkLst>
        </pc:spChg>
        <pc:spChg chg="mod">
          <ac:chgData name="Sarah GAUVARD" userId="4c03e191-e154-482a-88b2-11de19eac96c" providerId="ADAL" clId="{8245CC27-65FB-483E-B8E7-D04039DBA80D}" dt="2021-05-24T16:09:28.725" v="16712" actId="790"/>
          <ac:spMkLst>
            <pc:docMk/>
            <pc:sldMk cId="3177853375" sldId="10454"/>
            <ac:spMk id="9" creationId="{D4C396AB-A618-464F-94D0-FDF3162C882F}"/>
          </ac:spMkLst>
        </pc:spChg>
        <pc:spChg chg="mod">
          <ac:chgData name="Sarah GAUVARD" userId="4c03e191-e154-482a-88b2-11de19eac96c" providerId="ADAL" clId="{8245CC27-65FB-483E-B8E7-D04039DBA80D}" dt="2021-05-24T16:09:28.725" v="16713" actId="790"/>
          <ac:spMkLst>
            <pc:docMk/>
            <pc:sldMk cId="3177853375" sldId="10454"/>
            <ac:spMk id="10" creationId="{26804255-20E5-4E94-A4F5-920E329EFCF5}"/>
          </ac:spMkLst>
        </pc:spChg>
        <pc:spChg chg="mod">
          <ac:chgData name="Sarah GAUVARD" userId="4c03e191-e154-482a-88b2-11de19eac96c" providerId="ADAL" clId="{8245CC27-65FB-483E-B8E7-D04039DBA80D}" dt="2021-05-24T16:09:28.725" v="16714" actId="790"/>
          <ac:spMkLst>
            <pc:docMk/>
            <pc:sldMk cId="3177853375" sldId="10454"/>
            <ac:spMk id="11" creationId="{366B7BDF-4463-42BD-A85C-F01387D4E694}"/>
          </ac:spMkLst>
        </pc:spChg>
        <pc:spChg chg="mod">
          <ac:chgData name="Sarah GAUVARD" userId="4c03e191-e154-482a-88b2-11de19eac96c" providerId="ADAL" clId="{8245CC27-65FB-483E-B8E7-D04039DBA80D}" dt="2021-05-24T16:09:28.725" v="16715" actId="790"/>
          <ac:spMkLst>
            <pc:docMk/>
            <pc:sldMk cId="3177853375" sldId="10454"/>
            <ac:spMk id="12" creationId="{9FC46527-9943-4603-A87B-832AB4E5463F}"/>
          </ac:spMkLst>
        </pc:spChg>
        <pc:spChg chg="mod">
          <ac:chgData name="Sarah GAUVARD" userId="4c03e191-e154-482a-88b2-11de19eac96c" providerId="ADAL" clId="{8245CC27-65FB-483E-B8E7-D04039DBA80D}" dt="2021-05-24T16:09:28.725" v="16716" actId="790"/>
          <ac:spMkLst>
            <pc:docMk/>
            <pc:sldMk cId="3177853375" sldId="10454"/>
            <ac:spMk id="13" creationId="{1B4BF4F1-8F5E-4892-AC86-2A3F1E191766}"/>
          </ac:spMkLst>
        </pc:spChg>
        <pc:spChg chg="mod">
          <ac:chgData name="Sarah GAUVARD" userId="4c03e191-e154-482a-88b2-11de19eac96c" providerId="ADAL" clId="{8245CC27-65FB-483E-B8E7-D04039DBA80D}" dt="2021-05-24T16:09:28.725" v="16717" actId="790"/>
          <ac:spMkLst>
            <pc:docMk/>
            <pc:sldMk cId="3177853375" sldId="10454"/>
            <ac:spMk id="14" creationId="{54A347A6-C1C0-427E-9F0F-E67A7A34B869}"/>
          </ac:spMkLst>
        </pc:spChg>
        <pc:spChg chg="mod">
          <ac:chgData name="Sarah GAUVARD" userId="4c03e191-e154-482a-88b2-11de19eac96c" providerId="ADAL" clId="{8245CC27-65FB-483E-B8E7-D04039DBA80D}" dt="2021-05-24T16:09:28.725" v="16718" actId="790"/>
          <ac:spMkLst>
            <pc:docMk/>
            <pc:sldMk cId="3177853375" sldId="10454"/>
            <ac:spMk id="18" creationId="{5A81D160-8721-446A-9C5E-3BA38AA2B941}"/>
          </ac:spMkLst>
        </pc:spChg>
        <pc:spChg chg="mod">
          <ac:chgData name="Sarah GAUVARD" userId="4c03e191-e154-482a-88b2-11de19eac96c" providerId="ADAL" clId="{8245CC27-65FB-483E-B8E7-D04039DBA80D}" dt="2021-05-24T16:09:28.735" v="16729" actId="790"/>
          <ac:spMkLst>
            <pc:docMk/>
            <pc:sldMk cId="3177853375" sldId="10454"/>
            <ac:spMk id="29" creationId="{453B5121-2F30-4856-BBAB-A6B2A2C01B1A}"/>
          </ac:spMkLst>
        </pc:spChg>
        <pc:spChg chg="add mod">
          <ac:chgData name="Sarah GAUVARD" userId="4c03e191-e154-482a-88b2-11de19eac96c" providerId="ADAL" clId="{8245CC27-65FB-483E-B8E7-D04039DBA80D}" dt="2021-05-24T16:09:28.735" v="16730" actId="790"/>
          <ac:spMkLst>
            <pc:docMk/>
            <pc:sldMk cId="3177853375" sldId="10454"/>
            <ac:spMk id="30" creationId="{4D7E7903-219D-47CD-B212-5CA1BC312954}"/>
          </ac:spMkLst>
        </pc:spChg>
        <pc:spChg chg="mod">
          <ac:chgData name="Sarah GAUVARD" userId="4c03e191-e154-482a-88b2-11de19eac96c" providerId="ADAL" clId="{8245CC27-65FB-483E-B8E7-D04039DBA80D}" dt="2021-05-24T16:09:28.735" v="16731" actId="790"/>
          <ac:spMkLst>
            <pc:docMk/>
            <pc:sldMk cId="3177853375" sldId="10454"/>
            <ac:spMk id="32" creationId="{3513B82D-EADB-4B0E-8C19-EAA01998F7D8}"/>
          </ac:spMkLst>
        </pc:spChg>
        <pc:spChg chg="mod">
          <ac:chgData name="Sarah GAUVARD" userId="4c03e191-e154-482a-88b2-11de19eac96c" providerId="ADAL" clId="{8245CC27-65FB-483E-B8E7-D04039DBA80D}" dt="2021-05-24T16:09:28.725" v="16719" actId="790"/>
          <ac:spMkLst>
            <pc:docMk/>
            <pc:sldMk cId="3177853375" sldId="10454"/>
            <ac:spMk id="40" creationId="{4B65849B-86CA-4D71-9950-D0231A4AC02F}"/>
          </ac:spMkLst>
        </pc:spChg>
        <pc:spChg chg="mod">
          <ac:chgData name="Sarah GAUVARD" userId="4c03e191-e154-482a-88b2-11de19eac96c" providerId="ADAL" clId="{8245CC27-65FB-483E-B8E7-D04039DBA80D}" dt="2021-05-24T16:09:28.733" v="16720" actId="790"/>
          <ac:spMkLst>
            <pc:docMk/>
            <pc:sldMk cId="3177853375" sldId="10454"/>
            <ac:spMk id="41" creationId="{41D3736C-17D5-407B-A454-92BA4EEBEE51}"/>
          </ac:spMkLst>
        </pc:spChg>
        <pc:spChg chg="mod">
          <ac:chgData name="Sarah GAUVARD" userId="4c03e191-e154-482a-88b2-11de19eac96c" providerId="ADAL" clId="{8245CC27-65FB-483E-B8E7-D04039DBA80D}" dt="2021-05-24T16:09:28.733" v="16721" actId="790"/>
          <ac:spMkLst>
            <pc:docMk/>
            <pc:sldMk cId="3177853375" sldId="10454"/>
            <ac:spMk id="42" creationId="{5985DB3D-7C62-4A85-926C-852C05193A03}"/>
          </ac:spMkLst>
        </pc:spChg>
        <pc:spChg chg="mod">
          <ac:chgData name="Sarah GAUVARD" userId="4c03e191-e154-482a-88b2-11de19eac96c" providerId="ADAL" clId="{8245CC27-65FB-483E-B8E7-D04039DBA80D}" dt="2021-05-24T16:09:28.735" v="16722" actId="790"/>
          <ac:spMkLst>
            <pc:docMk/>
            <pc:sldMk cId="3177853375" sldId="10454"/>
            <ac:spMk id="43" creationId="{C7726A82-A9BE-4C03-AB6C-1A867B76F0A5}"/>
          </ac:spMkLst>
        </pc:spChg>
        <pc:spChg chg="mod">
          <ac:chgData name="Sarah GAUVARD" userId="4c03e191-e154-482a-88b2-11de19eac96c" providerId="ADAL" clId="{8245CC27-65FB-483E-B8E7-D04039DBA80D}" dt="2021-05-24T16:09:28.735" v="16723" actId="790"/>
          <ac:spMkLst>
            <pc:docMk/>
            <pc:sldMk cId="3177853375" sldId="10454"/>
            <ac:spMk id="44" creationId="{64EA8B46-EDBA-492C-8605-0C57BB873C71}"/>
          </ac:spMkLst>
        </pc:spChg>
        <pc:spChg chg="mod">
          <ac:chgData name="Sarah GAUVARD" userId="4c03e191-e154-482a-88b2-11de19eac96c" providerId="ADAL" clId="{8245CC27-65FB-483E-B8E7-D04039DBA80D}" dt="2021-05-24T16:09:28.735" v="16724" actId="790"/>
          <ac:spMkLst>
            <pc:docMk/>
            <pc:sldMk cId="3177853375" sldId="10454"/>
            <ac:spMk id="48" creationId="{C242D873-E73A-46FF-88E4-4F7FF592F386}"/>
          </ac:spMkLst>
        </pc:spChg>
        <pc:spChg chg="mod">
          <ac:chgData name="Sarah GAUVARD" userId="4c03e191-e154-482a-88b2-11de19eac96c" providerId="ADAL" clId="{8245CC27-65FB-483E-B8E7-D04039DBA80D}" dt="2021-05-24T16:09:28.735" v="16725" actId="790"/>
          <ac:spMkLst>
            <pc:docMk/>
            <pc:sldMk cId="3177853375" sldId="10454"/>
            <ac:spMk id="49" creationId="{5B79BA09-24AF-4DD4-A40D-1BA5E697B06D}"/>
          </ac:spMkLst>
        </pc:spChg>
        <pc:spChg chg="mod">
          <ac:chgData name="Sarah GAUVARD" userId="4c03e191-e154-482a-88b2-11de19eac96c" providerId="ADAL" clId="{8245CC27-65FB-483E-B8E7-D04039DBA80D}" dt="2021-05-24T16:09:28.735" v="16726" actId="790"/>
          <ac:spMkLst>
            <pc:docMk/>
            <pc:sldMk cId="3177853375" sldId="10454"/>
            <ac:spMk id="50" creationId="{2D78B40F-EBB8-4307-9278-EC1CE8575E76}"/>
          </ac:spMkLst>
        </pc:spChg>
        <pc:spChg chg="mod">
          <ac:chgData name="Sarah GAUVARD" userId="4c03e191-e154-482a-88b2-11de19eac96c" providerId="ADAL" clId="{8245CC27-65FB-483E-B8E7-D04039DBA80D}" dt="2021-05-24T16:09:28.735" v="16727" actId="790"/>
          <ac:spMkLst>
            <pc:docMk/>
            <pc:sldMk cId="3177853375" sldId="10454"/>
            <ac:spMk id="51" creationId="{38A00563-F0E4-4DD2-BCC0-2CE8730B5ECB}"/>
          </ac:spMkLst>
        </pc:spChg>
        <pc:spChg chg="mod">
          <ac:chgData name="Sarah GAUVARD" userId="4c03e191-e154-482a-88b2-11de19eac96c" providerId="ADAL" clId="{8245CC27-65FB-483E-B8E7-D04039DBA80D}" dt="2021-05-24T16:09:28.735" v="16728" actId="790"/>
          <ac:spMkLst>
            <pc:docMk/>
            <pc:sldMk cId="3177853375" sldId="10454"/>
            <ac:spMk id="52" creationId="{FF17630E-6039-47E0-A099-F9AF44449B48}"/>
          </ac:spMkLst>
        </pc:spChg>
        <pc:spChg chg="mod">
          <ac:chgData name="Sarah GAUVARD" userId="4c03e191-e154-482a-88b2-11de19eac96c" providerId="ADAL" clId="{8245CC27-65FB-483E-B8E7-D04039DBA80D}" dt="2021-05-24T16:09:28.743" v="16732" actId="790"/>
          <ac:spMkLst>
            <pc:docMk/>
            <pc:sldMk cId="3177853375" sldId="10454"/>
            <ac:spMk id="56" creationId="{AB37E254-CB07-4E2F-8C11-BC55A2502367}"/>
          </ac:spMkLst>
        </pc:spChg>
        <pc:spChg chg="mod">
          <ac:chgData name="Sarah GAUVARD" userId="4c03e191-e154-482a-88b2-11de19eac96c" providerId="ADAL" clId="{8245CC27-65FB-483E-B8E7-D04039DBA80D}" dt="2021-05-24T16:09:28.743" v="16733" actId="790"/>
          <ac:spMkLst>
            <pc:docMk/>
            <pc:sldMk cId="3177853375" sldId="10454"/>
            <ac:spMk id="57" creationId="{DA45594E-7518-40CF-BAF6-8C01EF7D5755}"/>
          </ac:spMkLst>
        </pc:spChg>
        <pc:spChg chg="mod">
          <ac:chgData name="Sarah GAUVARD" userId="4c03e191-e154-482a-88b2-11de19eac96c" providerId="ADAL" clId="{8245CC27-65FB-483E-B8E7-D04039DBA80D}" dt="2021-05-24T16:09:28.743" v="16734" actId="790"/>
          <ac:spMkLst>
            <pc:docMk/>
            <pc:sldMk cId="3177853375" sldId="10454"/>
            <ac:spMk id="58" creationId="{C29803E8-FBC2-483B-A68E-EABEA041F3DA}"/>
          </ac:spMkLst>
        </pc:spChg>
        <pc:spChg chg="mod">
          <ac:chgData name="Sarah GAUVARD" userId="4c03e191-e154-482a-88b2-11de19eac96c" providerId="ADAL" clId="{8245CC27-65FB-483E-B8E7-D04039DBA80D}" dt="2021-05-24T16:09:28.745" v="16735" actId="790"/>
          <ac:spMkLst>
            <pc:docMk/>
            <pc:sldMk cId="3177853375" sldId="10454"/>
            <ac:spMk id="59" creationId="{CFE36E34-7946-43BC-85F5-FE04E45C3AC6}"/>
          </ac:spMkLst>
        </pc:spChg>
        <pc:spChg chg="mod">
          <ac:chgData name="Sarah GAUVARD" userId="4c03e191-e154-482a-88b2-11de19eac96c" providerId="ADAL" clId="{8245CC27-65FB-483E-B8E7-D04039DBA80D}" dt="2021-05-24T16:09:28.745" v="16736" actId="790"/>
          <ac:spMkLst>
            <pc:docMk/>
            <pc:sldMk cId="3177853375" sldId="10454"/>
            <ac:spMk id="60" creationId="{1D91D4A3-076B-46A0-94A1-79814D2920AE}"/>
          </ac:spMkLst>
        </pc:spChg>
        <pc:spChg chg="mod">
          <ac:chgData name="Sarah GAUVARD" userId="4c03e191-e154-482a-88b2-11de19eac96c" providerId="ADAL" clId="{8245CC27-65FB-483E-B8E7-D04039DBA80D}" dt="2021-05-24T16:09:28.745" v="16737" actId="790"/>
          <ac:spMkLst>
            <pc:docMk/>
            <pc:sldMk cId="3177853375" sldId="10454"/>
            <ac:spMk id="61" creationId="{4FBB2CFE-59BF-413A-9854-073D18C4744D}"/>
          </ac:spMkLst>
        </pc:spChg>
        <pc:spChg chg="mod">
          <ac:chgData name="Sarah GAUVARD" userId="4c03e191-e154-482a-88b2-11de19eac96c" providerId="ADAL" clId="{8245CC27-65FB-483E-B8E7-D04039DBA80D}" dt="2021-05-24T16:09:28.745" v="16738" actId="790"/>
          <ac:spMkLst>
            <pc:docMk/>
            <pc:sldMk cId="3177853375" sldId="10454"/>
            <ac:spMk id="62" creationId="{5E8D6078-1C50-49DC-8AC6-5BE1132E09D1}"/>
          </ac:spMkLst>
        </pc:spChg>
        <pc:spChg chg="mod">
          <ac:chgData name="Sarah GAUVARD" userId="4c03e191-e154-482a-88b2-11de19eac96c" providerId="ADAL" clId="{8245CC27-65FB-483E-B8E7-D04039DBA80D}" dt="2021-05-24T16:09:28.745" v="16739" actId="790"/>
          <ac:spMkLst>
            <pc:docMk/>
            <pc:sldMk cId="3177853375" sldId="10454"/>
            <ac:spMk id="63" creationId="{81F420AF-FDD5-4D82-AB93-DB2EA1AF7D88}"/>
          </ac:spMkLst>
        </pc:spChg>
        <pc:graphicFrameChg chg="mod">
          <ac:chgData name="Sarah GAUVARD" userId="4c03e191-e154-482a-88b2-11de19eac96c" providerId="ADAL" clId="{8245CC27-65FB-483E-B8E7-D04039DBA80D}" dt="2021-05-24T15:34:45.914" v="11786"/>
          <ac:graphicFrameMkLst>
            <pc:docMk/>
            <pc:sldMk cId="3177853375" sldId="10454"/>
            <ac:graphicFrameMk id="21" creationId="{585B5621-A324-4ED4-AA6B-39D8ECEBCC1E}"/>
          </ac:graphicFrameMkLst>
        </pc:graphicFrameChg>
        <pc:picChg chg="add del">
          <ac:chgData name="Sarah GAUVARD" userId="4c03e191-e154-482a-88b2-11de19eac96c" providerId="ADAL" clId="{8245CC27-65FB-483E-B8E7-D04039DBA80D}" dt="2021-05-25T07:48:51.047" v="17628" actId="21"/>
          <ac:picMkLst>
            <pc:docMk/>
            <pc:sldMk cId="3177853375" sldId="10454"/>
            <ac:picMk id="6" creationId="{E126DCDF-05F2-4B12-9E20-22373EF3BB65}"/>
          </ac:picMkLst>
        </pc:picChg>
        <pc:picChg chg="add del mod">
          <ac:chgData name="Sarah GAUVARD" userId="4c03e191-e154-482a-88b2-11de19eac96c" providerId="ADAL" clId="{8245CC27-65FB-483E-B8E7-D04039DBA80D}" dt="2021-05-25T07:48:51.047" v="17628" actId="21"/>
          <ac:picMkLst>
            <pc:docMk/>
            <pc:sldMk cId="3177853375" sldId="10454"/>
            <ac:picMk id="1026" creationId="{B9CE8893-0508-4963-8CB2-04BBDDFB6714}"/>
          </ac:picMkLst>
        </pc:picChg>
        <pc:picChg chg="add del mod">
          <ac:chgData name="Sarah GAUVARD" userId="4c03e191-e154-482a-88b2-11de19eac96c" providerId="ADAL" clId="{8245CC27-65FB-483E-B8E7-D04039DBA80D}" dt="2021-05-25T07:48:51.047" v="17628" actId="21"/>
          <ac:picMkLst>
            <pc:docMk/>
            <pc:sldMk cId="3177853375" sldId="10454"/>
            <ac:picMk id="1028" creationId="{D3863F9C-777D-4009-9461-39ACC50E30BC}"/>
          </ac:picMkLst>
        </pc:picChg>
      </pc:sldChg>
      <pc:sldChg chg="del ord">
        <pc:chgData name="Sarah GAUVARD" userId="4c03e191-e154-482a-88b2-11de19eac96c" providerId="ADAL" clId="{8245CC27-65FB-483E-B8E7-D04039DBA80D}" dt="2021-05-24T13:53:13.691" v="4304" actId="47"/>
        <pc:sldMkLst>
          <pc:docMk/>
          <pc:sldMk cId="510332781" sldId="10456"/>
        </pc:sldMkLst>
      </pc:sldChg>
      <pc:sldChg chg="addSp modSp mod">
        <pc:chgData name="Sarah GAUVARD" userId="4c03e191-e154-482a-88b2-11de19eac96c" providerId="ADAL" clId="{8245CC27-65FB-483E-B8E7-D04039DBA80D}" dt="2021-05-24T16:09:26.530" v="14574" actId="790"/>
        <pc:sldMkLst>
          <pc:docMk/>
          <pc:sldMk cId="3875425083" sldId="10457"/>
        </pc:sldMkLst>
        <pc:spChg chg="mod">
          <ac:chgData name="Sarah GAUVARD" userId="4c03e191-e154-482a-88b2-11de19eac96c" providerId="ADAL" clId="{8245CC27-65FB-483E-B8E7-D04039DBA80D}" dt="2021-05-24T16:09:26.522" v="14567" actId="790"/>
          <ac:spMkLst>
            <pc:docMk/>
            <pc:sldMk cId="3875425083" sldId="10457"/>
            <ac:spMk id="3" creationId="{744C9668-D38F-4DBF-9AE2-129AFE4443E6}"/>
          </ac:spMkLst>
        </pc:spChg>
        <pc:spChg chg="mod">
          <ac:chgData name="Sarah GAUVARD" userId="4c03e191-e154-482a-88b2-11de19eac96c" providerId="ADAL" clId="{8245CC27-65FB-483E-B8E7-D04039DBA80D}" dt="2021-05-24T16:09:26.522" v="14568" actId="790"/>
          <ac:spMkLst>
            <pc:docMk/>
            <pc:sldMk cId="3875425083" sldId="10457"/>
            <ac:spMk id="4" creationId="{B1DD5068-1806-4730-9DB9-278C1A572145}"/>
          </ac:spMkLst>
        </pc:spChg>
        <pc:spChg chg="mod">
          <ac:chgData name="Sarah GAUVARD" userId="4c03e191-e154-482a-88b2-11de19eac96c" providerId="ADAL" clId="{8245CC27-65FB-483E-B8E7-D04039DBA80D}" dt="2021-05-24T16:09:26.522" v="14569" actId="790"/>
          <ac:spMkLst>
            <pc:docMk/>
            <pc:sldMk cId="3875425083" sldId="10457"/>
            <ac:spMk id="5" creationId="{3043F534-C5C5-4371-A080-3E7D382D4691}"/>
          </ac:spMkLst>
        </pc:spChg>
        <pc:spChg chg="mod">
          <ac:chgData name="Sarah GAUVARD" userId="4c03e191-e154-482a-88b2-11de19eac96c" providerId="ADAL" clId="{8245CC27-65FB-483E-B8E7-D04039DBA80D}" dt="2021-05-24T16:09:26.530" v="14574" actId="790"/>
          <ac:spMkLst>
            <pc:docMk/>
            <pc:sldMk cId="3875425083" sldId="10457"/>
            <ac:spMk id="7" creationId="{9DCBC619-97D3-4FF1-B9FE-CBEF775B63E5}"/>
          </ac:spMkLst>
        </pc:spChg>
        <pc:spChg chg="mod">
          <ac:chgData name="Sarah GAUVARD" userId="4c03e191-e154-482a-88b2-11de19eac96c" providerId="ADAL" clId="{8245CC27-65FB-483E-B8E7-D04039DBA80D}" dt="2021-05-24T16:09:26.522" v="14570" actId="790"/>
          <ac:spMkLst>
            <pc:docMk/>
            <pc:sldMk cId="3875425083" sldId="10457"/>
            <ac:spMk id="18" creationId="{76F36889-FDFC-4A3B-99A2-030305287A37}"/>
          </ac:spMkLst>
        </pc:spChg>
        <pc:spChg chg="mod">
          <ac:chgData name="Sarah GAUVARD" userId="4c03e191-e154-482a-88b2-11de19eac96c" providerId="ADAL" clId="{8245CC27-65FB-483E-B8E7-D04039DBA80D}" dt="2021-05-24T16:09:26.522" v="14571" actId="790"/>
          <ac:spMkLst>
            <pc:docMk/>
            <pc:sldMk cId="3875425083" sldId="10457"/>
            <ac:spMk id="20" creationId="{9DECDA42-DA1B-4765-9DB2-026DA5BE2D89}"/>
          </ac:spMkLst>
        </pc:spChg>
        <pc:spChg chg="mod">
          <ac:chgData name="Sarah GAUVARD" userId="4c03e191-e154-482a-88b2-11de19eac96c" providerId="ADAL" clId="{8245CC27-65FB-483E-B8E7-D04039DBA80D}" dt="2021-05-24T16:09:26.522" v="14572" actId="790"/>
          <ac:spMkLst>
            <pc:docMk/>
            <pc:sldMk cId="3875425083" sldId="10457"/>
            <ac:spMk id="22" creationId="{C002634F-3FA9-4AC3-90E2-0D253FC97BF7}"/>
          </ac:spMkLst>
        </pc:spChg>
        <pc:spChg chg="mod">
          <ac:chgData name="Sarah GAUVARD" userId="4c03e191-e154-482a-88b2-11de19eac96c" providerId="ADAL" clId="{8245CC27-65FB-483E-B8E7-D04039DBA80D}" dt="2021-05-24T16:09:26.530" v="14573" actId="790"/>
          <ac:spMkLst>
            <pc:docMk/>
            <pc:sldMk cId="3875425083" sldId="10457"/>
            <ac:spMk id="24" creationId="{9523976D-7994-4445-A7A3-F04F6C533708}"/>
          </ac:spMkLst>
        </pc:spChg>
        <pc:graphicFrameChg chg="add mod ord modVis">
          <ac:chgData name="Sarah GAUVARD" userId="4c03e191-e154-482a-88b2-11de19eac96c" providerId="ADAL" clId="{8245CC27-65FB-483E-B8E7-D04039DBA80D}" dt="2021-05-24T15:34:46.227" v="11955"/>
          <ac:graphicFrameMkLst>
            <pc:docMk/>
            <pc:sldMk cId="3875425083" sldId="10457"/>
            <ac:graphicFrameMk id="2" creationId="{D6A0BFEF-E944-4D4C-B687-35D1B29442FE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6.631" v="14655" actId="790"/>
        <pc:sldMkLst>
          <pc:docMk/>
          <pc:sldMk cId="2117336307" sldId="10458"/>
        </pc:sldMkLst>
        <pc:spChg chg="mod">
          <ac:chgData name="Sarah GAUVARD" userId="4c03e191-e154-482a-88b2-11de19eac96c" providerId="ADAL" clId="{8245CC27-65FB-483E-B8E7-D04039DBA80D}" dt="2021-05-24T16:09:26.572" v="14614" actId="790"/>
          <ac:spMkLst>
            <pc:docMk/>
            <pc:sldMk cId="2117336307" sldId="10458"/>
            <ac:spMk id="2" creationId="{97E194A7-6D37-418C-9122-DDE304798BEF}"/>
          </ac:spMkLst>
        </pc:spChg>
        <pc:spChg chg="mod">
          <ac:chgData name="Sarah GAUVARD" userId="4c03e191-e154-482a-88b2-11de19eac96c" providerId="ADAL" clId="{8245CC27-65FB-483E-B8E7-D04039DBA80D}" dt="2021-05-24T16:09:26.572" v="14615" actId="790"/>
          <ac:spMkLst>
            <pc:docMk/>
            <pc:sldMk cId="2117336307" sldId="10458"/>
            <ac:spMk id="3" creationId="{8CF4F83C-DF06-481B-B47A-FD3FB9938753}"/>
          </ac:spMkLst>
        </pc:spChg>
        <pc:spChg chg="mod">
          <ac:chgData name="Sarah GAUVARD" userId="4c03e191-e154-482a-88b2-11de19eac96c" providerId="ADAL" clId="{8245CC27-65FB-483E-B8E7-D04039DBA80D}" dt="2021-05-24T16:09:26.572" v="14616" actId="790"/>
          <ac:spMkLst>
            <pc:docMk/>
            <pc:sldMk cId="2117336307" sldId="10458"/>
            <ac:spMk id="4" creationId="{9A211B58-FC94-42D9-B8A5-6D5DF998B3F7}"/>
          </ac:spMkLst>
        </pc:spChg>
        <pc:spChg chg="mod">
          <ac:chgData name="Sarah GAUVARD" userId="4c03e191-e154-482a-88b2-11de19eac96c" providerId="ADAL" clId="{8245CC27-65FB-483E-B8E7-D04039DBA80D}" dt="2021-05-24T16:09:26.572" v="14617" actId="790"/>
          <ac:spMkLst>
            <pc:docMk/>
            <pc:sldMk cId="2117336307" sldId="10458"/>
            <ac:spMk id="5" creationId="{C25708FA-3E9E-4816-9525-DFB86044AD07}"/>
          </ac:spMkLst>
        </pc:spChg>
        <pc:spChg chg="mod">
          <ac:chgData name="Sarah GAUVARD" userId="4c03e191-e154-482a-88b2-11de19eac96c" providerId="ADAL" clId="{8245CC27-65FB-483E-B8E7-D04039DBA80D}" dt="2021-05-24T16:09:26.572" v="14618" actId="790"/>
          <ac:spMkLst>
            <pc:docMk/>
            <pc:sldMk cId="2117336307" sldId="10458"/>
            <ac:spMk id="6" creationId="{A4BC731C-26C0-4283-BB4E-50D5B1717FE8}"/>
          </ac:spMkLst>
        </pc:spChg>
        <pc:spChg chg="mod">
          <ac:chgData name="Sarah GAUVARD" userId="4c03e191-e154-482a-88b2-11de19eac96c" providerId="ADAL" clId="{8245CC27-65FB-483E-B8E7-D04039DBA80D}" dt="2021-05-24T16:09:26.580" v="14619" actId="790"/>
          <ac:spMkLst>
            <pc:docMk/>
            <pc:sldMk cId="2117336307" sldId="10458"/>
            <ac:spMk id="7" creationId="{5FF043EB-3601-4C22-9167-48A1A3AE1F94}"/>
          </ac:spMkLst>
        </pc:spChg>
        <pc:spChg chg="mod">
          <ac:chgData name="Sarah GAUVARD" userId="4c03e191-e154-482a-88b2-11de19eac96c" providerId="ADAL" clId="{8245CC27-65FB-483E-B8E7-D04039DBA80D}" dt="2021-05-24T16:09:26.582" v="14620" actId="790"/>
          <ac:spMkLst>
            <pc:docMk/>
            <pc:sldMk cId="2117336307" sldId="10458"/>
            <ac:spMk id="8" creationId="{FFBB7020-4421-4CFB-9AD5-1893BFC8D2F0}"/>
          </ac:spMkLst>
        </pc:spChg>
        <pc:spChg chg="mod">
          <ac:chgData name="Sarah GAUVARD" userId="4c03e191-e154-482a-88b2-11de19eac96c" providerId="ADAL" clId="{8245CC27-65FB-483E-B8E7-D04039DBA80D}" dt="2021-05-24T16:09:26.582" v="14621" actId="790"/>
          <ac:spMkLst>
            <pc:docMk/>
            <pc:sldMk cId="2117336307" sldId="10458"/>
            <ac:spMk id="9" creationId="{F751E742-ACE5-4311-BEC7-8D8A10732879}"/>
          </ac:spMkLst>
        </pc:spChg>
        <pc:spChg chg="mod">
          <ac:chgData name="Sarah GAUVARD" userId="4c03e191-e154-482a-88b2-11de19eac96c" providerId="ADAL" clId="{8245CC27-65FB-483E-B8E7-D04039DBA80D}" dt="2021-05-24T16:09:26.582" v="14622" actId="790"/>
          <ac:spMkLst>
            <pc:docMk/>
            <pc:sldMk cId="2117336307" sldId="10458"/>
            <ac:spMk id="10" creationId="{4DF43315-8157-40B9-831B-B3F41D276556}"/>
          </ac:spMkLst>
        </pc:spChg>
        <pc:spChg chg="mod">
          <ac:chgData name="Sarah GAUVARD" userId="4c03e191-e154-482a-88b2-11de19eac96c" providerId="ADAL" clId="{8245CC27-65FB-483E-B8E7-D04039DBA80D}" dt="2021-05-24T16:09:26.582" v="14623" actId="790"/>
          <ac:spMkLst>
            <pc:docMk/>
            <pc:sldMk cId="2117336307" sldId="10458"/>
            <ac:spMk id="11" creationId="{C6B0A0A6-7DC1-446E-A970-1C78FE7B05E7}"/>
          </ac:spMkLst>
        </pc:spChg>
        <pc:spChg chg="mod">
          <ac:chgData name="Sarah GAUVARD" userId="4c03e191-e154-482a-88b2-11de19eac96c" providerId="ADAL" clId="{8245CC27-65FB-483E-B8E7-D04039DBA80D}" dt="2021-05-24T16:09:26.582" v="14624" actId="790"/>
          <ac:spMkLst>
            <pc:docMk/>
            <pc:sldMk cId="2117336307" sldId="10458"/>
            <ac:spMk id="12" creationId="{67693F63-D872-4044-ADB2-C400E44ED05F}"/>
          </ac:spMkLst>
        </pc:spChg>
        <pc:spChg chg="mod">
          <ac:chgData name="Sarah GAUVARD" userId="4c03e191-e154-482a-88b2-11de19eac96c" providerId="ADAL" clId="{8245CC27-65FB-483E-B8E7-D04039DBA80D}" dt="2021-05-24T16:09:26.582" v="14625" actId="790"/>
          <ac:spMkLst>
            <pc:docMk/>
            <pc:sldMk cId="2117336307" sldId="10458"/>
            <ac:spMk id="13" creationId="{FFD2313E-5B14-4DD1-BDBA-9C5889D66C73}"/>
          </ac:spMkLst>
        </pc:spChg>
        <pc:spChg chg="mod">
          <ac:chgData name="Sarah GAUVARD" userId="4c03e191-e154-482a-88b2-11de19eac96c" providerId="ADAL" clId="{8245CC27-65FB-483E-B8E7-D04039DBA80D}" dt="2021-05-24T16:09:26.582" v="14626" actId="790"/>
          <ac:spMkLst>
            <pc:docMk/>
            <pc:sldMk cId="2117336307" sldId="10458"/>
            <ac:spMk id="14" creationId="{329454EA-414E-4AC5-80E0-57789AEC3CB6}"/>
          </ac:spMkLst>
        </pc:spChg>
        <pc:spChg chg="mod">
          <ac:chgData name="Sarah GAUVARD" userId="4c03e191-e154-482a-88b2-11de19eac96c" providerId="ADAL" clId="{8245CC27-65FB-483E-B8E7-D04039DBA80D}" dt="2021-05-24T16:09:26.582" v="14627" actId="790"/>
          <ac:spMkLst>
            <pc:docMk/>
            <pc:sldMk cId="2117336307" sldId="10458"/>
            <ac:spMk id="15" creationId="{74475D91-FAA9-4481-BB90-C143AB2CF6AD}"/>
          </ac:spMkLst>
        </pc:spChg>
        <pc:spChg chg="mod">
          <ac:chgData name="Sarah GAUVARD" userId="4c03e191-e154-482a-88b2-11de19eac96c" providerId="ADAL" clId="{8245CC27-65FB-483E-B8E7-D04039DBA80D}" dt="2021-05-24T16:09:26.590" v="14628" actId="790"/>
          <ac:spMkLst>
            <pc:docMk/>
            <pc:sldMk cId="2117336307" sldId="10458"/>
            <ac:spMk id="16" creationId="{C3B5A392-C953-443D-83BE-3BA88F87E568}"/>
          </ac:spMkLst>
        </pc:spChg>
        <pc:spChg chg="mod">
          <ac:chgData name="Sarah GAUVARD" userId="4c03e191-e154-482a-88b2-11de19eac96c" providerId="ADAL" clId="{8245CC27-65FB-483E-B8E7-D04039DBA80D}" dt="2021-05-24T16:09:26.592" v="14629" actId="790"/>
          <ac:spMkLst>
            <pc:docMk/>
            <pc:sldMk cId="2117336307" sldId="10458"/>
            <ac:spMk id="17" creationId="{08602E73-CEE9-4D0A-8C3F-5D734DA21856}"/>
          </ac:spMkLst>
        </pc:spChg>
        <pc:spChg chg="mod">
          <ac:chgData name="Sarah GAUVARD" userId="4c03e191-e154-482a-88b2-11de19eac96c" providerId="ADAL" clId="{8245CC27-65FB-483E-B8E7-D04039DBA80D}" dt="2021-05-24T16:09:26.592" v="14630" actId="790"/>
          <ac:spMkLst>
            <pc:docMk/>
            <pc:sldMk cId="2117336307" sldId="10458"/>
            <ac:spMk id="23" creationId="{B17B5902-BDE5-4C91-98D6-624AA4BD047A}"/>
          </ac:spMkLst>
        </pc:spChg>
        <pc:spChg chg="add del mod modVis">
          <ac:chgData name="Sarah GAUVARD" userId="4c03e191-e154-482a-88b2-11de19eac96c" providerId="ADAL" clId="{8245CC27-65FB-483E-B8E7-D04039DBA80D}" dt="2021-05-24T15:34:46.150" v="11919"/>
          <ac:spMkLst>
            <pc:docMk/>
            <pc:sldMk cId="2117336307" sldId="10458"/>
            <ac:spMk id="24" creationId="{E14EC4DF-8231-40F9-818E-702E4A0C959C}"/>
          </ac:spMkLst>
        </pc:spChg>
        <pc:spChg chg="mod">
          <ac:chgData name="Sarah GAUVARD" userId="4c03e191-e154-482a-88b2-11de19eac96c" providerId="ADAL" clId="{8245CC27-65FB-483E-B8E7-D04039DBA80D}" dt="2021-05-24T16:09:26.592" v="14631" actId="790"/>
          <ac:spMkLst>
            <pc:docMk/>
            <pc:sldMk cId="2117336307" sldId="10458"/>
            <ac:spMk id="30" creationId="{8781E301-2829-4212-BC5D-10A3652130A7}"/>
          </ac:spMkLst>
        </pc:spChg>
        <pc:spChg chg="mod">
          <ac:chgData name="Sarah GAUVARD" userId="4c03e191-e154-482a-88b2-11de19eac96c" providerId="ADAL" clId="{8245CC27-65FB-483E-B8E7-D04039DBA80D}" dt="2021-05-24T16:09:26.592" v="14632" actId="790"/>
          <ac:spMkLst>
            <pc:docMk/>
            <pc:sldMk cId="2117336307" sldId="10458"/>
            <ac:spMk id="31" creationId="{FC5D5549-3024-4706-A1D3-2EC5B6005011}"/>
          </ac:spMkLst>
        </pc:spChg>
        <pc:spChg chg="mod">
          <ac:chgData name="Sarah GAUVARD" userId="4c03e191-e154-482a-88b2-11de19eac96c" providerId="ADAL" clId="{8245CC27-65FB-483E-B8E7-D04039DBA80D}" dt="2021-05-24T16:09:26.600" v="14633" actId="790"/>
          <ac:spMkLst>
            <pc:docMk/>
            <pc:sldMk cId="2117336307" sldId="10458"/>
            <ac:spMk id="32" creationId="{95C2A0B0-3C59-417F-A7AF-CB055F5691A9}"/>
          </ac:spMkLst>
        </pc:spChg>
        <pc:spChg chg="mod">
          <ac:chgData name="Sarah GAUVARD" userId="4c03e191-e154-482a-88b2-11de19eac96c" providerId="ADAL" clId="{8245CC27-65FB-483E-B8E7-D04039DBA80D}" dt="2021-05-24T16:09:26.603" v="14634" actId="790"/>
          <ac:spMkLst>
            <pc:docMk/>
            <pc:sldMk cId="2117336307" sldId="10458"/>
            <ac:spMk id="33" creationId="{9A17175B-3D0E-49D1-9772-511BEABBDF40}"/>
          </ac:spMkLst>
        </pc:spChg>
        <pc:spChg chg="mod">
          <ac:chgData name="Sarah GAUVARD" userId="4c03e191-e154-482a-88b2-11de19eac96c" providerId="ADAL" clId="{8245CC27-65FB-483E-B8E7-D04039DBA80D}" dt="2021-05-24T16:09:26.603" v="14635" actId="790"/>
          <ac:spMkLst>
            <pc:docMk/>
            <pc:sldMk cId="2117336307" sldId="10458"/>
            <ac:spMk id="34" creationId="{0D26BFCF-8441-4D95-B0FE-AB36CB9BE014}"/>
          </ac:spMkLst>
        </pc:spChg>
        <pc:spChg chg="add mod">
          <ac:chgData name="Sarah GAUVARD" userId="4c03e191-e154-482a-88b2-11de19eac96c" providerId="ADAL" clId="{8245CC27-65FB-483E-B8E7-D04039DBA80D}" dt="2021-05-24T09:48:42.263" v="222"/>
          <ac:spMkLst>
            <pc:docMk/>
            <pc:sldMk cId="2117336307" sldId="10458"/>
            <ac:spMk id="35" creationId="{06E1E63F-9386-4AA6-9EC4-2C6CC5EDD308}"/>
          </ac:spMkLst>
        </pc:spChg>
        <pc:spChg chg="mod">
          <ac:chgData name="Sarah GAUVARD" userId="4c03e191-e154-482a-88b2-11de19eac96c" providerId="ADAL" clId="{8245CC27-65FB-483E-B8E7-D04039DBA80D}" dt="2021-05-24T16:09:26.603" v="14636" actId="790"/>
          <ac:spMkLst>
            <pc:docMk/>
            <pc:sldMk cId="2117336307" sldId="10458"/>
            <ac:spMk id="36" creationId="{BBA214AC-0EE9-424B-BD2E-A4BE8AEC5800}"/>
          </ac:spMkLst>
        </pc:spChg>
        <pc:spChg chg="mod">
          <ac:chgData name="Sarah GAUVARD" userId="4c03e191-e154-482a-88b2-11de19eac96c" providerId="ADAL" clId="{8245CC27-65FB-483E-B8E7-D04039DBA80D}" dt="2021-05-24T16:09:26.611" v="14637" actId="790"/>
          <ac:spMkLst>
            <pc:docMk/>
            <pc:sldMk cId="2117336307" sldId="10458"/>
            <ac:spMk id="37" creationId="{357BF76E-F609-4ABB-AF14-CA5912FE2D08}"/>
          </ac:spMkLst>
        </pc:spChg>
        <pc:spChg chg="mod">
          <ac:chgData name="Sarah GAUVARD" userId="4c03e191-e154-482a-88b2-11de19eac96c" providerId="ADAL" clId="{8245CC27-65FB-483E-B8E7-D04039DBA80D}" dt="2021-05-24T16:09:26.613" v="14638" actId="790"/>
          <ac:spMkLst>
            <pc:docMk/>
            <pc:sldMk cId="2117336307" sldId="10458"/>
            <ac:spMk id="38" creationId="{3D91B623-E5CB-4481-8380-8F078F4ED175}"/>
          </ac:spMkLst>
        </pc:spChg>
        <pc:spChg chg="add mod">
          <ac:chgData name="Sarah GAUVARD" userId="4c03e191-e154-482a-88b2-11de19eac96c" providerId="ADAL" clId="{8245CC27-65FB-483E-B8E7-D04039DBA80D}" dt="2021-05-24T09:48:42.263" v="222"/>
          <ac:spMkLst>
            <pc:docMk/>
            <pc:sldMk cId="2117336307" sldId="10458"/>
            <ac:spMk id="39" creationId="{70CD7CD0-20DF-417E-BD72-E9F04109C333}"/>
          </ac:spMkLst>
        </pc:spChg>
        <pc:spChg chg="add mod">
          <ac:chgData name="Sarah GAUVARD" userId="4c03e191-e154-482a-88b2-11de19eac96c" providerId="ADAL" clId="{8245CC27-65FB-483E-B8E7-D04039DBA80D}" dt="2021-05-24T09:48:42.263" v="222"/>
          <ac:spMkLst>
            <pc:docMk/>
            <pc:sldMk cId="2117336307" sldId="10458"/>
            <ac:spMk id="40" creationId="{AFC244AE-7080-42F4-A083-866CADB8BE01}"/>
          </ac:spMkLst>
        </pc:spChg>
        <pc:spChg chg="add mod">
          <ac:chgData name="Sarah GAUVARD" userId="4c03e191-e154-482a-88b2-11de19eac96c" providerId="ADAL" clId="{8245CC27-65FB-483E-B8E7-D04039DBA80D}" dt="2021-05-24T09:48:42.263" v="222"/>
          <ac:spMkLst>
            <pc:docMk/>
            <pc:sldMk cId="2117336307" sldId="10458"/>
            <ac:spMk id="41" creationId="{D644EFEF-74F2-4942-8F6E-491C4A28BC12}"/>
          </ac:spMkLst>
        </pc:spChg>
        <pc:spChg chg="add mod">
          <ac:chgData name="Sarah GAUVARD" userId="4c03e191-e154-482a-88b2-11de19eac96c" providerId="ADAL" clId="{8245CC27-65FB-483E-B8E7-D04039DBA80D}" dt="2021-05-24T09:48:42.263" v="222"/>
          <ac:spMkLst>
            <pc:docMk/>
            <pc:sldMk cId="2117336307" sldId="10458"/>
            <ac:spMk id="42" creationId="{09CB086D-F870-4D56-AAF9-95F724BA258B}"/>
          </ac:spMkLst>
        </pc:spChg>
        <pc:spChg chg="mod">
          <ac:chgData name="Sarah GAUVARD" userId="4c03e191-e154-482a-88b2-11de19eac96c" providerId="ADAL" clId="{8245CC27-65FB-483E-B8E7-D04039DBA80D}" dt="2021-05-24T16:09:26.613" v="14639" actId="790"/>
          <ac:spMkLst>
            <pc:docMk/>
            <pc:sldMk cId="2117336307" sldId="10458"/>
            <ac:spMk id="46" creationId="{6AA55E8D-57AF-4945-9E94-DE7A7BE61822}"/>
          </ac:spMkLst>
        </pc:spChg>
        <pc:spChg chg="mod">
          <ac:chgData name="Sarah GAUVARD" userId="4c03e191-e154-482a-88b2-11de19eac96c" providerId="ADAL" clId="{8245CC27-65FB-483E-B8E7-D04039DBA80D}" dt="2021-05-24T16:09:26.613" v="14640" actId="790"/>
          <ac:spMkLst>
            <pc:docMk/>
            <pc:sldMk cId="2117336307" sldId="10458"/>
            <ac:spMk id="49" creationId="{7F1A8DDF-BB9E-4E12-90EF-9A954D4E9527}"/>
          </ac:spMkLst>
        </pc:spChg>
        <pc:spChg chg="mod">
          <ac:chgData name="Sarah GAUVARD" userId="4c03e191-e154-482a-88b2-11de19eac96c" providerId="ADAL" clId="{8245CC27-65FB-483E-B8E7-D04039DBA80D}" dt="2021-05-24T16:09:26.613" v="14641" actId="790"/>
          <ac:spMkLst>
            <pc:docMk/>
            <pc:sldMk cId="2117336307" sldId="10458"/>
            <ac:spMk id="50" creationId="{D983CBF4-656D-415F-A0E6-4EF1ECFA98D8}"/>
          </ac:spMkLst>
        </pc:spChg>
        <pc:spChg chg="mod">
          <ac:chgData name="Sarah GAUVARD" userId="4c03e191-e154-482a-88b2-11de19eac96c" providerId="ADAL" clId="{8245CC27-65FB-483E-B8E7-D04039DBA80D}" dt="2021-05-24T16:09:26.613" v="14642" actId="790"/>
          <ac:spMkLst>
            <pc:docMk/>
            <pc:sldMk cId="2117336307" sldId="10458"/>
            <ac:spMk id="51" creationId="{C518067F-36AA-4233-91AF-1B75DE764C1D}"/>
          </ac:spMkLst>
        </pc:spChg>
        <pc:spChg chg="mod">
          <ac:chgData name="Sarah GAUVARD" userId="4c03e191-e154-482a-88b2-11de19eac96c" providerId="ADAL" clId="{8245CC27-65FB-483E-B8E7-D04039DBA80D}" dt="2021-05-24T16:09:26.613" v="14643" actId="790"/>
          <ac:spMkLst>
            <pc:docMk/>
            <pc:sldMk cId="2117336307" sldId="10458"/>
            <ac:spMk id="52" creationId="{CB183989-F33A-443E-A9EC-A3EA75137A1D}"/>
          </ac:spMkLst>
        </pc:spChg>
        <pc:spChg chg="mod">
          <ac:chgData name="Sarah GAUVARD" userId="4c03e191-e154-482a-88b2-11de19eac96c" providerId="ADAL" clId="{8245CC27-65FB-483E-B8E7-D04039DBA80D}" dt="2021-05-24T16:09:26.613" v="14644" actId="790"/>
          <ac:spMkLst>
            <pc:docMk/>
            <pc:sldMk cId="2117336307" sldId="10458"/>
            <ac:spMk id="60" creationId="{14D6537D-0B58-4DB6-B315-DB8469395B6C}"/>
          </ac:spMkLst>
        </pc:spChg>
        <pc:spChg chg="mod">
          <ac:chgData name="Sarah GAUVARD" userId="4c03e191-e154-482a-88b2-11de19eac96c" providerId="ADAL" clId="{8245CC27-65FB-483E-B8E7-D04039DBA80D}" dt="2021-05-24T16:09:26.613" v="14645" actId="790"/>
          <ac:spMkLst>
            <pc:docMk/>
            <pc:sldMk cId="2117336307" sldId="10458"/>
            <ac:spMk id="61" creationId="{97E650CB-FAC0-446C-B880-E44B6031DF36}"/>
          </ac:spMkLst>
        </pc:spChg>
        <pc:spChg chg="mod">
          <ac:chgData name="Sarah GAUVARD" userId="4c03e191-e154-482a-88b2-11de19eac96c" providerId="ADAL" clId="{8245CC27-65FB-483E-B8E7-D04039DBA80D}" dt="2021-05-24T16:09:26.621" v="14646" actId="790"/>
          <ac:spMkLst>
            <pc:docMk/>
            <pc:sldMk cId="2117336307" sldId="10458"/>
            <ac:spMk id="62" creationId="{D82C7EEA-6857-42BF-9A36-8E700C58E26A}"/>
          </ac:spMkLst>
        </pc:spChg>
        <pc:spChg chg="mod">
          <ac:chgData name="Sarah GAUVARD" userId="4c03e191-e154-482a-88b2-11de19eac96c" providerId="ADAL" clId="{8245CC27-65FB-483E-B8E7-D04039DBA80D}" dt="2021-05-24T16:09:26.623" v="14647" actId="790"/>
          <ac:spMkLst>
            <pc:docMk/>
            <pc:sldMk cId="2117336307" sldId="10458"/>
            <ac:spMk id="63" creationId="{B30BB911-AB18-464D-9C82-EC0D38A7511C}"/>
          </ac:spMkLst>
        </pc:spChg>
        <pc:spChg chg="mod">
          <ac:chgData name="Sarah GAUVARD" userId="4c03e191-e154-482a-88b2-11de19eac96c" providerId="ADAL" clId="{8245CC27-65FB-483E-B8E7-D04039DBA80D}" dt="2021-05-24T16:09:26.623" v="14648" actId="790"/>
          <ac:spMkLst>
            <pc:docMk/>
            <pc:sldMk cId="2117336307" sldId="10458"/>
            <ac:spMk id="85" creationId="{76BFCA86-39A2-4CAD-9C8C-1732C90C6871}"/>
          </ac:spMkLst>
        </pc:spChg>
        <pc:spChg chg="mod">
          <ac:chgData name="Sarah GAUVARD" userId="4c03e191-e154-482a-88b2-11de19eac96c" providerId="ADAL" clId="{8245CC27-65FB-483E-B8E7-D04039DBA80D}" dt="2021-05-24T16:09:26.623" v="14649" actId="790"/>
          <ac:spMkLst>
            <pc:docMk/>
            <pc:sldMk cId="2117336307" sldId="10458"/>
            <ac:spMk id="87" creationId="{CBC7D0E4-9931-49F5-B377-23BCB0A575C7}"/>
          </ac:spMkLst>
        </pc:spChg>
        <pc:spChg chg="mod">
          <ac:chgData name="Sarah GAUVARD" userId="4c03e191-e154-482a-88b2-11de19eac96c" providerId="ADAL" clId="{8245CC27-65FB-483E-B8E7-D04039DBA80D}" dt="2021-05-24T16:09:26.623" v="14650" actId="790"/>
          <ac:spMkLst>
            <pc:docMk/>
            <pc:sldMk cId="2117336307" sldId="10458"/>
            <ac:spMk id="88" creationId="{ABCB8B83-93E3-4A1E-8093-CE6E34DA708F}"/>
          </ac:spMkLst>
        </pc:spChg>
        <pc:spChg chg="mod">
          <ac:chgData name="Sarah GAUVARD" userId="4c03e191-e154-482a-88b2-11de19eac96c" providerId="ADAL" clId="{8245CC27-65FB-483E-B8E7-D04039DBA80D}" dt="2021-05-24T16:09:26.623" v="14651" actId="790"/>
          <ac:spMkLst>
            <pc:docMk/>
            <pc:sldMk cId="2117336307" sldId="10458"/>
            <ac:spMk id="89" creationId="{65B67ADD-22A0-4907-978D-68228C272BBC}"/>
          </ac:spMkLst>
        </pc:spChg>
        <pc:spChg chg="mod">
          <ac:chgData name="Sarah GAUVARD" userId="4c03e191-e154-482a-88b2-11de19eac96c" providerId="ADAL" clId="{8245CC27-65FB-483E-B8E7-D04039DBA80D}" dt="2021-05-24T16:09:26.623" v="14652" actId="790"/>
          <ac:spMkLst>
            <pc:docMk/>
            <pc:sldMk cId="2117336307" sldId="10458"/>
            <ac:spMk id="90" creationId="{99590A32-E17E-49DE-810F-B3D74DC2233F}"/>
          </ac:spMkLst>
        </pc:spChg>
        <pc:spChg chg="mod">
          <ac:chgData name="Sarah GAUVARD" userId="4c03e191-e154-482a-88b2-11de19eac96c" providerId="ADAL" clId="{8245CC27-65FB-483E-B8E7-D04039DBA80D}" dt="2021-05-24T16:09:26.623" v="14653" actId="790"/>
          <ac:spMkLst>
            <pc:docMk/>
            <pc:sldMk cId="2117336307" sldId="10458"/>
            <ac:spMk id="91" creationId="{8D467664-F3A1-4C7B-B048-2937C81D78C2}"/>
          </ac:spMkLst>
        </pc:spChg>
        <pc:spChg chg="mod">
          <ac:chgData name="Sarah GAUVARD" userId="4c03e191-e154-482a-88b2-11de19eac96c" providerId="ADAL" clId="{8245CC27-65FB-483E-B8E7-D04039DBA80D}" dt="2021-05-24T16:09:26.623" v="14654" actId="790"/>
          <ac:spMkLst>
            <pc:docMk/>
            <pc:sldMk cId="2117336307" sldId="10458"/>
            <ac:spMk id="92" creationId="{625CB989-A833-4E51-82FA-EB48496536ED}"/>
          </ac:spMkLst>
        </pc:spChg>
        <pc:spChg chg="mod">
          <ac:chgData name="Sarah GAUVARD" userId="4c03e191-e154-482a-88b2-11de19eac96c" providerId="ADAL" clId="{8245CC27-65FB-483E-B8E7-D04039DBA80D}" dt="2021-05-24T16:09:26.631" v="14655" actId="790"/>
          <ac:spMkLst>
            <pc:docMk/>
            <pc:sldMk cId="2117336307" sldId="10458"/>
            <ac:spMk id="93" creationId="{1ABC16EC-E4C7-4FDB-91C6-850186F5860B}"/>
          </ac:spMkLst>
        </pc:spChg>
        <pc:graphicFrameChg chg="mod">
          <ac:chgData name="Sarah GAUVARD" userId="4c03e191-e154-482a-88b2-11de19eac96c" providerId="ADAL" clId="{8245CC27-65FB-483E-B8E7-D04039DBA80D}" dt="2021-05-24T15:34:46.153" v="11921"/>
          <ac:graphicFrameMkLst>
            <pc:docMk/>
            <pc:sldMk cId="2117336307" sldId="10458"/>
            <ac:graphicFrameMk id="45" creationId="{D1AE76A2-14AC-488B-A886-218279B8D550}"/>
          </ac:graphicFrameMkLst>
        </pc:graphicFrameChg>
      </pc:sldChg>
      <pc:sldChg chg="addSp delSp modSp add mod ord">
        <pc:chgData name="Sarah GAUVARD" userId="4c03e191-e154-482a-88b2-11de19eac96c" providerId="ADAL" clId="{8245CC27-65FB-483E-B8E7-D04039DBA80D}" dt="2021-05-25T15:24:06.505" v="27657" actId="6549"/>
        <pc:sldMkLst>
          <pc:docMk/>
          <pc:sldMk cId="2622219198" sldId="10459"/>
        </pc:sldMkLst>
        <pc:spChg chg="mod">
          <ac:chgData name="Sarah GAUVARD" userId="4c03e191-e154-482a-88b2-11de19eac96c" providerId="ADAL" clId="{8245CC27-65FB-483E-B8E7-D04039DBA80D}" dt="2021-05-25T12:34:57.128" v="21795" actId="948"/>
          <ac:spMkLst>
            <pc:docMk/>
            <pc:sldMk cId="2622219198" sldId="10459"/>
            <ac:spMk id="2" creationId="{E19F901F-5492-47C0-A6F7-DF38EE87C63C}"/>
          </ac:spMkLst>
        </pc:spChg>
        <pc:spChg chg="mod">
          <ac:chgData name="Sarah GAUVARD" userId="4c03e191-e154-482a-88b2-11de19eac96c" providerId="ADAL" clId="{8245CC27-65FB-483E-B8E7-D04039DBA80D}" dt="2021-05-24T16:09:27.027" v="15050" actId="790"/>
          <ac:spMkLst>
            <pc:docMk/>
            <pc:sldMk cId="2622219198" sldId="10459"/>
            <ac:spMk id="3" creationId="{EA36DEC0-367F-4462-9ECA-BD4E3ABDD7AD}"/>
          </ac:spMkLst>
        </pc:spChg>
        <pc:spChg chg="mod">
          <ac:chgData name="Sarah GAUVARD" userId="4c03e191-e154-482a-88b2-11de19eac96c" providerId="ADAL" clId="{8245CC27-65FB-483E-B8E7-D04039DBA80D}" dt="2021-05-24T16:09:27.027" v="15051" actId="790"/>
          <ac:spMkLst>
            <pc:docMk/>
            <pc:sldMk cId="2622219198" sldId="10459"/>
            <ac:spMk id="4" creationId="{36E8441A-7CAA-4835-B0E0-73093E7211AF}"/>
          </ac:spMkLst>
        </pc:spChg>
        <pc:spChg chg="mod">
          <ac:chgData name="Sarah GAUVARD" userId="4c03e191-e154-482a-88b2-11de19eac96c" providerId="ADAL" clId="{8245CC27-65FB-483E-B8E7-D04039DBA80D}" dt="2021-05-24T16:09:27.027" v="15052" actId="790"/>
          <ac:spMkLst>
            <pc:docMk/>
            <pc:sldMk cId="2622219198" sldId="10459"/>
            <ac:spMk id="5" creationId="{B595370E-355C-4B5F-A978-CDD15547DBD1}"/>
          </ac:spMkLst>
        </pc:spChg>
        <pc:spChg chg="mod">
          <ac:chgData name="Sarah GAUVARD" userId="4c03e191-e154-482a-88b2-11de19eac96c" providerId="ADAL" clId="{8245CC27-65FB-483E-B8E7-D04039DBA80D}" dt="2021-05-24T16:09:27.027" v="15053" actId="790"/>
          <ac:spMkLst>
            <pc:docMk/>
            <pc:sldMk cId="2622219198" sldId="10459"/>
            <ac:spMk id="6" creationId="{609D4ECD-A435-4FC4-8FA3-4F4EB4E1037F}"/>
          </ac:spMkLst>
        </pc:spChg>
        <pc:spChg chg="mod">
          <ac:chgData name="Sarah GAUVARD" userId="4c03e191-e154-482a-88b2-11de19eac96c" providerId="ADAL" clId="{8245CC27-65FB-483E-B8E7-D04039DBA80D}" dt="2021-05-24T16:09:27.027" v="15054" actId="790"/>
          <ac:spMkLst>
            <pc:docMk/>
            <pc:sldMk cId="2622219198" sldId="10459"/>
            <ac:spMk id="7" creationId="{3519796A-9FDF-4BE6-8C17-7B847140DB1E}"/>
          </ac:spMkLst>
        </pc:spChg>
        <pc:spChg chg="mod">
          <ac:chgData name="Sarah GAUVARD" userId="4c03e191-e154-482a-88b2-11de19eac96c" providerId="ADAL" clId="{8245CC27-65FB-483E-B8E7-D04039DBA80D}" dt="2021-05-24T16:09:27.027" v="15055" actId="790"/>
          <ac:spMkLst>
            <pc:docMk/>
            <pc:sldMk cId="2622219198" sldId="10459"/>
            <ac:spMk id="8" creationId="{C0F9EC2E-5B9C-44C3-8BBC-04E6A56A04D9}"/>
          </ac:spMkLst>
        </pc:spChg>
        <pc:spChg chg="mod">
          <ac:chgData name="Sarah GAUVARD" userId="4c03e191-e154-482a-88b2-11de19eac96c" providerId="ADAL" clId="{8245CC27-65FB-483E-B8E7-D04039DBA80D}" dt="2021-05-24T16:09:27.027" v="15056" actId="790"/>
          <ac:spMkLst>
            <pc:docMk/>
            <pc:sldMk cId="2622219198" sldId="10459"/>
            <ac:spMk id="9" creationId="{317041DE-AACE-4076-B336-98D4DFCF2F8D}"/>
          </ac:spMkLst>
        </pc:spChg>
        <pc:spChg chg="mod">
          <ac:chgData name="Sarah GAUVARD" userId="4c03e191-e154-482a-88b2-11de19eac96c" providerId="ADAL" clId="{8245CC27-65FB-483E-B8E7-D04039DBA80D}" dt="2021-05-24T16:09:27.027" v="15057" actId="790"/>
          <ac:spMkLst>
            <pc:docMk/>
            <pc:sldMk cId="2622219198" sldId="10459"/>
            <ac:spMk id="10" creationId="{96B7A014-AD04-4B6B-93EF-F8AE892DB682}"/>
          </ac:spMkLst>
        </pc:spChg>
        <pc:spChg chg="mod">
          <ac:chgData name="Sarah GAUVARD" userId="4c03e191-e154-482a-88b2-11de19eac96c" providerId="ADAL" clId="{8245CC27-65FB-483E-B8E7-D04039DBA80D}" dt="2021-05-24T16:09:27.035" v="15058" actId="790"/>
          <ac:spMkLst>
            <pc:docMk/>
            <pc:sldMk cId="2622219198" sldId="10459"/>
            <ac:spMk id="11" creationId="{BF229D2B-E1C5-4C07-819B-6B198291B445}"/>
          </ac:spMkLst>
        </pc:spChg>
        <pc:spChg chg="mod">
          <ac:chgData name="Sarah GAUVARD" userId="4c03e191-e154-482a-88b2-11de19eac96c" providerId="ADAL" clId="{8245CC27-65FB-483E-B8E7-D04039DBA80D}" dt="2021-05-24T16:09:27.035" v="15059" actId="790"/>
          <ac:spMkLst>
            <pc:docMk/>
            <pc:sldMk cId="2622219198" sldId="10459"/>
            <ac:spMk id="12" creationId="{3EFA3E8A-E38B-412F-A7AC-89C4DD936271}"/>
          </ac:spMkLst>
        </pc:spChg>
        <pc:spChg chg="mod">
          <ac:chgData name="Sarah GAUVARD" userId="4c03e191-e154-482a-88b2-11de19eac96c" providerId="ADAL" clId="{8245CC27-65FB-483E-B8E7-D04039DBA80D}" dt="2021-05-24T16:09:27.035" v="15060" actId="790"/>
          <ac:spMkLst>
            <pc:docMk/>
            <pc:sldMk cId="2622219198" sldId="10459"/>
            <ac:spMk id="13" creationId="{17705788-120B-4AC9-B719-CCF70341BA1F}"/>
          </ac:spMkLst>
        </pc:spChg>
        <pc:spChg chg="mod">
          <ac:chgData name="Sarah GAUVARD" userId="4c03e191-e154-482a-88b2-11de19eac96c" providerId="ADAL" clId="{8245CC27-65FB-483E-B8E7-D04039DBA80D}" dt="2021-05-24T16:09:27.035" v="15061" actId="790"/>
          <ac:spMkLst>
            <pc:docMk/>
            <pc:sldMk cId="2622219198" sldId="10459"/>
            <ac:spMk id="14" creationId="{724AF84E-9B10-405B-8DB6-FA7988A7668D}"/>
          </ac:spMkLst>
        </pc:spChg>
        <pc:spChg chg="mod">
          <ac:chgData name="Sarah GAUVARD" userId="4c03e191-e154-482a-88b2-11de19eac96c" providerId="ADAL" clId="{8245CC27-65FB-483E-B8E7-D04039DBA80D}" dt="2021-05-24T16:09:27.035" v="15062" actId="790"/>
          <ac:spMkLst>
            <pc:docMk/>
            <pc:sldMk cId="2622219198" sldId="10459"/>
            <ac:spMk id="15" creationId="{34C45BC7-2142-44BC-8D88-77D9EBC4EA6E}"/>
          </ac:spMkLst>
        </pc:spChg>
        <pc:spChg chg="mod">
          <ac:chgData name="Sarah GAUVARD" userId="4c03e191-e154-482a-88b2-11de19eac96c" providerId="ADAL" clId="{8245CC27-65FB-483E-B8E7-D04039DBA80D}" dt="2021-05-24T16:09:27.035" v="15063" actId="790"/>
          <ac:spMkLst>
            <pc:docMk/>
            <pc:sldMk cId="2622219198" sldId="10459"/>
            <ac:spMk id="16" creationId="{41A679EC-8321-4F10-B731-7F5C67FA2AC4}"/>
          </ac:spMkLst>
        </pc:spChg>
        <pc:spChg chg="mod">
          <ac:chgData name="Sarah GAUVARD" userId="4c03e191-e154-482a-88b2-11de19eac96c" providerId="ADAL" clId="{8245CC27-65FB-483E-B8E7-D04039DBA80D}" dt="2021-05-24T16:09:27.035" v="15064" actId="790"/>
          <ac:spMkLst>
            <pc:docMk/>
            <pc:sldMk cId="2622219198" sldId="10459"/>
            <ac:spMk id="17" creationId="{2935E5F8-84AB-433D-881B-5B0E1C57BA6F}"/>
          </ac:spMkLst>
        </pc:spChg>
        <pc:spChg chg="mod">
          <ac:chgData name="Sarah GAUVARD" userId="4c03e191-e154-482a-88b2-11de19eac96c" providerId="ADAL" clId="{8245CC27-65FB-483E-B8E7-D04039DBA80D}" dt="2021-05-24T16:09:27.035" v="15065" actId="790"/>
          <ac:spMkLst>
            <pc:docMk/>
            <pc:sldMk cId="2622219198" sldId="10459"/>
            <ac:spMk id="18" creationId="{B0A62E94-BF7E-40AC-B764-BB2A54C0C494}"/>
          </ac:spMkLst>
        </pc:spChg>
        <pc:spChg chg="mod">
          <ac:chgData name="Sarah GAUVARD" userId="4c03e191-e154-482a-88b2-11de19eac96c" providerId="ADAL" clId="{8245CC27-65FB-483E-B8E7-D04039DBA80D}" dt="2021-05-24T16:09:27.035" v="15066" actId="790"/>
          <ac:spMkLst>
            <pc:docMk/>
            <pc:sldMk cId="2622219198" sldId="10459"/>
            <ac:spMk id="19" creationId="{027A9967-715F-48E8-B963-0D3A8F664B42}"/>
          </ac:spMkLst>
        </pc:spChg>
        <pc:spChg chg="mod">
          <ac:chgData name="Sarah GAUVARD" userId="4c03e191-e154-482a-88b2-11de19eac96c" providerId="ADAL" clId="{8245CC27-65FB-483E-B8E7-D04039DBA80D}" dt="2021-05-24T16:09:27.048" v="15067" actId="790"/>
          <ac:spMkLst>
            <pc:docMk/>
            <pc:sldMk cId="2622219198" sldId="10459"/>
            <ac:spMk id="45" creationId="{EB8DCDA0-B944-46B1-94A1-3BC57FE2558C}"/>
          </ac:spMkLst>
        </pc:spChg>
        <pc:spChg chg="mod">
          <ac:chgData name="Sarah GAUVARD" userId="4c03e191-e154-482a-88b2-11de19eac96c" providerId="ADAL" clId="{8245CC27-65FB-483E-B8E7-D04039DBA80D}" dt="2021-05-24T16:09:27.048" v="15068" actId="790"/>
          <ac:spMkLst>
            <pc:docMk/>
            <pc:sldMk cId="2622219198" sldId="10459"/>
            <ac:spMk id="46" creationId="{7B138FEF-21CD-48C0-BC88-FE04EB25D3AA}"/>
          </ac:spMkLst>
        </pc:spChg>
        <pc:spChg chg="mod">
          <ac:chgData name="Sarah GAUVARD" userId="4c03e191-e154-482a-88b2-11de19eac96c" providerId="ADAL" clId="{8245CC27-65FB-483E-B8E7-D04039DBA80D}" dt="2021-05-24T16:09:27.048" v="15069" actId="790"/>
          <ac:spMkLst>
            <pc:docMk/>
            <pc:sldMk cId="2622219198" sldId="10459"/>
            <ac:spMk id="47" creationId="{C8752D5D-1277-4ECD-BD07-8C2295A5CD51}"/>
          </ac:spMkLst>
        </pc:spChg>
        <pc:spChg chg="mod">
          <ac:chgData name="Sarah GAUVARD" userId="4c03e191-e154-482a-88b2-11de19eac96c" providerId="ADAL" clId="{8245CC27-65FB-483E-B8E7-D04039DBA80D}" dt="2021-05-24T16:09:27.048" v="15070" actId="790"/>
          <ac:spMkLst>
            <pc:docMk/>
            <pc:sldMk cId="2622219198" sldId="10459"/>
            <ac:spMk id="49" creationId="{73FF325B-AA43-4315-A9B8-69EBF61E787C}"/>
          </ac:spMkLst>
        </pc:spChg>
        <pc:spChg chg="mod">
          <ac:chgData name="Sarah GAUVARD" userId="4c03e191-e154-482a-88b2-11de19eac96c" providerId="ADAL" clId="{8245CC27-65FB-483E-B8E7-D04039DBA80D}" dt="2021-05-24T16:09:27.048" v="15071" actId="790"/>
          <ac:spMkLst>
            <pc:docMk/>
            <pc:sldMk cId="2622219198" sldId="10459"/>
            <ac:spMk id="52" creationId="{B01F8A17-D5BB-48D0-9812-19B9E7EC3664}"/>
          </ac:spMkLst>
        </pc:spChg>
        <pc:spChg chg="mod">
          <ac:chgData name="Sarah GAUVARD" userId="4c03e191-e154-482a-88b2-11de19eac96c" providerId="ADAL" clId="{8245CC27-65FB-483E-B8E7-D04039DBA80D}" dt="2021-05-24T16:09:27.048" v="15072" actId="790"/>
          <ac:spMkLst>
            <pc:docMk/>
            <pc:sldMk cId="2622219198" sldId="10459"/>
            <ac:spMk id="54" creationId="{CBD01CF7-FE13-4ECB-AB15-2BFF82F48911}"/>
          </ac:spMkLst>
        </pc:spChg>
        <pc:spChg chg="mod">
          <ac:chgData name="Sarah GAUVARD" userId="4c03e191-e154-482a-88b2-11de19eac96c" providerId="ADAL" clId="{8245CC27-65FB-483E-B8E7-D04039DBA80D}" dt="2021-05-24T16:09:27.048" v="15073" actId="790"/>
          <ac:spMkLst>
            <pc:docMk/>
            <pc:sldMk cId="2622219198" sldId="10459"/>
            <ac:spMk id="55" creationId="{B63F3251-C420-4EC6-A652-BED9B1662C49}"/>
          </ac:spMkLst>
        </pc:spChg>
        <pc:spChg chg="mod">
          <ac:chgData name="Sarah GAUVARD" userId="4c03e191-e154-482a-88b2-11de19eac96c" providerId="ADAL" clId="{8245CC27-65FB-483E-B8E7-D04039DBA80D}" dt="2021-05-24T16:09:27.048" v="15074" actId="790"/>
          <ac:spMkLst>
            <pc:docMk/>
            <pc:sldMk cId="2622219198" sldId="10459"/>
            <ac:spMk id="57" creationId="{69054210-C4B6-4FB4-80AD-FD0685FDB8A7}"/>
          </ac:spMkLst>
        </pc:spChg>
        <pc:spChg chg="mod">
          <ac:chgData name="Sarah GAUVARD" userId="4c03e191-e154-482a-88b2-11de19eac96c" providerId="ADAL" clId="{8245CC27-65FB-483E-B8E7-D04039DBA80D}" dt="2021-05-24T16:09:27.056" v="15075" actId="790"/>
          <ac:spMkLst>
            <pc:docMk/>
            <pc:sldMk cId="2622219198" sldId="10459"/>
            <ac:spMk id="58" creationId="{232AEBA7-7474-41B4-B82F-C3A42529BB0E}"/>
          </ac:spMkLst>
        </pc:spChg>
        <pc:spChg chg="mod">
          <ac:chgData name="Sarah GAUVARD" userId="4c03e191-e154-482a-88b2-11de19eac96c" providerId="ADAL" clId="{8245CC27-65FB-483E-B8E7-D04039DBA80D}" dt="2021-05-24T16:09:27.056" v="15076" actId="790"/>
          <ac:spMkLst>
            <pc:docMk/>
            <pc:sldMk cId="2622219198" sldId="10459"/>
            <ac:spMk id="63" creationId="{61A1973B-5E55-44A7-880E-BA9B0E602E07}"/>
          </ac:spMkLst>
        </pc:spChg>
        <pc:spChg chg="mod">
          <ac:chgData name="Sarah GAUVARD" userId="4c03e191-e154-482a-88b2-11de19eac96c" providerId="ADAL" clId="{8245CC27-65FB-483E-B8E7-D04039DBA80D}" dt="2021-05-24T16:09:27.056" v="15077" actId="790"/>
          <ac:spMkLst>
            <pc:docMk/>
            <pc:sldMk cId="2622219198" sldId="10459"/>
            <ac:spMk id="64" creationId="{454B325B-9049-498F-95B6-2D362EE8E082}"/>
          </ac:spMkLst>
        </pc:spChg>
        <pc:spChg chg="mod">
          <ac:chgData name="Sarah GAUVARD" userId="4c03e191-e154-482a-88b2-11de19eac96c" providerId="ADAL" clId="{8245CC27-65FB-483E-B8E7-D04039DBA80D}" dt="2021-05-24T16:09:27.058" v="15078" actId="790"/>
          <ac:spMkLst>
            <pc:docMk/>
            <pc:sldMk cId="2622219198" sldId="10459"/>
            <ac:spMk id="65" creationId="{1E938B2A-4E75-4F22-B677-0E92942C3BF0}"/>
          </ac:spMkLst>
        </pc:spChg>
        <pc:spChg chg="mod">
          <ac:chgData name="Sarah GAUVARD" userId="4c03e191-e154-482a-88b2-11de19eac96c" providerId="ADAL" clId="{8245CC27-65FB-483E-B8E7-D04039DBA80D}" dt="2021-05-24T16:09:27.058" v="15079" actId="790"/>
          <ac:spMkLst>
            <pc:docMk/>
            <pc:sldMk cId="2622219198" sldId="10459"/>
            <ac:spMk id="69" creationId="{DBCAE63A-1BB7-4D88-AF4F-3EA225B48E8E}"/>
          </ac:spMkLst>
        </pc:spChg>
        <pc:spChg chg="mod">
          <ac:chgData name="Sarah GAUVARD" userId="4c03e191-e154-482a-88b2-11de19eac96c" providerId="ADAL" clId="{8245CC27-65FB-483E-B8E7-D04039DBA80D}" dt="2021-05-24T16:09:27.058" v="15080" actId="790"/>
          <ac:spMkLst>
            <pc:docMk/>
            <pc:sldMk cId="2622219198" sldId="10459"/>
            <ac:spMk id="70" creationId="{F1C05B6A-4C6A-49A8-B882-43C0D93B017C}"/>
          </ac:spMkLst>
        </pc:spChg>
        <pc:spChg chg="mod">
          <ac:chgData name="Sarah GAUVARD" userId="4c03e191-e154-482a-88b2-11de19eac96c" providerId="ADAL" clId="{8245CC27-65FB-483E-B8E7-D04039DBA80D}" dt="2021-05-24T16:09:27.058" v="15081" actId="790"/>
          <ac:spMkLst>
            <pc:docMk/>
            <pc:sldMk cId="2622219198" sldId="10459"/>
            <ac:spMk id="72" creationId="{D30E9580-C8AB-4324-8ACD-5E2FFF909617}"/>
          </ac:spMkLst>
        </pc:spChg>
        <pc:spChg chg="mod">
          <ac:chgData name="Sarah GAUVARD" userId="4c03e191-e154-482a-88b2-11de19eac96c" providerId="ADAL" clId="{8245CC27-65FB-483E-B8E7-D04039DBA80D}" dt="2021-05-24T16:09:27.058" v="15082" actId="790"/>
          <ac:spMkLst>
            <pc:docMk/>
            <pc:sldMk cId="2622219198" sldId="10459"/>
            <ac:spMk id="73" creationId="{10BC5ECF-96B8-4588-B214-C8B1A33C3323}"/>
          </ac:spMkLst>
        </pc:spChg>
        <pc:spChg chg="mod">
          <ac:chgData name="Sarah GAUVARD" userId="4c03e191-e154-482a-88b2-11de19eac96c" providerId="ADAL" clId="{8245CC27-65FB-483E-B8E7-D04039DBA80D}" dt="2021-05-24T16:09:27.058" v="15083" actId="790"/>
          <ac:spMkLst>
            <pc:docMk/>
            <pc:sldMk cId="2622219198" sldId="10459"/>
            <ac:spMk id="74" creationId="{B1E3592B-DCB2-4C49-AA17-FD77A5513DF7}"/>
          </ac:spMkLst>
        </pc:spChg>
        <pc:spChg chg="mod">
          <ac:chgData name="Sarah GAUVARD" userId="4c03e191-e154-482a-88b2-11de19eac96c" providerId="ADAL" clId="{8245CC27-65FB-483E-B8E7-D04039DBA80D}" dt="2021-05-24T16:09:27.058" v="15084" actId="790"/>
          <ac:spMkLst>
            <pc:docMk/>
            <pc:sldMk cId="2622219198" sldId="10459"/>
            <ac:spMk id="75" creationId="{40464EC8-3ED2-479F-AA13-547A901D2AFC}"/>
          </ac:spMkLst>
        </pc:spChg>
        <pc:spChg chg="mod">
          <ac:chgData name="Sarah GAUVARD" userId="4c03e191-e154-482a-88b2-11de19eac96c" providerId="ADAL" clId="{8245CC27-65FB-483E-B8E7-D04039DBA80D}" dt="2021-05-24T16:09:27.058" v="15085" actId="790"/>
          <ac:spMkLst>
            <pc:docMk/>
            <pc:sldMk cId="2622219198" sldId="10459"/>
            <ac:spMk id="76" creationId="{10D9986C-9CA4-417C-9CD4-BC05991D62D9}"/>
          </ac:spMkLst>
        </pc:spChg>
        <pc:spChg chg="mod">
          <ac:chgData name="Sarah GAUVARD" userId="4c03e191-e154-482a-88b2-11de19eac96c" providerId="ADAL" clId="{8245CC27-65FB-483E-B8E7-D04039DBA80D}" dt="2021-05-24T16:09:27.058" v="15086" actId="790"/>
          <ac:spMkLst>
            <pc:docMk/>
            <pc:sldMk cId="2622219198" sldId="10459"/>
            <ac:spMk id="82" creationId="{E9135B47-2D9D-4245-B195-852DFE06A01F}"/>
          </ac:spMkLst>
        </pc:spChg>
        <pc:spChg chg="mod">
          <ac:chgData name="Sarah GAUVARD" userId="4c03e191-e154-482a-88b2-11de19eac96c" providerId="ADAL" clId="{8245CC27-65FB-483E-B8E7-D04039DBA80D}" dt="2021-05-24T16:09:27.058" v="15087" actId="790"/>
          <ac:spMkLst>
            <pc:docMk/>
            <pc:sldMk cId="2622219198" sldId="10459"/>
            <ac:spMk id="83" creationId="{F605E2FE-2D03-47CF-A9E0-A06DF1E80BA3}"/>
          </ac:spMkLst>
        </pc:spChg>
        <pc:spChg chg="mod">
          <ac:chgData name="Sarah GAUVARD" userId="4c03e191-e154-482a-88b2-11de19eac96c" providerId="ADAL" clId="{8245CC27-65FB-483E-B8E7-D04039DBA80D}" dt="2021-05-24T16:09:27.058" v="15088" actId="790"/>
          <ac:spMkLst>
            <pc:docMk/>
            <pc:sldMk cId="2622219198" sldId="10459"/>
            <ac:spMk id="84" creationId="{8F0B4BBB-A591-4171-B679-F336E5C5CEC8}"/>
          </ac:spMkLst>
        </pc:spChg>
        <pc:spChg chg="mod">
          <ac:chgData name="Sarah GAUVARD" userId="4c03e191-e154-482a-88b2-11de19eac96c" providerId="ADAL" clId="{8245CC27-65FB-483E-B8E7-D04039DBA80D}" dt="2021-05-24T16:09:27.058" v="15089" actId="790"/>
          <ac:spMkLst>
            <pc:docMk/>
            <pc:sldMk cId="2622219198" sldId="10459"/>
            <ac:spMk id="95" creationId="{2B208BB2-6D57-419B-BE99-9FB2EB9BB080}"/>
          </ac:spMkLst>
        </pc:spChg>
        <pc:spChg chg="mod">
          <ac:chgData name="Sarah GAUVARD" userId="4c03e191-e154-482a-88b2-11de19eac96c" providerId="ADAL" clId="{8245CC27-65FB-483E-B8E7-D04039DBA80D}" dt="2021-05-24T16:09:27.066" v="15090" actId="790"/>
          <ac:spMkLst>
            <pc:docMk/>
            <pc:sldMk cId="2622219198" sldId="10459"/>
            <ac:spMk id="96" creationId="{F15561ED-FA6A-4BBA-9A97-BB0743C9E791}"/>
          </ac:spMkLst>
        </pc:spChg>
        <pc:spChg chg="mod">
          <ac:chgData name="Sarah GAUVARD" userId="4c03e191-e154-482a-88b2-11de19eac96c" providerId="ADAL" clId="{8245CC27-65FB-483E-B8E7-D04039DBA80D}" dt="2021-05-24T16:09:27.066" v="15091" actId="790"/>
          <ac:spMkLst>
            <pc:docMk/>
            <pc:sldMk cId="2622219198" sldId="10459"/>
            <ac:spMk id="97" creationId="{1E59D88E-0852-47C8-A0C2-EC18D5E724D9}"/>
          </ac:spMkLst>
        </pc:spChg>
        <pc:spChg chg="mod">
          <ac:chgData name="Sarah GAUVARD" userId="4c03e191-e154-482a-88b2-11de19eac96c" providerId="ADAL" clId="{8245CC27-65FB-483E-B8E7-D04039DBA80D}" dt="2021-05-25T12:59:57.843" v="22828" actId="1076"/>
          <ac:spMkLst>
            <pc:docMk/>
            <pc:sldMk cId="2622219198" sldId="10459"/>
            <ac:spMk id="98" creationId="{80D609C3-770A-4A62-A60B-1A41FF145B8B}"/>
          </ac:spMkLst>
        </pc:spChg>
        <pc:spChg chg="add del mod">
          <ac:chgData name="Sarah GAUVARD" userId="4c03e191-e154-482a-88b2-11de19eac96c" providerId="ADAL" clId="{8245CC27-65FB-483E-B8E7-D04039DBA80D}" dt="2021-05-25T12:25:21.260" v="21430" actId="478"/>
          <ac:spMkLst>
            <pc:docMk/>
            <pc:sldMk cId="2622219198" sldId="10459"/>
            <ac:spMk id="99" creationId="{8C0EFC19-0FA3-4576-AE77-BCD49403EE45}"/>
          </ac:spMkLst>
        </pc:spChg>
        <pc:spChg chg="del mod">
          <ac:chgData name="Sarah GAUVARD" userId="4c03e191-e154-482a-88b2-11de19eac96c" providerId="ADAL" clId="{8245CC27-65FB-483E-B8E7-D04039DBA80D}" dt="2021-05-24T09:52:20.356" v="989" actId="478"/>
          <ac:spMkLst>
            <pc:docMk/>
            <pc:sldMk cId="2622219198" sldId="10459"/>
            <ac:spMk id="99" creationId="{C94C71C7-5F58-4E59-8751-2AE80C8761F5}"/>
          </ac:spMkLst>
        </pc:spChg>
        <pc:spChg chg="add del mod">
          <ac:chgData name="Sarah GAUVARD" userId="4c03e191-e154-482a-88b2-11de19eac96c" providerId="ADAL" clId="{8245CC27-65FB-483E-B8E7-D04039DBA80D}" dt="2021-05-25T11:31:17.700" v="20921" actId="478"/>
          <ac:spMkLst>
            <pc:docMk/>
            <pc:sldMk cId="2622219198" sldId="10459"/>
            <ac:spMk id="100" creationId="{A699B884-5570-492F-BB36-E3E9372136DD}"/>
          </ac:spMkLst>
        </pc:spChg>
        <pc:spChg chg="del mod">
          <ac:chgData name="Sarah GAUVARD" userId="4c03e191-e154-482a-88b2-11de19eac96c" providerId="ADAL" clId="{8245CC27-65FB-483E-B8E7-D04039DBA80D}" dt="2021-05-24T09:52:21.014" v="990" actId="478"/>
          <ac:spMkLst>
            <pc:docMk/>
            <pc:sldMk cId="2622219198" sldId="10459"/>
            <ac:spMk id="100" creationId="{D4CDCB67-63A4-46DD-8EBE-619304AC23AA}"/>
          </ac:spMkLst>
        </pc:spChg>
        <pc:spChg chg="del mod">
          <ac:chgData name="Sarah GAUVARD" userId="4c03e191-e154-482a-88b2-11de19eac96c" providerId="ADAL" clId="{8245CC27-65FB-483E-B8E7-D04039DBA80D}" dt="2021-05-25T12:34:34.486" v="21503" actId="478"/>
          <ac:spMkLst>
            <pc:docMk/>
            <pc:sldMk cId="2622219198" sldId="10459"/>
            <ac:spMk id="101" creationId="{BEE69406-F245-4940-A3D8-6BB2373960DE}"/>
          </ac:spMkLst>
        </pc:spChg>
        <pc:spChg chg="add del mod modVis">
          <ac:chgData name="Sarah GAUVARD" userId="4c03e191-e154-482a-88b2-11de19eac96c" providerId="ADAL" clId="{8245CC27-65FB-483E-B8E7-D04039DBA80D}" dt="2021-05-25T11:30:55.841" v="20674"/>
          <ac:spMkLst>
            <pc:docMk/>
            <pc:sldMk cId="2622219198" sldId="10459"/>
            <ac:spMk id="102" creationId="{EF452A89-0187-4291-9B62-6FB5F29CB4C8}"/>
          </ac:spMkLst>
        </pc:spChg>
        <pc:spChg chg="add del mod modVis">
          <ac:chgData name="Sarah GAUVARD" userId="4c03e191-e154-482a-88b2-11de19eac96c" providerId="ADAL" clId="{8245CC27-65FB-483E-B8E7-D04039DBA80D}" dt="2021-05-24T15:34:46.255" v="11973"/>
          <ac:spMkLst>
            <pc:docMk/>
            <pc:sldMk cId="2622219198" sldId="10459"/>
            <ac:spMk id="102" creationId="{F9990FE5-EDE4-4C43-9D13-4155CFA405D1}"/>
          </ac:spMkLst>
        </pc:spChg>
        <pc:spChg chg="add del mod modVis">
          <ac:chgData name="Sarah GAUVARD" userId="4c03e191-e154-482a-88b2-11de19eac96c" providerId="ADAL" clId="{8245CC27-65FB-483E-B8E7-D04039DBA80D}" dt="2021-05-25T11:30:56.633" v="20719"/>
          <ac:spMkLst>
            <pc:docMk/>
            <pc:sldMk cId="2622219198" sldId="10459"/>
            <ac:spMk id="103" creationId="{D997B847-90F0-458D-9B81-E034F0BEFB4F}"/>
          </ac:spMkLst>
        </pc:spChg>
        <pc:spChg chg="add del mod modVis">
          <ac:chgData name="Sarah GAUVARD" userId="4c03e191-e154-482a-88b2-11de19eac96c" providerId="ADAL" clId="{8245CC27-65FB-483E-B8E7-D04039DBA80D}" dt="2021-05-25T11:30:58.209" v="20766"/>
          <ac:spMkLst>
            <pc:docMk/>
            <pc:sldMk cId="2622219198" sldId="10459"/>
            <ac:spMk id="104" creationId="{5BE38BD6-F34B-4B6B-9370-56D245EE3BED}"/>
          </ac:spMkLst>
        </pc:spChg>
        <pc:spChg chg="add del mod modVis">
          <ac:chgData name="Sarah GAUVARD" userId="4c03e191-e154-482a-88b2-11de19eac96c" providerId="ADAL" clId="{8245CC27-65FB-483E-B8E7-D04039DBA80D}" dt="2021-05-25T11:30:58.993" v="20811"/>
          <ac:spMkLst>
            <pc:docMk/>
            <pc:sldMk cId="2622219198" sldId="10459"/>
            <ac:spMk id="105" creationId="{9DFCE689-84C9-4FEB-8674-7D2F09E6EB45}"/>
          </ac:spMkLst>
        </pc:spChg>
        <pc:spChg chg="add del mod modVis">
          <ac:chgData name="Sarah GAUVARD" userId="4c03e191-e154-482a-88b2-11de19eac96c" providerId="ADAL" clId="{8245CC27-65FB-483E-B8E7-D04039DBA80D}" dt="2021-05-25T11:31:10.421" v="20859"/>
          <ac:spMkLst>
            <pc:docMk/>
            <pc:sldMk cId="2622219198" sldId="10459"/>
            <ac:spMk id="106" creationId="{27CC0339-84DD-4188-ACFC-D0F982033CAE}"/>
          </ac:spMkLst>
        </pc:spChg>
        <pc:spChg chg="add del mod modVis">
          <ac:chgData name="Sarah GAUVARD" userId="4c03e191-e154-482a-88b2-11de19eac96c" providerId="ADAL" clId="{8245CC27-65FB-483E-B8E7-D04039DBA80D}" dt="2021-05-25T11:31:15.084" v="20918"/>
          <ac:spMkLst>
            <pc:docMk/>
            <pc:sldMk cId="2622219198" sldId="10459"/>
            <ac:spMk id="107" creationId="{3BC0F167-5D74-43EA-9800-55703F29E043}"/>
          </ac:spMkLst>
        </pc:spChg>
        <pc:spChg chg="add del mod modVis">
          <ac:chgData name="Sarah GAUVARD" userId="4c03e191-e154-482a-88b2-11de19eac96c" providerId="ADAL" clId="{8245CC27-65FB-483E-B8E7-D04039DBA80D}" dt="2021-05-25T12:34:57.276" v="21850"/>
          <ac:spMkLst>
            <pc:docMk/>
            <pc:sldMk cId="2622219198" sldId="10459"/>
            <ac:spMk id="121" creationId="{6CEBD663-779A-4004-93F0-59F277F8AB6C}"/>
          </ac:spMkLst>
        </pc:spChg>
        <pc:spChg chg="del mod">
          <ac:chgData name="Sarah GAUVARD" userId="4c03e191-e154-482a-88b2-11de19eac96c" providerId="ADAL" clId="{8245CC27-65FB-483E-B8E7-D04039DBA80D}" dt="2021-05-24T09:52:23.452" v="994" actId="478"/>
          <ac:spMkLst>
            <pc:docMk/>
            <pc:sldMk cId="2622219198" sldId="10459"/>
            <ac:spMk id="127" creationId="{F380DE95-6AD2-484E-95AC-1ACA750EB303}"/>
          </ac:spMkLst>
        </pc:spChg>
        <pc:spChg chg="del mod">
          <ac:chgData name="Sarah GAUVARD" userId="4c03e191-e154-482a-88b2-11de19eac96c" providerId="ADAL" clId="{8245CC27-65FB-483E-B8E7-D04039DBA80D}" dt="2021-05-24T09:52:22.127" v="992" actId="478"/>
          <ac:spMkLst>
            <pc:docMk/>
            <pc:sldMk cId="2622219198" sldId="10459"/>
            <ac:spMk id="128" creationId="{0AB5F0BD-376D-447A-9032-749FB078936B}"/>
          </ac:spMkLst>
        </pc:spChg>
        <pc:spChg chg="del mod">
          <ac:chgData name="Sarah GAUVARD" userId="4c03e191-e154-482a-88b2-11de19eac96c" providerId="ADAL" clId="{8245CC27-65FB-483E-B8E7-D04039DBA80D}" dt="2021-05-24T09:02:55.117" v="161" actId="478"/>
          <ac:spMkLst>
            <pc:docMk/>
            <pc:sldMk cId="2622219198" sldId="10459"/>
            <ac:spMk id="129" creationId="{4A04D1B5-5D04-4208-90C7-27C5B3DF6BAB}"/>
          </ac:spMkLst>
        </pc:spChg>
        <pc:spChg chg="del mod">
          <ac:chgData name="Sarah GAUVARD" userId="4c03e191-e154-482a-88b2-11de19eac96c" providerId="ADAL" clId="{8245CC27-65FB-483E-B8E7-D04039DBA80D}" dt="2021-05-24T09:02:55.117" v="161" actId="478"/>
          <ac:spMkLst>
            <pc:docMk/>
            <pc:sldMk cId="2622219198" sldId="10459"/>
            <ac:spMk id="130" creationId="{7D99563A-3C11-4314-8E30-616D59FB0030}"/>
          </ac:spMkLst>
        </pc:spChg>
        <pc:spChg chg="mod topLvl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31" creationId="{A0CF7030-74D6-41D0-9786-9F4BB7CAC9A7}"/>
          </ac:spMkLst>
        </pc:spChg>
        <pc:spChg chg="mod topLvl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32" creationId="{2E738EF8-B3B7-4757-806E-88E0B1DF2612}"/>
          </ac:spMkLst>
        </pc:spChg>
        <pc:spChg chg="mod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1" creationId="{62C4D626-F5F0-4AB1-8331-A44CA6111BA1}"/>
          </ac:spMkLst>
        </pc:spChg>
        <pc:spChg chg="mod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2" creationId="{258ECF80-BA63-461E-A098-D1D86CEEC036}"/>
          </ac:spMkLst>
        </pc:spChg>
        <pc:spChg chg="mod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3" creationId="{E33F2D8E-F312-494D-A5E7-40A5EFEDE662}"/>
          </ac:spMkLst>
        </pc:spChg>
        <pc:spChg chg="mod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4" creationId="{2C42C196-AF05-496C-8D41-ED85E1936F31}"/>
          </ac:spMkLst>
        </pc:spChg>
        <pc:spChg chg="mod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5" creationId="{9032E0CE-781F-4C55-A590-EB1DC1659389}"/>
          </ac:spMkLst>
        </pc:spChg>
        <pc:spChg chg="mod topLvl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7" creationId="{81BCCAD9-ACBB-4315-8102-539D64974B9D}"/>
          </ac:spMkLst>
        </pc:spChg>
        <pc:spChg chg="mod topLvl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8" creationId="{448DFD26-A3F4-495C-8CC0-96A9E41F69F3}"/>
          </ac:spMkLst>
        </pc:spChg>
        <pc:spChg chg="mod topLvl">
          <ac:chgData name="Sarah GAUVARD" userId="4c03e191-e154-482a-88b2-11de19eac96c" providerId="ADAL" clId="{8245CC27-65FB-483E-B8E7-D04039DBA80D}" dt="2021-05-25T13:00:07.573" v="22829" actId="1076"/>
          <ac:spMkLst>
            <pc:docMk/>
            <pc:sldMk cId="2622219198" sldId="10459"/>
            <ac:spMk id="149" creationId="{0090C71F-8FB4-4DE7-9BA3-7589EFDFECAD}"/>
          </ac:spMkLst>
        </pc:spChg>
        <pc:spChg chg="del mod topLvl">
          <ac:chgData name="Sarah GAUVARD" userId="4c03e191-e154-482a-88b2-11de19eac96c" providerId="ADAL" clId="{8245CC27-65FB-483E-B8E7-D04039DBA80D}" dt="2021-05-25T12:30:20.693" v="21472" actId="478"/>
          <ac:spMkLst>
            <pc:docMk/>
            <pc:sldMk cId="2622219198" sldId="10459"/>
            <ac:spMk id="150" creationId="{062E4221-AD36-4890-8A26-24CC90897E91}"/>
          </ac:spMkLst>
        </pc:spChg>
        <pc:spChg chg="del mod topLvl">
          <ac:chgData name="Sarah GAUVARD" userId="4c03e191-e154-482a-88b2-11de19eac96c" providerId="ADAL" clId="{8245CC27-65FB-483E-B8E7-D04039DBA80D}" dt="2021-05-25T15:21:49.452" v="27627" actId="478"/>
          <ac:spMkLst>
            <pc:docMk/>
            <pc:sldMk cId="2622219198" sldId="10459"/>
            <ac:spMk id="151" creationId="{5E64C097-F81E-4F7D-9E0A-18252B921E98}"/>
          </ac:spMkLst>
        </pc:spChg>
        <pc:spChg chg="del">
          <ac:chgData name="Sarah GAUVARD" userId="4c03e191-e154-482a-88b2-11de19eac96c" providerId="ADAL" clId="{8245CC27-65FB-483E-B8E7-D04039DBA80D}" dt="2021-05-24T09:51:26.536" v="937" actId="478"/>
          <ac:spMkLst>
            <pc:docMk/>
            <pc:sldMk cId="2622219198" sldId="10459"/>
            <ac:spMk id="156" creationId="{836B22C9-514D-461D-930E-666A255DE5AD}"/>
          </ac:spMkLst>
        </pc:spChg>
        <pc:spChg chg="del">
          <ac:chgData name="Sarah GAUVARD" userId="4c03e191-e154-482a-88b2-11de19eac96c" providerId="ADAL" clId="{8245CC27-65FB-483E-B8E7-D04039DBA80D}" dt="2021-05-24T09:51:26.536" v="937" actId="478"/>
          <ac:spMkLst>
            <pc:docMk/>
            <pc:sldMk cId="2622219198" sldId="10459"/>
            <ac:spMk id="158" creationId="{679E835B-88A5-4118-A2E6-97B6B6433350}"/>
          </ac:spMkLst>
        </pc:spChg>
        <pc:spChg chg="del">
          <ac:chgData name="Sarah GAUVARD" userId="4c03e191-e154-482a-88b2-11de19eac96c" providerId="ADAL" clId="{8245CC27-65FB-483E-B8E7-D04039DBA80D}" dt="2021-05-24T09:51:26.536" v="937" actId="478"/>
          <ac:spMkLst>
            <pc:docMk/>
            <pc:sldMk cId="2622219198" sldId="10459"/>
            <ac:spMk id="159" creationId="{E6015557-5508-470E-AD12-F745612E8427}"/>
          </ac:spMkLst>
        </pc:spChg>
        <pc:spChg chg="del">
          <ac:chgData name="Sarah GAUVARD" userId="4c03e191-e154-482a-88b2-11de19eac96c" providerId="ADAL" clId="{8245CC27-65FB-483E-B8E7-D04039DBA80D}" dt="2021-05-24T09:51:26.536" v="937" actId="478"/>
          <ac:spMkLst>
            <pc:docMk/>
            <pc:sldMk cId="2622219198" sldId="10459"/>
            <ac:spMk id="160" creationId="{403E01D2-B873-45D0-9C1A-757FC06E435A}"/>
          </ac:spMkLst>
        </pc:spChg>
        <pc:spChg chg="del">
          <ac:chgData name="Sarah GAUVARD" userId="4c03e191-e154-482a-88b2-11de19eac96c" providerId="ADAL" clId="{8245CC27-65FB-483E-B8E7-D04039DBA80D}" dt="2021-05-24T09:51:26.536" v="937" actId="478"/>
          <ac:spMkLst>
            <pc:docMk/>
            <pc:sldMk cId="2622219198" sldId="10459"/>
            <ac:spMk id="161" creationId="{A2CDDECB-C2EB-4AC1-95C8-A59FA2CA16BB}"/>
          </ac:spMkLst>
        </pc:spChg>
        <pc:spChg chg="mod">
          <ac:chgData name="Sarah GAUVARD" userId="4c03e191-e154-482a-88b2-11de19eac96c" providerId="ADAL" clId="{8245CC27-65FB-483E-B8E7-D04039DBA80D}" dt="2021-05-24T16:09:27.088" v="15101" actId="790"/>
          <ac:spMkLst>
            <pc:docMk/>
            <pc:sldMk cId="2622219198" sldId="10459"/>
            <ac:spMk id="162" creationId="{A5B49362-B700-474F-869D-13632EDB5039}"/>
          </ac:spMkLst>
        </pc:spChg>
        <pc:spChg chg="add del mod">
          <ac:chgData name="Sarah GAUVARD" userId="4c03e191-e154-482a-88b2-11de19eac96c" providerId="ADAL" clId="{8245CC27-65FB-483E-B8E7-D04039DBA80D}" dt="2021-05-24T08:37:41.919" v="9" actId="478"/>
          <ac:spMkLst>
            <pc:docMk/>
            <pc:sldMk cId="2622219198" sldId="10459"/>
            <ac:spMk id="163" creationId="{02D276D9-2C9B-4729-AE33-F837315A8E1F}"/>
          </ac:spMkLst>
        </pc:spChg>
        <pc:spChg chg="add mod">
          <ac:chgData name="Sarah GAUVARD" userId="4c03e191-e154-482a-88b2-11de19eac96c" providerId="ADAL" clId="{8245CC27-65FB-483E-B8E7-D04039DBA80D}" dt="2021-05-24T09:51:26.926" v="938"/>
          <ac:spMkLst>
            <pc:docMk/>
            <pc:sldMk cId="2622219198" sldId="10459"/>
            <ac:spMk id="163" creationId="{54A525F7-C4EF-45B9-AF85-477C224439A8}"/>
          </ac:spMkLst>
        </pc:spChg>
        <pc:spChg chg="add del mod">
          <ac:chgData name="Sarah GAUVARD" userId="4c03e191-e154-482a-88b2-11de19eac96c" providerId="ADAL" clId="{8245CC27-65FB-483E-B8E7-D04039DBA80D}" dt="2021-05-25T12:24:21.184" v="21348" actId="478"/>
          <ac:spMkLst>
            <pc:docMk/>
            <pc:sldMk cId="2622219198" sldId="10459"/>
            <ac:spMk id="163" creationId="{D3A0EF98-EE15-4424-AD31-5F19062DD615}"/>
          </ac:spMkLst>
        </pc:spChg>
        <pc:spChg chg="add del mod">
          <ac:chgData name="Sarah GAUVARD" userId="4c03e191-e154-482a-88b2-11de19eac96c" providerId="ADAL" clId="{8245CC27-65FB-483E-B8E7-D04039DBA80D}" dt="2021-05-24T08:37:41.919" v="9" actId="478"/>
          <ac:spMkLst>
            <pc:docMk/>
            <pc:sldMk cId="2622219198" sldId="10459"/>
            <ac:spMk id="164" creationId="{154D200C-1F8A-4EBA-BF8D-F5E17E07AD5B}"/>
          </ac:spMkLst>
        </pc:spChg>
        <pc:spChg chg="add mod">
          <ac:chgData name="Sarah GAUVARD" userId="4c03e191-e154-482a-88b2-11de19eac96c" providerId="ADAL" clId="{8245CC27-65FB-483E-B8E7-D04039DBA80D}" dt="2021-05-25T11:22:30.590" v="20343" actId="571"/>
          <ac:spMkLst>
            <pc:docMk/>
            <pc:sldMk cId="2622219198" sldId="10459"/>
            <ac:spMk id="164" creationId="{2E3889F8-5887-4546-85D0-C77F66A5FE0F}"/>
          </ac:spMkLst>
        </pc:spChg>
        <pc:spChg chg="add mod">
          <ac:chgData name="Sarah GAUVARD" userId="4c03e191-e154-482a-88b2-11de19eac96c" providerId="ADAL" clId="{8245CC27-65FB-483E-B8E7-D04039DBA80D}" dt="2021-05-24T09:51:26.926" v="938"/>
          <ac:spMkLst>
            <pc:docMk/>
            <pc:sldMk cId="2622219198" sldId="10459"/>
            <ac:spMk id="164" creationId="{6EE15319-CE88-40B3-82B7-981F52FF7D97}"/>
          </ac:spMkLst>
        </pc:spChg>
        <pc:spChg chg="add del mod">
          <ac:chgData name="Sarah GAUVARD" userId="4c03e191-e154-482a-88b2-11de19eac96c" providerId="ADAL" clId="{8245CC27-65FB-483E-B8E7-D04039DBA80D}" dt="2021-05-24T08:37:41.919" v="9" actId="478"/>
          <ac:spMkLst>
            <pc:docMk/>
            <pc:sldMk cId="2622219198" sldId="10459"/>
            <ac:spMk id="165" creationId="{04EF09F0-ACDF-41FA-83B6-A825DA015AFB}"/>
          </ac:spMkLst>
        </pc:spChg>
        <pc:spChg chg="add mod">
          <ac:chgData name="Sarah GAUVARD" userId="4c03e191-e154-482a-88b2-11de19eac96c" providerId="ADAL" clId="{8245CC27-65FB-483E-B8E7-D04039DBA80D}" dt="2021-05-24T09:51:26.926" v="938"/>
          <ac:spMkLst>
            <pc:docMk/>
            <pc:sldMk cId="2622219198" sldId="10459"/>
            <ac:spMk id="165" creationId="{4FB4E446-0CDF-4CAF-A3F8-D6DE98B3EAEB}"/>
          </ac:spMkLst>
        </pc:spChg>
        <pc:spChg chg="add mod">
          <ac:chgData name="Sarah GAUVARD" userId="4c03e191-e154-482a-88b2-11de19eac96c" providerId="ADAL" clId="{8245CC27-65FB-483E-B8E7-D04039DBA80D}" dt="2021-05-25T11:22:30.590" v="20343" actId="571"/>
          <ac:spMkLst>
            <pc:docMk/>
            <pc:sldMk cId="2622219198" sldId="10459"/>
            <ac:spMk id="165" creationId="{A257C35B-1490-4015-8E3D-AFDE5AEC1E3D}"/>
          </ac:spMkLst>
        </pc:spChg>
        <pc:spChg chg="add mod">
          <ac:chgData name="Sarah GAUVARD" userId="4c03e191-e154-482a-88b2-11de19eac96c" providerId="ADAL" clId="{8245CC27-65FB-483E-B8E7-D04039DBA80D}" dt="2021-05-24T09:51:26.926" v="938"/>
          <ac:spMkLst>
            <pc:docMk/>
            <pc:sldMk cId="2622219198" sldId="10459"/>
            <ac:spMk id="166" creationId="{5668BEA4-6F7C-4EEC-A5DA-1296C9AD902C}"/>
          </ac:spMkLst>
        </pc:spChg>
        <pc:spChg chg="add del mod">
          <ac:chgData name="Sarah GAUVARD" userId="4c03e191-e154-482a-88b2-11de19eac96c" providerId="ADAL" clId="{8245CC27-65FB-483E-B8E7-D04039DBA80D}" dt="2021-05-24T08:37:41.919" v="9" actId="478"/>
          <ac:spMkLst>
            <pc:docMk/>
            <pc:sldMk cId="2622219198" sldId="10459"/>
            <ac:spMk id="166" creationId="{E94042A4-6C32-4F94-B005-893C39D612AF}"/>
          </ac:spMkLst>
        </pc:spChg>
        <pc:spChg chg="add mod">
          <ac:chgData name="Sarah GAUVARD" userId="4c03e191-e154-482a-88b2-11de19eac96c" providerId="ADAL" clId="{8245CC27-65FB-483E-B8E7-D04039DBA80D}" dt="2021-05-24T09:51:26.926" v="938"/>
          <ac:spMkLst>
            <pc:docMk/>
            <pc:sldMk cId="2622219198" sldId="10459"/>
            <ac:spMk id="167" creationId="{70A31A41-D39A-4901-B524-DEB6EC5B4504}"/>
          </ac:spMkLst>
        </pc:spChg>
        <pc:spChg chg="add del mod">
          <ac:chgData name="Sarah GAUVARD" userId="4c03e191-e154-482a-88b2-11de19eac96c" providerId="ADAL" clId="{8245CC27-65FB-483E-B8E7-D04039DBA80D}" dt="2021-05-24T08:37:41.919" v="9" actId="478"/>
          <ac:spMkLst>
            <pc:docMk/>
            <pc:sldMk cId="2622219198" sldId="10459"/>
            <ac:spMk id="167" creationId="{FD6E5CA9-A056-45EE-A9E2-1A9D7BA81036}"/>
          </ac:spMkLst>
        </pc:spChg>
        <pc:spChg chg="add del mod">
          <ac:chgData name="Sarah GAUVARD" userId="4c03e191-e154-482a-88b2-11de19eac96c" providerId="ADAL" clId="{8245CC27-65FB-483E-B8E7-D04039DBA80D}" dt="2021-05-24T08:37:41.919" v="9" actId="478"/>
          <ac:spMkLst>
            <pc:docMk/>
            <pc:sldMk cId="2622219198" sldId="10459"/>
            <ac:spMk id="168" creationId="{34EEDE02-4D43-421C-B92A-FC964BDF705C}"/>
          </ac:spMkLst>
        </pc:spChg>
        <pc:spChg chg="add del mod">
          <ac:chgData name="Sarah GAUVARD" userId="4c03e191-e154-482a-88b2-11de19eac96c" providerId="ADAL" clId="{8245CC27-65FB-483E-B8E7-D04039DBA80D}" dt="2021-05-25T12:34:32.680" v="21502" actId="478"/>
          <ac:spMkLst>
            <pc:docMk/>
            <pc:sldMk cId="2622219198" sldId="10459"/>
            <ac:spMk id="169" creationId="{E57566DC-372D-4D9A-998F-12E9CF5A35E9}"/>
          </ac:spMkLst>
        </pc:spChg>
        <pc:spChg chg="add mod">
          <ac:chgData name="Sarah GAUVARD" userId="4c03e191-e154-482a-88b2-11de19eac96c" providerId="ADAL" clId="{8245CC27-65FB-483E-B8E7-D04039DBA80D}" dt="2021-05-25T15:24:06.505" v="27657" actId="6549"/>
          <ac:spMkLst>
            <pc:docMk/>
            <pc:sldMk cId="2622219198" sldId="10459"/>
            <ac:spMk id="170" creationId="{3D1428EC-6C05-490C-A21F-A87D61A5258C}"/>
          </ac:spMkLst>
        </pc:spChg>
        <pc:spChg chg="mod">
          <ac:chgData name="Sarah GAUVARD" userId="4c03e191-e154-482a-88b2-11de19eac96c" providerId="ADAL" clId="{8245CC27-65FB-483E-B8E7-D04039DBA80D}" dt="2021-05-24T08:37:18.310" v="8"/>
          <ac:spMkLst>
            <pc:docMk/>
            <pc:sldMk cId="2622219198" sldId="10459"/>
            <ac:spMk id="170" creationId="{B422124F-10A5-4E3D-95A0-1F27844EF096}"/>
          </ac:spMkLst>
        </pc:spChg>
        <pc:spChg chg="mod">
          <ac:chgData name="Sarah GAUVARD" userId="4c03e191-e154-482a-88b2-11de19eac96c" providerId="ADAL" clId="{8245CC27-65FB-483E-B8E7-D04039DBA80D}" dt="2021-05-24T08:37:18.310" v="8"/>
          <ac:spMkLst>
            <pc:docMk/>
            <pc:sldMk cId="2622219198" sldId="10459"/>
            <ac:spMk id="171" creationId="{9F2DC5BB-34CA-4374-808A-97D080844966}"/>
          </ac:spMkLst>
        </pc:spChg>
        <pc:spChg chg="add mod">
          <ac:chgData name="Sarah GAUVARD" userId="4c03e191-e154-482a-88b2-11de19eac96c" providerId="ADAL" clId="{8245CC27-65FB-483E-B8E7-D04039DBA80D}" dt="2021-05-25T13:00:42.618" v="22832" actId="207"/>
          <ac:spMkLst>
            <pc:docMk/>
            <pc:sldMk cId="2622219198" sldId="10459"/>
            <ac:spMk id="172" creationId="{573B193E-922F-4F2A-B0EF-A233D5981190}"/>
          </ac:spMkLst>
        </pc:spChg>
        <pc:spChg chg="add mod">
          <ac:chgData name="Sarah GAUVARD" userId="4c03e191-e154-482a-88b2-11de19eac96c" providerId="ADAL" clId="{8245CC27-65FB-483E-B8E7-D04039DBA80D}" dt="2021-05-25T11:13:32.268" v="20233" actId="20577"/>
          <ac:spMkLst>
            <pc:docMk/>
            <pc:sldMk cId="2622219198" sldId="10459"/>
            <ac:spMk id="173" creationId="{0E1F7BD5-C7A9-40EB-BE70-0ED5A5A3E443}"/>
          </ac:spMkLst>
        </pc:spChg>
        <pc:spChg chg="add mod">
          <ac:chgData name="Sarah GAUVARD" userId="4c03e191-e154-482a-88b2-11de19eac96c" providerId="ADAL" clId="{8245CC27-65FB-483E-B8E7-D04039DBA80D}" dt="2021-05-25T13:00:42.618" v="22832" actId="207"/>
          <ac:spMkLst>
            <pc:docMk/>
            <pc:sldMk cId="2622219198" sldId="10459"/>
            <ac:spMk id="174" creationId="{1BD2C0B7-0F4D-4E93-9CBF-5D166B72FB73}"/>
          </ac:spMkLst>
        </pc:spChg>
        <pc:spChg chg="add mod">
          <ac:chgData name="Sarah GAUVARD" userId="4c03e191-e154-482a-88b2-11de19eac96c" providerId="ADAL" clId="{8245CC27-65FB-483E-B8E7-D04039DBA80D}" dt="2021-05-24T16:09:27.088" v="15105" actId="790"/>
          <ac:spMkLst>
            <pc:docMk/>
            <pc:sldMk cId="2622219198" sldId="10459"/>
            <ac:spMk id="175" creationId="{0C39A08F-20B5-4DA9-8952-9C4E259C3CD0}"/>
          </ac:spMkLst>
        </pc:spChg>
        <pc:spChg chg="add mod">
          <ac:chgData name="Sarah GAUVARD" userId="4c03e191-e154-482a-88b2-11de19eac96c" providerId="ADAL" clId="{8245CC27-65FB-483E-B8E7-D04039DBA80D}" dt="2021-05-25T11:13:29.706" v="20230" actId="20577"/>
          <ac:spMkLst>
            <pc:docMk/>
            <pc:sldMk cId="2622219198" sldId="10459"/>
            <ac:spMk id="176" creationId="{E452111D-2242-4028-AA71-C83ED46CFF56}"/>
          </ac:spMkLst>
        </pc:spChg>
        <pc:spChg chg="add mod">
          <ac:chgData name="Sarah GAUVARD" userId="4c03e191-e154-482a-88b2-11de19eac96c" providerId="ADAL" clId="{8245CC27-65FB-483E-B8E7-D04039DBA80D}" dt="2021-05-24T16:09:27.088" v="15107" actId="790"/>
          <ac:spMkLst>
            <pc:docMk/>
            <pc:sldMk cId="2622219198" sldId="10459"/>
            <ac:spMk id="177" creationId="{02D6AC18-1DCD-4CCE-937B-AF9ED43AEFF2}"/>
          </ac:spMkLst>
        </pc:spChg>
        <pc:spChg chg="add mod">
          <ac:chgData name="Sarah GAUVARD" userId="4c03e191-e154-482a-88b2-11de19eac96c" providerId="ADAL" clId="{8245CC27-65FB-483E-B8E7-D04039DBA80D}" dt="2021-05-25T11:15:17.148" v="20243" actId="20577"/>
          <ac:spMkLst>
            <pc:docMk/>
            <pc:sldMk cId="2622219198" sldId="10459"/>
            <ac:spMk id="178" creationId="{84F748E7-32C8-4D45-B09F-063FE37693E3}"/>
          </ac:spMkLst>
        </pc:spChg>
        <pc:spChg chg="add mod">
          <ac:chgData name="Sarah GAUVARD" userId="4c03e191-e154-482a-88b2-11de19eac96c" providerId="ADAL" clId="{8245CC27-65FB-483E-B8E7-D04039DBA80D}" dt="2021-05-25T12:25:27.139" v="21432" actId="1076"/>
          <ac:spMkLst>
            <pc:docMk/>
            <pc:sldMk cId="2622219198" sldId="10459"/>
            <ac:spMk id="179" creationId="{B66B3442-859B-42FD-8236-77D440E52012}"/>
          </ac:spMkLst>
        </pc:spChg>
        <pc:spChg chg="add mod">
          <ac:chgData name="Sarah GAUVARD" userId="4c03e191-e154-482a-88b2-11de19eac96c" providerId="ADAL" clId="{8245CC27-65FB-483E-B8E7-D04039DBA80D}" dt="2021-05-24T16:09:27.098" v="15110" actId="790"/>
          <ac:spMkLst>
            <pc:docMk/>
            <pc:sldMk cId="2622219198" sldId="10459"/>
            <ac:spMk id="180" creationId="{0E9A7E47-BD38-44E5-819C-B5F759AC6D7D}"/>
          </ac:spMkLst>
        </pc:spChg>
        <pc:spChg chg="add mod">
          <ac:chgData name="Sarah GAUVARD" userId="4c03e191-e154-482a-88b2-11de19eac96c" providerId="ADAL" clId="{8245CC27-65FB-483E-B8E7-D04039DBA80D}" dt="2021-05-24T16:09:27.098" v="15111" actId="790"/>
          <ac:spMkLst>
            <pc:docMk/>
            <pc:sldMk cId="2622219198" sldId="10459"/>
            <ac:spMk id="181" creationId="{1BB216E4-6201-48B3-8401-10870BB9DCD5}"/>
          </ac:spMkLst>
        </pc:spChg>
        <pc:spChg chg="add mod">
          <ac:chgData name="Sarah GAUVARD" userId="4c03e191-e154-482a-88b2-11de19eac96c" providerId="ADAL" clId="{8245CC27-65FB-483E-B8E7-D04039DBA80D}" dt="2021-05-25T12:25:31.192" v="21433" actId="1076"/>
          <ac:spMkLst>
            <pc:docMk/>
            <pc:sldMk cId="2622219198" sldId="10459"/>
            <ac:spMk id="182" creationId="{C3F31445-4914-4F96-8D31-7A526B1FDCE5}"/>
          </ac:spMkLst>
        </pc:spChg>
        <pc:spChg chg="add mod">
          <ac:chgData name="Sarah GAUVARD" userId="4c03e191-e154-482a-88b2-11de19eac96c" providerId="ADAL" clId="{8245CC27-65FB-483E-B8E7-D04039DBA80D}" dt="2021-05-24T16:09:27.098" v="15113" actId="790"/>
          <ac:spMkLst>
            <pc:docMk/>
            <pc:sldMk cId="2622219198" sldId="10459"/>
            <ac:spMk id="183" creationId="{BEC7A597-F4A8-4974-8375-6E29E8C47B42}"/>
          </ac:spMkLst>
        </pc:spChg>
        <pc:spChg chg="mod">
          <ac:chgData name="Sarah GAUVARD" userId="4c03e191-e154-482a-88b2-11de19eac96c" providerId="ADAL" clId="{8245CC27-65FB-483E-B8E7-D04039DBA80D}" dt="2021-05-24T08:48:34.884" v="37" actId="1076"/>
          <ac:spMkLst>
            <pc:docMk/>
            <pc:sldMk cId="2622219198" sldId="10459"/>
            <ac:spMk id="185" creationId="{47464150-9ACB-43EF-8F9C-CA62DCC3FB3D}"/>
          </ac:spMkLst>
        </pc:spChg>
        <pc:spChg chg="mod">
          <ac:chgData name="Sarah GAUVARD" userId="4c03e191-e154-482a-88b2-11de19eac96c" providerId="ADAL" clId="{8245CC27-65FB-483E-B8E7-D04039DBA80D}" dt="2021-05-24T08:48:34.884" v="37" actId="1076"/>
          <ac:spMkLst>
            <pc:docMk/>
            <pc:sldMk cId="2622219198" sldId="10459"/>
            <ac:spMk id="186" creationId="{A741F927-2F3F-423E-B1E7-6B64A9D76489}"/>
          </ac:spMkLst>
        </pc:spChg>
        <pc:spChg chg="mod">
          <ac:chgData name="Sarah GAUVARD" userId="4c03e191-e154-482a-88b2-11de19eac96c" providerId="ADAL" clId="{8245CC27-65FB-483E-B8E7-D04039DBA80D}" dt="2021-05-24T08:48:34.884" v="37" actId="1076"/>
          <ac:spMkLst>
            <pc:docMk/>
            <pc:sldMk cId="2622219198" sldId="10459"/>
            <ac:spMk id="188" creationId="{655DFDBE-F73D-43FB-8CAE-9595FA82F721}"/>
          </ac:spMkLst>
        </pc:spChg>
        <pc:spChg chg="mod">
          <ac:chgData name="Sarah GAUVARD" userId="4c03e191-e154-482a-88b2-11de19eac96c" providerId="ADAL" clId="{8245CC27-65FB-483E-B8E7-D04039DBA80D}" dt="2021-05-24T08:48:34.884" v="37" actId="1076"/>
          <ac:spMkLst>
            <pc:docMk/>
            <pc:sldMk cId="2622219198" sldId="10459"/>
            <ac:spMk id="189" creationId="{BD3A3154-3DE1-4D75-9DCC-10583A52D299}"/>
          </ac:spMkLst>
        </pc:spChg>
        <pc:spChg chg="mod">
          <ac:chgData name="Sarah GAUVARD" userId="4c03e191-e154-482a-88b2-11de19eac96c" providerId="ADAL" clId="{8245CC27-65FB-483E-B8E7-D04039DBA80D}" dt="2021-05-25T12:28:46.952" v="21464" actId="1076"/>
          <ac:spMkLst>
            <pc:docMk/>
            <pc:sldMk cId="2622219198" sldId="10459"/>
            <ac:spMk id="190" creationId="{11737BDC-3B9B-45D4-A6AF-B6571A39991B}"/>
          </ac:spMkLst>
        </pc:spChg>
        <pc:spChg chg="mod">
          <ac:chgData name="Sarah GAUVARD" userId="4c03e191-e154-482a-88b2-11de19eac96c" providerId="ADAL" clId="{8245CC27-65FB-483E-B8E7-D04039DBA80D}" dt="2021-05-24T16:09:27.098" v="15114" actId="790"/>
          <ac:spMkLst>
            <pc:docMk/>
            <pc:sldMk cId="2622219198" sldId="10459"/>
            <ac:spMk id="190" creationId="{585D1C7F-69A8-4001-89E5-EA9E32584A1B}"/>
          </ac:spMkLst>
        </pc:spChg>
        <pc:spChg chg="mod">
          <ac:chgData name="Sarah GAUVARD" userId="4c03e191-e154-482a-88b2-11de19eac96c" providerId="ADAL" clId="{8245CC27-65FB-483E-B8E7-D04039DBA80D}" dt="2021-05-24T16:09:27.106" v="15115" actId="790"/>
          <ac:spMkLst>
            <pc:docMk/>
            <pc:sldMk cId="2622219198" sldId="10459"/>
            <ac:spMk id="191" creationId="{8ADF53D2-8D13-4D07-BFEF-B74E24AA0F74}"/>
          </ac:spMkLst>
        </pc:spChg>
        <pc:spChg chg="mod">
          <ac:chgData name="Sarah GAUVARD" userId="4c03e191-e154-482a-88b2-11de19eac96c" providerId="ADAL" clId="{8245CC27-65FB-483E-B8E7-D04039DBA80D}" dt="2021-05-24T16:09:27.106" v="15116" actId="790"/>
          <ac:spMkLst>
            <pc:docMk/>
            <pc:sldMk cId="2622219198" sldId="10459"/>
            <ac:spMk id="192" creationId="{80934016-69B3-4C95-B81A-6EBE37BE361F}"/>
          </ac:spMkLst>
        </pc:spChg>
        <pc:spChg chg="mod">
          <ac:chgData name="Sarah GAUVARD" userId="4c03e191-e154-482a-88b2-11de19eac96c" providerId="ADAL" clId="{8245CC27-65FB-483E-B8E7-D04039DBA80D}" dt="2021-05-24T16:09:27.106" v="15117" actId="790"/>
          <ac:spMkLst>
            <pc:docMk/>
            <pc:sldMk cId="2622219198" sldId="10459"/>
            <ac:spMk id="193" creationId="{7AFB5043-8B3B-4546-8B4A-F7431AA952A9}"/>
          </ac:spMkLst>
        </pc:spChg>
        <pc:spChg chg="mod">
          <ac:chgData name="Sarah GAUVARD" userId="4c03e191-e154-482a-88b2-11de19eac96c" providerId="ADAL" clId="{8245CC27-65FB-483E-B8E7-D04039DBA80D}" dt="2021-05-24T16:09:27.106" v="15118" actId="790"/>
          <ac:spMkLst>
            <pc:docMk/>
            <pc:sldMk cId="2622219198" sldId="10459"/>
            <ac:spMk id="194" creationId="{DAC83DCD-85BC-49D1-A938-A4B5ED5E09AE}"/>
          </ac:spMkLst>
        </pc:spChg>
        <pc:spChg chg="mod">
          <ac:chgData name="Sarah GAUVARD" userId="4c03e191-e154-482a-88b2-11de19eac96c" providerId="ADAL" clId="{8245CC27-65FB-483E-B8E7-D04039DBA80D}" dt="2021-05-24T16:09:27.108" v="15119" actId="790"/>
          <ac:spMkLst>
            <pc:docMk/>
            <pc:sldMk cId="2622219198" sldId="10459"/>
            <ac:spMk id="195" creationId="{534F1907-F2A1-47BF-823C-D463F4E365D2}"/>
          </ac:spMkLst>
        </pc:spChg>
        <pc:spChg chg="mod">
          <ac:chgData name="Sarah GAUVARD" userId="4c03e191-e154-482a-88b2-11de19eac96c" providerId="ADAL" clId="{8245CC27-65FB-483E-B8E7-D04039DBA80D}" dt="2021-05-24T16:09:27.108" v="15120" actId="790"/>
          <ac:spMkLst>
            <pc:docMk/>
            <pc:sldMk cId="2622219198" sldId="10459"/>
            <ac:spMk id="196" creationId="{6C145554-67D3-47CA-B623-9457BDCCFA5C}"/>
          </ac:spMkLst>
        </pc:spChg>
        <pc:spChg chg="mod">
          <ac:chgData name="Sarah GAUVARD" userId="4c03e191-e154-482a-88b2-11de19eac96c" providerId="ADAL" clId="{8245CC27-65FB-483E-B8E7-D04039DBA80D}" dt="2021-05-24T16:09:27.108" v="15121" actId="790"/>
          <ac:spMkLst>
            <pc:docMk/>
            <pc:sldMk cId="2622219198" sldId="10459"/>
            <ac:spMk id="197" creationId="{8D69E602-432B-4FF2-A5E5-1E475B8F08FC}"/>
          </ac:spMkLst>
        </pc:spChg>
        <pc:spChg chg="mod">
          <ac:chgData name="Sarah GAUVARD" userId="4c03e191-e154-482a-88b2-11de19eac96c" providerId="ADAL" clId="{8245CC27-65FB-483E-B8E7-D04039DBA80D}" dt="2021-05-25T12:28:46.952" v="21464" actId="1076"/>
          <ac:spMkLst>
            <pc:docMk/>
            <pc:sldMk cId="2622219198" sldId="10459"/>
            <ac:spMk id="198" creationId="{D0597780-C17F-4182-89EE-64597A26E657}"/>
          </ac:spMkLst>
        </pc:spChg>
        <pc:spChg chg="mod">
          <ac:chgData name="Sarah GAUVARD" userId="4c03e191-e154-482a-88b2-11de19eac96c" providerId="ADAL" clId="{8245CC27-65FB-483E-B8E7-D04039DBA80D}" dt="2021-05-25T12:47:23.439" v="22333" actId="1076"/>
          <ac:spMkLst>
            <pc:docMk/>
            <pc:sldMk cId="2622219198" sldId="10459"/>
            <ac:spMk id="200" creationId="{14B8BF9B-8764-4CBE-8C8E-D74F9AE22986}"/>
          </ac:spMkLst>
        </pc:spChg>
        <pc:spChg chg="mod">
          <ac:chgData name="Sarah GAUVARD" userId="4c03e191-e154-482a-88b2-11de19eac96c" providerId="ADAL" clId="{8245CC27-65FB-483E-B8E7-D04039DBA80D}" dt="2021-05-25T12:47:23.439" v="22333" actId="1076"/>
          <ac:spMkLst>
            <pc:docMk/>
            <pc:sldMk cId="2622219198" sldId="10459"/>
            <ac:spMk id="201" creationId="{39D29613-355F-44A1-A755-0BDB2660FB30}"/>
          </ac:spMkLst>
        </pc:spChg>
        <pc:spChg chg="add del mod">
          <ac:chgData name="Sarah GAUVARD" userId="4c03e191-e154-482a-88b2-11de19eac96c" providerId="ADAL" clId="{8245CC27-65FB-483E-B8E7-D04039DBA80D}" dt="2021-05-25T15:18:11.400" v="27617" actId="478"/>
          <ac:spMkLst>
            <pc:docMk/>
            <pc:sldMk cId="2622219198" sldId="10459"/>
            <ac:spMk id="202" creationId="{D2B1EF20-BB65-49CC-896C-431B57AA66FF}"/>
          </ac:spMkLst>
        </pc:spChg>
        <pc:spChg chg="add mod">
          <ac:chgData name="Sarah GAUVARD" userId="4c03e191-e154-482a-88b2-11de19eac96c" providerId="ADAL" clId="{8245CC27-65FB-483E-B8E7-D04039DBA80D}" dt="2021-05-25T15:22:26.079" v="27638" actId="164"/>
          <ac:spMkLst>
            <pc:docMk/>
            <pc:sldMk cId="2622219198" sldId="10459"/>
            <ac:spMk id="203" creationId="{51188317-9B6D-49BF-8C00-C472545743F4}"/>
          </ac:spMkLst>
        </pc:spChg>
        <pc:spChg chg="mod">
          <ac:chgData name="Sarah GAUVARD" userId="4c03e191-e154-482a-88b2-11de19eac96c" providerId="ADAL" clId="{8245CC27-65FB-483E-B8E7-D04039DBA80D}" dt="2021-05-25T15:21:50.018" v="27628"/>
          <ac:spMkLst>
            <pc:docMk/>
            <pc:sldMk cId="2622219198" sldId="10459"/>
            <ac:spMk id="205" creationId="{17228167-285E-44F5-83D5-2EE23D9ED711}"/>
          </ac:spMkLst>
        </pc:spChg>
        <pc:spChg chg="mod">
          <ac:chgData name="Sarah GAUVARD" userId="4c03e191-e154-482a-88b2-11de19eac96c" providerId="ADAL" clId="{8245CC27-65FB-483E-B8E7-D04039DBA80D}" dt="2021-05-25T15:21:50.018" v="27628"/>
          <ac:spMkLst>
            <pc:docMk/>
            <pc:sldMk cId="2622219198" sldId="10459"/>
            <ac:spMk id="206" creationId="{997C5D41-9220-41F9-9415-279DE9B0A47F}"/>
          </ac:spMkLst>
        </pc:spChg>
        <pc:grpChg chg="add del mod">
          <ac:chgData name="Sarah GAUVARD" userId="4c03e191-e154-482a-88b2-11de19eac96c" providerId="ADAL" clId="{8245CC27-65FB-483E-B8E7-D04039DBA80D}" dt="2021-05-25T12:29:42.100" v="21465" actId="165"/>
          <ac:grpSpMkLst>
            <pc:docMk/>
            <pc:sldMk cId="2622219198" sldId="10459"/>
            <ac:grpSpMk id="115" creationId="{B527126B-38CA-4E05-BF8C-012AD9F6DBD6}"/>
          </ac:grpSpMkLst>
        </pc:grpChg>
        <pc:grpChg chg="add del mod">
          <ac:chgData name="Sarah GAUVARD" userId="4c03e191-e154-482a-88b2-11de19eac96c" providerId="ADAL" clId="{8245CC27-65FB-483E-B8E7-D04039DBA80D}" dt="2021-05-25T12:59:30.308" v="22815" actId="165"/>
          <ac:grpSpMkLst>
            <pc:docMk/>
            <pc:sldMk cId="2622219198" sldId="10459"/>
            <ac:grpSpMk id="120" creationId="{B43FEB1A-5E72-4B6A-8DB0-1653B5C368D7}"/>
          </ac:grpSpMkLst>
        </pc:grpChg>
        <pc:grpChg chg="add mod">
          <ac:chgData name="Sarah GAUVARD" userId="4c03e191-e154-482a-88b2-11de19eac96c" providerId="ADAL" clId="{8245CC27-65FB-483E-B8E7-D04039DBA80D}" dt="2021-05-25T15:22:26.079" v="27638" actId="164"/>
          <ac:grpSpMkLst>
            <pc:docMk/>
            <pc:sldMk cId="2622219198" sldId="10459"/>
            <ac:grpSpMk id="122" creationId="{4074173A-A04D-4B76-B4FA-059B5EB3F384}"/>
          </ac:grpSpMkLst>
        </pc:grpChg>
        <pc:grpChg chg="add mod">
          <ac:chgData name="Sarah GAUVARD" userId="4c03e191-e154-482a-88b2-11de19eac96c" providerId="ADAL" clId="{8245CC27-65FB-483E-B8E7-D04039DBA80D}" dt="2021-05-25T15:22:26.079" v="27638" actId="164"/>
          <ac:grpSpMkLst>
            <pc:docMk/>
            <pc:sldMk cId="2622219198" sldId="10459"/>
            <ac:grpSpMk id="124" creationId="{A7773199-01BF-4798-A5E6-9BB4E83C7317}"/>
          </ac:grpSpMkLst>
        </pc:grpChg>
        <pc:grpChg chg="mod topLvl">
          <ac:chgData name="Sarah GAUVARD" userId="4c03e191-e154-482a-88b2-11de19eac96c" providerId="ADAL" clId="{8245CC27-65FB-483E-B8E7-D04039DBA80D}" dt="2021-05-25T13:00:07.573" v="22829" actId="1076"/>
          <ac:grpSpMkLst>
            <pc:docMk/>
            <pc:sldMk cId="2622219198" sldId="10459"/>
            <ac:grpSpMk id="140" creationId="{2D265003-B9BA-4E80-A8B5-87B5E5BDD69F}"/>
          </ac:grpSpMkLst>
        </pc:grpChg>
        <pc:grpChg chg="del mod">
          <ac:chgData name="Sarah GAUVARD" userId="4c03e191-e154-482a-88b2-11de19eac96c" providerId="ADAL" clId="{8245CC27-65FB-483E-B8E7-D04039DBA80D}" dt="2021-05-24T08:41:08.838" v="32" actId="165"/>
          <ac:grpSpMkLst>
            <pc:docMk/>
            <pc:sldMk cId="2622219198" sldId="10459"/>
            <ac:grpSpMk id="154" creationId="{3EBB8E84-CEBA-4650-8131-28D4B4A6F5C1}"/>
          </ac:grpSpMkLst>
        </pc:grpChg>
        <pc:grpChg chg="add del mod">
          <ac:chgData name="Sarah GAUVARD" userId="4c03e191-e154-482a-88b2-11de19eac96c" providerId="ADAL" clId="{8245CC27-65FB-483E-B8E7-D04039DBA80D}" dt="2021-05-24T08:37:41.919" v="9" actId="478"/>
          <ac:grpSpMkLst>
            <pc:docMk/>
            <pc:sldMk cId="2622219198" sldId="10459"/>
            <ac:grpSpMk id="169" creationId="{30A40BB3-455E-457F-BC8F-A77FCE576235}"/>
          </ac:grpSpMkLst>
        </pc:grpChg>
        <pc:grpChg chg="add mod">
          <ac:chgData name="Sarah GAUVARD" userId="4c03e191-e154-482a-88b2-11de19eac96c" providerId="ADAL" clId="{8245CC27-65FB-483E-B8E7-D04039DBA80D}" dt="2021-05-25T12:28:46.952" v="21464" actId="1076"/>
          <ac:grpSpMkLst>
            <pc:docMk/>
            <pc:sldMk cId="2622219198" sldId="10459"/>
            <ac:grpSpMk id="171" creationId="{120A3B79-24AC-45D0-A632-87AA1B7D263C}"/>
          </ac:grpSpMkLst>
        </pc:grpChg>
        <pc:grpChg chg="add del mod">
          <ac:chgData name="Sarah GAUVARD" userId="4c03e191-e154-482a-88b2-11de19eac96c" providerId="ADAL" clId="{8245CC27-65FB-483E-B8E7-D04039DBA80D}" dt="2021-05-25T12:24:56.950" v="21353" actId="478"/>
          <ac:grpSpMkLst>
            <pc:docMk/>
            <pc:sldMk cId="2622219198" sldId="10459"/>
            <ac:grpSpMk id="184" creationId="{8EEEE4F5-DB67-44FB-BFA4-81C79A148FDE}"/>
          </ac:grpSpMkLst>
        </pc:grpChg>
        <pc:grpChg chg="add del mod">
          <ac:chgData name="Sarah GAUVARD" userId="4c03e191-e154-482a-88b2-11de19eac96c" providerId="ADAL" clId="{8245CC27-65FB-483E-B8E7-D04039DBA80D}" dt="2021-05-25T12:24:55.798" v="21352" actId="478"/>
          <ac:grpSpMkLst>
            <pc:docMk/>
            <pc:sldMk cId="2622219198" sldId="10459"/>
            <ac:grpSpMk id="187" creationId="{2D9467D7-3F97-4751-B921-E56055769C69}"/>
          </ac:grpSpMkLst>
        </pc:grpChg>
        <pc:grpChg chg="add mod">
          <ac:chgData name="Sarah GAUVARD" userId="4c03e191-e154-482a-88b2-11de19eac96c" providerId="ADAL" clId="{8245CC27-65FB-483E-B8E7-D04039DBA80D}" dt="2021-05-25T12:47:23.439" v="22333" actId="1076"/>
          <ac:grpSpMkLst>
            <pc:docMk/>
            <pc:sldMk cId="2622219198" sldId="10459"/>
            <ac:grpSpMk id="199" creationId="{8FB2C4FA-4E30-407E-B7E5-50B35F6D02A3}"/>
          </ac:grpSpMkLst>
        </pc:grpChg>
        <pc:grpChg chg="add mod">
          <ac:chgData name="Sarah GAUVARD" userId="4c03e191-e154-482a-88b2-11de19eac96c" providerId="ADAL" clId="{8245CC27-65FB-483E-B8E7-D04039DBA80D}" dt="2021-05-25T15:22:26.079" v="27638" actId="164"/>
          <ac:grpSpMkLst>
            <pc:docMk/>
            <pc:sldMk cId="2622219198" sldId="10459"/>
            <ac:grpSpMk id="204" creationId="{A7BD4963-9FD5-403C-83CB-AC602DE6D472}"/>
          </ac:grpSpMkLst>
        </pc:grpChg>
        <pc:graphicFrameChg chg="mod">
          <ac:chgData name="Sarah GAUVARD" userId="4c03e191-e154-482a-88b2-11de19eac96c" providerId="ADAL" clId="{8245CC27-65FB-483E-B8E7-D04039DBA80D}" dt="2021-05-25T12:34:57.278" v="21852"/>
          <ac:graphicFrameMkLst>
            <pc:docMk/>
            <pc:sldMk cId="2622219198" sldId="10459"/>
            <ac:graphicFrameMk id="157" creationId="{42DCF6B7-03E1-453D-98F4-82A689C7D7EF}"/>
          </ac:graphicFrameMkLst>
        </pc:graphicFrameChg>
        <pc:picChg chg="del mod">
          <ac:chgData name="Sarah GAUVARD" userId="4c03e191-e154-482a-88b2-11de19eac96c" providerId="ADAL" clId="{8245CC27-65FB-483E-B8E7-D04039DBA80D}" dt="2021-05-24T09:52:22.688" v="993" actId="478"/>
          <ac:picMkLst>
            <pc:docMk/>
            <pc:sldMk cId="2622219198" sldId="10459"/>
            <ac:picMk id="125" creationId="{D8D1E44A-E4A3-42BC-9FC0-8C78DBB8A7E8}"/>
          </ac:picMkLst>
        </pc:picChg>
        <pc:picChg chg="del mod">
          <ac:chgData name="Sarah GAUVARD" userId="4c03e191-e154-482a-88b2-11de19eac96c" providerId="ADAL" clId="{8245CC27-65FB-483E-B8E7-D04039DBA80D}" dt="2021-05-24T09:52:21.590" v="991" actId="478"/>
          <ac:picMkLst>
            <pc:docMk/>
            <pc:sldMk cId="2622219198" sldId="10459"/>
            <ac:picMk id="126" creationId="{0E1AFA00-A88B-4038-9D04-952B430B99FE}"/>
          </ac:picMkLst>
        </pc:picChg>
        <pc:picChg chg="del mod topLvl">
          <ac:chgData name="Sarah GAUVARD" userId="4c03e191-e154-482a-88b2-11de19eac96c" providerId="ADAL" clId="{8245CC27-65FB-483E-B8E7-D04039DBA80D}" dt="2021-05-25T15:21:54.659" v="27630" actId="478"/>
          <ac:picMkLst>
            <pc:docMk/>
            <pc:sldMk cId="2622219198" sldId="10459"/>
            <ac:picMk id="138" creationId="{09DBCB30-5CA2-41ED-B5CE-384CCBA85C33}"/>
          </ac:picMkLst>
        </pc:picChg>
        <pc:picChg chg="mod topLvl">
          <ac:chgData name="Sarah GAUVARD" userId="4c03e191-e154-482a-88b2-11de19eac96c" providerId="ADAL" clId="{8245CC27-65FB-483E-B8E7-D04039DBA80D}" dt="2021-05-25T13:00:07.573" v="22829" actId="1076"/>
          <ac:picMkLst>
            <pc:docMk/>
            <pc:sldMk cId="2622219198" sldId="10459"/>
            <ac:picMk id="139" creationId="{F5474125-C30E-4666-BE78-79656909A6A0}"/>
          </ac:picMkLst>
        </pc:picChg>
        <pc:picChg chg="mod topLvl">
          <ac:chgData name="Sarah GAUVARD" userId="4c03e191-e154-482a-88b2-11de19eac96c" providerId="ADAL" clId="{8245CC27-65FB-483E-B8E7-D04039DBA80D}" dt="2021-05-25T13:00:07.573" v="22829" actId="1076"/>
          <ac:picMkLst>
            <pc:docMk/>
            <pc:sldMk cId="2622219198" sldId="10459"/>
            <ac:picMk id="146" creationId="{BDEA145D-5A3E-4E4C-95AD-E544F04FBB89}"/>
          </ac:picMkLst>
        </pc:picChg>
        <pc:picChg chg="del mod topLvl">
          <ac:chgData name="Sarah GAUVARD" userId="4c03e191-e154-482a-88b2-11de19eac96c" providerId="ADAL" clId="{8245CC27-65FB-483E-B8E7-D04039DBA80D}" dt="2021-05-25T12:30:20.693" v="21472" actId="478"/>
          <ac:picMkLst>
            <pc:docMk/>
            <pc:sldMk cId="2622219198" sldId="10459"/>
            <ac:picMk id="152" creationId="{4192C657-C548-4EE7-B600-34450580659F}"/>
          </ac:picMkLst>
        </pc:picChg>
        <pc:picChg chg="mod topLvl">
          <ac:chgData name="Sarah GAUVARD" userId="4c03e191-e154-482a-88b2-11de19eac96c" providerId="ADAL" clId="{8245CC27-65FB-483E-B8E7-D04039DBA80D}" dt="2021-05-25T13:00:07.573" v="22829" actId="1076"/>
          <ac:picMkLst>
            <pc:docMk/>
            <pc:sldMk cId="2622219198" sldId="10459"/>
            <ac:picMk id="153" creationId="{5581147F-FD27-400A-AF98-6C5005DF8224}"/>
          </ac:picMkLst>
        </pc:picChg>
        <pc:picChg chg="mod">
          <ac:chgData name="Sarah GAUVARD" userId="4c03e191-e154-482a-88b2-11de19eac96c" providerId="ADAL" clId="{8245CC27-65FB-483E-B8E7-D04039DBA80D}" dt="2021-05-25T12:59:20.800" v="22813" actId="1036"/>
          <ac:picMkLst>
            <pc:docMk/>
            <pc:sldMk cId="2622219198" sldId="10459"/>
            <ac:picMk id="155" creationId="{13B33133-F632-4C67-B239-68273262C7A1}"/>
          </ac:picMkLst>
        </pc:picChg>
        <pc:cxnChg chg="mod topLvl">
          <ac:chgData name="Sarah GAUVARD" userId="4c03e191-e154-482a-88b2-11de19eac96c" providerId="ADAL" clId="{8245CC27-65FB-483E-B8E7-D04039DBA80D}" dt="2021-05-25T13:00:07.573" v="22829" actId="1076"/>
          <ac:cxnSpMkLst>
            <pc:docMk/>
            <pc:sldMk cId="2622219198" sldId="10459"/>
            <ac:cxnSpMk id="133" creationId="{9F8324D1-9A25-419B-BDAD-EF5C63D93994}"/>
          </ac:cxnSpMkLst>
        </pc:cxnChg>
        <pc:cxnChg chg="mod topLvl">
          <ac:chgData name="Sarah GAUVARD" userId="4c03e191-e154-482a-88b2-11de19eac96c" providerId="ADAL" clId="{8245CC27-65FB-483E-B8E7-D04039DBA80D}" dt="2021-05-25T13:00:07.573" v="22829" actId="1076"/>
          <ac:cxnSpMkLst>
            <pc:docMk/>
            <pc:sldMk cId="2622219198" sldId="10459"/>
            <ac:cxnSpMk id="134" creationId="{CC2D0833-B97A-425A-8EE5-9E8D2B4069E7}"/>
          </ac:cxnSpMkLst>
        </pc:cxnChg>
        <pc:cxnChg chg="mod topLvl">
          <ac:chgData name="Sarah GAUVARD" userId="4c03e191-e154-482a-88b2-11de19eac96c" providerId="ADAL" clId="{8245CC27-65FB-483E-B8E7-D04039DBA80D}" dt="2021-05-25T13:00:07.573" v="22829" actId="1076"/>
          <ac:cxnSpMkLst>
            <pc:docMk/>
            <pc:sldMk cId="2622219198" sldId="10459"/>
            <ac:cxnSpMk id="135" creationId="{3C819C84-C55C-4F86-85AE-5458DD76647F}"/>
          </ac:cxnSpMkLst>
        </pc:cxnChg>
        <pc:cxnChg chg="del mod topLvl">
          <ac:chgData name="Sarah GAUVARD" userId="4c03e191-e154-482a-88b2-11de19eac96c" providerId="ADAL" clId="{8245CC27-65FB-483E-B8E7-D04039DBA80D}" dt="2021-05-25T12:30:20.693" v="21472" actId="478"/>
          <ac:cxnSpMkLst>
            <pc:docMk/>
            <pc:sldMk cId="2622219198" sldId="10459"/>
            <ac:cxnSpMk id="136" creationId="{12E651C3-62D6-40CA-BC94-0F9E0570F5AF}"/>
          </ac:cxnSpMkLst>
        </pc:cxnChg>
        <pc:cxnChg chg="mod topLvl">
          <ac:chgData name="Sarah GAUVARD" userId="4c03e191-e154-482a-88b2-11de19eac96c" providerId="ADAL" clId="{8245CC27-65FB-483E-B8E7-D04039DBA80D}" dt="2021-05-25T13:00:21.524" v="22830" actId="14100"/>
          <ac:cxnSpMkLst>
            <pc:docMk/>
            <pc:sldMk cId="2622219198" sldId="10459"/>
            <ac:cxnSpMk id="137" creationId="{6C22A040-35D8-48D2-A90A-2D3883010C0C}"/>
          </ac:cxnSpMkLst>
        </pc:cxnChg>
      </pc:sldChg>
      <pc:sldChg chg="addSp delSp modSp mod">
        <pc:chgData name="Sarah GAUVARD" userId="4c03e191-e154-482a-88b2-11de19eac96c" providerId="ADAL" clId="{8245CC27-65FB-483E-B8E7-D04039DBA80D}" dt="2021-05-24T16:09:27.209" v="15218" actId="790"/>
        <pc:sldMkLst>
          <pc:docMk/>
          <pc:sldMk cId="2233000822" sldId="10460"/>
        </pc:sldMkLst>
        <pc:spChg chg="mod">
          <ac:chgData name="Sarah GAUVARD" userId="4c03e191-e154-482a-88b2-11de19eac96c" providerId="ADAL" clId="{8245CC27-65FB-483E-B8E7-D04039DBA80D}" dt="2021-05-24T16:09:27.169" v="15179" actId="790"/>
          <ac:spMkLst>
            <pc:docMk/>
            <pc:sldMk cId="2233000822" sldId="10460"/>
            <ac:spMk id="2" creationId="{BA3E4240-1B8B-4AAA-9DCA-9FE236464846}"/>
          </ac:spMkLst>
        </pc:spChg>
        <pc:spChg chg="mod">
          <ac:chgData name="Sarah GAUVARD" userId="4c03e191-e154-482a-88b2-11de19eac96c" providerId="ADAL" clId="{8245CC27-65FB-483E-B8E7-D04039DBA80D}" dt="2021-05-24T16:09:27.169" v="15180" actId="790"/>
          <ac:spMkLst>
            <pc:docMk/>
            <pc:sldMk cId="2233000822" sldId="10460"/>
            <ac:spMk id="3" creationId="{1773FC09-D385-45A1-AC2E-146DDDE8BD0A}"/>
          </ac:spMkLst>
        </pc:spChg>
        <pc:spChg chg="add del mod modVis">
          <ac:chgData name="Sarah GAUVARD" userId="4c03e191-e154-482a-88b2-11de19eac96c" providerId="ADAL" clId="{8245CC27-65FB-483E-B8E7-D04039DBA80D}" dt="2021-05-24T09:51:38.267" v="983"/>
          <ac:spMkLst>
            <pc:docMk/>
            <pc:sldMk cId="2233000822" sldId="10460"/>
            <ac:spMk id="4" creationId="{C5FCAE3F-FAC9-4741-A44A-056B4DADA6CD}"/>
          </ac:spMkLst>
        </pc:spChg>
        <pc:spChg chg="mod">
          <ac:chgData name="Sarah GAUVARD" userId="4c03e191-e154-482a-88b2-11de19eac96c" providerId="ADAL" clId="{8245CC27-65FB-483E-B8E7-D04039DBA80D}" dt="2021-05-24T16:09:27.169" v="15181" actId="790"/>
          <ac:spMkLst>
            <pc:docMk/>
            <pc:sldMk cId="2233000822" sldId="10460"/>
            <ac:spMk id="9" creationId="{8EBE87B3-F04E-491F-82E3-AD5C42A920E2}"/>
          </ac:spMkLst>
        </pc:spChg>
        <pc:spChg chg="mod">
          <ac:chgData name="Sarah GAUVARD" userId="4c03e191-e154-482a-88b2-11de19eac96c" providerId="ADAL" clId="{8245CC27-65FB-483E-B8E7-D04039DBA80D}" dt="2021-05-24T16:09:27.179" v="15189" actId="790"/>
          <ac:spMkLst>
            <pc:docMk/>
            <pc:sldMk cId="2233000822" sldId="10460"/>
            <ac:spMk id="10" creationId="{8B80541E-0CB8-4F46-AA31-1D2CE8ECE50F}"/>
          </ac:spMkLst>
        </pc:spChg>
        <pc:spChg chg="mod">
          <ac:chgData name="Sarah GAUVARD" userId="4c03e191-e154-482a-88b2-11de19eac96c" providerId="ADAL" clId="{8245CC27-65FB-483E-B8E7-D04039DBA80D}" dt="2021-05-24T16:09:27.169" v="15182" actId="790"/>
          <ac:spMkLst>
            <pc:docMk/>
            <pc:sldMk cId="2233000822" sldId="10460"/>
            <ac:spMk id="12" creationId="{5632CA9B-96AD-46F9-9A8A-B6E6800443DD}"/>
          </ac:spMkLst>
        </pc:spChg>
        <pc:spChg chg="mod">
          <ac:chgData name="Sarah GAUVARD" userId="4c03e191-e154-482a-88b2-11de19eac96c" providerId="ADAL" clId="{8245CC27-65FB-483E-B8E7-D04039DBA80D}" dt="2021-05-24T16:09:27.177" v="15183" actId="790"/>
          <ac:spMkLst>
            <pc:docMk/>
            <pc:sldMk cId="2233000822" sldId="10460"/>
            <ac:spMk id="13" creationId="{8A47A578-76B7-48A6-B910-8A54E9BC3C53}"/>
          </ac:spMkLst>
        </pc:spChg>
        <pc:spChg chg="add del mod modVis">
          <ac:chgData name="Sarah GAUVARD" userId="4c03e191-e154-482a-88b2-11de19eac96c" providerId="ADAL" clId="{8245CC27-65FB-483E-B8E7-D04039DBA80D}" dt="2021-05-24T15:34:46.262" v="11977"/>
          <ac:spMkLst>
            <pc:docMk/>
            <pc:sldMk cId="2233000822" sldId="10460"/>
            <ac:spMk id="14" creationId="{8A7EEB73-3AF7-4C59-828C-CA603575A36D}"/>
          </ac:spMkLst>
        </pc:spChg>
        <pc:spChg chg="mod">
          <ac:chgData name="Sarah GAUVARD" userId="4c03e191-e154-482a-88b2-11de19eac96c" providerId="ADAL" clId="{8245CC27-65FB-483E-B8E7-D04039DBA80D}" dt="2021-05-24T16:09:27.177" v="15184" actId="790"/>
          <ac:spMkLst>
            <pc:docMk/>
            <pc:sldMk cId="2233000822" sldId="10460"/>
            <ac:spMk id="16" creationId="{4FCCDEAF-F1D6-472C-8877-BCF7D817DF4C}"/>
          </ac:spMkLst>
        </pc:spChg>
        <pc:spChg chg="mod">
          <ac:chgData name="Sarah GAUVARD" userId="4c03e191-e154-482a-88b2-11de19eac96c" providerId="ADAL" clId="{8245CC27-65FB-483E-B8E7-D04039DBA80D}" dt="2021-05-24T16:09:27.199" v="15203" actId="790"/>
          <ac:spMkLst>
            <pc:docMk/>
            <pc:sldMk cId="2233000822" sldId="10460"/>
            <ac:spMk id="21" creationId="{58337BA2-B7F0-4432-B9BF-C085B3E8B7D0}"/>
          </ac:spMkLst>
        </pc:spChg>
        <pc:spChg chg="mod">
          <ac:chgData name="Sarah GAUVARD" userId="4c03e191-e154-482a-88b2-11de19eac96c" providerId="ADAL" clId="{8245CC27-65FB-483E-B8E7-D04039DBA80D}" dt="2021-05-24T16:09:27.199" v="15204" actId="790"/>
          <ac:spMkLst>
            <pc:docMk/>
            <pc:sldMk cId="2233000822" sldId="10460"/>
            <ac:spMk id="23" creationId="{CAB7DE97-987C-4E1B-AC28-72D620F2E2AC}"/>
          </ac:spMkLst>
        </pc:spChg>
        <pc:spChg chg="mod">
          <ac:chgData name="Sarah GAUVARD" userId="4c03e191-e154-482a-88b2-11de19eac96c" providerId="ADAL" clId="{8245CC27-65FB-483E-B8E7-D04039DBA80D}" dt="2021-05-24T16:09:27.179" v="15186" actId="790"/>
          <ac:spMkLst>
            <pc:docMk/>
            <pc:sldMk cId="2233000822" sldId="10460"/>
            <ac:spMk id="50" creationId="{3D11D9AD-56B2-4FD0-998A-C3C17321490E}"/>
          </ac:spMkLst>
        </pc:spChg>
        <pc:spChg chg="mod">
          <ac:chgData name="Sarah GAUVARD" userId="4c03e191-e154-482a-88b2-11de19eac96c" providerId="ADAL" clId="{8245CC27-65FB-483E-B8E7-D04039DBA80D}" dt="2021-05-24T16:09:27.179" v="15187" actId="790"/>
          <ac:spMkLst>
            <pc:docMk/>
            <pc:sldMk cId="2233000822" sldId="10460"/>
            <ac:spMk id="51" creationId="{ABA09096-B3E8-4754-A77D-65D350688B5B}"/>
          </ac:spMkLst>
        </pc:spChg>
        <pc:spChg chg="mod">
          <ac:chgData name="Sarah GAUVARD" userId="4c03e191-e154-482a-88b2-11de19eac96c" providerId="ADAL" clId="{8245CC27-65FB-483E-B8E7-D04039DBA80D}" dt="2021-05-24T16:09:27.179" v="15188" actId="790"/>
          <ac:spMkLst>
            <pc:docMk/>
            <pc:sldMk cId="2233000822" sldId="10460"/>
            <ac:spMk id="52" creationId="{269DE5CB-BABB-4CE5-BFC8-CA5EE268E23C}"/>
          </ac:spMkLst>
        </pc:spChg>
        <pc:spChg chg="mod">
          <ac:chgData name="Sarah GAUVARD" userId="4c03e191-e154-482a-88b2-11de19eac96c" providerId="ADAL" clId="{8245CC27-65FB-483E-B8E7-D04039DBA80D}" dt="2021-05-24T16:09:27.179" v="15190" actId="790"/>
          <ac:spMkLst>
            <pc:docMk/>
            <pc:sldMk cId="2233000822" sldId="10460"/>
            <ac:spMk id="54" creationId="{A1ED7959-6972-4CA1-87DE-4A9E265D1EE1}"/>
          </ac:spMkLst>
        </pc:spChg>
        <pc:spChg chg="add mod">
          <ac:chgData name="Sarah GAUVARD" userId="4c03e191-e154-482a-88b2-11de19eac96c" providerId="ADAL" clId="{8245CC27-65FB-483E-B8E7-D04039DBA80D}" dt="2021-05-24T09:51:34.558" v="941"/>
          <ac:spMkLst>
            <pc:docMk/>
            <pc:sldMk cId="2233000822" sldId="10460"/>
            <ac:spMk id="59" creationId="{EA6890C8-3B25-4BC1-B255-6FDC8ACC9FFA}"/>
          </ac:spMkLst>
        </pc:spChg>
        <pc:spChg chg="add mod">
          <ac:chgData name="Sarah GAUVARD" userId="4c03e191-e154-482a-88b2-11de19eac96c" providerId="ADAL" clId="{8245CC27-65FB-483E-B8E7-D04039DBA80D}" dt="2021-05-24T09:51:34.558" v="941"/>
          <ac:spMkLst>
            <pc:docMk/>
            <pc:sldMk cId="2233000822" sldId="10460"/>
            <ac:spMk id="60" creationId="{2E0AF7B1-E1FA-4244-A8B3-5647CA25A2D8}"/>
          </ac:spMkLst>
        </pc:spChg>
        <pc:spChg chg="mod">
          <ac:chgData name="Sarah GAUVARD" userId="4c03e191-e154-482a-88b2-11de19eac96c" providerId="ADAL" clId="{8245CC27-65FB-483E-B8E7-D04039DBA80D}" dt="2021-05-24T16:09:27.179" v="15191" actId="790"/>
          <ac:spMkLst>
            <pc:docMk/>
            <pc:sldMk cId="2233000822" sldId="10460"/>
            <ac:spMk id="61" creationId="{0CCFF1A2-CE09-4311-BD82-2FC01C7F8607}"/>
          </ac:spMkLst>
        </pc:spChg>
        <pc:spChg chg="add mod">
          <ac:chgData name="Sarah GAUVARD" userId="4c03e191-e154-482a-88b2-11de19eac96c" providerId="ADAL" clId="{8245CC27-65FB-483E-B8E7-D04039DBA80D}" dt="2021-05-24T09:51:34.558" v="941"/>
          <ac:spMkLst>
            <pc:docMk/>
            <pc:sldMk cId="2233000822" sldId="10460"/>
            <ac:spMk id="62" creationId="{FD9C8703-8870-4B66-BD32-4BBDFC990586}"/>
          </ac:spMkLst>
        </pc:spChg>
        <pc:spChg chg="add mod">
          <ac:chgData name="Sarah GAUVARD" userId="4c03e191-e154-482a-88b2-11de19eac96c" providerId="ADAL" clId="{8245CC27-65FB-483E-B8E7-D04039DBA80D}" dt="2021-05-24T09:51:34.558" v="941"/>
          <ac:spMkLst>
            <pc:docMk/>
            <pc:sldMk cId="2233000822" sldId="10460"/>
            <ac:spMk id="63" creationId="{49572747-F2B7-4B82-BACA-746AF07C39A7}"/>
          </ac:spMkLst>
        </pc:spChg>
        <pc:spChg chg="add mod">
          <ac:chgData name="Sarah GAUVARD" userId="4c03e191-e154-482a-88b2-11de19eac96c" providerId="ADAL" clId="{8245CC27-65FB-483E-B8E7-D04039DBA80D}" dt="2021-05-24T09:51:34.558" v="941"/>
          <ac:spMkLst>
            <pc:docMk/>
            <pc:sldMk cId="2233000822" sldId="10460"/>
            <ac:spMk id="64" creationId="{62AD9C8B-EE8D-4437-9A4F-DB3CF9653138}"/>
          </ac:spMkLst>
        </pc:spChg>
        <pc:spChg chg="mod">
          <ac:chgData name="Sarah GAUVARD" userId="4c03e191-e154-482a-88b2-11de19eac96c" providerId="ADAL" clId="{8245CC27-65FB-483E-B8E7-D04039DBA80D}" dt="2021-05-24T16:09:27.179" v="15192" actId="790"/>
          <ac:spMkLst>
            <pc:docMk/>
            <pc:sldMk cId="2233000822" sldId="10460"/>
            <ac:spMk id="68" creationId="{A5346155-53F6-4492-8069-514F081C33B9}"/>
          </ac:spMkLst>
        </pc:spChg>
        <pc:spChg chg="mod">
          <ac:chgData name="Sarah GAUVARD" userId="4c03e191-e154-482a-88b2-11de19eac96c" providerId="ADAL" clId="{8245CC27-65FB-483E-B8E7-D04039DBA80D}" dt="2021-05-24T16:09:27.179" v="15193" actId="790"/>
          <ac:spMkLst>
            <pc:docMk/>
            <pc:sldMk cId="2233000822" sldId="10460"/>
            <ac:spMk id="73" creationId="{98DD9878-7EFD-4EE3-8563-0AB6CA847BCD}"/>
          </ac:spMkLst>
        </pc:spChg>
        <pc:spChg chg="mod">
          <ac:chgData name="Sarah GAUVARD" userId="4c03e191-e154-482a-88b2-11de19eac96c" providerId="ADAL" clId="{8245CC27-65FB-483E-B8E7-D04039DBA80D}" dt="2021-05-24T16:09:27.189" v="15194" actId="790"/>
          <ac:spMkLst>
            <pc:docMk/>
            <pc:sldMk cId="2233000822" sldId="10460"/>
            <ac:spMk id="78" creationId="{5112757C-9BF4-4BA1-9498-541BF2906FB2}"/>
          </ac:spMkLst>
        </pc:spChg>
        <pc:spChg chg="mod">
          <ac:chgData name="Sarah GAUVARD" userId="4c03e191-e154-482a-88b2-11de19eac96c" providerId="ADAL" clId="{8245CC27-65FB-483E-B8E7-D04039DBA80D}" dt="2021-05-24T16:09:27.189" v="15195" actId="790"/>
          <ac:spMkLst>
            <pc:docMk/>
            <pc:sldMk cId="2233000822" sldId="10460"/>
            <ac:spMk id="79" creationId="{03A27743-6F0C-44CB-A476-520C8741EAE9}"/>
          </ac:spMkLst>
        </pc:spChg>
        <pc:spChg chg="mod">
          <ac:chgData name="Sarah GAUVARD" userId="4c03e191-e154-482a-88b2-11de19eac96c" providerId="ADAL" clId="{8245CC27-65FB-483E-B8E7-D04039DBA80D}" dt="2021-05-24T16:09:27.189" v="15196" actId="790"/>
          <ac:spMkLst>
            <pc:docMk/>
            <pc:sldMk cId="2233000822" sldId="10460"/>
            <ac:spMk id="80" creationId="{E399A358-1215-4FA3-8339-9689B70175BF}"/>
          </ac:spMkLst>
        </pc:spChg>
        <pc:spChg chg="mod">
          <ac:chgData name="Sarah GAUVARD" userId="4c03e191-e154-482a-88b2-11de19eac96c" providerId="ADAL" clId="{8245CC27-65FB-483E-B8E7-D04039DBA80D}" dt="2021-05-24T16:09:27.199" v="15205" actId="790"/>
          <ac:spMkLst>
            <pc:docMk/>
            <pc:sldMk cId="2233000822" sldId="10460"/>
            <ac:spMk id="81" creationId="{60F8FC4C-7305-426C-8523-F98FB2B728B2}"/>
          </ac:spMkLst>
        </pc:spChg>
        <pc:spChg chg="mod">
          <ac:chgData name="Sarah GAUVARD" userId="4c03e191-e154-482a-88b2-11de19eac96c" providerId="ADAL" clId="{8245CC27-65FB-483E-B8E7-D04039DBA80D}" dt="2021-05-24T16:09:27.189" v="15197" actId="790"/>
          <ac:spMkLst>
            <pc:docMk/>
            <pc:sldMk cId="2233000822" sldId="10460"/>
            <ac:spMk id="82" creationId="{378DC2D4-4EBE-4118-8C40-86863555C037}"/>
          </ac:spMkLst>
        </pc:spChg>
        <pc:spChg chg="mod">
          <ac:chgData name="Sarah GAUVARD" userId="4c03e191-e154-482a-88b2-11de19eac96c" providerId="ADAL" clId="{8245CC27-65FB-483E-B8E7-D04039DBA80D}" dt="2021-05-24T16:09:27.189" v="15198" actId="790"/>
          <ac:spMkLst>
            <pc:docMk/>
            <pc:sldMk cId="2233000822" sldId="10460"/>
            <ac:spMk id="84" creationId="{3C53EFB8-8D77-4743-B5E2-D02A8132C2B0}"/>
          </ac:spMkLst>
        </pc:spChg>
        <pc:spChg chg="mod">
          <ac:chgData name="Sarah GAUVARD" userId="4c03e191-e154-482a-88b2-11de19eac96c" providerId="ADAL" clId="{8245CC27-65FB-483E-B8E7-D04039DBA80D}" dt="2021-05-24T16:09:27.199" v="15206" actId="790"/>
          <ac:spMkLst>
            <pc:docMk/>
            <pc:sldMk cId="2233000822" sldId="10460"/>
            <ac:spMk id="86" creationId="{5426AF42-AB87-4AFB-94AB-DD1D8EF561A6}"/>
          </ac:spMkLst>
        </pc:spChg>
        <pc:spChg chg="mod">
          <ac:chgData name="Sarah GAUVARD" userId="4c03e191-e154-482a-88b2-11de19eac96c" providerId="ADAL" clId="{8245CC27-65FB-483E-B8E7-D04039DBA80D}" dt="2021-05-24T16:09:27.197" v="15199" actId="790"/>
          <ac:spMkLst>
            <pc:docMk/>
            <pc:sldMk cId="2233000822" sldId="10460"/>
            <ac:spMk id="92" creationId="{58B5811A-7C8F-45CF-9D3B-9676978FB9CF}"/>
          </ac:spMkLst>
        </pc:spChg>
        <pc:spChg chg="mod">
          <ac:chgData name="Sarah GAUVARD" userId="4c03e191-e154-482a-88b2-11de19eac96c" providerId="ADAL" clId="{8245CC27-65FB-483E-B8E7-D04039DBA80D}" dt="2021-05-24T16:09:27.197" v="15200" actId="790"/>
          <ac:spMkLst>
            <pc:docMk/>
            <pc:sldMk cId="2233000822" sldId="10460"/>
            <ac:spMk id="98" creationId="{E7E824A9-0075-4DB7-94CB-07C41244E4EF}"/>
          </ac:spMkLst>
        </pc:spChg>
        <pc:spChg chg="mod">
          <ac:chgData name="Sarah GAUVARD" userId="4c03e191-e154-482a-88b2-11de19eac96c" providerId="ADAL" clId="{8245CC27-65FB-483E-B8E7-D04039DBA80D}" dt="2021-05-24T16:09:27.197" v="15201" actId="790"/>
          <ac:spMkLst>
            <pc:docMk/>
            <pc:sldMk cId="2233000822" sldId="10460"/>
            <ac:spMk id="99" creationId="{9F13D4F4-DACE-4D56-AD46-7369D3A8494C}"/>
          </ac:spMkLst>
        </pc:spChg>
        <pc:spChg chg="mod">
          <ac:chgData name="Sarah GAUVARD" userId="4c03e191-e154-482a-88b2-11de19eac96c" providerId="ADAL" clId="{8245CC27-65FB-483E-B8E7-D04039DBA80D}" dt="2021-05-24T16:09:27.199" v="15210" actId="790"/>
          <ac:spMkLst>
            <pc:docMk/>
            <pc:sldMk cId="2233000822" sldId="10460"/>
            <ac:spMk id="104" creationId="{84D904D1-6FD7-411F-9055-7BDDD6F8D510}"/>
          </ac:spMkLst>
        </pc:spChg>
        <pc:spChg chg="mod">
          <ac:chgData name="Sarah GAUVARD" userId="4c03e191-e154-482a-88b2-11de19eac96c" providerId="ADAL" clId="{8245CC27-65FB-483E-B8E7-D04039DBA80D}" dt="2021-05-24T16:09:27.207" v="15211" actId="790"/>
          <ac:spMkLst>
            <pc:docMk/>
            <pc:sldMk cId="2233000822" sldId="10460"/>
            <ac:spMk id="107" creationId="{E4B14101-5119-4FB2-BCD9-4C0E7BEAF957}"/>
          </ac:spMkLst>
        </pc:spChg>
        <pc:spChg chg="mod">
          <ac:chgData name="Sarah GAUVARD" userId="4c03e191-e154-482a-88b2-11de19eac96c" providerId="ADAL" clId="{8245CC27-65FB-483E-B8E7-D04039DBA80D}" dt="2021-05-24T16:09:27.199" v="15202" actId="790"/>
          <ac:spMkLst>
            <pc:docMk/>
            <pc:sldMk cId="2233000822" sldId="10460"/>
            <ac:spMk id="109" creationId="{E8BE3BCE-A832-4D22-9958-D819266EA290}"/>
          </ac:spMkLst>
        </pc:spChg>
        <pc:spChg chg="mod">
          <ac:chgData name="Sarah GAUVARD" userId="4c03e191-e154-482a-88b2-11de19eac96c" providerId="ADAL" clId="{8245CC27-65FB-483E-B8E7-D04039DBA80D}" dt="2021-05-24T16:09:27.199" v="15207" actId="790"/>
          <ac:spMkLst>
            <pc:docMk/>
            <pc:sldMk cId="2233000822" sldId="10460"/>
            <ac:spMk id="114" creationId="{EF7E7272-A5E8-48AE-AF6F-C99EB6336D02}"/>
          </ac:spMkLst>
        </pc:spChg>
        <pc:spChg chg="mod">
          <ac:chgData name="Sarah GAUVARD" userId="4c03e191-e154-482a-88b2-11de19eac96c" providerId="ADAL" clId="{8245CC27-65FB-483E-B8E7-D04039DBA80D}" dt="2021-05-24T16:09:27.199" v="15208" actId="790"/>
          <ac:spMkLst>
            <pc:docMk/>
            <pc:sldMk cId="2233000822" sldId="10460"/>
            <ac:spMk id="115" creationId="{E4406749-7A4A-41F0-A850-CE3465C20F17}"/>
          </ac:spMkLst>
        </pc:spChg>
        <pc:spChg chg="mod">
          <ac:chgData name="Sarah GAUVARD" userId="4c03e191-e154-482a-88b2-11de19eac96c" providerId="ADAL" clId="{8245CC27-65FB-483E-B8E7-D04039DBA80D}" dt="2021-05-24T16:09:27.199" v="15209" actId="790"/>
          <ac:spMkLst>
            <pc:docMk/>
            <pc:sldMk cId="2233000822" sldId="10460"/>
            <ac:spMk id="116" creationId="{2806627C-A398-4592-B3EB-4C56D0420050}"/>
          </ac:spMkLst>
        </pc:spChg>
        <pc:spChg chg="mod">
          <ac:chgData name="Sarah GAUVARD" userId="4c03e191-e154-482a-88b2-11de19eac96c" providerId="ADAL" clId="{8245CC27-65FB-483E-B8E7-D04039DBA80D}" dt="2021-05-24T16:09:27.177" v="15185" actId="790"/>
          <ac:spMkLst>
            <pc:docMk/>
            <pc:sldMk cId="2233000822" sldId="10460"/>
            <ac:spMk id="152" creationId="{FD7ED2BD-3A04-423A-8563-A638727F3B40}"/>
          </ac:spMkLst>
        </pc:spChg>
        <pc:spChg chg="mod">
          <ac:chgData name="Sarah GAUVARD" userId="4c03e191-e154-482a-88b2-11de19eac96c" providerId="ADAL" clId="{8245CC27-65FB-483E-B8E7-D04039DBA80D}" dt="2021-05-24T16:09:27.207" v="15212" actId="790"/>
          <ac:spMkLst>
            <pc:docMk/>
            <pc:sldMk cId="2233000822" sldId="10460"/>
            <ac:spMk id="154" creationId="{D35DD235-AAB8-4F6B-B3B1-D38983ADA0CA}"/>
          </ac:spMkLst>
        </pc:spChg>
        <pc:spChg chg="mod">
          <ac:chgData name="Sarah GAUVARD" userId="4c03e191-e154-482a-88b2-11de19eac96c" providerId="ADAL" clId="{8245CC27-65FB-483E-B8E7-D04039DBA80D}" dt="2021-05-24T16:09:27.209" v="15213" actId="790"/>
          <ac:spMkLst>
            <pc:docMk/>
            <pc:sldMk cId="2233000822" sldId="10460"/>
            <ac:spMk id="155" creationId="{45677D6E-1074-44F0-A972-E8300AB3680D}"/>
          </ac:spMkLst>
        </pc:spChg>
        <pc:spChg chg="mod">
          <ac:chgData name="Sarah GAUVARD" userId="4c03e191-e154-482a-88b2-11de19eac96c" providerId="ADAL" clId="{8245CC27-65FB-483E-B8E7-D04039DBA80D}" dt="2021-05-24T16:09:27.209" v="15214" actId="790"/>
          <ac:spMkLst>
            <pc:docMk/>
            <pc:sldMk cId="2233000822" sldId="10460"/>
            <ac:spMk id="156" creationId="{29678C34-BE61-4AD4-863B-FD79AC636B57}"/>
          </ac:spMkLst>
        </pc:spChg>
        <pc:spChg chg="mod">
          <ac:chgData name="Sarah GAUVARD" userId="4c03e191-e154-482a-88b2-11de19eac96c" providerId="ADAL" clId="{8245CC27-65FB-483E-B8E7-D04039DBA80D}" dt="2021-05-24T16:09:27.209" v="15215" actId="790"/>
          <ac:spMkLst>
            <pc:docMk/>
            <pc:sldMk cId="2233000822" sldId="10460"/>
            <ac:spMk id="157" creationId="{FC79914C-612B-461D-BE51-7D1309D6DFE0}"/>
          </ac:spMkLst>
        </pc:spChg>
        <pc:spChg chg="mod">
          <ac:chgData name="Sarah GAUVARD" userId="4c03e191-e154-482a-88b2-11de19eac96c" providerId="ADAL" clId="{8245CC27-65FB-483E-B8E7-D04039DBA80D}" dt="2021-05-24T16:09:27.209" v="15216" actId="790"/>
          <ac:spMkLst>
            <pc:docMk/>
            <pc:sldMk cId="2233000822" sldId="10460"/>
            <ac:spMk id="158" creationId="{2D81ABC9-682E-4CC0-995F-B4C6876BBBA5}"/>
          </ac:spMkLst>
        </pc:spChg>
        <pc:spChg chg="mod">
          <ac:chgData name="Sarah GAUVARD" userId="4c03e191-e154-482a-88b2-11de19eac96c" providerId="ADAL" clId="{8245CC27-65FB-483E-B8E7-D04039DBA80D}" dt="2021-05-24T16:09:27.209" v="15217" actId="790"/>
          <ac:spMkLst>
            <pc:docMk/>
            <pc:sldMk cId="2233000822" sldId="10460"/>
            <ac:spMk id="159" creationId="{B9492A56-4112-40F4-9483-056AE30973C3}"/>
          </ac:spMkLst>
        </pc:spChg>
        <pc:spChg chg="mod">
          <ac:chgData name="Sarah GAUVARD" userId="4c03e191-e154-482a-88b2-11de19eac96c" providerId="ADAL" clId="{8245CC27-65FB-483E-B8E7-D04039DBA80D}" dt="2021-05-24T16:09:27.209" v="15218" actId="790"/>
          <ac:spMkLst>
            <pc:docMk/>
            <pc:sldMk cId="2233000822" sldId="10460"/>
            <ac:spMk id="160" creationId="{DF39C3C0-CF28-40E8-9508-1DBF262C4F4D}"/>
          </ac:spMkLst>
        </pc:spChg>
        <pc:graphicFrameChg chg="mod">
          <ac:chgData name="Sarah GAUVARD" userId="4c03e191-e154-482a-88b2-11de19eac96c" providerId="ADAL" clId="{8245CC27-65FB-483E-B8E7-D04039DBA80D}" dt="2021-05-24T15:34:46.266" v="11979"/>
          <ac:graphicFrameMkLst>
            <pc:docMk/>
            <pc:sldMk cId="2233000822" sldId="10460"/>
            <ac:graphicFrameMk id="18" creationId="{597710FC-936F-4224-8A0A-F67D6B18BBF7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09:51:48.129" v="987"/>
        <pc:sldMkLst>
          <pc:docMk/>
          <pc:sldMk cId="2003759014" sldId="10461"/>
        </pc:sldMkLst>
        <pc:spChg chg="add mod">
          <ac:chgData name="Sarah GAUVARD" userId="4c03e191-e154-482a-88b2-11de19eac96c" providerId="ADAL" clId="{8245CC27-65FB-483E-B8E7-D04039DBA80D}" dt="2021-05-24T09:51:48.129" v="987"/>
          <ac:spMkLst>
            <pc:docMk/>
            <pc:sldMk cId="2003759014" sldId="10461"/>
            <ac:spMk id="60" creationId="{2C59FC67-2AC6-4F81-A7A1-88B7F688B462}"/>
          </ac:spMkLst>
        </pc:spChg>
        <pc:spChg chg="add mod">
          <ac:chgData name="Sarah GAUVARD" userId="4c03e191-e154-482a-88b2-11de19eac96c" providerId="ADAL" clId="{8245CC27-65FB-483E-B8E7-D04039DBA80D}" dt="2021-05-24T09:51:48.129" v="987"/>
          <ac:spMkLst>
            <pc:docMk/>
            <pc:sldMk cId="2003759014" sldId="10461"/>
            <ac:spMk id="61" creationId="{34D8A482-BE77-4BF2-BB09-C51C6BA544FB}"/>
          </ac:spMkLst>
        </pc:spChg>
        <pc:spChg chg="del">
          <ac:chgData name="Sarah GAUVARD" userId="4c03e191-e154-482a-88b2-11de19eac96c" providerId="ADAL" clId="{8245CC27-65FB-483E-B8E7-D04039DBA80D}" dt="2021-05-24T09:51:47.905" v="986" actId="478"/>
          <ac:spMkLst>
            <pc:docMk/>
            <pc:sldMk cId="2003759014" sldId="10461"/>
            <ac:spMk id="62" creationId="{25C97827-EB39-4B75-A401-B7DCE016AA6E}"/>
          </ac:spMkLst>
        </pc:spChg>
        <pc:spChg chg="del">
          <ac:chgData name="Sarah GAUVARD" userId="4c03e191-e154-482a-88b2-11de19eac96c" providerId="ADAL" clId="{8245CC27-65FB-483E-B8E7-D04039DBA80D}" dt="2021-05-24T09:51:47.905" v="986" actId="478"/>
          <ac:spMkLst>
            <pc:docMk/>
            <pc:sldMk cId="2003759014" sldId="10461"/>
            <ac:spMk id="63" creationId="{4F3E4989-0F11-4D5F-BE03-445CEAAD45D9}"/>
          </ac:spMkLst>
        </pc:spChg>
        <pc:spChg chg="del">
          <ac:chgData name="Sarah GAUVARD" userId="4c03e191-e154-482a-88b2-11de19eac96c" providerId="ADAL" clId="{8245CC27-65FB-483E-B8E7-D04039DBA80D}" dt="2021-05-24T09:51:47.905" v="986" actId="478"/>
          <ac:spMkLst>
            <pc:docMk/>
            <pc:sldMk cId="2003759014" sldId="10461"/>
            <ac:spMk id="64" creationId="{11088777-7655-4C52-AC99-76E18AA7C86E}"/>
          </ac:spMkLst>
        </pc:spChg>
        <pc:spChg chg="del">
          <ac:chgData name="Sarah GAUVARD" userId="4c03e191-e154-482a-88b2-11de19eac96c" providerId="ADAL" clId="{8245CC27-65FB-483E-B8E7-D04039DBA80D}" dt="2021-05-24T09:51:47.905" v="986" actId="478"/>
          <ac:spMkLst>
            <pc:docMk/>
            <pc:sldMk cId="2003759014" sldId="10461"/>
            <ac:spMk id="65" creationId="{95974D71-3379-4A79-9661-C05371C57398}"/>
          </ac:spMkLst>
        </pc:spChg>
        <pc:spChg chg="del">
          <ac:chgData name="Sarah GAUVARD" userId="4c03e191-e154-482a-88b2-11de19eac96c" providerId="ADAL" clId="{8245CC27-65FB-483E-B8E7-D04039DBA80D}" dt="2021-05-24T09:51:47.905" v="986" actId="478"/>
          <ac:spMkLst>
            <pc:docMk/>
            <pc:sldMk cId="2003759014" sldId="10461"/>
            <ac:spMk id="66" creationId="{688BEA79-0429-438C-AA34-FAD470CAFEFD}"/>
          </ac:spMkLst>
        </pc:spChg>
        <pc:spChg chg="add mod">
          <ac:chgData name="Sarah GAUVARD" userId="4c03e191-e154-482a-88b2-11de19eac96c" providerId="ADAL" clId="{8245CC27-65FB-483E-B8E7-D04039DBA80D}" dt="2021-05-24T09:51:48.129" v="987"/>
          <ac:spMkLst>
            <pc:docMk/>
            <pc:sldMk cId="2003759014" sldId="10461"/>
            <ac:spMk id="74" creationId="{AEB0EB96-76FE-44F1-9FD4-36424D66BBC7}"/>
          </ac:spMkLst>
        </pc:spChg>
        <pc:spChg chg="add mod">
          <ac:chgData name="Sarah GAUVARD" userId="4c03e191-e154-482a-88b2-11de19eac96c" providerId="ADAL" clId="{8245CC27-65FB-483E-B8E7-D04039DBA80D}" dt="2021-05-24T09:51:48.129" v="987"/>
          <ac:spMkLst>
            <pc:docMk/>
            <pc:sldMk cId="2003759014" sldId="10461"/>
            <ac:spMk id="75" creationId="{14D832F5-1788-4673-882E-7685E10ADC46}"/>
          </ac:spMkLst>
        </pc:spChg>
        <pc:spChg chg="add mod">
          <ac:chgData name="Sarah GAUVARD" userId="4c03e191-e154-482a-88b2-11de19eac96c" providerId="ADAL" clId="{8245CC27-65FB-483E-B8E7-D04039DBA80D}" dt="2021-05-24T09:51:48.129" v="987"/>
          <ac:spMkLst>
            <pc:docMk/>
            <pc:sldMk cId="2003759014" sldId="10461"/>
            <ac:spMk id="76" creationId="{67D1AEAA-66A3-493A-832C-7CAFC86BD4A3}"/>
          </ac:spMkLst>
        </pc:spChg>
      </pc:sldChg>
      <pc:sldChg chg="addSp delSp modSp mod">
        <pc:chgData name="Sarah GAUVARD" userId="4c03e191-e154-482a-88b2-11de19eac96c" providerId="ADAL" clId="{8245CC27-65FB-483E-B8E7-D04039DBA80D}" dt="2021-05-24T16:09:27.388" v="15389" actId="790"/>
        <pc:sldMkLst>
          <pc:docMk/>
          <pc:sldMk cId="994864461" sldId="10463"/>
        </pc:sldMkLst>
        <pc:spChg chg="mod">
          <ac:chgData name="Sarah GAUVARD" userId="4c03e191-e154-482a-88b2-11de19eac96c" providerId="ADAL" clId="{8245CC27-65FB-483E-B8E7-D04039DBA80D}" dt="2021-05-24T16:09:27.330" v="15333" actId="790"/>
          <ac:spMkLst>
            <pc:docMk/>
            <pc:sldMk cId="994864461" sldId="10463"/>
            <ac:spMk id="2" creationId="{6141F854-3009-40D7-9038-56590105A49E}"/>
          </ac:spMkLst>
        </pc:spChg>
        <pc:spChg chg="add del mod modVis">
          <ac:chgData name="Sarah GAUVARD" userId="4c03e191-e154-482a-88b2-11de19eac96c" providerId="ADAL" clId="{8245CC27-65FB-483E-B8E7-D04039DBA80D}" dt="2021-05-24T15:34:46.546" v="12100"/>
          <ac:spMkLst>
            <pc:docMk/>
            <pc:sldMk cId="994864461" sldId="10463"/>
            <ac:spMk id="6" creationId="{A5C7EED7-8849-477B-B40E-204690A1602A}"/>
          </ac:spMkLst>
        </pc:spChg>
        <pc:spChg chg="mod">
          <ac:chgData name="Sarah GAUVARD" userId="4c03e191-e154-482a-88b2-11de19eac96c" providerId="ADAL" clId="{8245CC27-65FB-483E-B8E7-D04039DBA80D}" dt="2021-05-24T16:09:27.330" v="15334" actId="790"/>
          <ac:spMkLst>
            <pc:docMk/>
            <pc:sldMk cId="994864461" sldId="10463"/>
            <ac:spMk id="14" creationId="{BF99168B-58D2-49E3-9128-C54D5771CCAF}"/>
          </ac:spMkLst>
        </pc:spChg>
        <pc:spChg chg="mod">
          <ac:chgData name="Sarah GAUVARD" userId="4c03e191-e154-482a-88b2-11de19eac96c" providerId="ADAL" clId="{8245CC27-65FB-483E-B8E7-D04039DBA80D}" dt="2021-05-24T16:09:27.330" v="15335" actId="790"/>
          <ac:spMkLst>
            <pc:docMk/>
            <pc:sldMk cId="994864461" sldId="10463"/>
            <ac:spMk id="41" creationId="{8514CDF6-D3F3-4CEC-96D8-EB94AFEB3106}"/>
          </ac:spMkLst>
        </pc:spChg>
        <pc:spChg chg="mod">
          <ac:chgData name="Sarah GAUVARD" userId="4c03e191-e154-482a-88b2-11de19eac96c" providerId="ADAL" clId="{8245CC27-65FB-483E-B8E7-D04039DBA80D}" dt="2021-05-24T16:09:27.330" v="15336" actId="790"/>
          <ac:spMkLst>
            <pc:docMk/>
            <pc:sldMk cId="994864461" sldId="10463"/>
            <ac:spMk id="42" creationId="{B14DB10B-7FE9-42ED-B303-F33106400EA9}"/>
          </ac:spMkLst>
        </pc:spChg>
        <pc:spChg chg="mod">
          <ac:chgData name="Sarah GAUVARD" userId="4c03e191-e154-482a-88b2-11de19eac96c" providerId="ADAL" clId="{8245CC27-65FB-483E-B8E7-D04039DBA80D}" dt="2021-05-24T16:09:27.330" v="15337" actId="790"/>
          <ac:spMkLst>
            <pc:docMk/>
            <pc:sldMk cId="994864461" sldId="10463"/>
            <ac:spMk id="43" creationId="{E84EA5FA-08E9-40F6-A71F-8BA8F3E3ED99}"/>
          </ac:spMkLst>
        </pc:spChg>
        <pc:spChg chg="mod">
          <ac:chgData name="Sarah GAUVARD" userId="4c03e191-e154-482a-88b2-11de19eac96c" providerId="ADAL" clId="{8245CC27-65FB-483E-B8E7-D04039DBA80D}" dt="2021-05-24T16:09:27.330" v="15338" actId="790"/>
          <ac:spMkLst>
            <pc:docMk/>
            <pc:sldMk cId="994864461" sldId="10463"/>
            <ac:spMk id="44" creationId="{F595688A-2B2A-4B18-BC8F-3E1BBE846D86}"/>
          </ac:spMkLst>
        </pc:spChg>
        <pc:spChg chg="mod">
          <ac:chgData name="Sarah GAUVARD" userId="4c03e191-e154-482a-88b2-11de19eac96c" providerId="ADAL" clId="{8245CC27-65FB-483E-B8E7-D04039DBA80D}" dt="2021-05-24T16:09:27.330" v="15339" actId="790"/>
          <ac:spMkLst>
            <pc:docMk/>
            <pc:sldMk cId="994864461" sldId="10463"/>
            <ac:spMk id="45" creationId="{7A651798-9873-484A-BCBC-F1732F254FCF}"/>
          </ac:spMkLst>
        </pc:spChg>
        <pc:spChg chg="mod">
          <ac:chgData name="Sarah GAUVARD" userId="4c03e191-e154-482a-88b2-11de19eac96c" providerId="ADAL" clId="{8245CC27-65FB-483E-B8E7-D04039DBA80D}" dt="2021-05-24T16:09:27.330" v="15340" actId="790"/>
          <ac:spMkLst>
            <pc:docMk/>
            <pc:sldMk cId="994864461" sldId="10463"/>
            <ac:spMk id="49" creationId="{D81D2065-13CD-4420-A58C-E72AE87D1A42}"/>
          </ac:spMkLst>
        </pc:spChg>
        <pc:spChg chg="mod">
          <ac:chgData name="Sarah GAUVARD" userId="4c03e191-e154-482a-88b2-11de19eac96c" providerId="ADAL" clId="{8245CC27-65FB-483E-B8E7-D04039DBA80D}" dt="2021-05-24T16:09:27.330" v="15341" actId="790"/>
          <ac:spMkLst>
            <pc:docMk/>
            <pc:sldMk cId="994864461" sldId="10463"/>
            <ac:spMk id="50" creationId="{ACAAB4F1-8D2B-4B8D-A0C1-3794501DF384}"/>
          </ac:spMkLst>
        </pc:spChg>
        <pc:spChg chg="mod">
          <ac:chgData name="Sarah GAUVARD" userId="4c03e191-e154-482a-88b2-11de19eac96c" providerId="ADAL" clId="{8245CC27-65FB-483E-B8E7-D04039DBA80D}" dt="2021-05-24T16:09:27.338" v="15342" actId="790"/>
          <ac:spMkLst>
            <pc:docMk/>
            <pc:sldMk cId="994864461" sldId="10463"/>
            <ac:spMk id="51" creationId="{CCA5A507-9498-412A-8734-37E9A0CAFBC2}"/>
          </ac:spMkLst>
        </pc:spChg>
        <pc:spChg chg="mod">
          <ac:chgData name="Sarah GAUVARD" userId="4c03e191-e154-482a-88b2-11de19eac96c" providerId="ADAL" clId="{8245CC27-65FB-483E-B8E7-D04039DBA80D}" dt="2021-05-24T16:09:27.338" v="15343" actId="790"/>
          <ac:spMkLst>
            <pc:docMk/>
            <pc:sldMk cId="994864461" sldId="10463"/>
            <ac:spMk id="52" creationId="{9926A3AA-BF17-44D4-8DE7-9339CF1BE6FD}"/>
          </ac:spMkLst>
        </pc:spChg>
        <pc:spChg chg="mod">
          <ac:chgData name="Sarah GAUVARD" userId="4c03e191-e154-482a-88b2-11de19eac96c" providerId="ADAL" clId="{8245CC27-65FB-483E-B8E7-D04039DBA80D}" dt="2021-05-24T16:09:27.340" v="15344" actId="790"/>
          <ac:spMkLst>
            <pc:docMk/>
            <pc:sldMk cId="994864461" sldId="10463"/>
            <ac:spMk id="53" creationId="{5E59300E-921D-44E2-90E6-C444434FE1E2}"/>
          </ac:spMkLst>
        </pc:spChg>
        <pc:spChg chg="mod">
          <ac:chgData name="Sarah GAUVARD" userId="4c03e191-e154-482a-88b2-11de19eac96c" providerId="ADAL" clId="{8245CC27-65FB-483E-B8E7-D04039DBA80D}" dt="2021-05-24T16:09:27.340" v="15345" actId="790"/>
          <ac:spMkLst>
            <pc:docMk/>
            <pc:sldMk cId="994864461" sldId="10463"/>
            <ac:spMk id="56" creationId="{2FB57385-9778-4E16-88A7-927D307E97B3}"/>
          </ac:spMkLst>
        </pc:spChg>
        <pc:spChg chg="mod">
          <ac:chgData name="Sarah GAUVARD" userId="4c03e191-e154-482a-88b2-11de19eac96c" providerId="ADAL" clId="{8245CC27-65FB-483E-B8E7-D04039DBA80D}" dt="2021-05-24T16:09:27.340" v="15346" actId="790"/>
          <ac:spMkLst>
            <pc:docMk/>
            <pc:sldMk cId="994864461" sldId="10463"/>
            <ac:spMk id="60" creationId="{16434E0F-0445-4AD4-82FB-D64C1DE95F23}"/>
          </ac:spMkLst>
        </pc:spChg>
        <pc:spChg chg="mod">
          <ac:chgData name="Sarah GAUVARD" userId="4c03e191-e154-482a-88b2-11de19eac96c" providerId="ADAL" clId="{8245CC27-65FB-483E-B8E7-D04039DBA80D}" dt="2021-05-24T16:09:27.340" v="15347" actId="790"/>
          <ac:spMkLst>
            <pc:docMk/>
            <pc:sldMk cId="994864461" sldId="10463"/>
            <ac:spMk id="61" creationId="{A9D37744-99D5-4181-A4E2-3E7AF4C1AAEF}"/>
          </ac:spMkLst>
        </pc:spChg>
        <pc:spChg chg="mod">
          <ac:chgData name="Sarah GAUVARD" userId="4c03e191-e154-482a-88b2-11de19eac96c" providerId="ADAL" clId="{8245CC27-65FB-483E-B8E7-D04039DBA80D}" dt="2021-05-24T16:09:27.340" v="15348" actId="790"/>
          <ac:spMkLst>
            <pc:docMk/>
            <pc:sldMk cId="994864461" sldId="10463"/>
            <ac:spMk id="62" creationId="{7CA1B84B-275B-4A40-B4C6-ACCA5B1EF060}"/>
          </ac:spMkLst>
        </pc:spChg>
        <pc:spChg chg="mod">
          <ac:chgData name="Sarah GAUVARD" userId="4c03e191-e154-482a-88b2-11de19eac96c" providerId="ADAL" clId="{8245CC27-65FB-483E-B8E7-D04039DBA80D}" dt="2021-05-24T16:09:27.340" v="15350" actId="790"/>
          <ac:spMkLst>
            <pc:docMk/>
            <pc:sldMk cId="994864461" sldId="10463"/>
            <ac:spMk id="63" creationId="{34C8AF29-90C4-46FA-B9DC-F36ED53B3BDD}"/>
          </ac:spMkLst>
        </pc:spChg>
        <pc:spChg chg="mod">
          <ac:chgData name="Sarah GAUVARD" userId="4c03e191-e154-482a-88b2-11de19eac96c" providerId="ADAL" clId="{8245CC27-65FB-483E-B8E7-D04039DBA80D}" dt="2021-05-24T16:09:27.348" v="15351" actId="790"/>
          <ac:spMkLst>
            <pc:docMk/>
            <pc:sldMk cId="994864461" sldId="10463"/>
            <ac:spMk id="64" creationId="{2D17AE97-4406-4CDC-B948-322489FAF64E}"/>
          </ac:spMkLst>
        </pc:spChg>
        <pc:spChg chg="mod">
          <ac:chgData name="Sarah GAUVARD" userId="4c03e191-e154-482a-88b2-11de19eac96c" providerId="ADAL" clId="{8245CC27-65FB-483E-B8E7-D04039DBA80D}" dt="2021-05-24T16:09:27.340" v="15349" actId="790"/>
          <ac:spMkLst>
            <pc:docMk/>
            <pc:sldMk cId="994864461" sldId="10463"/>
            <ac:spMk id="65" creationId="{6959121F-EC41-4CB3-A845-BFD588522528}"/>
          </ac:spMkLst>
        </pc:spChg>
        <pc:spChg chg="mod">
          <ac:chgData name="Sarah GAUVARD" userId="4c03e191-e154-482a-88b2-11de19eac96c" providerId="ADAL" clId="{8245CC27-65FB-483E-B8E7-D04039DBA80D}" dt="2021-05-24T16:09:27.348" v="15352" actId="790"/>
          <ac:spMkLst>
            <pc:docMk/>
            <pc:sldMk cId="994864461" sldId="10463"/>
            <ac:spMk id="66" creationId="{4479525C-995C-481A-84E6-2CD575176647}"/>
          </ac:spMkLst>
        </pc:spChg>
        <pc:spChg chg="mod">
          <ac:chgData name="Sarah GAUVARD" userId="4c03e191-e154-482a-88b2-11de19eac96c" providerId="ADAL" clId="{8245CC27-65FB-483E-B8E7-D04039DBA80D}" dt="2021-05-24T16:09:27.350" v="15353" actId="790"/>
          <ac:spMkLst>
            <pc:docMk/>
            <pc:sldMk cId="994864461" sldId="10463"/>
            <ac:spMk id="67" creationId="{04E022E5-2E4D-42E2-AA60-46BE011C9266}"/>
          </ac:spMkLst>
        </pc:spChg>
        <pc:spChg chg="mod">
          <ac:chgData name="Sarah GAUVARD" userId="4c03e191-e154-482a-88b2-11de19eac96c" providerId="ADAL" clId="{8245CC27-65FB-483E-B8E7-D04039DBA80D}" dt="2021-05-24T16:09:27.350" v="15354" actId="790"/>
          <ac:spMkLst>
            <pc:docMk/>
            <pc:sldMk cId="994864461" sldId="10463"/>
            <ac:spMk id="68" creationId="{E440AB09-76A6-4F09-B7C3-B68484BF0101}"/>
          </ac:spMkLst>
        </pc:spChg>
        <pc:spChg chg="mod">
          <ac:chgData name="Sarah GAUVARD" userId="4c03e191-e154-482a-88b2-11de19eac96c" providerId="ADAL" clId="{8245CC27-65FB-483E-B8E7-D04039DBA80D}" dt="2021-05-24T16:09:27.350" v="15355" actId="790"/>
          <ac:spMkLst>
            <pc:docMk/>
            <pc:sldMk cId="994864461" sldId="10463"/>
            <ac:spMk id="69" creationId="{2011D7F9-8390-4E30-9AD1-E3611E2BC1CD}"/>
          </ac:spMkLst>
        </pc:spChg>
        <pc:spChg chg="mod">
          <ac:chgData name="Sarah GAUVARD" userId="4c03e191-e154-482a-88b2-11de19eac96c" providerId="ADAL" clId="{8245CC27-65FB-483E-B8E7-D04039DBA80D}" dt="2021-05-24T16:09:27.350" v="15356" actId="790"/>
          <ac:spMkLst>
            <pc:docMk/>
            <pc:sldMk cId="994864461" sldId="10463"/>
            <ac:spMk id="70" creationId="{AFE4887D-245E-4A5E-8885-8AF19040C140}"/>
          </ac:spMkLst>
        </pc:spChg>
        <pc:spChg chg="mod">
          <ac:chgData name="Sarah GAUVARD" userId="4c03e191-e154-482a-88b2-11de19eac96c" providerId="ADAL" clId="{8245CC27-65FB-483E-B8E7-D04039DBA80D}" dt="2021-05-24T16:09:27.350" v="15357" actId="790"/>
          <ac:spMkLst>
            <pc:docMk/>
            <pc:sldMk cId="994864461" sldId="10463"/>
            <ac:spMk id="71" creationId="{F0F2AF39-5991-495C-A600-6A657673BFB6}"/>
          </ac:spMkLst>
        </pc:spChg>
        <pc:spChg chg="mod">
          <ac:chgData name="Sarah GAUVARD" userId="4c03e191-e154-482a-88b2-11de19eac96c" providerId="ADAL" clId="{8245CC27-65FB-483E-B8E7-D04039DBA80D}" dt="2021-05-24T16:09:27.350" v="15358" actId="790"/>
          <ac:spMkLst>
            <pc:docMk/>
            <pc:sldMk cId="994864461" sldId="10463"/>
            <ac:spMk id="72" creationId="{80311AF2-539D-40DF-BC68-A43B2EEB1602}"/>
          </ac:spMkLst>
        </pc:spChg>
        <pc:spChg chg="mod">
          <ac:chgData name="Sarah GAUVARD" userId="4c03e191-e154-482a-88b2-11de19eac96c" providerId="ADAL" clId="{8245CC27-65FB-483E-B8E7-D04039DBA80D}" dt="2021-05-24T16:09:27.350" v="15359" actId="790"/>
          <ac:spMkLst>
            <pc:docMk/>
            <pc:sldMk cId="994864461" sldId="10463"/>
            <ac:spMk id="73" creationId="{0B2D4FEA-C321-48DA-A508-11F9FD1D872D}"/>
          </ac:spMkLst>
        </pc:spChg>
        <pc:spChg chg="mod">
          <ac:chgData name="Sarah GAUVARD" userId="4c03e191-e154-482a-88b2-11de19eac96c" providerId="ADAL" clId="{8245CC27-65FB-483E-B8E7-D04039DBA80D}" dt="2021-05-24T16:09:27.350" v="15360" actId="790"/>
          <ac:spMkLst>
            <pc:docMk/>
            <pc:sldMk cId="994864461" sldId="10463"/>
            <ac:spMk id="74" creationId="{6C2C45BC-5F8F-4158-95FA-DBED5FF506B1}"/>
          </ac:spMkLst>
        </pc:spChg>
        <pc:spChg chg="mod">
          <ac:chgData name="Sarah GAUVARD" userId="4c03e191-e154-482a-88b2-11de19eac96c" providerId="ADAL" clId="{8245CC27-65FB-483E-B8E7-D04039DBA80D}" dt="2021-05-24T16:09:27.350" v="15361" actId="790"/>
          <ac:spMkLst>
            <pc:docMk/>
            <pc:sldMk cId="994864461" sldId="10463"/>
            <ac:spMk id="75" creationId="{7B0FFDE9-FFD9-4A73-8832-170F98D17244}"/>
          </ac:spMkLst>
        </pc:spChg>
        <pc:spChg chg="mod">
          <ac:chgData name="Sarah GAUVARD" userId="4c03e191-e154-482a-88b2-11de19eac96c" providerId="ADAL" clId="{8245CC27-65FB-483E-B8E7-D04039DBA80D}" dt="2021-05-24T16:09:27.358" v="15362" actId="790"/>
          <ac:spMkLst>
            <pc:docMk/>
            <pc:sldMk cId="994864461" sldId="10463"/>
            <ac:spMk id="76" creationId="{04AB1183-48A5-4AAB-AFC7-EE17CBA30D1F}"/>
          </ac:spMkLst>
        </pc:spChg>
        <pc:spChg chg="mod">
          <ac:chgData name="Sarah GAUVARD" userId="4c03e191-e154-482a-88b2-11de19eac96c" providerId="ADAL" clId="{8245CC27-65FB-483E-B8E7-D04039DBA80D}" dt="2021-05-24T16:09:27.358" v="15363" actId="790"/>
          <ac:spMkLst>
            <pc:docMk/>
            <pc:sldMk cId="994864461" sldId="10463"/>
            <ac:spMk id="77" creationId="{953DC0E8-B9BA-4272-838D-47500A00630B}"/>
          </ac:spMkLst>
        </pc:spChg>
        <pc:spChg chg="mod">
          <ac:chgData name="Sarah GAUVARD" userId="4c03e191-e154-482a-88b2-11de19eac96c" providerId="ADAL" clId="{8245CC27-65FB-483E-B8E7-D04039DBA80D}" dt="2021-05-24T16:09:27.360" v="15364" actId="790"/>
          <ac:spMkLst>
            <pc:docMk/>
            <pc:sldMk cId="994864461" sldId="10463"/>
            <ac:spMk id="78" creationId="{6E94A301-188D-411F-840A-724B132E6629}"/>
          </ac:spMkLst>
        </pc:spChg>
        <pc:spChg chg="mod">
          <ac:chgData name="Sarah GAUVARD" userId="4c03e191-e154-482a-88b2-11de19eac96c" providerId="ADAL" clId="{8245CC27-65FB-483E-B8E7-D04039DBA80D}" dt="2021-05-24T16:09:27.368" v="15365" actId="790"/>
          <ac:spMkLst>
            <pc:docMk/>
            <pc:sldMk cId="994864461" sldId="10463"/>
            <ac:spMk id="79" creationId="{7F2E29EF-CCA5-49C7-B921-5468D45F7D5D}"/>
          </ac:spMkLst>
        </pc:spChg>
        <pc:spChg chg="mod">
          <ac:chgData name="Sarah GAUVARD" userId="4c03e191-e154-482a-88b2-11de19eac96c" providerId="ADAL" clId="{8245CC27-65FB-483E-B8E7-D04039DBA80D}" dt="2021-05-24T16:09:27.368" v="15366" actId="790"/>
          <ac:spMkLst>
            <pc:docMk/>
            <pc:sldMk cId="994864461" sldId="10463"/>
            <ac:spMk id="80" creationId="{F2B59353-E19F-4D93-9E7E-E095010072BD}"/>
          </ac:spMkLst>
        </pc:spChg>
        <pc:spChg chg="mod">
          <ac:chgData name="Sarah GAUVARD" userId="4c03e191-e154-482a-88b2-11de19eac96c" providerId="ADAL" clId="{8245CC27-65FB-483E-B8E7-D04039DBA80D}" dt="2021-05-24T16:09:27.368" v="15367" actId="790"/>
          <ac:spMkLst>
            <pc:docMk/>
            <pc:sldMk cId="994864461" sldId="10463"/>
            <ac:spMk id="81" creationId="{CC201E51-AC66-4CA9-A83C-D0C9C8FFE8BE}"/>
          </ac:spMkLst>
        </pc:spChg>
        <pc:spChg chg="mod">
          <ac:chgData name="Sarah GAUVARD" userId="4c03e191-e154-482a-88b2-11de19eac96c" providerId="ADAL" clId="{8245CC27-65FB-483E-B8E7-D04039DBA80D}" dt="2021-05-24T16:09:27.368" v="15368" actId="790"/>
          <ac:spMkLst>
            <pc:docMk/>
            <pc:sldMk cId="994864461" sldId="10463"/>
            <ac:spMk id="82" creationId="{89D680A3-5621-4E69-8DC5-AAE03504131D}"/>
          </ac:spMkLst>
        </pc:spChg>
        <pc:spChg chg="mod">
          <ac:chgData name="Sarah GAUVARD" userId="4c03e191-e154-482a-88b2-11de19eac96c" providerId="ADAL" clId="{8245CC27-65FB-483E-B8E7-D04039DBA80D}" dt="2021-05-24T16:09:27.368" v="15369" actId="790"/>
          <ac:spMkLst>
            <pc:docMk/>
            <pc:sldMk cId="994864461" sldId="10463"/>
            <ac:spMk id="96" creationId="{60AA0A4A-BEEE-4604-956C-953BE71EFC9D}"/>
          </ac:spMkLst>
        </pc:spChg>
        <pc:spChg chg="mod">
          <ac:chgData name="Sarah GAUVARD" userId="4c03e191-e154-482a-88b2-11de19eac96c" providerId="ADAL" clId="{8245CC27-65FB-483E-B8E7-D04039DBA80D}" dt="2021-05-24T16:09:27.368" v="15370" actId="790"/>
          <ac:spMkLst>
            <pc:docMk/>
            <pc:sldMk cId="994864461" sldId="10463"/>
            <ac:spMk id="109" creationId="{B8C651EF-8C79-4EEF-BCDF-0C547882B32B}"/>
          </ac:spMkLst>
        </pc:spChg>
        <pc:spChg chg="mod">
          <ac:chgData name="Sarah GAUVARD" userId="4c03e191-e154-482a-88b2-11de19eac96c" providerId="ADAL" clId="{8245CC27-65FB-483E-B8E7-D04039DBA80D}" dt="2021-05-24T16:09:27.368" v="15371" actId="790"/>
          <ac:spMkLst>
            <pc:docMk/>
            <pc:sldMk cId="994864461" sldId="10463"/>
            <ac:spMk id="110" creationId="{C1242745-0D13-455E-8D76-9CABDFB68D09}"/>
          </ac:spMkLst>
        </pc:spChg>
        <pc:spChg chg="mod">
          <ac:chgData name="Sarah GAUVARD" userId="4c03e191-e154-482a-88b2-11de19eac96c" providerId="ADAL" clId="{8245CC27-65FB-483E-B8E7-D04039DBA80D}" dt="2021-05-24T16:09:27.368" v="15372" actId="790"/>
          <ac:spMkLst>
            <pc:docMk/>
            <pc:sldMk cId="994864461" sldId="10463"/>
            <ac:spMk id="111" creationId="{F76AA831-FD95-45A6-8806-8F9A459A7676}"/>
          </ac:spMkLst>
        </pc:spChg>
        <pc:spChg chg="mod">
          <ac:chgData name="Sarah GAUVARD" userId="4c03e191-e154-482a-88b2-11de19eac96c" providerId="ADAL" clId="{8245CC27-65FB-483E-B8E7-D04039DBA80D}" dt="2021-05-24T16:09:27.378" v="15373" actId="790"/>
          <ac:spMkLst>
            <pc:docMk/>
            <pc:sldMk cId="994864461" sldId="10463"/>
            <ac:spMk id="112" creationId="{FEDE8EDB-9323-48AA-A8D4-0F9C692E7A3C}"/>
          </ac:spMkLst>
        </pc:spChg>
        <pc:spChg chg="mod">
          <ac:chgData name="Sarah GAUVARD" userId="4c03e191-e154-482a-88b2-11de19eac96c" providerId="ADAL" clId="{8245CC27-65FB-483E-B8E7-D04039DBA80D}" dt="2021-05-24T16:09:27.378" v="15374" actId="790"/>
          <ac:spMkLst>
            <pc:docMk/>
            <pc:sldMk cId="994864461" sldId="10463"/>
            <ac:spMk id="113" creationId="{66FFCA00-9590-4FD6-BEA6-01F02807C391}"/>
          </ac:spMkLst>
        </pc:spChg>
        <pc:spChg chg="mod">
          <ac:chgData name="Sarah GAUVARD" userId="4c03e191-e154-482a-88b2-11de19eac96c" providerId="ADAL" clId="{8245CC27-65FB-483E-B8E7-D04039DBA80D}" dt="2021-05-24T16:09:27.378" v="15375" actId="790"/>
          <ac:spMkLst>
            <pc:docMk/>
            <pc:sldMk cId="994864461" sldId="10463"/>
            <ac:spMk id="114" creationId="{83E3983C-7907-4845-8A3C-B826235A80DE}"/>
          </ac:spMkLst>
        </pc:spChg>
        <pc:spChg chg="mod">
          <ac:chgData name="Sarah GAUVARD" userId="4c03e191-e154-482a-88b2-11de19eac96c" providerId="ADAL" clId="{8245CC27-65FB-483E-B8E7-D04039DBA80D}" dt="2021-05-24T16:09:27.380" v="15376" actId="790"/>
          <ac:spMkLst>
            <pc:docMk/>
            <pc:sldMk cId="994864461" sldId="10463"/>
            <ac:spMk id="115" creationId="{856DB5DA-5C74-47EE-A53D-D14D437C76BE}"/>
          </ac:spMkLst>
        </pc:spChg>
        <pc:spChg chg="mod">
          <ac:chgData name="Sarah GAUVARD" userId="4c03e191-e154-482a-88b2-11de19eac96c" providerId="ADAL" clId="{8245CC27-65FB-483E-B8E7-D04039DBA80D}" dt="2021-05-24T16:09:27.380" v="15377" actId="790"/>
          <ac:spMkLst>
            <pc:docMk/>
            <pc:sldMk cId="994864461" sldId="10463"/>
            <ac:spMk id="116" creationId="{256E6065-18B1-4B1A-9B1C-395D7858CEF7}"/>
          </ac:spMkLst>
        </pc:spChg>
        <pc:spChg chg="mod">
          <ac:chgData name="Sarah GAUVARD" userId="4c03e191-e154-482a-88b2-11de19eac96c" providerId="ADAL" clId="{8245CC27-65FB-483E-B8E7-D04039DBA80D}" dt="2021-05-24T16:09:27.380" v="15378" actId="790"/>
          <ac:spMkLst>
            <pc:docMk/>
            <pc:sldMk cId="994864461" sldId="10463"/>
            <ac:spMk id="117" creationId="{8FF8270B-E7B5-4CEF-9925-A038D6A17D9E}"/>
          </ac:spMkLst>
        </pc:spChg>
        <pc:spChg chg="mod">
          <ac:chgData name="Sarah GAUVARD" userId="4c03e191-e154-482a-88b2-11de19eac96c" providerId="ADAL" clId="{8245CC27-65FB-483E-B8E7-D04039DBA80D}" dt="2021-05-24T16:09:27.380" v="15379" actId="790"/>
          <ac:spMkLst>
            <pc:docMk/>
            <pc:sldMk cId="994864461" sldId="10463"/>
            <ac:spMk id="118" creationId="{1CF9F239-F8D1-473B-9E76-AB8282E7869E}"/>
          </ac:spMkLst>
        </pc:spChg>
        <pc:spChg chg="mod">
          <ac:chgData name="Sarah GAUVARD" userId="4c03e191-e154-482a-88b2-11de19eac96c" providerId="ADAL" clId="{8245CC27-65FB-483E-B8E7-D04039DBA80D}" dt="2021-05-24T16:09:27.380" v="15380" actId="790"/>
          <ac:spMkLst>
            <pc:docMk/>
            <pc:sldMk cId="994864461" sldId="10463"/>
            <ac:spMk id="119" creationId="{69B6E3C2-D5C0-49B4-903F-13C06B000B16}"/>
          </ac:spMkLst>
        </pc:spChg>
        <pc:spChg chg="mod">
          <ac:chgData name="Sarah GAUVARD" userId="4c03e191-e154-482a-88b2-11de19eac96c" providerId="ADAL" clId="{8245CC27-65FB-483E-B8E7-D04039DBA80D}" dt="2021-05-24T16:09:27.380" v="15381" actId="790"/>
          <ac:spMkLst>
            <pc:docMk/>
            <pc:sldMk cId="994864461" sldId="10463"/>
            <ac:spMk id="120" creationId="{78EECC20-D216-4136-9D42-27F7C1CFFE8D}"/>
          </ac:spMkLst>
        </pc:spChg>
        <pc:spChg chg="mod">
          <ac:chgData name="Sarah GAUVARD" userId="4c03e191-e154-482a-88b2-11de19eac96c" providerId="ADAL" clId="{8245CC27-65FB-483E-B8E7-D04039DBA80D}" dt="2021-05-24T16:09:27.380" v="15382" actId="790"/>
          <ac:spMkLst>
            <pc:docMk/>
            <pc:sldMk cId="994864461" sldId="10463"/>
            <ac:spMk id="138" creationId="{786755AD-722C-439B-AACB-BCCC66E0BC2C}"/>
          </ac:spMkLst>
        </pc:spChg>
        <pc:spChg chg="mod">
          <ac:chgData name="Sarah GAUVARD" userId="4c03e191-e154-482a-88b2-11de19eac96c" providerId="ADAL" clId="{8245CC27-65FB-483E-B8E7-D04039DBA80D}" dt="2021-05-24T16:09:27.380" v="15383" actId="790"/>
          <ac:spMkLst>
            <pc:docMk/>
            <pc:sldMk cId="994864461" sldId="10463"/>
            <ac:spMk id="144" creationId="{6EE8D667-CA8A-4C92-9EF4-8F0051D4E11C}"/>
          </ac:spMkLst>
        </pc:spChg>
        <pc:spChg chg="mod">
          <ac:chgData name="Sarah GAUVARD" userId="4c03e191-e154-482a-88b2-11de19eac96c" providerId="ADAL" clId="{8245CC27-65FB-483E-B8E7-D04039DBA80D}" dt="2021-05-24T16:09:27.380" v="15384" actId="790"/>
          <ac:spMkLst>
            <pc:docMk/>
            <pc:sldMk cId="994864461" sldId="10463"/>
            <ac:spMk id="152" creationId="{D3C9318C-98C0-4C62-8EBD-9AD019DF3AC0}"/>
          </ac:spMkLst>
        </pc:spChg>
        <pc:spChg chg="mod">
          <ac:chgData name="Sarah GAUVARD" userId="4c03e191-e154-482a-88b2-11de19eac96c" providerId="ADAL" clId="{8245CC27-65FB-483E-B8E7-D04039DBA80D}" dt="2021-05-24T16:09:27.380" v="15385" actId="790"/>
          <ac:spMkLst>
            <pc:docMk/>
            <pc:sldMk cId="994864461" sldId="10463"/>
            <ac:spMk id="154" creationId="{15C04357-F4FC-4E40-89E9-1938E6F2473A}"/>
          </ac:spMkLst>
        </pc:spChg>
        <pc:spChg chg="mod">
          <ac:chgData name="Sarah GAUVARD" userId="4c03e191-e154-482a-88b2-11de19eac96c" providerId="ADAL" clId="{8245CC27-65FB-483E-B8E7-D04039DBA80D}" dt="2021-05-24T16:09:27.380" v="15386" actId="790"/>
          <ac:spMkLst>
            <pc:docMk/>
            <pc:sldMk cId="994864461" sldId="10463"/>
            <ac:spMk id="157" creationId="{030C0D2C-3FC1-42D9-B6D4-42F94552EB2A}"/>
          </ac:spMkLst>
        </pc:spChg>
        <pc:spChg chg="mod">
          <ac:chgData name="Sarah GAUVARD" userId="4c03e191-e154-482a-88b2-11de19eac96c" providerId="ADAL" clId="{8245CC27-65FB-483E-B8E7-D04039DBA80D}" dt="2021-05-24T16:09:27.380" v="15387" actId="790"/>
          <ac:spMkLst>
            <pc:docMk/>
            <pc:sldMk cId="994864461" sldId="10463"/>
            <ac:spMk id="162" creationId="{8226D5C3-E940-4438-8464-F5F38C7B3362}"/>
          </ac:spMkLst>
        </pc:spChg>
        <pc:spChg chg="mod">
          <ac:chgData name="Sarah GAUVARD" userId="4c03e191-e154-482a-88b2-11de19eac96c" providerId="ADAL" clId="{8245CC27-65FB-483E-B8E7-D04039DBA80D}" dt="2021-05-24T16:09:27.388" v="15388" actId="790"/>
          <ac:spMkLst>
            <pc:docMk/>
            <pc:sldMk cId="994864461" sldId="10463"/>
            <ac:spMk id="163" creationId="{26C15832-81C9-4BE1-A3CD-12515BF77ED9}"/>
          </ac:spMkLst>
        </pc:spChg>
        <pc:spChg chg="mod">
          <ac:chgData name="Sarah GAUVARD" userId="4c03e191-e154-482a-88b2-11de19eac96c" providerId="ADAL" clId="{8245CC27-65FB-483E-B8E7-D04039DBA80D}" dt="2021-05-24T16:09:27.388" v="15389" actId="790"/>
          <ac:spMkLst>
            <pc:docMk/>
            <pc:sldMk cId="994864461" sldId="10463"/>
            <ac:spMk id="164" creationId="{D679480C-80AA-4247-B47E-1515FE438063}"/>
          </ac:spMkLst>
        </pc:spChg>
        <pc:graphicFrameChg chg="mod">
          <ac:chgData name="Sarah GAUVARD" userId="4c03e191-e154-482a-88b2-11de19eac96c" providerId="ADAL" clId="{8245CC27-65FB-483E-B8E7-D04039DBA80D}" dt="2021-05-24T15:34:46.551" v="12102"/>
          <ac:graphicFrameMkLst>
            <pc:docMk/>
            <pc:sldMk cId="994864461" sldId="10463"/>
            <ac:graphicFrameMk id="5" creationId="{58F89C0C-E0E8-4876-A98A-438F18CAD39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328" v="15332" actId="790"/>
        <pc:sldMkLst>
          <pc:docMk/>
          <pc:sldMk cId="4123958613" sldId="10464"/>
        </pc:sldMkLst>
        <pc:spChg chg="mod">
          <ac:chgData name="Sarah GAUVARD" userId="4c03e191-e154-482a-88b2-11de19eac96c" providerId="ADAL" clId="{8245CC27-65FB-483E-B8E7-D04039DBA80D}" dt="2021-05-24T16:09:27.259" v="15269" actId="790"/>
          <ac:spMkLst>
            <pc:docMk/>
            <pc:sldMk cId="4123958613" sldId="10464"/>
            <ac:spMk id="2" creationId="{6141F854-3009-40D7-9038-56590105A49E}"/>
          </ac:spMkLst>
        </pc:spChg>
        <pc:spChg chg="mod">
          <ac:chgData name="Sarah GAUVARD" userId="4c03e191-e154-482a-88b2-11de19eac96c" providerId="ADAL" clId="{8245CC27-65FB-483E-B8E7-D04039DBA80D}" dt="2021-05-24T16:09:27.310" v="15314" actId="790"/>
          <ac:spMkLst>
            <pc:docMk/>
            <pc:sldMk cId="4123958613" sldId="10464"/>
            <ac:spMk id="3" creationId="{560625DF-BB9A-476B-B434-FFCE76A905DE}"/>
          </ac:spMkLst>
        </pc:spChg>
        <pc:spChg chg="add del mod modVis">
          <ac:chgData name="Sarah GAUVARD" userId="4c03e191-e154-482a-88b2-11de19eac96c" providerId="ADAL" clId="{8245CC27-65FB-483E-B8E7-D04039DBA80D}" dt="2021-05-24T15:34:46.527" v="12092"/>
          <ac:spMkLst>
            <pc:docMk/>
            <pc:sldMk cId="4123958613" sldId="10464"/>
            <ac:spMk id="4" creationId="{172FFC41-5258-42B6-8852-C3D7A675B3F7}"/>
          </ac:spMkLst>
        </pc:spChg>
        <pc:spChg chg="mod">
          <ac:chgData name="Sarah GAUVARD" userId="4c03e191-e154-482a-88b2-11de19eac96c" providerId="ADAL" clId="{8245CC27-65FB-483E-B8E7-D04039DBA80D}" dt="2021-05-24T16:09:27.259" v="15270" actId="790"/>
          <ac:spMkLst>
            <pc:docMk/>
            <pc:sldMk cId="4123958613" sldId="10464"/>
            <ac:spMk id="11" creationId="{563B210D-AA79-4D5F-ACE6-ABADF843D2FA}"/>
          </ac:spMkLst>
        </pc:spChg>
        <pc:spChg chg="mod">
          <ac:chgData name="Sarah GAUVARD" userId="4c03e191-e154-482a-88b2-11de19eac96c" providerId="ADAL" clId="{8245CC27-65FB-483E-B8E7-D04039DBA80D}" dt="2021-05-24T16:09:27.259" v="15271" actId="790"/>
          <ac:spMkLst>
            <pc:docMk/>
            <pc:sldMk cId="4123958613" sldId="10464"/>
            <ac:spMk id="12" creationId="{1E623B1C-37C8-4895-B26E-15F871736A36}"/>
          </ac:spMkLst>
        </pc:spChg>
        <pc:spChg chg="mod">
          <ac:chgData name="Sarah GAUVARD" userId="4c03e191-e154-482a-88b2-11de19eac96c" providerId="ADAL" clId="{8245CC27-65FB-483E-B8E7-D04039DBA80D}" dt="2021-05-24T16:09:27.259" v="15272" actId="790"/>
          <ac:spMkLst>
            <pc:docMk/>
            <pc:sldMk cId="4123958613" sldId="10464"/>
            <ac:spMk id="13" creationId="{878F2793-BE4D-4FF3-B02D-53D881283C27}"/>
          </ac:spMkLst>
        </pc:spChg>
        <pc:spChg chg="mod">
          <ac:chgData name="Sarah GAUVARD" userId="4c03e191-e154-482a-88b2-11de19eac96c" providerId="ADAL" clId="{8245CC27-65FB-483E-B8E7-D04039DBA80D}" dt="2021-05-24T16:09:27.267" v="15273" actId="790"/>
          <ac:spMkLst>
            <pc:docMk/>
            <pc:sldMk cId="4123958613" sldId="10464"/>
            <ac:spMk id="14" creationId="{BF99168B-58D2-49E3-9128-C54D5771CCAF}"/>
          </ac:spMkLst>
        </pc:spChg>
        <pc:spChg chg="mod">
          <ac:chgData name="Sarah GAUVARD" userId="4c03e191-e154-482a-88b2-11de19eac96c" providerId="ADAL" clId="{8245CC27-65FB-483E-B8E7-D04039DBA80D}" dt="2021-05-24T16:09:27.267" v="15274" actId="790"/>
          <ac:spMkLst>
            <pc:docMk/>
            <pc:sldMk cId="4123958613" sldId="10464"/>
            <ac:spMk id="15" creationId="{05128460-7BFC-4307-97D3-8D6BCE648098}"/>
          </ac:spMkLst>
        </pc:spChg>
        <pc:spChg chg="mod">
          <ac:chgData name="Sarah GAUVARD" userId="4c03e191-e154-482a-88b2-11de19eac96c" providerId="ADAL" clId="{8245CC27-65FB-483E-B8E7-D04039DBA80D}" dt="2021-05-24T16:09:27.269" v="15275" actId="790"/>
          <ac:spMkLst>
            <pc:docMk/>
            <pc:sldMk cId="4123958613" sldId="10464"/>
            <ac:spMk id="16" creationId="{52DC22F7-50A1-4F9E-BDE2-AEB9287C6358}"/>
          </ac:spMkLst>
        </pc:spChg>
        <pc:spChg chg="mod">
          <ac:chgData name="Sarah GAUVARD" userId="4c03e191-e154-482a-88b2-11de19eac96c" providerId="ADAL" clId="{8245CC27-65FB-483E-B8E7-D04039DBA80D}" dt="2021-05-24T16:09:27.269" v="15276" actId="790"/>
          <ac:spMkLst>
            <pc:docMk/>
            <pc:sldMk cId="4123958613" sldId="10464"/>
            <ac:spMk id="17" creationId="{13362563-A54C-40FC-9CE3-98BEEED7C283}"/>
          </ac:spMkLst>
        </pc:spChg>
        <pc:spChg chg="mod">
          <ac:chgData name="Sarah GAUVARD" userId="4c03e191-e154-482a-88b2-11de19eac96c" providerId="ADAL" clId="{8245CC27-65FB-483E-B8E7-D04039DBA80D}" dt="2021-05-24T16:09:27.269" v="15277" actId="790"/>
          <ac:spMkLst>
            <pc:docMk/>
            <pc:sldMk cId="4123958613" sldId="10464"/>
            <ac:spMk id="18" creationId="{A0FC123E-1912-4BE1-A532-BD9FD91F6D4C}"/>
          </ac:spMkLst>
        </pc:spChg>
        <pc:spChg chg="mod">
          <ac:chgData name="Sarah GAUVARD" userId="4c03e191-e154-482a-88b2-11de19eac96c" providerId="ADAL" clId="{8245CC27-65FB-483E-B8E7-D04039DBA80D}" dt="2021-05-24T16:09:27.269" v="15278" actId="790"/>
          <ac:spMkLst>
            <pc:docMk/>
            <pc:sldMk cId="4123958613" sldId="10464"/>
            <ac:spMk id="19" creationId="{53B1CD2F-0672-4E2A-A3D2-D816C1F3C13A}"/>
          </ac:spMkLst>
        </pc:spChg>
        <pc:spChg chg="mod">
          <ac:chgData name="Sarah GAUVARD" userId="4c03e191-e154-482a-88b2-11de19eac96c" providerId="ADAL" clId="{8245CC27-65FB-483E-B8E7-D04039DBA80D}" dt="2021-05-24T16:09:27.269" v="15279" actId="790"/>
          <ac:spMkLst>
            <pc:docMk/>
            <pc:sldMk cId="4123958613" sldId="10464"/>
            <ac:spMk id="20" creationId="{2C72074C-EA62-427A-B807-7B4830414ADA}"/>
          </ac:spMkLst>
        </pc:spChg>
        <pc:spChg chg="mod">
          <ac:chgData name="Sarah GAUVARD" userId="4c03e191-e154-482a-88b2-11de19eac96c" providerId="ADAL" clId="{8245CC27-65FB-483E-B8E7-D04039DBA80D}" dt="2021-05-24T16:09:27.269" v="15280" actId="790"/>
          <ac:spMkLst>
            <pc:docMk/>
            <pc:sldMk cId="4123958613" sldId="10464"/>
            <ac:spMk id="21" creationId="{3CAD7744-8624-4211-8642-F7A97366903A}"/>
          </ac:spMkLst>
        </pc:spChg>
        <pc:spChg chg="mod">
          <ac:chgData name="Sarah GAUVARD" userId="4c03e191-e154-482a-88b2-11de19eac96c" providerId="ADAL" clId="{8245CC27-65FB-483E-B8E7-D04039DBA80D}" dt="2021-05-24T16:09:27.269" v="15281" actId="790"/>
          <ac:spMkLst>
            <pc:docMk/>
            <pc:sldMk cId="4123958613" sldId="10464"/>
            <ac:spMk id="22" creationId="{0EE64BA2-0E59-4319-86FD-6DC0E3B07DC6}"/>
          </ac:spMkLst>
        </pc:spChg>
        <pc:spChg chg="mod">
          <ac:chgData name="Sarah GAUVARD" userId="4c03e191-e154-482a-88b2-11de19eac96c" providerId="ADAL" clId="{8245CC27-65FB-483E-B8E7-D04039DBA80D}" dt="2021-05-24T16:09:27.269" v="15282" actId="790"/>
          <ac:spMkLst>
            <pc:docMk/>
            <pc:sldMk cId="4123958613" sldId="10464"/>
            <ac:spMk id="23" creationId="{C50B6671-D4B5-4C43-8259-C37662E047AC}"/>
          </ac:spMkLst>
        </pc:spChg>
        <pc:spChg chg="mod">
          <ac:chgData name="Sarah GAUVARD" userId="4c03e191-e154-482a-88b2-11de19eac96c" providerId="ADAL" clId="{8245CC27-65FB-483E-B8E7-D04039DBA80D}" dt="2021-05-24T16:09:27.269" v="15283" actId="790"/>
          <ac:spMkLst>
            <pc:docMk/>
            <pc:sldMk cId="4123958613" sldId="10464"/>
            <ac:spMk id="24" creationId="{6FD5383A-D90F-4793-9EE4-978E5E77E6AE}"/>
          </ac:spMkLst>
        </pc:spChg>
        <pc:spChg chg="mod">
          <ac:chgData name="Sarah GAUVARD" userId="4c03e191-e154-482a-88b2-11de19eac96c" providerId="ADAL" clId="{8245CC27-65FB-483E-B8E7-D04039DBA80D}" dt="2021-05-24T16:09:27.269" v="15284" actId="790"/>
          <ac:spMkLst>
            <pc:docMk/>
            <pc:sldMk cId="4123958613" sldId="10464"/>
            <ac:spMk id="25" creationId="{E73D5AA9-9BED-4CFE-9B15-BA2CA34D3A8F}"/>
          </ac:spMkLst>
        </pc:spChg>
        <pc:spChg chg="mod">
          <ac:chgData name="Sarah GAUVARD" userId="4c03e191-e154-482a-88b2-11de19eac96c" providerId="ADAL" clId="{8245CC27-65FB-483E-B8E7-D04039DBA80D}" dt="2021-05-24T16:09:27.277" v="15285" actId="790"/>
          <ac:spMkLst>
            <pc:docMk/>
            <pc:sldMk cId="4123958613" sldId="10464"/>
            <ac:spMk id="26" creationId="{1CF178C9-FA09-4B3B-8961-A7D3052DF2A2}"/>
          </ac:spMkLst>
        </pc:spChg>
        <pc:spChg chg="mod">
          <ac:chgData name="Sarah GAUVARD" userId="4c03e191-e154-482a-88b2-11de19eac96c" providerId="ADAL" clId="{8245CC27-65FB-483E-B8E7-D04039DBA80D}" dt="2021-05-24T16:09:27.277" v="15286" actId="790"/>
          <ac:spMkLst>
            <pc:docMk/>
            <pc:sldMk cId="4123958613" sldId="10464"/>
            <ac:spMk id="27" creationId="{D8D4D570-E556-4136-82DA-1FDC69F4B871}"/>
          </ac:spMkLst>
        </pc:spChg>
        <pc:spChg chg="mod">
          <ac:chgData name="Sarah GAUVARD" userId="4c03e191-e154-482a-88b2-11de19eac96c" providerId="ADAL" clId="{8245CC27-65FB-483E-B8E7-D04039DBA80D}" dt="2021-05-24T16:09:27.277" v="15287" actId="790"/>
          <ac:spMkLst>
            <pc:docMk/>
            <pc:sldMk cId="4123958613" sldId="10464"/>
            <ac:spMk id="28" creationId="{FCC4D2C6-1441-4E66-A37F-3A76B43E83CE}"/>
          </ac:spMkLst>
        </pc:spChg>
        <pc:spChg chg="mod">
          <ac:chgData name="Sarah GAUVARD" userId="4c03e191-e154-482a-88b2-11de19eac96c" providerId="ADAL" clId="{8245CC27-65FB-483E-B8E7-D04039DBA80D}" dt="2021-05-24T16:09:27.280" v="15288" actId="790"/>
          <ac:spMkLst>
            <pc:docMk/>
            <pc:sldMk cId="4123958613" sldId="10464"/>
            <ac:spMk id="29" creationId="{4EBEFE44-2A14-4F09-A3EB-58ED287D0203}"/>
          </ac:spMkLst>
        </pc:spChg>
        <pc:spChg chg="mod">
          <ac:chgData name="Sarah GAUVARD" userId="4c03e191-e154-482a-88b2-11de19eac96c" providerId="ADAL" clId="{8245CC27-65FB-483E-B8E7-D04039DBA80D}" dt="2021-05-24T16:09:27.280" v="15289" actId="790"/>
          <ac:spMkLst>
            <pc:docMk/>
            <pc:sldMk cId="4123958613" sldId="10464"/>
            <ac:spMk id="30" creationId="{0D81CDD6-14AC-4542-8189-57ADD3120D86}"/>
          </ac:spMkLst>
        </pc:spChg>
        <pc:spChg chg="mod">
          <ac:chgData name="Sarah GAUVARD" userId="4c03e191-e154-482a-88b2-11de19eac96c" providerId="ADAL" clId="{8245CC27-65FB-483E-B8E7-D04039DBA80D}" dt="2021-05-24T16:09:27.280" v="15290" actId="790"/>
          <ac:spMkLst>
            <pc:docMk/>
            <pc:sldMk cId="4123958613" sldId="10464"/>
            <ac:spMk id="31" creationId="{0A21BF8A-4686-4FC7-B72A-00B5F9563C97}"/>
          </ac:spMkLst>
        </pc:spChg>
        <pc:spChg chg="mod">
          <ac:chgData name="Sarah GAUVARD" userId="4c03e191-e154-482a-88b2-11de19eac96c" providerId="ADAL" clId="{8245CC27-65FB-483E-B8E7-D04039DBA80D}" dt="2021-05-24T16:09:27.280" v="15291" actId="790"/>
          <ac:spMkLst>
            <pc:docMk/>
            <pc:sldMk cId="4123958613" sldId="10464"/>
            <ac:spMk id="32" creationId="{0B4EA174-DBE6-401C-806A-3A9DC28290D2}"/>
          </ac:spMkLst>
        </pc:spChg>
        <pc:spChg chg="mod">
          <ac:chgData name="Sarah GAUVARD" userId="4c03e191-e154-482a-88b2-11de19eac96c" providerId="ADAL" clId="{8245CC27-65FB-483E-B8E7-D04039DBA80D}" dt="2021-05-24T16:09:27.280" v="15292" actId="790"/>
          <ac:spMkLst>
            <pc:docMk/>
            <pc:sldMk cId="4123958613" sldId="10464"/>
            <ac:spMk id="33" creationId="{6F619186-A29F-47FC-B4C9-60FE5B327007}"/>
          </ac:spMkLst>
        </pc:spChg>
        <pc:spChg chg="mod">
          <ac:chgData name="Sarah GAUVARD" userId="4c03e191-e154-482a-88b2-11de19eac96c" providerId="ADAL" clId="{8245CC27-65FB-483E-B8E7-D04039DBA80D}" dt="2021-05-24T16:09:27.280" v="15293" actId="790"/>
          <ac:spMkLst>
            <pc:docMk/>
            <pc:sldMk cId="4123958613" sldId="10464"/>
            <ac:spMk id="34" creationId="{7710F13B-8FD8-4679-A9E3-0FF42D7E205D}"/>
          </ac:spMkLst>
        </pc:spChg>
        <pc:spChg chg="mod">
          <ac:chgData name="Sarah GAUVARD" userId="4c03e191-e154-482a-88b2-11de19eac96c" providerId="ADAL" clId="{8245CC27-65FB-483E-B8E7-D04039DBA80D}" dt="2021-05-24T16:09:27.280" v="15294" actId="790"/>
          <ac:spMkLst>
            <pc:docMk/>
            <pc:sldMk cId="4123958613" sldId="10464"/>
            <ac:spMk id="38" creationId="{443D7E13-5E25-417A-AA2B-D37766447346}"/>
          </ac:spMkLst>
        </pc:spChg>
        <pc:spChg chg="mod">
          <ac:chgData name="Sarah GAUVARD" userId="4c03e191-e154-482a-88b2-11de19eac96c" providerId="ADAL" clId="{8245CC27-65FB-483E-B8E7-D04039DBA80D}" dt="2021-05-24T16:09:27.280" v="15295" actId="790"/>
          <ac:spMkLst>
            <pc:docMk/>
            <pc:sldMk cId="4123958613" sldId="10464"/>
            <ac:spMk id="39" creationId="{560C4695-6845-4318-AF0C-9108A8886DF2}"/>
          </ac:spMkLst>
        </pc:spChg>
        <pc:spChg chg="mod">
          <ac:chgData name="Sarah GAUVARD" userId="4c03e191-e154-482a-88b2-11de19eac96c" providerId="ADAL" clId="{8245CC27-65FB-483E-B8E7-D04039DBA80D}" dt="2021-05-24T16:09:27.280" v="15296" actId="790"/>
          <ac:spMkLst>
            <pc:docMk/>
            <pc:sldMk cId="4123958613" sldId="10464"/>
            <ac:spMk id="40" creationId="{951BFB89-3A96-459C-8E4A-080B28FCA297}"/>
          </ac:spMkLst>
        </pc:spChg>
        <pc:spChg chg="mod">
          <ac:chgData name="Sarah GAUVARD" userId="4c03e191-e154-482a-88b2-11de19eac96c" providerId="ADAL" clId="{8245CC27-65FB-483E-B8E7-D04039DBA80D}" dt="2021-05-24T16:09:27.288" v="15297" actId="790"/>
          <ac:spMkLst>
            <pc:docMk/>
            <pc:sldMk cId="4123958613" sldId="10464"/>
            <ac:spMk id="41" creationId="{8514CDF6-D3F3-4CEC-96D8-EB94AFEB3106}"/>
          </ac:spMkLst>
        </pc:spChg>
        <pc:spChg chg="mod">
          <ac:chgData name="Sarah GAUVARD" userId="4c03e191-e154-482a-88b2-11de19eac96c" providerId="ADAL" clId="{8245CC27-65FB-483E-B8E7-D04039DBA80D}" dt="2021-05-24T16:09:27.290" v="15298" actId="790"/>
          <ac:spMkLst>
            <pc:docMk/>
            <pc:sldMk cId="4123958613" sldId="10464"/>
            <ac:spMk id="42" creationId="{B14DB10B-7FE9-42ED-B303-F33106400EA9}"/>
          </ac:spMkLst>
        </pc:spChg>
        <pc:spChg chg="mod">
          <ac:chgData name="Sarah GAUVARD" userId="4c03e191-e154-482a-88b2-11de19eac96c" providerId="ADAL" clId="{8245CC27-65FB-483E-B8E7-D04039DBA80D}" dt="2021-05-24T16:09:27.290" v="15299" actId="790"/>
          <ac:spMkLst>
            <pc:docMk/>
            <pc:sldMk cId="4123958613" sldId="10464"/>
            <ac:spMk id="43" creationId="{E84EA5FA-08E9-40F6-A71F-8BA8F3E3ED99}"/>
          </ac:spMkLst>
        </pc:spChg>
        <pc:spChg chg="mod">
          <ac:chgData name="Sarah GAUVARD" userId="4c03e191-e154-482a-88b2-11de19eac96c" providerId="ADAL" clId="{8245CC27-65FB-483E-B8E7-D04039DBA80D}" dt="2021-05-24T16:09:27.290" v="15300" actId="790"/>
          <ac:spMkLst>
            <pc:docMk/>
            <pc:sldMk cId="4123958613" sldId="10464"/>
            <ac:spMk id="44" creationId="{F595688A-2B2A-4B18-BC8F-3E1BBE846D86}"/>
          </ac:spMkLst>
        </pc:spChg>
        <pc:spChg chg="mod">
          <ac:chgData name="Sarah GAUVARD" userId="4c03e191-e154-482a-88b2-11de19eac96c" providerId="ADAL" clId="{8245CC27-65FB-483E-B8E7-D04039DBA80D}" dt="2021-05-24T16:09:27.290" v="15301" actId="790"/>
          <ac:spMkLst>
            <pc:docMk/>
            <pc:sldMk cId="4123958613" sldId="10464"/>
            <ac:spMk id="45" creationId="{7A651798-9873-484A-BCBC-F1732F254FCF}"/>
          </ac:spMkLst>
        </pc:spChg>
        <pc:spChg chg="mod">
          <ac:chgData name="Sarah GAUVARD" userId="4c03e191-e154-482a-88b2-11de19eac96c" providerId="ADAL" clId="{8245CC27-65FB-483E-B8E7-D04039DBA80D}" dt="2021-05-24T16:09:27.290" v="15302" actId="790"/>
          <ac:spMkLst>
            <pc:docMk/>
            <pc:sldMk cId="4123958613" sldId="10464"/>
            <ac:spMk id="46" creationId="{54AFC57A-2292-4CA3-B567-A14B5835A6E8}"/>
          </ac:spMkLst>
        </pc:spChg>
        <pc:spChg chg="mod">
          <ac:chgData name="Sarah GAUVARD" userId="4c03e191-e154-482a-88b2-11de19eac96c" providerId="ADAL" clId="{8245CC27-65FB-483E-B8E7-D04039DBA80D}" dt="2021-05-24T16:09:27.290" v="15303" actId="790"/>
          <ac:spMkLst>
            <pc:docMk/>
            <pc:sldMk cId="4123958613" sldId="10464"/>
            <ac:spMk id="47" creationId="{A14096DC-4CAE-4A32-BFA3-6DBFBDDF9334}"/>
          </ac:spMkLst>
        </pc:spChg>
        <pc:spChg chg="mod">
          <ac:chgData name="Sarah GAUVARD" userId="4c03e191-e154-482a-88b2-11de19eac96c" providerId="ADAL" clId="{8245CC27-65FB-483E-B8E7-D04039DBA80D}" dt="2021-05-24T16:09:27.290" v="15304" actId="790"/>
          <ac:spMkLst>
            <pc:docMk/>
            <pc:sldMk cId="4123958613" sldId="10464"/>
            <ac:spMk id="48" creationId="{071ECFC0-1FE9-49A0-A0B0-4AFD8164EB62}"/>
          </ac:spMkLst>
        </pc:spChg>
        <pc:spChg chg="mod">
          <ac:chgData name="Sarah GAUVARD" userId="4c03e191-e154-482a-88b2-11de19eac96c" providerId="ADAL" clId="{8245CC27-65FB-483E-B8E7-D04039DBA80D}" dt="2021-05-24T16:09:27.290" v="15305" actId="790"/>
          <ac:spMkLst>
            <pc:docMk/>
            <pc:sldMk cId="4123958613" sldId="10464"/>
            <ac:spMk id="49" creationId="{D81D2065-13CD-4420-A58C-E72AE87D1A42}"/>
          </ac:spMkLst>
        </pc:spChg>
        <pc:spChg chg="mod">
          <ac:chgData name="Sarah GAUVARD" userId="4c03e191-e154-482a-88b2-11de19eac96c" providerId="ADAL" clId="{8245CC27-65FB-483E-B8E7-D04039DBA80D}" dt="2021-05-24T16:09:27.290" v="15306" actId="790"/>
          <ac:spMkLst>
            <pc:docMk/>
            <pc:sldMk cId="4123958613" sldId="10464"/>
            <ac:spMk id="50" creationId="{ACAAB4F1-8D2B-4B8D-A0C1-3794501DF384}"/>
          </ac:spMkLst>
        </pc:spChg>
        <pc:spChg chg="mod">
          <ac:chgData name="Sarah GAUVARD" userId="4c03e191-e154-482a-88b2-11de19eac96c" providerId="ADAL" clId="{8245CC27-65FB-483E-B8E7-D04039DBA80D}" dt="2021-05-24T16:09:27.290" v="15307" actId="790"/>
          <ac:spMkLst>
            <pc:docMk/>
            <pc:sldMk cId="4123958613" sldId="10464"/>
            <ac:spMk id="51" creationId="{CCA5A507-9498-412A-8734-37E9A0CAFBC2}"/>
          </ac:spMkLst>
        </pc:spChg>
        <pc:spChg chg="mod">
          <ac:chgData name="Sarah GAUVARD" userId="4c03e191-e154-482a-88b2-11de19eac96c" providerId="ADAL" clId="{8245CC27-65FB-483E-B8E7-D04039DBA80D}" dt="2021-05-24T16:09:27.298" v="15308" actId="790"/>
          <ac:spMkLst>
            <pc:docMk/>
            <pc:sldMk cId="4123958613" sldId="10464"/>
            <ac:spMk id="52" creationId="{9926A3AA-BF17-44D4-8DE7-9339CF1BE6FD}"/>
          </ac:spMkLst>
        </pc:spChg>
        <pc:spChg chg="mod">
          <ac:chgData name="Sarah GAUVARD" userId="4c03e191-e154-482a-88b2-11de19eac96c" providerId="ADAL" clId="{8245CC27-65FB-483E-B8E7-D04039DBA80D}" dt="2021-05-24T16:09:27.298" v="15309" actId="790"/>
          <ac:spMkLst>
            <pc:docMk/>
            <pc:sldMk cId="4123958613" sldId="10464"/>
            <ac:spMk id="53" creationId="{5E59300E-921D-44E2-90E6-C444434FE1E2}"/>
          </ac:spMkLst>
        </pc:spChg>
        <pc:spChg chg="mod">
          <ac:chgData name="Sarah GAUVARD" userId="4c03e191-e154-482a-88b2-11de19eac96c" providerId="ADAL" clId="{8245CC27-65FB-483E-B8E7-D04039DBA80D}" dt="2021-05-24T16:09:27.300" v="15310" actId="790"/>
          <ac:spMkLst>
            <pc:docMk/>
            <pc:sldMk cId="4123958613" sldId="10464"/>
            <ac:spMk id="56" creationId="{2FB57385-9778-4E16-88A7-927D307E97B3}"/>
          </ac:spMkLst>
        </pc:spChg>
        <pc:spChg chg="mod">
          <ac:chgData name="Sarah GAUVARD" userId="4c03e191-e154-482a-88b2-11de19eac96c" providerId="ADAL" clId="{8245CC27-65FB-483E-B8E7-D04039DBA80D}" dt="2021-05-24T16:09:27.300" v="15311" actId="790"/>
          <ac:spMkLst>
            <pc:docMk/>
            <pc:sldMk cId="4123958613" sldId="10464"/>
            <ac:spMk id="58" creationId="{328B4C86-96DF-4F0B-9DF0-1048DA68F379}"/>
          </ac:spMkLst>
        </pc:spChg>
        <pc:spChg chg="mod">
          <ac:chgData name="Sarah GAUVARD" userId="4c03e191-e154-482a-88b2-11de19eac96c" providerId="ADAL" clId="{8245CC27-65FB-483E-B8E7-D04039DBA80D}" dt="2021-05-24T16:09:27.310" v="15312" actId="790"/>
          <ac:spMkLst>
            <pc:docMk/>
            <pc:sldMk cId="4123958613" sldId="10464"/>
            <ac:spMk id="61" creationId="{D8946D35-831B-4FB2-9D8B-4DC903BFA94D}"/>
          </ac:spMkLst>
        </pc:spChg>
        <pc:spChg chg="mod">
          <ac:chgData name="Sarah GAUVARD" userId="4c03e191-e154-482a-88b2-11de19eac96c" providerId="ADAL" clId="{8245CC27-65FB-483E-B8E7-D04039DBA80D}" dt="2021-05-24T16:09:27.310" v="15313" actId="790"/>
          <ac:spMkLst>
            <pc:docMk/>
            <pc:sldMk cId="4123958613" sldId="10464"/>
            <ac:spMk id="62" creationId="{B272D2A6-27B4-4CCB-9AAB-635DCFACB418}"/>
          </ac:spMkLst>
        </pc:spChg>
        <pc:spChg chg="mod">
          <ac:chgData name="Sarah GAUVARD" userId="4c03e191-e154-482a-88b2-11de19eac96c" providerId="ADAL" clId="{8245CC27-65FB-483E-B8E7-D04039DBA80D}" dt="2021-05-24T16:09:27.310" v="15315" actId="790"/>
          <ac:spMkLst>
            <pc:docMk/>
            <pc:sldMk cId="4123958613" sldId="10464"/>
            <ac:spMk id="63" creationId="{CACC76FC-2977-4355-BF81-4E5EDB67542C}"/>
          </ac:spMkLst>
        </pc:spChg>
        <pc:spChg chg="mod">
          <ac:chgData name="Sarah GAUVARD" userId="4c03e191-e154-482a-88b2-11de19eac96c" providerId="ADAL" clId="{8245CC27-65FB-483E-B8E7-D04039DBA80D}" dt="2021-05-24T16:09:27.310" v="15316" actId="790"/>
          <ac:spMkLst>
            <pc:docMk/>
            <pc:sldMk cId="4123958613" sldId="10464"/>
            <ac:spMk id="64" creationId="{E69A6A78-2AD3-4D53-8B9B-27B1B6264317}"/>
          </ac:spMkLst>
        </pc:spChg>
        <pc:spChg chg="mod">
          <ac:chgData name="Sarah GAUVARD" userId="4c03e191-e154-482a-88b2-11de19eac96c" providerId="ADAL" clId="{8245CC27-65FB-483E-B8E7-D04039DBA80D}" dt="2021-05-24T16:09:27.310" v="15317" actId="790"/>
          <ac:spMkLst>
            <pc:docMk/>
            <pc:sldMk cId="4123958613" sldId="10464"/>
            <ac:spMk id="65" creationId="{B996472B-4494-4092-90D2-F9B0598EDA9B}"/>
          </ac:spMkLst>
        </pc:spChg>
        <pc:spChg chg="mod">
          <ac:chgData name="Sarah GAUVARD" userId="4c03e191-e154-482a-88b2-11de19eac96c" providerId="ADAL" clId="{8245CC27-65FB-483E-B8E7-D04039DBA80D}" dt="2021-05-24T16:09:27.310" v="15318" actId="790"/>
          <ac:spMkLst>
            <pc:docMk/>
            <pc:sldMk cId="4123958613" sldId="10464"/>
            <ac:spMk id="66" creationId="{580E88D8-DB2D-4BAA-87C9-C7877E27FD4E}"/>
          </ac:spMkLst>
        </pc:spChg>
        <pc:spChg chg="mod">
          <ac:chgData name="Sarah GAUVARD" userId="4c03e191-e154-482a-88b2-11de19eac96c" providerId="ADAL" clId="{8245CC27-65FB-483E-B8E7-D04039DBA80D}" dt="2021-05-24T16:09:27.310" v="15319" actId="790"/>
          <ac:spMkLst>
            <pc:docMk/>
            <pc:sldMk cId="4123958613" sldId="10464"/>
            <ac:spMk id="67" creationId="{29C19D83-CDAD-468C-B418-83C2D1E45543}"/>
          </ac:spMkLst>
        </pc:spChg>
        <pc:spChg chg="mod">
          <ac:chgData name="Sarah GAUVARD" userId="4c03e191-e154-482a-88b2-11de19eac96c" providerId="ADAL" clId="{8245CC27-65FB-483E-B8E7-D04039DBA80D}" dt="2021-05-24T16:09:27.310" v="15320" actId="790"/>
          <ac:spMkLst>
            <pc:docMk/>
            <pc:sldMk cId="4123958613" sldId="10464"/>
            <ac:spMk id="68" creationId="{7BD2CCAB-CCFD-487A-BBD3-6041900F9E7C}"/>
          </ac:spMkLst>
        </pc:spChg>
        <pc:spChg chg="mod">
          <ac:chgData name="Sarah GAUVARD" userId="4c03e191-e154-482a-88b2-11de19eac96c" providerId="ADAL" clId="{8245CC27-65FB-483E-B8E7-D04039DBA80D}" dt="2021-05-24T16:09:27.318" v="15321" actId="790"/>
          <ac:spMkLst>
            <pc:docMk/>
            <pc:sldMk cId="4123958613" sldId="10464"/>
            <ac:spMk id="69" creationId="{B7EBBC5A-DA14-4F74-B1F0-E98AF52DABD0}"/>
          </ac:spMkLst>
        </pc:spChg>
        <pc:spChg chg="mod">
          <ac:chgData name="Sarah GAUVARD" userId="4c03e191-e154-482a-88b2-11de19eac96c" providerId="ADAL" clId="{8245CC27-65FB-483E-B8E7-D04039DBA80D}" dt="2021-05-24T16:09:27.318" v="15322" actId="790"/>
          <ac:spMkLst>
            <pc:docMk/>
            <pc:sldMk cId="4123958613" sldId="10464"/>
            <ac:spMk id="70" creationId="{3291AB25-490F-4B63-A46D-E02764883457}"/>
          </ac:spMkLst>
        </pc:spChg>
        <pc:spChg chg="mod">
          <ac:chgData name="Sarah GAUVARD" userId="4c03e191-e154-482a-88b2-11de19eac96c" providerId="ADAL" clId="{8245CC27-65FB-483E-B8E7-D04039DBA80D}" dt="2021-05-24T16:09:27.318" v="15323" actId="790"/>
          <ac:spMkLst>
            <pc:docMk/>
            <pc:sldMk cId="4123958613" sldId="10464"/>
            <ac:spMk id="71" creationId="{075BD30D-D6B5-4502-AB64-F5EF3A546F22}"/>
          </ac:spMkLst>
        </pc:spChg>
        <pc:spChg chg="mod">
          <ac:chgData name="Sarah GAUVARD" userId="4c03e191-e154-482a-88b2-11de19eac96c" providerId="ADAL" clId="{8245CC27-65FB-483E-B8E7-D04039DBA80D}" dt="2021-05-24T16:09:27.320" v="15324" actId="790"/>
          <ac:spMkLst>
            <pc:docMk/>
            <pc:sldMk cId="4123958613" sldId="10464"/>
            <ac:spMk id="72" creationId="{B8A5B5FA-956D-4336-94C9-315F1C4DA686}"/>
          </ac:spMkLst>
        </pc:spChg>
        <pc:spChg chg="mod">
          <ac:chgData name="Sarah GAUVARD" userId="4c03e191-e154-482a-88b2-11de19eac96c" providerId="ADAL" clId="{8245CC27-65FB-483E-B8E7-D04039DBA80D}" dt="2021-05-24T16:09:27.320" v="15325" actId="790"/>
          <ac:spMkLst>
            <pc:docMk/>
            <pc:sldMk cId="4123958613" sldId="10464"/>
            <ac:spMk id="73" creationId="{BB81862D-1352-415B-9794-C265DDB814EE}"/>
          </ac:spMkLst>
        </pc:spChg>
        <pc:spChg chg="mod">
          <ac:chgData name="Sarah GAUVARD" userId="4c03e191-e154-482a-88b2-11de19eac96c" providerId="ADAL" clId="{8245CC27-65FB-483E-B8E7-D04039DBA80D}" dt="2021-05-24T16:09:27.320" v="15326" actId="790"/>
          <ac:spMkLst>
            <pc:docMk/>
            <pc:sldMk cId="4123958613" sldId="10464"/>
            <ac:spMk id="74" creationId="{5013318F-F7B4-4AAF-ADC5-C66BF396BB1E}"/>
          </ac:spMkLst>
        </pc:spChg>
        <pc:spChg chg="mod">
          <ac:chgData name="Sarah GAUVARD" userId="4c03e191-e154-482a-88b2-11de19eac96c" providerId="ADAL" clId="{8245CC27-65FB-483E-B8E7-D04039DBA80D}" dt="2021-05-24T16:09:27.320" v="15327" actId="790"/>
          <ac:spMkLst>
            <pc:docMk/>
            <pc:sldMk cId="4123958613" sldId="10464"/>
            <ac:spMk id="75" creationId="{CB9B43AE-1547-457C-A273-1320CA76CB3B}"/>
          </ac:spMkLst>
        </pc:spChg>
        <pc:spChg chg="mod">
          <ac:chgData name="Sarah GAUVARD" userId="4c03e191-e154-482a-88b2-11de19eac96c" providerId="ADAL" clId="{8245CC27-65FB-483E-B8E7-D04039DBA80D}" dt="2021-05-24T16:09:27.320" v="15328" actId="790"/>
          <ac:spMkLst>
            <pc:docMk/>
            <pc:sldMk cId="4123958613" sldId="10464"/>
            <ac:spMk id="76" creationId="{AE904024-EA20-4D60-AB0B-C139F02FB2A9}"/>
          </ac:spMkLst>
        </pc:spChg>
        <pc:spChg chg="mod">
          <ac:chgData name="Sarah GAUVARD" userId="4c03e191-e154-482a-88b2-11de19eac96c" providerId="ADAL" clId="{8245CC27-65FB-483E-B8E7-D04039DBA80D}" dt="2021-05-24T16:09:27.320" v="15329" actId="790"/>
          <ac:spMkLst>
            <pc:docMk/>
            <pc:sldMk cId="4123958613" sldId="10464"/>
            <ac:spMk id="77" creationId="{AB0D4D7A-5D70-4F9E-A762-65CCD88904AC}"/>
          </ac:spMkLst>
        </pc:spChg>
        <pc:spChg chg="mod">
          <ac:chgData name="Sarah GAUVARD" userId="4c03e191-e154-482a-88b2-11de19eac96c" providerId="ADAL" clId="{8245CC27-65FB-483E-B8E7-D04039DBA80D}" dt="2021-05-24T16:09:27.320" v="15330" actId="790"/>
          <ac:spMkLst>
            <pc:docMk/>
            <pc:sldMk cId="4123958613" sldId="10464"/>
            <ac:spMk id="78" creationId="{E5C79D5F-D2B0-4680-AA6C-E73274912CD4}"/>
          </ac:spMkLst>
        </pc:spChg>
        <pc:spChg chg="mod">
          <ac:chgData name="Sarah GAUVARD" userId="4c03e191-e154-482a-88b2-11de19eac96c" providerId="ADAL" clId="{8245CC27-65FB-483E-B8E7-D04039DBA80D}" dt="2021-05-24T16:09:27.320" v="15331" actId="790"/>
          <ac:spMkLst>
            <pc:docMk/>
            <pc:sldMk cId="4123958613" sldId="10464"/>
            <ac:spMk id="79" creationId="{43B23F38-045E-49AC-BFC0-E481E439ED01}"/>
          </ac:spMkLst>
        </pc:spChg>
        <pc:spChg chg="mod">
          <ac:chgData name="Sarah GAUVARD" userId="4c03e191-e154-482a-88b2-11de19eac96c" providerId="ADAL" clId="{8245CC27-65FB-483E-B8E7-D04039DBA80D}" dt="2021-05-24T16:09:27.328" v="15332" actId="790"/>
          <ac:spMkLst>
            <pc:docMk/>
            <pc:sldMk cId="4123958613" sldId="10464"/>
            <ac:spMk id="90" creationId="{F0ACEE5D-E7C7-4907-B468-DDF2B6250FCD}"/>
          </ac:spMkLst>
        </pc:spChg>
        <pc:graphicFrameChg chg="mod">
          <ac:chgData name="Sarah GAUVARD" userId="4c03e191-e154-482a-88b2-11de19eac96c" providerId="ADAL" clId="{8245CC27-65FB-483E-B8E7-D04039DBA80D}" dt="2021-05-24T15:34:46.532" v="12094"/>
          <ac:graphicFrameMkLst>
            <pc:docMk/>
            <pc:sldMk cId="4123958613" sldId="10464"/>
            <ac:graphicFrameMk id="5" creationId="{58F89C0C-E0E8-4876-A98A-438F18CAD392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8.150" v="16225" actId="790"/>
        <pc:sldMkLst>
          <pc:docMk/>
          <pc:sldMk cId="1519874409" sldId="10465"/>
        </pc:sldMkLst>
        <pc:spChg chg="mod">
          <ac:chgData name="Sarah GAUVARD" userId="4c03e191-e154-482a-88b2-11de19eac96c" providerId="ADAL" clId="{8245CC27-65FB-483E-B8E7-D04039DBA80D}" dt="2021-05-24T16:09:28.119" v="16197" actId="790"/>
          <ac:spMkLst>
            <pc:docMk/>
            <pc:sldMk cId="1519874409" sldId="10465"/>
            <ac:spMk id="2" creationId="{22CE637A-08CD-4B57-9E43-4D794A97D425}"/>
          </ac:spMkLst>
        </pc:spChg>
        <pc:spChg chg="add del mod modVis">
          <ac:chgData name="Sarah GAUVARD" userId="4c03e191-e154-482a-88b2-11de19eac96c" providerId="ADAL" clId="{8245CC27-65FB-483E-B8E7-D04039DBA80D}" dt="2021-05-24T15:34:46.537" v="12096"/>
          <ac:spMkLst>
            <pc:docMk/>
            <pc:sldMk cId="1519874409" sldId="10465"/>
            <ac:spMk id="4" creationId="{1009BC95-2EB8-48F8-872E-ECEC99D4D713}"/>
          </ac:spMkLst>
        </pc:spChg>
        <pc:spChg chg="mod">
          <ac:chgData name="Sarah GAUVARD" userId="4c03e191-e154-482a-88b2-11de19eac96c" providerId="ADAL" clId="{8245CC27-65FB-483E-B8E7-D04039DBA80D}" dt="2021-05-24T16:09:28.119" v="16198" actId="790"/>
          <ac:spMkLst>
            <pc:docMk/>
            <pc:sldMk cId="1519874409" sldId="10465"/>
            <ac:spMk id="17" creationId="{EAAF5B4D-73E3-453B-97EC-E705A8C01554}"/>
          </ac:spMkLst>
        </pc:spChg>
        <pc:spChg chg="mod">
          <ac:chgData name="Sarah GAUVARD" userId="4c03e191-e154-482a-88b2-11de19eac96c" providerId="ADAL" clId="{8245CC27-65FB-483E-B8E7-D04039DBA80D}" dt="2021-05-24T16:09:28.119" v="16200" actId="790"/>
          <ac:spMkLst>
            <pc:docMk/>
            <pc:sldMk cId="1519874409" sldId="10465"/>
            <ac:spMk id="18" creationId="{B77F2001-EECC-4091-A46F-B13C297AFD91}"/>
          </ac:spMkLst>
        </pc:spChg>
        <pc:spChg chg="mod">
          <ac:chgData name="Sarah GAUVARD" userId="4c03e191-e154-482a-88b2-11de19eac96c" providerId="ADAL" clId="{8245CC27-65FB-483E-B8E7-D04039DBA80D}" dt="2021-05-24T16:09:28.119" v="16199" actId="790"/>
          <ac:spMkLst>
            <pc:docMk/>
            <pc:sldMk cId="1519874409" sldId="10465"/>
            <ac:spMk id="23" creationId="{0C95EF0E-C411-407B-BF74-3CD0A42FA4B6}"/>
          </ac:spMkLst>
        </pc:spChg>
        <pc:spChg chg="mod">
          <ac:chgData name="Sarah GAUVARD" userId="4c03e191-e154-482a-88b2-11de19eac96c" providerId="ADAL" clId="{8245CC27-65FB-483E-B8E7-D04039DBA80D}" dt="2021-05-24T16:09:28.119" v="16201" actId="790"/>
          <ac:spMkLst>
            <pc:docMk/>
            <pc:sldMk cId="1519874409" sldId="10465"/>
            <ac:spMk id="26" creationId="{1467DC4C-D91B-4890-86E8-8B6B324D9380}"/>
          </ac:spMkLst>
        </pc:spChg>
        <pc:spChg chg="mod">
          <ac:chgData name="Sarah GAUVARD" userId="4c03e191-e154-482a-88b2-11de19eac96c" providerId="ADAL" clId="{8245CC27-65FB-483E-B8E7-D04039DBA80D}" dt="2021-05-24T16:09:28.127" v="16202" actId="790"/>
          <ac:spMkLst>
            <pc:docMk/>
            <pc:sldMk cId="1519874409" sldId="10465"/>
            <ac:spMk id="29" creationId="{D49177BB-F71C-42AC-9A8C-812D68405634}"/>
          </ac:spMkLst>
        </pc:spChg>
        <pc:spChg chg="mod">
          <ac:chgData name="Sarah GAUVARD" userId="4c03e191-e154-482a-88b2-11de19eac96c" providerId="ADAL" clId="{8245CC27-65FB-483E-B8E7-D04039DBA80D}" dt="2021-05-24T16:09:28.127" v="16203" actId="790"/>
          <ac:spMkLst>
            <pc:docMk/>
            <pc:sldMk cId="1519874409" sldId="10465"/>
            <ac:spMk id="30" creationId="{990B3219-5A14-48A6-A29D-258D28CA817A}"/>
          </ac:spMkLst>
        </pc:spChg>
        <pc:spChg chg="mod">
          <ac:chgData name="Sarah GAUVARD" userId="4c03e191-e154-482a-88b2-11de19eac96c" providerId="ADAL" clId="{8245CC27-65FB-483E-B8E7-D04039DBA80D}" dt="2021-05-24T16:09:28.128" v="16204" actId="790"/>
          <ac:spMkLst>
            <pc:docMk/>
            <pc:sldMk cId="1519874409" sldId="10465"/>
            <ac:spMk id="31" creationId="{98270023-57CC-4644-A288-9156D3D5FBCE}"/>
          </ac:spMkLst>
        </pc:spChg>
        <pc:spChg chg="mod">
          <ac:chgData name="Sarah GAUVARD" userId="4c03e191-e154-482a-88b2-11de19eac96c" providerId="ADAL" clId="{8245CC27-65FB-483E-B8E7-D04039DBA80D}" dt="2021-05-24T16:09:28.129" v="16205" actId="790"/>
          <ac:spMkLst>
            <pc:docMk/>
            <pc:sldMk cId="1519874409" sldId="10465"/>
            <ac:spMk id="32" creationId="{9E722F19-F936-4688-BE29-34529CE98CFB}"/>
          </ac:spMkLst>
        </pc:spChg>
        <pc:spChg chg="mod">
          <ac:chgData name="Sarah GAUVARD" userId="4c03e191-e154-482a-88b2-11de19eac96c" providerId="ADAL" clId="{8245CC27-65FB-483E-B8E7-D04039DBA80D}" dt="2021-05-24T16:09:28.129" v="16206" actId="790"/>
          <ac:spMkLst>
            <pc:docMk/>
            <pc:sldMk cId="1519874409" sldId="10465"/>
            <ac:spMk id="41" creationId="{013DFE0D-012C-4AE2-A406-883249D468BC}"/>
          </ac:spMkLst>
        </pc:spChg>
        <pc:spChg chg="mod">
          <ac:chgData name="Sarah GAUVARD" userId="4c03e191-e154-482a-88b2-11de19eac96c" providerId="ADAL" clId="{8245CC27-65FB-483E-B8E7-D04039DBA80D}" dt="2021-05-24T16:09:28.139" v="16214" actId="790"/>
          <ac:spMkLst>
            <pc:docMk/>
            <pc:sldMk cId="1519874409" sldId="10465"/>
            <ac:spMk id="44" creationId="{0B53E553-6743-45FB-AE8E-BF6F0D532CEA}"/>
          </ac:spMkLst>
        </pc:spChg>
        <pc:spChg chg="mod">
          <ac:chgData name="Sarah GAUVARD" userId="4c03e191-e154-482a-88b2-11de19eac96c" providerId="ADAL" clId="{8245CC27-65FB-483E-B8E7-D04039DBA80D}" dt="2021-05-24T16:09:28.129" v="16207" actId="790"/>
          <ac:spMkLst>
            <pc:docMk/>
            <pc:sldMk cId="1519874409" sldId="10465"/>
            <ac:spMk id="45" creationId="{81D23D10-6232-4D82-8BCF-13B9525E1855}"/>
          </ac:spMkLst>
        </pc:spChg>
        <pc:spChg chg="mod">
          <ac:chgData name="Sarah GAUVARD" userId="4c03e191-e154-482a-88b2-11de19eac96c" providerId="ADAL" clId="{8245CC27-65FB-483E-B8E7-D04039DBA80D}" dt="2021-05-24T16:09:28.129" v="16208" actId="790"/>
          <ac:spMkLst>
            <pc:docMk/>
            <pc:sldMk cId="1519874409" sldId="10465"/>
            <ac:spMk id="46" creationId="{041E4A41-5EFF-4E8D-82D0-B598CD53AEB6}"/>
          </ac:spMkLst>
        </pc:spChg>
        <pc:spChg chg="mod">
          <ac:chgData name="Sarah GAUVARD" userId="4c03e191-e154-482a-88b2-11de19eac96c" providerId="ADAL" clId="{8245CC27-65FB-483E-B8E7-D04039DBA80D}" dt="2021-05-24T16:09:28.129" v="16209" actId="790"/>
          <ac:spMkLst>
            <pc:docMk/>
            <pc:sldMk cId="1519874409" sldId="10465"/>
            <ac:spMk id="49" creationId="{9FC58EF0-5CD6-4A71-8940-F6C8C883FBD1}"/>
          </ac:spMkLst>
        </pc:spChg>
        <pc:spChg chg="mod">
          <ac:chgData name="Sarah GAUVARD" userId="4c03e191-e154-482a-88b2-11de19eac96c" providerId="ADAL" clId="{8245CC27-65FB-483E-B8E7-D04039DBA80D}" dt="2021-05-24T16:09:28.129" v="16210" actId="790"/>
          <ac:spMkLst>
            <pc:docMk/>
            <pc:sldMk cId="1519874409" sldId="10465"/>
            <ac:spMk id="50" creationId="{0B6C5844-4A3E-4824-8EAE-60D3B3E1BFF5}"/>
          </ac:spMkLst>
        </pc:spChg>
        <pc:spChg chg="mod">
          <ac:chgData name="Sarah GAUVARD" userId="4c03e191-e154-482a-88b2-11de19eac96c" providerId="ADAL" clId="{8245CC27-65FB-483E-B8E7-D04039DBA80D}" dt="2021-05-24T16:09:28.129" v="16211" actId="790"/>
          <ac:spMkLst>
            <pc:docMk/>
            <pc:sldMk cId="1519874409" sldId="10465"/>
            <ac:spMk id="51" creationId="{8F8A1894-627E-4A77-8FEF-2E5519D9FC48}"/>
          </ac:spMkLst>
        </pc:spChg>
        <pc:spChg chg="mod">
          <ac:chgData name="Sarah GAUVARD" userId="4c03e191-e154-482a-88b2-11de19eac96c" providerId="ADAL" clId="{8245CC27-65FB-483E-B8E7-D04039DBA80D}" dt="2021-05-24T16:09:28.137" v="16212" actId="790"/>
          <ac:spMkLst>
            <pc:docMk/>
            <pc:sldMk cId="1519874409" sldId="10465"/>
            <ac:spMk id="52" creationId="{76A2D6C4-57ED-451A-A7F1-033FE34AB68E}"/>
          </ac:spMkLst>
        </pc:spChg>
        <pc:spChg chg="mod">
          <ac:chgData name="Sarah GAUVARD" userId="4c03e191-e154-482a-88b2-11de19eac96c" providerId="ADAL" clId="{8245CC27-65FB-483E-B8E7-D04039DBA80D}" dt="2021-05-24T16:09:28.139" v="16213" actId="790"/>
          <ac:spMkLst>
            <pc:docMk/>
            <pc:sldMk cId="1519874409" sldId="10465"/>
            <ac:spMk id="53" creationId="{1D696651-4ADA-4682-8B2D-872B8258B7F2}"/>
          </ac:spMkLst>
        </pc:spChg>
        <pc:spChg chg="mod">
          <ac:chgData name="Sarah GAUVARD" userId="4c03e191-e154-482a-88b2-11de19eac96c" providerId="ADAL" clId="{8245CC27-65FB-483E-B8E7-D04039DBA80D}" dt="2021-05-24T16:09:28.139" v="16215" actId="790"/>
          <ac:spMkLst>
            <pc:docMk/>
            <pc:sldMk cId="1519874409" sldId="10465"/>
            <ac:spMk id="59" creationId="{3DAFC222-EE91-423E-A279-AC68BF7E5200}"/>
          </ac:spMkLst>
        </pc:spChg>
        <pc:spChg chg="mod">
          <ac:chgData name="Sarah GAUVARD" userId="4c03e191-e154-482a-88b2-11de19eac96c" providerId="ADAL" clId="{8245CC27-65FB-483E-B8E7-D04039DBA80D}" dt="2021-05-24T16:09:28.147" v="16219" actId="790"/>
          <ac:spMkLst>
            <pc:docMk/>
            <pc:sldMk cId="1519874409" sldId="10465"/>
            <ac:spMk id="75" creationId="{3B90C99E-5118-46A1-8F4B-BC0DCBD5F532}"/>
          </ac:spMkLst>
        </pc:spChg>
        <pc:spChg chg="mod">
          <ac:chgData name="Sarah GAUVARD" userId="4c03e191-e154-482a-88b2-11de19eac96c" providerId="ADAL" clId="{8245CC27-65FB-483E-B8E7-D04039DBA80D}" dt="2021-05-24T16:09:28.150" v="16220" actId="790"/>
          <ac:spMkLst>
            <pc:docMk/>
            <pc:sldMk cId="1519874409" sldId="10465"/>
            <ac:spMk id="78" creationId="{29A37347-61AA-4078-80BD-C960E43A81AF}"/>
          </ac:spMkLst>
        </pc:spChg>
        <pc:spChg chg="mod">
          <ac:chgData name="Sarah GAUVARD" userId="4c03e191-e154-482a-88b2-11de19eac96c" providerId="ADAL" clId="{8245CC27-65FB-483E-B8E7-D04039DBA80D}" dt="2021-05-24T16:09:28.150" v="16223" actId="790"/>
          <ac:spMkLst>
            <pc:docMk/>
            <pc:sldMk cId="1519874409" sldId="10465"/>
            <ac:spMk id="81" creationId="{21CC608C-B99A-4A42-9697-626D17010014}"/>
          </ac:spMkLst>
        </pc:spChg>
        <pc:spChg chg="mod">
          <ac:chgData name="Sarah GAUVARD" userId="4c03e191-e154-482a-88b2-11de19eac96c" providerId="ADAL" clId="{8245CC27-65FB-483E-B8E7-D04039DBA80D}" dt="2021-05-24T16:09:28.150" v="16221" actId="790"/>
          <ac:spMkLst>
            <pc:docMk/>
            <pc:sldMk cId="1519874409" sldId="10465"/>
            <ac:spMk id="87" creationId="{011A9D4A-70AD-43A5-9A8B-1BA37B50CD90}"/>
          </ac:spMkLst>
        </pc:spChg>
        <pc:spChg chg="mod">
          <ac:chgData name="Sarah GAUVARD" userId="4c03e191-e154-482a-88b2-11de19eac96c" providerId="ADAL" clId="{8245CC27-65FB-483E-B8E7-D04039DBA80D}" dt="2021-05-24T16:09:28.150" v="16222" actId="790"/>
          <ac:spMkLst>
            <pc:docMk/>
            <pc:sldMk cId="1519874409" sldId="10465"/>
            <ac:spMk id="92" creationId="{8AB39739-AED6-4791-9E02-58EE9F6AB505}"/>
          </ac:spMkLst>
        </pc:spChg>
        <pc:spChg chg="mod">
          <ac:chgData name="Sarah GAUVARD" userId="4c03e191-e154-482a-88b2-11de19eac96c" providerId="ADAL" clId="{8245CC27-65FB-483E-B8E7-D04039DBA80D}" dt="2021-05-24T16:09:28.139" v="16216" actId="790"/>
          <ac:spMkLst>
            <pc:docMk/>
            <pc:sldMk cId="1519874409" sldId="10465"/>
            <ac:spMk id="94" creationId="{BF59A564-3768-4FD0-BB89-C2C9D89D7D6F}"/>
          </ac:spMkLst>
        </pc:spChg>
        <pc:spChg chg="mod">
          <ac:chgData name="Sarah GAUVARD" userId="4c03e191-e154-482a-88b2-11de19eac96c" providerId="ADAL" clId="{8245CC27-65FB-483E-B8E7-D04039DBA80D}" dt="2021-05-24T16:09:28.150" v="16224" actId="790"/>
          <ac:spMkLst>
            <pc:docMk/>
            <pc:sldMk cId="1519874409" sldId="10465"/>
            <ac:spMk id="96" creationId="{CE4E2441-955C-4882-BD20-B9505DC3A971}"/>
          </ac:spMkLst>
        </pc:spChg>
        <pc:spChg chg="mod">
          <ac:chgData name="Sarah GAUVARD" userId="4c03e191-e154-482a-88b2-11de19eac96c" providerId="ADAL" clId="{8245CC27-65FB-483E-B8E7-D04039DBA80D}" dt="2021-05-24T16:09:28.139" v="16217" actId="790"/>
          <ac:spMkLst>
            <pc:docMk/>
            <pc:sldMk cId="1519874409" sldId="10465"/>
            <ac:spMk id="97" creationId="{8FC70572-4538-4FAA-BEC9-F74E3EC477C1}"/>
          </ac:spMkLst>
        </pc:spChg>
        <pc:spChg chg="mod">
          <ac:chgData name="Sarah GAUVARD" userId="4c03e191-e154-482a-88b2-11de19eac96c" providerId="ADAL" clId="{8245CC27-65FB-483E-B8E7-D04039DBA80D}" dt="2021-05-24T16:09:28.147" v="16218" actId="790"/>
          <ac:spMkLst>
            <pc:docMk/>
            <pc:sldMk cId="1519874409" sldId="10465"/>
            <ac:spMk id="98" creationId="{FC1F4A9D-DB6A-4376-88B8-66395C2A5202}"/>
          </ac:spMkLst>
        </pc:spChg>
        <pc:spChg chg="mod">
          <ac:chgData name="Sarah GAUVARD" userId="4c03e191-e154-482a-88b2-11de19eac96c" providerId="ADAL" clId="{8245CC27-65FB-483E-B8E7-D04039DBA80D}" dt="2021-05-24T16:09:28.150" v="16225" actId="790"/>
          <ac:spMkLst>
            <pc:docMk/>
            <pc:sldMk cId="1519874409" sldId="10465"/>
            <ac:spMk id="99" creationId="{A3D680AA-841F-4FE7-9115-FEE6A855B5C5}"/>
          </ac:spMkLst>
        </pc:spChg>
        <pc:graphicFrameChg chg="mod">
          <ac:chgData name="Sarah GAUVARD" userId="4c03e191-e154-482a-88b2-11de19eac96c" providerId="ADAL" clId="{8245CC27-65FB-483E-B8E7-D04039DBA80D}" dt="2021-05-24T15:34:46.541" v="12098"/>
          <ac:graphicFrameMkLst>
            <pc:docMk/>
            <pc:sldMk cId="1519874409" sldId="10465"/>
            <ac:graphicFrameMk id="3" creationId="{44A8661F-A698-4B3A-8522-3EA11ED55901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8.007" v="16115" actId="790"/>
        <pc:sldMkLst>
          <pc:docMk/>
          <pc:sldMk cId="3286602149" sldId="10466"/>
        </pc:sldMkLst>
        <pc:spChg chg="mod">
          <ac:chgData name="Sarah GAUVARD" userId="4c03e191-e154-482a-88b2-11de19eac96c" providerId="ADAL" clId="{8245CC27-65FB-483E-B8E7-D04039DBA80D}" dt="2021-05-24T16:09:27.977" v="16085" actId="790"/>
          <ac:spMkLst>
            <pc:docMk/>
            <pc:sldMk cId="3286602149" sldId="10466"/>
            <ac:spMk id="2" creationId="{873006D4-BF82-4F00-B534-5D28B2DDCEF5}"/>
          </ac:spMkLst>
        </pc:spChg>
        <pc:spChg chg="mod">
          <ac:chgData name="Sarah GAUVARD" userId="4c03e191-e154-482a-88b2-11de19eac96c" providerId="ADAL" clId="{8245CC27-65FB-483E-B8E7-D04039DBA80D}" dt="2021-05-24T16:09:27.985" v="16086" actId="790"/>
          <ac:spMkLst>
            <pc:docMk/>
            <pc:sldMk cId="3286602149" sldId="10466"/>
            <ac:spMk id="3" creationId="{79D8092C-AC66-484C-9645-EEB08D4A59C6}"/>
          </ac:spMkLst>
        </pc:spChg>
        <pc:spChg chg="mod">
          <ac:chgData name="Sarah GAUVARD" userId="4c03e191-e154-482a-88b2-11de19eac96c" providerId="ADAL" clId="{8245CC27-65FB-483E-B8E7-D04039DBA80D}" dt="2021-05-24T16:09:27.985" v="16087" actId="790"/>
          <ac:spMkLst>
            <pc:docMk/>
            <pc:sldMk cId="3286602149" sldId="10466"/>
            <ac:spMk id="4" creationId="{02BD46C9-B279-482D-89B3-4956B609E15C}"/>
          </ac:spMkLst>
        </pc:spChg>
        <pc:spChg chg="mod">
          <ac:chgData name="Sarah GAUVARD" userId="4c03e191-e154-482a-88b2-11de19eac96c" providerId="ADAL" clId="{8245CC27-65FB-483E-B8E7-D04039DBA80D}" dt="2021-05-24T16:09:27.987" v="16088" actId="790"/>
          <ac:spMkLst>
            <pc:docMk/>
            <pc:sldMk cId="3286602149" sldId="10466"/>
            <ac:spMk id="5" creationId="{661F72E1-48F0-44F4-A92A-E722B8B95227}"/>
          </ac:spMkLst>
        </pc:spChg>
        <pc:spChg chg="mod">
          <ac:chgData name="Sarah GAUVARD" userId="4c03e191-e154-482a-88b2-11de19eac96c" providerId="ADAL" clId="{8245CC27-65FB-483E-B8E7-D04039DBA80D}" dt="2021-05-24T16:09:27.987" v="16090" actId="790"/>
          <ac:spMkLst>
            <pc:docMk/>
            <pc:sldMk cId="3286602149" sldId="10466"/>
            <ac:spMk id="6" creationId="{70B52D0E-DC9C-4722-916E-D6FDF79A7420}"/>
          </ac:spMkLst>
        </pc:spChg>
        <pc:spChg chg="add del mod modVis">
          <ac:chgData name="Sarah GAUVARD" userId="4c03e191-e154-482a-88b2-11de19eac96c" providerId="ADAL" clId="{8245CC27-65FB-483E-B8E7-D04039DBA80D}" dt="2021-05-24T15:34:46.582" v="12116"/>
          <ac:spMkLst>
            <pc:docMk/>
            <pc:sldMk cId="3286602149" sldId="10466"/>
            <ac:spMk id="8" creationId="{FA5A8440-0E86-4EBA-8BF5-C55E6DA15B0D}"/>
          </ac:spMkLst>
        </pc:spChg>
        <pc:spChg chg="mod">
          <ac:chgData name="Sarah GAUVARD" userId="4c03e191-e154-482a-88b2-11de19eac96c" providerId="ADAL" clId="{8245CC27-65FB-483E-B8E7-D04039DBA80D}" dt="2021-05-24T16:09:27.987" v="16095" actId="790"/>
          <ac:spMkLst>
            <pc:docMk/>
            <pc:sldMk cId="3286602149" sldId="10466"/>
            <ac:spMk id="15" creationId="{371FD0C6-BD25-4B85-8EAD-0502F14E088E}"/>
          </ac:spMkLst>
        </pc:spChg>
        <pc:spChg chg="mod">
          <ac:chgData name="Sarah GAUVARD" userId="4c03e191-e154-482a-88b2-11de19eac96c" providerId="ADAL" clId="{8245CC27-65FB-483E-B8E7-D04039DBA80D}" dt="2021-05-24T16:09:27.997" v="16101" actId="790"/>
          <ac:spMkLst>
            <pc:docMk/>
            <pc:sldMk cId="3286602149" sldId="10466"/>
            <ac:spMk id="17" creationId="{A9119019-F679-42BB-B49F-4E0DCA81AB7E}"/>
          </ac:spMkLst>
        </pc:spChg>
        <pc:spChg chg="mod">
          <ac:chgData name="Sarah GAUVARD" userId="4c03e191-e154-482a-88b2-11de19eac96c" providerId="ADAL" clId="{8245CC27-65FB-483E-B8E7-D04039DBA80D}" dt="2021-05-24T16:09:27.997" v="16102" actId="790"/>
          <ac:spMkLst>
            <pc:docMk/>
            <pc:sldMk cId="3286602149" sldId="10466"/>
            <ac:spMk id="26" creationId="{D02F1702-75A2-41D0-81F2-2BFAC3621779}"/>
          </ac:spMkLst>
        </pc:spChg>
        <pc:spChg chg="mod">
          <ac:chgData name="Sarah GAUVARD" userId="4c03e191-e154-482a-88b2-11de19eac96c" providerId="ADAL" clId="{8245CC27-65FB-483E-B8E7-D04039DBA80D}" dt="2021-05-24T16:09:27.995" v="16100" actId="790"/>
          <ac:spMkLst>
            <pc:docMk/>
            <pc:sldMk cId="3286602149" sldId="10466"/>
            <ac:spMk id="29" creationId="{89FB3B56-79F8-4EBD-967A-A373F7652C6A}"/>
          </ac:spMkLst>
        </pc:spChg>
        <pc:spChg chg="mod">
          <ac:chgData name="Sarah GAUVARD" userId="4c03e191-e154-482a-88b2-11de19eac96c" providerId="ADAL" clId="{8245CC27-65FB-483E-B8E7-D04039DBA80D}" dt="2021-05-24T16:09:27.997" v="16103" actId="790"/>
          <ac:spMkLst>
            <pc:docMk/>
            <pc:sldMk cId="3286602149" sldId="10466"/>
            <ac:spMk id="31" creationId="{A8ABB57D-9FC1-44C5-8530-23D192F77D78}"/>
          </ac:spMkLst>
        </pc:spChg>
        <pc:spChg chg="mod">
          <ac:chgData name="Sarah GAUVARD" userId="4c03e191-e154-482a-88b2-11de19eac96c" providerId="ADAL" clId="{8245CC27-65FB-483E-B8E7-D04039DBA80D}" dt="2021-05-24T16:09:27.995" v="16099" actId="790"/>
          <ac:spMkLst>
            <pc:docMk/>
            <pc:sldMk cId="3286602149" sldId="10466"/>
            <ac:spMk id="32" creationId="{9D4D3A71-F2C6-47DF-BD49-C3D7BFBF9438}"/>
          </ac:spMkLst>
        </pc:spChg>
        <pc:spChg chg="mod">
          <ac:chgData name="Sarah GAUVARD" userId="4c03e191-e154-482a-88b2-11de19eac96c" providerId="ADAL" clId="{8245CC27-65FB-483E-B8E7-D04039DBA80D}" dt="2021-05-24T16:09:27.995" v="16098" actId="790"/>
          <ac:spMkLst>
            <pc:docMk/>
            <pc:sldMk cId="3286602149" sldId="10466"/>
            <ac:spMk id="35" creationId="{6458FF84-438E-4544-91C9-92CD6839FCA3}"/>
          </ac:spMkLst>
        </pc:spChg>
        <pc:spChg chg="mod">
          <ac:chgData name="Sarah GAUVARD" userId="4c03e191-e154-482a-88b2-11de19eac96c" providerId="ADAL" clId="{8245CC27-65FB-483E-B8E7-D04039DBA80D}" dt="2021-05-24T16:09:27.987" v="16089" actId="790"/>
          <ac:spMkLst>
            <pc:docMk/>
            <pc:sldMk cId="3286602149" sldId="10466"/>
            <ac:spMk id="36" creationId="{20444DA5-5894-4095-8895-C57452F8E45B}"/>
          </ac:spMkLst>
        </pc:spChg>
        <pc:spChg chg="mod">
          <ac:chgData name="Sarah GAUVARD" userId="4c03e191-e154-482a-88b2-11de19eac96c" providerId="ADAL" clId="{8245CC27-65FB-483E-B8E7-D04039DBA80D}" dt="2021-05-24T16:09:27.997" v="16104" actId="790"/>
          <ac:spMkLst>
            <pc:docMk/>
            <pc:sldMk cId="3286602149" sldId="10466"/>
            <ac:spMk id="37" creationId="{6503BBF8-FED4-48DE-A886-460FB05439F0}"/>
          </ac:spMkLst>
        </pc:spChg>
        <pc:spChg chg="mod">
          <ac:chgData name="Sarah GAUVARD" userId="4c03e191-e154-482a-88b2-11de19eac96c" providerId="ADAL" clId="{8245CC27-65FB-483E-B8E7-D04039DBA80D}" dt="2021-05-24T16:09:27.997" v="16105" actId="790"/>
          <ac:spMkLst>
            <pc:docMk/>
            <pc:sldMk cId="3286602149" sldId="10466"/>
            <ac:spMk id="38" creationId="{3F11B4ED-9D89-44C6-97B5-84A9B88A28A0}"/>
          </ac:spMkLst>
        </pc:spChg>
        <pc:spChg chg="mod">
          <ac:chgData name="Sarah GAUVARD" userId="4c03e191-e154-482a-88b2-11de19eac96c" providerId="ADAL" clId="{8245CC27-65FB-483E-B8E7-D04039DBA80D}" dt="2021-05-24T16:09:27.997" v="16106" actId="790"/>
          <ac:spMkLst>
            <pc:docMk/>
            <pc:sldMk cId="3286602149" sldId="10466"/>
            <ac:spMk id="39" creationId="{8D6F807D-093C-4031-8B72-64CF391C111D}"/>
          </ac:spMkLst>
        </pc:spChg>
        <pc:spChg chg="mod">
          <ac:chgData name="Sarah GAUVARD" userId="4c03e191-e154-482a-88b2-11de19eac96c" providerId="ADAL" clId="{8245CC27-65FB-483E-B8E7-D04039DBA80D}" dt="2021-05-24T16:09:27.997" v="16107" actId="790"/>
          <ac:spMkLst>
            <pc:docMk/>
            <pc:sldMk cId="3286602149" sldId="10466"/>
            <ac:spMk id="40" creationId="{E671D48A-B1A4-4B26-B60F-65E19EB4D45B}"/>
          </ac:spMkLst>
        </pc:spChg>
        <pc:spChg chg="mod">
          <ac:chgData name="Sarah GAUVARD" userId="4c03e191-e154-482a-88b2-11de19eac96c" providerId="ADAL" clId="{8245CC27-65FB-483E-B8E7-D04039DBA80D}" dt="2021-05-24T16:09:27.987" v="16091" actId="790"/>
          <ac:spMkLst>
            <pc:docMk/>
            <pc:sldMk cId="3286602149" sldId="10466"/>
            <ac:spMk id="42" creationId="{1247795D-0072-40BA-AF93-9C1D019692A8}"/>
          </ac:spMkLst>
        </pc:spChg>
        <pc:spChg chg="mod">
          <ac:chgData name="Sarah GAUVARD" userId="4c03e191-e154-482a-88b2-11de19eac96c" providerId="ADAL" clId="{8245CC27-65FB-483E-B8E7-D04039DBA80D}" dt="2021-05-24T16:09:27.987" v="16092" actId="790"/>
          <ac:spMkLst>
            <pc:docMk/>
            <pc:sldMk cId="3286602149" sldId="10466"/>
            <ac:spMk id="43" creationId="{36DDE4C0-A9E6-441D-96A4-45A7DBB77394}"/>
          </ac:spMkLst>
        </pc:spChg>
        <pc:spChg chg="mod">
          <ac:chgData name="Sarah GAUVARD" userId="4c03e191-e154-482a-88b2-11de19eac96c" providerId="ADAL" clId="{8245CC27-65FB-483E-B8E7-D04039DBA80D}" dt="2021-05-24T16:09:27.987" v="16093" actId="790"/>
          <ac:spMkLst>
            <pc:docMk/>
            <pc:sldMk cId="3286602149" sldId="10466"/>
            <ac:spMk id="44" creationId="{2F8E33B2-FF7C-48A6-A801-E93B48683090}"/>
          </ac:spMkLst>
        </pc:spChg>
        <pc:spChg chg="mod">
          <ac:chgData name="Sarah GAUVARD" userId="4c03e191-e154-482a-88b2-11de19eac96c" providerId="ADAL" clId="{8245CC27-65FB-483E-B8E7-D04039DBA80D}" dt="2021-05-24T16:09:27.987" v="16094" actId="790"/>
          <ac:spMkLst>
            <pc:docMk/>
            <pc:sldMk cId="3286602149" sldId="10466"/>
            <ac:spMk id="51" creationId="{30907CB5-2327-4812-BF4E-80ADB62C119C}"/>
          </ac:spMkLst>
        </pc:spChg>
        <pc:spChg chg="mod">
          <ac:chgData name="Sarah GAUVARD" userId="4c03e191-e154-482a-88b2-11de19eac96c" providerId="ADAL" clId="{8245CC27-65FB-483E-B8E7-D04039DBA80D}" dt="2021-05-24T16:09:27.997" v="16109" actId="790"/>
          <ac:spMkLst>
            <pc:docMk/>
            <pc:sldMk cId="3286602149" sldId="10466"/>
            <ac:spMk id="61" creationId="{6AD76FA3-6E7D-4573-94F3-B77C5EE0163C}"/>
          </ac:spMkLst>
        </pc:spChg>
        <pc:spChg chg="mod">
          <ac:chgData name="Sarah GAUVARD" userId="4c03e191-e154-482a-88b2-11de19eac96c" providerId="ADAL" clId="{8245CC27-65FB-483E-B8E7-D04039DBA80D}" dt="2021-05-24T16:09:28.007" v="16115" actId="790"/>
          <ac:spMkLst>
            <pc:docMk/>
            <pc:sldMk cId="3286602149" sldId="10466"/>
            <ac:spMk id="69" creationId="{01D1152F-DC04-47F3-B3E6-FE427477534B}"/>
          </ac:spMkLst>
        </pc:spChg>
        <pc:spChg chg="mod">
          <ac:chgData name="Sarah GAUVARD" userId="4c03e191-e154-482a-88b2-11de19eac96c" providerId="ADAL" clId="{8245CC27-65FB-483E-B8E7-D04039DBA80D}" dt="2021-05-24T16:09:27.987" v="16096" actId="790"/>
          <ac:spMkLst>
            <pc:docMk/>
            <pc:sldMk cId="3286602149" sldId="10466"/>
            <ac:spMk id="73" creationId="{C04BD52F-AA2B-4CAE-B639-93262B0CFA81}"/>
          </ac:spMkLst>
        </pc:spChg>
        <pc:spChg chg="mod">
          <ac:chgData name="Sarah GAUVARD" userId="4c03e191-e154-482a-88b2-11de19eac96c" providerId="ADAL" clId="{8245CC27-65FB-483E-B8E7-D04039DBA80D}" dt="2021-05-24T16:09:27.995" v="16097" actId="790"/>
          <ac:spMkLst>
            <pc:docMk/>
            <pc:sldMk cId="3286602149" sldId="10466"/>
            <ac:spMk id="77" creationId="{34FF3F00-6BF4-4528-85CB-44C6EF344C99}"/>
          </ac:spMkLst>
        </pc:spChg>
        <pc:spChg chg="mod">
          <ac:chgData name="Sarah GAUVARD" userId="4c03e191-e154-482a-88b2-11de19eac96c" providerId="ADAL" clId="{8245CC27-65FB-483E-B8E7-D04039DBA80D}" dt="2021-05-24T16:09:27.997" v="16108" actId="790"/>
          <ac:spMkLst>
            <pc:docMk/>
            <pc:sldMk cId="3286602149" sldId="10466"/>
            <ac:spMk id="87" creationId="{969B0457-9AFB-478C-83F9-279061671C83}"/>
          </ac:spMkLst>
        </pc:spChg>
        <pc:spChg chg="mod">
          <ac:chgData name="Sarah GAUVARD" userId="4c03e191-e154-482a-88b2-11de19eac96c" providerId="ADAL" clId="{8245CC27-65FB-483E-B8E7-D04039DBA80D}" dt="2021-05-24T16:09:27.997" v="16110" actId="790"/>
          <ac:spMkLst>
            <pc:docMk/>
            <pc:sldMk cId="3286602149" sldId="10466"/>
            <ac:spMk id="102" creationId="{E0A3228D-D7F4-4A30-B4B2-A7E4D2315ACB}"/>
          </ac:spMkLst>
        </pc:spChg>
        <pc:spChg chg="mod">
          <ac:chgData name="Sarah GAUVARD" userId="4c03e191-e154-482a-88b2-11de19eac96c" providerId="ADAL" clId="{8245CC27-65FB-483E-B8E7-D04039DBA80D}" dt="2021-05-24T16:09:27.997" v="16111" actId="790"/>
          <ac:spMkLst>
            <pc:docMk/>
            <pc:sldMk cId="3286602149" sldId="10466"/>
            <ac:spMk id="103" creationId="{60955DD5-4169-4F04-B2BF-2D2A64980A04}"/>
          </ac:spMkLst>
        </pc:spChg>
        <pc:spChg chg="mod">
          <ac:chgData name="Sarah GAUVARD" userId="4c03e191-e154-482a-88b2-11de19eac96c" providerId="ADAL" clId="{8245CC27-65FB-483E-B8E7-D04039DBA80D}" dt="2021-05-24T16:09:28.005" v="16112" actId="790"/>
          <ac:spMkLst>
            <pc:docMk/>
            <pc:sldMk cId="3286602149" sldId="10466"/>
            <ac:spMk id="104" creationId="{4A968F88-0BEE-4D26-A5E9-83CB21CDAC4E}"/>
          </ac:spMkLst>
        </pc:spChg>
        <pc:spChg chg="mod">
          <ac:chgData name="Sarah GAUVARD" userId="4c03e191-e154-482a-88b2-11de19eac96c" providerId="ADAL" clId="{8245CC27-65FB-483E-B8E7-D04039DBA80D}" dt="2021-05-24T16:09:28.007" v="16113" actId="790"/>
          <ac:spMkLst>
            <pc:docMk/>
            <pc:sldMk cId="3286602149" sldId="10466"/>
            <ac:spMk id="105" creationId="{8CE0D118-0AFC-408B-A2A2-0061AEB48222}"/>
          </ac:spMkLst>
        </pc:spChg>
        <pc:spChg chg="mod">
          <ac:chgData name="Sarah GAUVARD" userId="4c03e191-e154-482a-88b2-11de19eac96c" providerId="ADAL" clId="{8245CC27-65FB-483E-B8E7-D04039DBA80D}" dt="2021-05-24T16:09:28.007" v="16114" actId="790"/>
          <ac:spMkLst>
            <pc:docMk/>
            <pc:sldMk cId="3286602149" sldId="10466"/>
            <ac:spMk id="120" creationId="{C57198B3-D8BE-4D70-B9B4-2277FF73857B}"/>
          </ac:spMkLst>
        </pc:spChg>
        <pc:graphicFrameChg chg="mod">
          <ac:chgData name="Sarah GAUVARD" userId="4c03e191-e154-482a-88b2-11de19eac96c" providerId="ADAL" clId="{8245CC27-65FB-483E-B8E7-D04039DBA80D}" dt="2021-05-24T15:34:46.588" v="12118"/>
          <ac:graphicFrameMkLst>
            <pc:docMk/>
            <pc:sldMk cId="3286602149" sldId="10466"/>
            <ac:graphicFrameMk id="18" creationId="{CF7417D0-0B74-4D85-B813-1CC9F37E5F04}"/>
          </ac:graphicFrameMkLst>
        </pc:graphicFrameChg>
      </pc:sldChg>
      <pc:sldChg chg="addSp modSp mod">
        <pc:chgData name="Sarah GAUVARD" userId="4c03e191-e154-482a-88b2-11de19eac96c" providerId="ADAL" clId="{8245CC27-65FB-483E-B8E7-D04039DBA80D}" dt="2021-05-24T12:16:09.677" v="3160" actId="20577"/>
        <pc:sldMkLst>
          <pc:docMk/>
          <pc:sldMk cId="2049462253" sldId="10467"/>
        </pc:sldMkLst>
        <pc:spChg chg="add mod">
          <ac:chgData name="Sarah GAUVARD" userId="4c03e191-e154-482a-88b2-11de19eac96c" providerId="ADAL" clId="{8245CC27-65FB-483E-B8E7-D04039DBA80D}" dt="2021-05-24T12:16:09.677" v="3160" actId="20577"/>
          <ac:spMkLst>
            <pc:docMk/>
            <pc:sldMk cId="2049462253" sldId="10467"/>
            <ac:spMk id="65" creationId="{50E9508E-DCDD-42F2-9F0F-398E85D97E35}"/>
          </ac:spMkLst>
        </pc:spChg>
      </pc:sldChg>
      <pc:sldChg chg="modSp mod">
        <pc:chgData name="Sarah GAUVARD" userId="4c03e191-e154-482a-88b2-11de19eac96c" providerId="ADAL" clId="{8245CC27-65FB-483E-B8E7-D04039DBA80D}" dt="2021-05-24T12:16:59.093" v="3166" actId="1076"/>
        <pc:sldMkLst>
          <pc:docMk/>
          <pc:sldMk cId="2750370863" sldId="10468"/>
        </pc:sldMkLst>
        <pc:spChg chg="mod">
          <ac:chgData name="Sarah GAUVARD" userId="4c03e191-e154-482a-88b2-11de19eac96c" providerId="ADAL" clId="{8245CC27-65FB-483E-B8E7-D04039DBA80D}" dt="2021-05-24T12:16:59.093" v="3166" actId="1076"/>
          <ac:spMkLst>
            <pc:docMk/>
            <pc:sldMk cId="2750370863" sldId="10468"/>
            <ac:spMk id="67" creationId="{0256CC2F-2C47-472B-BDEF-F624F9993066}"/>
          </ac:spMkLst>
        </pc:spChg>
      </pc:sldChg>
      <pc:sldChg chg="addSp delSp modSp new add mod modTransition modShow">
        <pc:chgData name="Sarah GAUVARD" userId="4c03e191-e154-482a-88b2-11de19eac96c" providerId="ADAL" clId="{8245CC27-65FB-483E-B8E7-D04039DBA80D}" dt="2021-05-24T15:34:45.875" v="11746"/>
        <pc:sldMkLst>
          <pc:docMk/>
          <pc:sldMk cId="3039853858" sldId="10469"/>
        </pc:sldMkLst>
        <pc:spChg chg="mod">
          <ac:chgData name="Sarah GAUVARD" userId="4c03e191-e154-482a-88b2-11de19eac96c" providerId="ADAL" clId="{8245CC27-65FB-483E-B8E7-D04039DBA80D}" dt="2021-05-24T15:34:42.333" v="9004" actId="948"/>
          <ac:spMkLst>
            <pc:docMk/>
            <pc:sldMk cId="3039853858" sldId="10469"/>
            <ac:spMk id="2" creationId="{14A63442-DA54-42D4-87F0-BDCB096140AA}"/>
          </ac:spMkLst>
        </pc:spChg>
        <pc:spChg chg="add mod">
          <ac:chgData name="Sarah GAUVARD" userId="4c03e191-e154-482a-88b2-11de19eac96c" providerId="ADAL" clId="{8245CC27-65FB-483E-B8E7-D04039DBA80D}" dt="2021-05-24T15:34:40.271" v="8579" actId="790"/>
          <ac:spMkLst>
            <pc:docMk/>
            <pc:sldMk cId="3039853858" sldId="10469"/>
            <ac:spMk id="3" creationId="{BF7EC08C-D333-4AEB-BF4D-1846F2A4EA5F}"/>
          </ac:spMkLst>
        </pc:spChg>
        <pc:spChg chg="add mod">
          <ac:chgData name="Sarah GAUVARD" userId="4c03e191-e154-482a-88b2-11de19eac96c" providerId="ADAL" clId="{8245CC27-65FB-483E-B8E7-D04039DBA80D}" dt="2021-05-24T15:34:40.272" v="8580" actId="790"/>
          <ac:spMkLst>
            <pc:docMk/>
            <pc:sldMk cId="3039853858" sldId="10469"/>
            <ac:spMk id="4" creationId="{F56E6202-8C73-436F-ABC3-79B9E1D041C9}"/>
          </ac:spMkLst>
        </pc:spChg>
        <pc:spChg chg="add mod">
          <ac:chgData name="Sarah GAUVARD" userId="4c03e191-e154-482a-88b2-11de19eac96c" providerId="ADAL" clId="{8245CC27-65FB-483E-B8E7-D04039DBA80D}" dt="2021-05-24T15:34:40.273" v="8581" actId="790"/>
          <ac:spMkLst>
            <pc:docMk/>
            <pc:sldMk cId="3039853858" sldId="10469"/>
            <ac:spMk id="5" creationId="{062D9E47-1B5D-4E63-B232-3FFAF96752C6}"/>
          </ac:spMkLst>
        </pc:spChg>
        <pc:spChg chg="add mod">
          <ac:chgData name="Sarah GAUVARD" userId="4c03e191-e154-482a-88b2-11de19eac96c" providerId="ADAL" clId="{8245CC27-65FB-483E-B8E7-D04039DBA80D}" dt="2021-05-24T15:34:40.274" v="8582" actId="790"/>
          <ac:spMkLst>
            <pc:docMk/>
            <pc:sldMk cId="3039853858" sldId="10469"/>
            <ac:spMk id="6" creationId="{110A874B-EC60-403B-9F7A-7B875833955F}"/>
          </ac:spMkLst>
        </pc:spChg>
        <pc:spChg chg="add del mod">
          <ac:chgData name="Sarah GAUVARD" userId="4c03e191-e154-482a-88b2-11de19eac96c" providerId="ADAL" clId="{8245CC27-65FB-483E-B8E7-D04039DBA80D}" dt="2021-05-24T12:21:40.633" v="3235" actId="478"/>
          <ac:spMkLst>
            <pc:docMk/>
            <pc:sldMk cId="3039853858" sldId="10469"/>
            <ac:spMk id="7" creationId="{A099BC67-1AF6-4392-88EF-871B3DD4FB40}"/>
          </ac:spMkLst>
        </pc:spChg>
        <pc:spChg chg="add mod">
          <ac:chgData name="Sarah GAUVARD" userId="4c03e191-e154-482a-88b2-11de19eac96c" providerId="ADAL" clId="{8245CC27-65FB-483E-B8E7-D04039DBA80D}" dt="2021-05-24T15:34:40.276" v="8583" actId="790"/>
          <ac:spMkLst>
            <pc:docMk/>
            <pc:sldMk cId="3039853858" sldId="10469"/>
            <ac:spMk id="8" creationId="{A527E1BD-D275-48D5-8026-6D440A8D3ABC}"/>
          </ac:spMkLst>
        </pc:spChg>
        <pc:spChg chg="add mod">
          <ac:chgData name="Sarah GAUVARD" userId="4c03e191-e154-482a-88b2-11de19eac96c" providerId="ADAL" clId="{8245CC27-65FB-483E-B8E7-D04039DBA80D}" dt="2021-05-24T15:34:40.277" v="8584" actId="790"/>
          <ac:spMkLst>
            <pc:docMk/>
            <pc:sldMk cId="3039853858" sldId="10469"/>
            <ac:spMk id="9" creationId="{98916DF8-CB6B-4AC3-A0AB-53D2C4E7B19E}"/>
          </ac:spMkLst>
        </pc:spChg>
        <pc:spChg chg="add mod">
          <ac:chgData name="Sarah GAUVARD" userId="4c03e191-e154-482a-88b2-11de19eac96c" providerId="ADAL" clId="{8245CC27-65FB-483E-B8E7-D04039DBA80D}" dt="2021-05-24T15:34:40.278" v="8585" actId="790"/>
          <ac:spMkLst>
            <pc:docMk/>
            <pc:sldMk cId="3039853858" sldId="10469"/>
            <ac:spMk id="10" creationId="{19E21063-8686-4D83-882C-7E89BFF4AC81}"/>
          </ac:spMkLst>
        </pc:spChg>
        <pc:spChg chg="add mod">
          <ac:chgData name="Sarah GAUVARD" userId="4c03e191-e154-482a-88b2-11de19eac96c" providerId="ADAL" clId="{8245CC27-65FB-483E-B8E7-D04039DBA80D}" dt="2021-05-24T15:34:40.280" v="8586" actId="790"/>
          <ac:spMkLst>
            <pc:docMk/>
            <pc:sldMk cId="3039853858" sldId="10469"/>
            <ac:spMk id="11" creationId="{18805FDC-74C7-43D8-8ACA-33F6117CE592}"/>
          </ac:spMkLst>
        </pc:spChg>
        <pc:spChg chg="add del mod modVis">
          <ac:chgData name="Sarah GAUVARD" userId="4c03e191-e154-482a-88b2-11de19eac96c" providerId="ADAL" clId="{8245CC27-65FB-483E-B8E7-D04039DBA80D}" dt="2021-05-24T12:05:02.744" v="2689"/>
          <ac:spMkLst>
            <pc:docMk/>
            <pc:sldMk cId="3039853858" sldId="10469"/>
            <ac:spMk id="12" creationId="{3B5AE2FA-252A-440B-8184-5DE8B18ACCFA}"/>
          </ac:spMkLst>
        </pc:spChg>
        <pc:spChg chg="add del mod modVis">
          <ac:chgData name="Sarah GAUVARD" userId="4c03e191-e154-482a-88b2-11de19eac96c" providerId="ADAL" clId="{8245CC27-65FB-483E-B8E7-D04039DBA80D}" dt="2021-05-24T12:05:12.374" v="2828"/>
          <ac:spMkLst>
            <pc:docMk/>
            <pc:sldMk cId="3039853858" sldId="10469"/>
            <ac:spMk id="14" creationId="{B01E666C-A084-4038-B154-E4CFB7D7D351}"/>
          </ac:spMkLst>
        </pc:spChg>
        <pc:spChg chg="add del mod modVis">
          <ac:chgData name="Sarah GAUVARD" userId="4c03e191-e154-482a-88b2-11de19eac96c" providerId="ADAL" clId="{8245CC27-65FB-483E-B8E7-D04039DBA80D}" dt="2021-05-24T12:05:18.050" v="2885"/>
          <ac:spMkLst>
            <pc:docMk/>
            <pc:sldMk cId="3039853858" sldId="10469"/>
            <ac:spMk id="15" creationId="{01DCC320-AECC-4484-9DEF-233531068E93}"/>
          </ac:spMkLst>
        </pc:spChg>
        <pc:spChg chg="add del mod modVis">
          <ac:chgData name="Sarah GAUVARD" userId="4c03e191-e154-482a-88b2-11de19eac96c" providerId="ADAL" clId="{8245CC27-65FB-483E-B8E7-D04039DBA80D}" dt="2021-05-24T12:05:24.525" v="2978"/>
          <ac:spMkLst>
            <pc:docMk/>
            <pc:sldMk cId="3039853858" sldId="10469"/>
            <ac:spMk id="16" creationId="{3906165F-41B8-4956-B16F-675B7E80874B}"/>
          </ac:spMkLst>
        </pc:spChg>
        <pc:spChg chg="add mod">
          <ac:chgData name="Sarah GAUVARD" userId="4c03e191-e154-482a-88b2-11de19eac96c" providerId="ADAL" clId="{8245CC27-65FB-483E-B8E7-D04039DBA80D}" dt="2021-05-24T15:34:40.281" v="8587" actId="790"/>
          <ac:spMkLst>
            <pc:docMk/>
            <pc:sldMk cId="3039853858" sldId="10469"/>
            <ac:spMk id="17" creationId="{EF18347E-77C7-48E0-8B80-561988C5A974}"/>
          </ac:spMkLst>
        </pc:spChg>
        <pc:spChg chg="add mod">
          <ac:chgData name="Sarah GAUVARD" userId="4c03e191-e154-482a-88b2-11de19eac96c" providerId="ADAL" clId="{8245CC27-65FB-483E-B8E7-D04039DBA80D}" dt="2021-05-24T15:34:40.281" v="8588" actId="790"/>
          <ac:spMkLst>
            <pc:docMk/>
            <pc:sldMk cId="3039853858" sldId="10469"/>
            <ac:spMk id="18" creationId="{92AFF349-0A89-40E6-B5EA-471CA15D5593}"/>
          </ac:spMkLst>
        </pc:spChg>
        <pc:spChg chg="add mod">
          <ac:chgData name="Sarah GAUVARD" userId="4c03e191-e154-482a-88b2-11de19eac96c" providerId="ADAL" clId="{8245CC27-65FB-483E-B8E7-D04039DBA80D}" dt="2021-05-24T15:34:40.283" v="8589" actId="790"/>
          <ac:spMkLst>
            <pc:docMk/>
            <pc:sldMk cId="3039853858" sldId="10469"/>
            <ac:spMk id="19" creationId="{86B138A1-42E1-41D3-80A9-C19762ACEAD5}"/>
          </ac:spMkLst>
        </pc:spChg>
        <pc:spChg chg="add mod">
          <ac:chgData name="Sarah GAUVARD" userId="4c03e191-e154-482a-88b2-11de19eac96c" providerId="ADAL" clId="{8245CC27-65FB-483E-B8E7-D04039DBA80D}" dt="2021-05-24T15:34:40.284" v="8590" actId="790"/>
          <ac:spMkLst>
            <pc:docMk/>
            <pc:sldMk cId="3039853858" sldId="10469"/>
            <ac:spMk id="20" creationId="{B2A9FF67-9BCC-41A9-900E-B74C915E1F29}"/>
          </ac:spMkLst>
        </pc:spChg>
        <pc:spChg chg="add mod">
          <ac:chgData name="Sarah GAUVARD" userId="4c03e191-e154-482a-88b2-11de19eac96c" providerId="ADAL" clId="{8245CC27-65FB-483E-B8E7-D04039DBA80D}" dt="2021-05-24T15:34:40.287" v="8591" actId="790"/>
          <ac:spMkLst>
            <pc:docMk/>
            <pc:sldMk cId="3039853858" sldId="10469"/>
            <ac:spMk id="21" creationId="{39734C71-5A2B-4002-B42A-1A9D0CD5052A}"/>
          </ac:spMkLst>
        </pc:spChg>
        <pc:spChg chg="add mod">
          <ac:chgData name="Sarah GAUVARD" userId="4c03e191-e154-482a-88b2-11de19eac96c" providerId="ADAL" clId="{8245CC27-65FB-483E-B8E7-D04039DBA80D}" dt="2021-05-24T15:34:40.289" v="8592" actId="790"/>
          <ac:spMkLst>
            <pc:docMk/>
            <pc:sldMk cId="3039853858" sldId="10469"/>
            <ac:spMk id="22" creationId="{C886B5AE-60E8-422E-A457-ADDF0349946C}"/>
          </ac:spMkLst>
        </pc:spChg>
        <pc:spChg chg="add mod">
          <ac:chgData name="Sarah GAUVARD" userId="4c03e191-e154-482a-88b2-11de19eac96c" providerId="ADAL" clId="{8245CC27-65FB-483E-B8E7-D04039DBA80D}" dt="2021-05-24T15:34:40.290" v="8593" actId="790"/>
          <ac:spMkLst>
            <pc:docMk/>
            <pc:sldMk cId="3039853858" sldId="10469"/>
            <ac:spMk id="23" creationId="{4D4C3E4F-C319-443C-8514-E5243EAF5B35}"/>
          </ac:spMkLst>
        </pc:spChg>
        <pc:spChg chg="add mod">
          <ac:chgData name="Sarah GAUVARD" userId="4c03e191-e154-482a-88b2-11de19eac96c" providerId="ADAL" clId="{8245CC27-65FB-483E-B8E7-D04039DBA80D}" dt="2021-05-24T15:34:40.291" v="8594" actId="790"/>
          <ac:spMkLst>
            <pc:docMk/>
            <pc:sldMk cId="3039853858" sldId="10469"/>
            <ac:spMk id="24" creationId="{BB734D98-2942-4212-B7CA-588E38DF9301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25" creationId="{DBBE5CFD-3003-4B4F-B32C-CB20763A6654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26" creationId="{4C3523C2-7532-4CFA-892D-4556A3D4AC43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27" creationId="{AAD73031-AF7E-40D7-B9CD-5EF6B0AD0F70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28" creationId="{C679D238-06AB-4358-9C9A-AEF6505797AD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29" creationId="{C72217E6-EAC1-4C96-BD46-D4C84DC8FF3A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30" creationId="{D4952F4C-C3E4-4A1A-BDBA-5DFBA43215B7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31" creationId="{17EE3F39-4D28-456D-A856-4E6B6CE7371B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32" creationId="{25E5E090-9C8A-4EC6-AC6E-069EF318FCD5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33" creationId="{7D069DDF-9A48-4D4D-A0B7-AD97310E0A01}"/>
          </ac:spMkLst>
        </pc:spChg>
        <pc:spChg chg="add del mod">
          <ac:chgData name="Sarah GAUVARD" userId="4c03e191-e154-482a-88b2-11de19eac96c" providerId="ADAL" clId="{8245CC27-65FB-483E-B8E7-D04039DBA80D}" dt="2021-05-24T12:10:35.627" v="3070"/>
          <ac:spMkLst>
            <pc:docMk/>
            <pc:sldMk cId="3039853858" sldId="10469"/>
            <ac:spMk id="34" creationId="{182A3A9C-E713-4DB0-A7AA-36812BC66737}"/>
          </ac:spMkLst>
        </pc:spChg>
        <pc:spChg chg="add mod">
          <ac:chgData name="Sarah GAUVARD" userId="4c03e191-e154-482a-88b2-11de19eac96c" providerId="ADAL" clId="{8245CC27-65FB-483E-B8E7-D04039DBA80D}" dt="2021-05-24T15:34:40.292" v="8595" actId="790"/>
          <ac:spMkLst>
            <pc:docMk/>
            <pc:sldMk cId="3039853858" sldId="10469"/>
            <ac:spMk id="35" creationId="{493BB09C-FA45-4A0B-AA09-A4CAEE243AD5}"/>
          </ac:spMkLst>
        </pc:spChg>
        <pc:spChg chg="add mod">
          <ac:chgData name="Sarah GAUVARD" userId="4c03e191-e154-482a-88b2-11de19eac96c" providerId="ADAL" clId="{8245CC27-65FB-483E-B8E7-D04039DBA80D}" dt="2021-05-24T15:34:40.293" v="8596" actId="790"/>
          <ac:spMkLst>
            <pc:docMk/>
            <pc:sldMk cId="3039853858" sldId="10469"/>
            <ac:spMk id="36" creationId="{82BB232E-7B26-4AB7-A3CB-DB98A135B993}"/>
          </ac:spMkLst>
        </pc:spChg>
        <pc:spChg chg="add mod">
          <ac:chgData name="Sarah GAUVARD" userId="4c03e191-e154-482a-88b2-11de19eac96c" providerId="ADAL" clId="{8245CC27-65FB-483E-B8E7-D04039DBA80D}" dt="2021-05-24T15:34:40.294" v="8597" actId="790"/>
          <ac:spMkLst>
            <pc:docMk/>
            <pc:sldMk cId="3039853858" sldId="10469"/>
            <ac:spMk id="37" creationId="{0A8E0738-A8AF-4249-931D-47A14D3A91FD}"/>
          </ac:spMkLst>
        </pc:spChg>
        <pc:spChg chg="add mod">
          <ac:chgData name="Sarah GAUVARD" userId="4c03e191-e154-482a-88b2-11de19eac96c" providerId="ADAL" clId="{8245CC27-65FB-483E-B8E7-D04039DBA80D}" dt="2021-05-24T15:34:40.295" v="8598" actId="790"/>
          <ac:spMkLst>
            <pc:docMk/>
            <pc:sldMk cId="3039853858" sldId="10469"/>
            <ac:spMk id="38" creationId="{4CDFF166-E028-475A-AD25-5778BC8A48AD}"/>
          </ac:spMkLst>
        </pc:spChg>
        <pc:spChg chg="add mod">
          <ac:chgData name="Sarah GAUVARD" userId="4c03e191-e154-482a-88b2-11de19eac96c" providerId="ADAL" clId="{8245CC27-65FB-483E-B8E7-D04039DBA80D}" dt="2021-05-24T15:34:40.296" v="8599" actId="790"/>
          <ac:spMkLst>
            <pc:docMk/>
            <pc:sldMk cId="3039853858" sldId="10469"/>
            <ac:spMk id="39" creationId="{11051FB9-3465-42B5-8D5F-7222DC80BBD1}"/>
          </ac:spMkLst>
        </pc:spChg>
        <pc:spChg chg="add mod">
          <ac:chgData name="Sarah GAUVARD" userId="4c03e191-e154-482a-88b2-11de19eac96c" providerId="ADAL" clId="{8245CC27-65FB-483E-B8E7-D04039DBA80D}" dt="2021-05-24T15:34:40.296" v="8600" actId="790"/>
          <ac:spMkLst>
            <pc:docMk/>
            <pc:sldMk cId="3039853858" sldId="10469"/>
            <ac:spMk id="40" creationId="{85C2A5DC-8C64-4584-B35B-F94DDFB84C96}"/>
          </ac:spMkLst>
        </pc:spChg>
        <pc:spChg chg="add mod">
          <ac:chgData name="Sarah GAUVARD" userId="4c03e191-e154-482a-88b2-11de19eac96c" providerId="ADAL" clId="{8245CC27-65FB-483E-B8E7-D04039DBA80D}" dt="2021-05-24T15:34:40.297" v="8601" actId="790"/>
          <ac:spMkLst>
            <pc:docMk/>
            <pc:sldMk cId="3039853858" sldId="10469"/>
            <ac:spMk id="41" creationId="{09DBE724-EE52-4B0F-A5AF-95D28BC90FAF}"/>
          </ac:spMkLst>
        </pc:spChg>
        <pc:spChg chg="add mod">
          <ac:chgData name="Sarah GAUVARD" userId="4c03e191-e154-482a-88b2-11de19eac96c" providerId="ADAL" clId="{8245CC27-65FB-483E-B8E7-D04039DBA80D}" dt="2021-05-24T15:34:40.298" v="8602" actId="790"/>
          <ac:spMkLst>
            <pc:docMk/>
            <pc:sldMk cId="3039853858" sldId="10469"/>
            <ac:spMk id="42" creationId="{73115DBD-DBEB-484B-B0DA-E3BAE64BC68C}"/>
          </ac:spMkLst>
        </pc:spChg>
        <pc:spChg chg="add mod">
          <ac:chgData name="Sarah GAUVARD" userId="4c03e191-e154-482a-88b2-11de19eac96c" providerId="ADAL" clId="{8245CC27-65FB-483E-B8E7-D04039DBA80D}" dt="2021-05-24T15:34:40.299" v="8603" actId="790"/>
          <ac:spMkLst>
            <pc:docMk/>
            <pc:sldMk cId="3039853858" sldId="10469"/>
            <ac:spMk id="43" creationId="{23DA9231-68E2-44FA-AFE3-79BB76D9E58E}"/>
          </ac:spMkLst>
        </pc:spChg>
        <pc:spChg chg="add mod">
          <ac:chgData name="Sarah GAUVARD" userId="4c03e191-e154-482a-88b2-11de19eac96c" providerId="ADAL" clId="{8245CC27-65FB-483E-B8E7-D04039DBA80D}" dt="2021-05-24T15:34:40.300" v="8604" actId="790"/>
          <ac:spMkLst>
            <pc:docMk/>
            <pc:sldMk cId="3039853858" sldId="10469"/>
            <ac:spMk id="44" creationId="{8FA4736D-A144-4C84-9A93-62623A4348D6}"/>
          </ac:spMkLst>
        </pc:spChg>
        <pc:spChg chg="add del mod modVis">
          <ac:chgData name="Sarah GAUVARD" userId="4c03e191-e154-482a-88b2-11de19eac96c" providerId="ADAL" clId="{8245CC27-65FB-483E-B8E7-D04039DBA80D}" dt="2021-05-24T15:34:45.873" v="11744"/>
          <ac:spMkLst>
            <pc:docMk/>
            <pc:sldMk cId="3039853858" sldId="10469"/>
            <ac:spMk id="45" creationId="{12FBBF0E-A4D8-4E42-B3A9-821163757CCB}"/>
          </ac:spMkLst>
        </pc:spChg>
        <pc:graphicFrameChg chg="add mod ord modVis">
          <ac:chgData name="Sarah GAUVARD" userId="4c03e191-e154-482a-88b2-11de19eac96c" providerId="ADAL" clId="{8245CC27-65FB-483E-B8E7-D04039DBA80D}" dt="2021-05-24T15:34:45.875" v="11746"/>
          <ac:graphicFrameMkLst>
            <pc:docMk/>
            <pc:sldMk cId="3039853858" sldId="10469"/>
            <ac:graphicFrameMk id="13" creationId="{D5282E07-8E0F-44F4-BAB3-480BECA549C1}"/>
          </ac:graphicFrameMkLst>
        </pc:graphicFrameChg>
      </pc:sldChg>
      <pc:sldChg chg="addSp delSp modSp add mod ord modAnim">
        <pc:chgData name="Sarah GAUVARD" userId="4c03e191-e154-482a-88b2-11de19eac96c" providerId="ADAL" clId="{8245CC27-65FB-483E-B8E7-D04039DBA80D}" dt="2021-05-24T16:09:30.021" v="17465"/>
        <pc:sldMkLst>
          <pc:docMk/>
          <pc:sldMk cId="246696543" sldId="10470"/>
        </pc:sldMkLst>
        <pc:spChg chg="mod">
          <ac:chgData name="Sarah GAUVARD" userId="4c03e191-e154-482a-88b2-11de19eac96c" providerId="ADAL" clId="{8245CC27-65FB-483E-B8E7-D04039DBA80D}" dt="2021-05-24T16:09:29.831" v="17291"/>
          <ac:spMkLst>
            <pc:docMk/>
            <pc:sldMk cId="246696543" sldId="10470"/>
            <ac:spMk id="2" creationId="{9BD2639D-DCC0-44D5-BA6B-7FD2B3FE6960}"/>
          </ac:spMkLst>
        </pc:spChg>
        <pc:spChg chg="add del mod modVis">
          <ac:chgData name="Sarah GAUVARD" userId="4c03e191-e154-482a-88b2-11de19eac96c" providerId="ADAL" clId="{8245CC27-65FB-483E-B8E7-D04039DBA80D}" dt="2021-05-24T13:49:52.253" v="4069"/>
          <ac:spMkLst>
            <pc:docMk/>
            <pc:sldMk cId="246696543" sldId="10470"/>
            <ac:spMk id="3" creationId="{F888FB91-2B0C-4E85-9863-4B86B19885C0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5" creationId="{18CA01D0-1E64-461E-AE7E-2904520E4F36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6" creationId="{490A4901-2DC1-41DE-B458-6A36A10AA36B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7" creationId="{4D3CBBAB-458D-4B6D-A9C6-F74EECA4DC49}"/>
          </ac:spMkLst>
        </pc:spChg>
        <pc:spChg chg="mod">
          <ac:chgData name="Sarah GAUVARD" userId="4c03e191-e154-482a-88b2-11de19eac96c" providerId="ADAL" clId="{8245CC27-65FB-483E-B8E7-D04039DBA80D}" dt="2021-05-24T13:49:09.122" v="4020" actId="208"/>
          <ac:spMkLst>
            <pc:docMk/>
            <pc:sldMk cId="246696543" sldId="10470"/>
            <ac:spMk id="8" creationId="{AA3CDC90-54F7-480D-A0C8-E46C65C92BB6}"/>
          </ac:spMkLst>
        </pc:spChg>
        <pc:spChg chg="mod">
          <ac:chgData name="Sarah GAUVARD" userId="4c03e191-e154-482a-88b2-11de19eac96c" providerId="ADAL" clId="{8245CC27-65FB-483E-B8E7-D04039DBA80D}" dt="2021-05-24T13:48:46.946" v="4019" actId="113"/>
          <ac:spMkLst>
            <pc:docMk/>
            <pc:sldMk cId="246696543" sldId="10470"/>
            <ac:spMk id="9" creationId="{08DC229D-9D4E-4AD4-945F-1D13A2A073C1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11" creationId="{B7CB2AD4-D082-4BFE-8038-D3BEAD6042F0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12" creationId="{5C2E3614-2510-4511-9CC0-0336DBBFFEB4}"/>
          </ac:spMkLst>
        </pc:spChg>
        <pc:spChg chg="add del mod modVis">
          <ac:chgData name="Sarah GAUVARD" userId="4c03e191-e154-482a-88b2-11de19eac96c" providerId="ADAL" clId="{8245CC27-65FB-483E-B8E7-D04039DBA80D}" dt="2021-05-24T15:34:45.861" v="11740"/>
          <ac:spMkLst>
            <pc:docMk/>
            <pc:sldMk cId="246696543" sldId="10470"/>
            <ac:spMk id="13" creationId="{29FB3BC0-09CC-492B-BE19-969E1BCB1143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16" creationId="{0766A2A2-514A-4FBE-9369-A19C6BC5D84F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17" creationId="{475562BC-1105-495C-90DD-178D3CA52539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18" creationId="{C61AE365-A792-414F-BA5F-AA3EF8D8BE67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19" creationId="{3959EFD6-B29E-4590-AEFE-B45F8685DF90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20" creationId="{C64BB9DC-4096-4711-8DC1-558B84B3E873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22" creationId="{40710B0C-BA23-45BC-9CE9-48DF27263812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23" creationId="{A6670AF5-9315-40F9-8FCF-07ABA873129A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24" creationId="{389B3D2D-6F27-43F3-92EB-856A76CCCC52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25" creationId="{8C735DA3-C22D-4921-B4D0-8EF7AF5170C5}"/>
          </ac:spMkLst>
        </pc:spChg>
        <pc:spChg chg="del mod">
          <ac:chgData name="Sarah GAUVARD" userId="4c03e191-e154-482a-88b2-11de19eac96c" providerId="ADAL" clId="{8245CC27-65FB-483E-B8E7-D04039DBA80D}" dt="2021-05-24T13:39:15.087" v="3591" actId="478"/>
          <ac:spMkLst>
            <pc:docMk/>
            <pc:sldMk cId="246696543" sldId="10470"/>
            <ac:spMk id="26" creationId="{DBD7FDCE-4F34-4446-9121-187CBF63A23C}"/>
          </ac:spMkLst>
        </pc:spChg>
        <pc:spChg chg="add del mod modVis">
          <ac:chgData name="Sarah GAUVARD" userId="4c03e191-e154-482a-88b2-11de19eac96c" providerId="ADAL" clId="{8245CC27-65FB-483E-B8E7-D04039DBA80D}" dt="2021-05-24T16:09:30.021" v="17463"/>
          <ac:spMkLst>
            <pc:docMk/>
            <pc:sldMk cId="246696543" sldId="10470"/>
            <ac:spMk id="27" creationId="{3D1134F9-94A6-47C5-A7DE-A462039BF5B9}"/>
          </ac:spMkLst>
        </pc:spChg>
        <pc:spChg chg="mod">
          <ac:chgData name="Sarah GAUVARD" userId="4c03e191-e154-482a-88b2-11de19eac96c" providerId="ADAL" clId="{8245CC27-65FB-483E-B8E7-D04039DBA80D}" dt="2021-05-24T12:44:02.979" v="3311" actId="1076"/>
          <ac:spMkLst>
            <pc:docMk/>
            <pc:sldMk cId="246696543" sldId="10470"/>
            <ac:spMk id="29" creationId="{73115FFA-06D2-43F6-9A18-2172D29EC764}"/>
          </ac:spMkLst>
        </pc:spChg>
        <pc:spChg chg="del">
          <ac:chgData name="Sarah GAUVARD" userId="4c03e191-e154-482a-88b2-11de19eac96c" providerId="ADAL" clId="{8245CC27-65FB-483E-B8E7-D04039DBA80D}" dt="2021-05-24T12:52:39.657" v="3366" actId="478"/>
          <ac:spMkLst>
            <pc:docMk/>
            <pc:sldMk cId="246696543" sldId="10470"/>
            <ac:spMk id="64" creationId="{FEAC4674-2A35-469C-8610-DBEF4D65CE8F}"/>
          </ac:spMkLst>
        </pc:spChg>
        <pc:spChg chg="del">
          <ac:chgData name="Sarah GAUVARD" userId="4c03e191-e154-482a-88b2-11de19eac96c" providerId="ADAL" clId="{8245CC27-65FB-483E-B8E7-D04039DBA80D}" dt="2021-05-24T12:52:39.657" v="3366" actId="478"/>
          <ac:spMkLst>
            <pc:docMk/>
            <pc:sldMk cId="246696543" sldId="10470"/>
            <ac:spMk id="65" creationId="{A3305073-C345-4F22-9136-87C42E97C795}"/>
          </ac:spMkLst>
        </pc:spChg>
        <pc:spChg chg="del">
          <ac:chgData name="Sarah GAUVARD" userId="4c03e191-e154-482a-88b2-11de19eac96c" providerId="ADAL" clId="{8245CC27-65FB-483E-B8E7-D04039DBA80D}" dt="2021-05-24T12:52:39.657" v="3366" actId="478"/>
          <ac:spMkLst>
            <pc:docMk/>
            <pc:sldMk cId="246696543" sldId="10470"/>
            <ac:spMk id="66" creationId="{E089D82B-BC79-41E2-B77B-266F8E7044D6}"/>
          </ac:spMkLst>
        </pc:spChg>
        <pc:spChg chg="del">
          <ac:chgData name="Sarah GAUVARD" userId="4c03e191-e154-482a-88b2-11de19eac96c" providerId="ADAL" clId="{8245CC27-65FB-483E-B8E7-D04039DBA80D}" dt="2021-05-24T12:52:39.657" v="3366" actId="478"/>
          <ac:spMkLst>
            <pc:docMk/>
            <pc:sldMk cId="246696543" sldId="10470"/>
            <ac:spMk id="67" creationId="{A977987B-16BD-451D-8AB9-6DAACDEEC28D}"/>
          </ac:spMkLst>
        </pc:spChg>
        <pc:spChg chg="del">
          <ac:chgData name="Sarah GAUVARD" userId="4c03e191-e154-482a-88b2-11de19eac96c" providerId="ADAL" clId="{8245CC27-65FB-483E-B8E7-D04039DBA80D}" dt="2021-05-24T12:52:39.657" v="3366" actId="478"/>
          <ac:spMkLst>
            <pc:docMk/>
            <pc:sldMk cId="246696543" sldId="10470"/>
            <ac:spMk id="68" creationId="{C4046D4D-F0E1-4F91-8718-C8FD4FFDA7FD}"/>
          </ac:spMkLst>
        </pc:spChg>
        <pc:spChg chg="mod">
          <ac:chgData name="Sarah GAUVARD" userId="4c03e191-e154-482a-88b2-11de19eac96c" providerId="ADAL" clId="{8245CC27-65FB-483E-B8E7-D04039DBA80D}" dt="2021-05-24T12:42:37.588" v="3290" actId="1076"/>
          <ac:spMkLst>
            <pc:docMk/>
            <pc:sldMk cId="246696543" sldId="10470"/>
            <ac:spMk id="69" creationId="{6CC4A358-2A09-460F-8DE2-7FC6205936D8}"/>
          </ac:spMkLst>
        </pc:spChg>
        <pc:spChg chg="mod">
          <ac:chgData name="Sarah GAUVARD" userId="4c03e191-e154-482a-88b2-11de19eac96c" providerId="ADAL" clId="{8245CC27-65FB-483E-B8E7-D04039DBA80D}" dt="2021-05-24T16:00:57.209" v="14074" actId="20577"/>
          <ac:spMkLst>
            <pc:docMk/>
            <pc:sldMk cId="246696543" sldId="10470"/>
            <ac:spMk id="70" creationId="{69512478-4F7C-4EB8-B587-69AC4EA2524C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71" creationId="{6D20AF9C-AD4E-4705-8646-82C3F902C567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73" creationId="{00B97C7B-6588-4339-A047-F0DC95D7BB3A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74" creationId="{BFA5C3C2-52D4-4D73-B267-0DDE883B9F06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75" creationId="{FD51F5E5-2F67-4B93-A14E-0F721FD83409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76" creationId="{DC7B39B4-6883-43E3-9131-411630C9A092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77" creationId="{4A69330F-8915-4BF0-BEF4-0906E0F9C36E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79" creationId="{926410C2-A1F6-421F-BC6B-E17012BC18FC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80" creationId="{150C7DCA-409D-44AB-BB13-9BC117A84468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81" creationId="{41C7D8BC-B160-452B-A653-FE8C817C0DE5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83" creationId="{092273F5-8613-4F3F-B694-87D17D60CA3A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84" creationId="{E0D6334A-71C5-4811-B3B9-4A3926681EE1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85" creationId="{8691ED70-943C-4072-BAEC-A95B12AAFE00}"/>
          </ac:spMkLst>
        </pc:spChg>
        <pc:spChg chg="del">
          <ac:chgData name="Sarah GAUVARD" userId="4c03e191-e154-482a-88b2-11de19eac96c" providerId="ADAL" clId="{8245CC27-65FB-483E-B8E7-D04039DBA80D}" dt="2021-05-24T13:39:07.549" v="3586" actId="478"/>
          <ac:spMkLst>
            <pc:docMk/>
            <pc:sldMk cId="246696543" sldId="10470"/>
            <ac:spMk id="86" creationId="{A5AD27C0-28D3-4738-ABE1-0351F024FA02}"/>
          </ac:spMkLst>
        </pc:spChg>
        <pc:spChg chg="del">
          <ac:chgData name="Sarah GAUVARD" userId="4c03e191-e154-482a-88b2-11de19eac96c" providerId="ADAL" clId="{8245CC27-65FB-483E-B8E7-D04039DBA80D}" dt="2021-05-24T13:39:11.555" v="3590" actId="478"/>
          <ac:spMkLst>
            <pc:docMk/>
            <pc:sldMk cId="246696543" sldId="10470"/>
            <ac:spMk id="87" creationId="{0570961D-6DAC-4F45-A047-B8D47387CD35}"/>
          </ac:spMkLst>
        </pc:spChg>
        <pc:spChg chg="del">
          <ac:chgData name="Sarah GAUVARD" userId="4c03e191-e154-482a-88b2-11de19eac96c" providerId="ADAL" clId="{8245CC27-65FB-483E-B8E7-D04039DBA80D}" dt="2021-05-24T13:39:07.549" v="3586" actId="478"/>
          <ac:spMkLst>
            <pc:docMk/>
            <pc:sldMk cId="246696543" sldId="10470"/>
            <ac:spMk id="88" creationId="{2453AC8F-0970-4DB3-8C9C-7F8046A9003D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98" creationId="{6337AF24-4179-4310-9455-DAE4CFDCDABB}"/>
          </ac:spMkLst>
        </pc:spChg>
        <pc:spChg chg="del mod">
          <ac:chgData name="Sarah GAUVARD" userId="4c03e191-e154-482a-88b2-11de19eac96c" providerId="ADAL" clId="{8245CC27-65FB-483E-B8E7-D04039DBA80D}" dt="2021-05-24T13:49:37.928" v="4026" actId="478"/>
          <ac:spMkLst>
            <pc:docMk/>
            <pc:sldMk cId="246696543" sldId="10470"/>
            <ac:spMk id="103" creationId="{AB5B624F-B8DE-4B24-A57D-3CABAC015EF4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104" creationId="{306E4210-9494-45F0-BCA5-5DE31A995A05}"/>
          </ac:spMkLst>
        </pc:spChg>
        <pc:spChg chg="mod">
          <ac:chgData name="Sarah GAUVARD" userId="4c03e191-e154-482a-88b2-11de19eac96c" providerId="ADAL" clId="{8245CC27-65FB-483E-B8E7-D04039DBA80D}" dt="2021-05-24T13:45:25.831" v="3866" actId="1076"/>
          <ac:spMkLst>
            <pc:docMk/>
            <pc:sldMk cId="246696543" sldId="10470"/>
            <ac:spMk id="105" creationId="{BC8E7AD7-ACE7-4907-9606-689CA2783FBF}"/>
          </ac:spMkLst>
        </pc:spChg>
        <pc:spChg chg="mod">
          <ac:chgData name="Sarah GAUVARD" userId="4c03e191-e154-482a-88b2-11de19eac96c" providerId="ADAL" clId="{8245CC27-65FB-483E-B8E7-D04039DBA80D}" dt="2021-05-24T15:31:08.351" v="5929" actId="404"/>
          <ac:spMkLst>
            <pc:docMk/>
            <pc:sldMk cId="246696543" sldId="10470"/>
            <ac:spMk id="106" creationId="{D2ED2DB6-16B9-47C7-861D-66CE6ABD6994}"/>
          </ac:spMkLst>
        </pc:spChg>
        <pc:spChg chg="mod">
          <ac:chgData name="Sarah GAUVARD" userId="4c03e191-e154-482a-88b2-11de19eac96c" providerId="ADAL" clId="{8245CC27-65FB-483E-B8E7-D04039DBA80D}" dt="2021-05-24T15:31:08.351" v="5929" actId="404"/>
          <ac:spMkLst>
            <pc:docMk/>
            <pc:sldMk cId="246696543" sldId="10470"/>
            <ac:spMk id="107" creationId="{C3FE6728-B471-4469-822F-E6CCF454F4E3}"/>
          </ac:spMkLst>
        </pc:spChg>
        <pc:spChg chg="mod">
          <ac:chgData name="Sarah GAUVARD" userId="4c03e191-e154-482a-88b2-11de19eac96c" providerId="ADAL" clId="{8245CC27-65FB-483E-B8E7-D04039DBA80D}" dt="2021-05-24T13:45:31.952" v="3869" actId="14100"/>
          <ac:spMkLst>
            <pc:docMk/>
            <pc:sldMk cId="246696543" sldId="10470"/>
            <ac:spMk id="108" creationId="{74F08308-F3AF-47D3-926C-68B9BC30C142}"/>
          </ac:spMkLst>
        </pc:spChg>
        <pc:spChg chg="add mod">
          <ac:chgData name="Sarah GAUVARD" userId="4c03e191-e154-482a-88b2-11de19eac96c" providerId="ADAL" clId="{8245CC27-65FB-483E-B8E7-D04039DBA80D}" dt="2021-05-24T16:09:29.029" v="17004" actId="790"/>
          <ac:spMkLst>
            <pc:docMk/>
            <pc:sldMk cId="246696543" sldId="10470"/>
            <ac:spMk id="109" creationId="{900E0DB4-63DE-411E-95D1-CDDE6BD22BEC}"/>
          </ac:spMkLst>
        </pc:spChg>
        <pc:spChg chg="add mod">
          <ac:chgData name="Sarah GAUVARD" userId="4c03e191-e154-482a-88b2-11de19eac96c" providerId="ADAL" clId="{8245CC27-65FB-483E-B8E7-D04039DBA80D}" dt="2021-05-24T16:09:29.029" v="17005" actId="790"/>
          <ac:spMkLst>
            <pc:docMk/>
            <pc:sldMk cId="246696543" sldId="10470"/>
            <ac:spMk id="110" creationId="{FDC6DE17-F845-4ACC-AF9C-2831EC5B38A6}"/>
          </ac:spMkLst>
        </pc:spChg>
        <pc:spChg chg="add mod">
          <ac:chgData name="Sarah GAUVARD" userId="4c03e191-e154-482a-88b2-11de19eac96c" providerId="ADAL" clId="{8245CC27-65FB-483E-B8E7-D04039DBA80D}" dt="2021-05-24T12:40:41.358" v="3272" actId="571"/>
          <ac:spMkLst>
            <pc:docMk/>
            <pc:sldMk cId="246696543" sldId="10470"/>
            <ac:spMk id="111" creationId="{AC4D5A2E-ED6C-41B2-A3CE-88277C6E452A}"/>
          </ac:spMkLst>
        </pc:spChg>
        <pc:spChg chg="add mod">
          <ac:chgData name="Sarah GAUVARD" userId="4c03e191-e154-482a-88b2-11de19eac96c" providerId="ADAL" clId="{8245CC27-65FB-483E-B8E7-D04039DBA80D}" dt="2021-05-24T16:09:29.029" v="17006" actId="790"/>
          <ac:spMkLst>
            <pc:docMk/>
            <pc:sldMk cId="246696543" sldId="10470"/>
            <ac:spMk id="114" creationId="{D24ADC21-3DB4-48FF-9089-1AC595AD08C2}"/>
          </ac:spMkLst>
        </pc:spChg>
        <pc:spChg chg="add mod">
          <ac:chgData name="Sarah GAUVARD" userId="4c03e191-e154-482a-88b2-11de19eac96c" providerId="ADAL" clId="{8245CC27-65FB-483E-B8E7-D04039DBA80D}" dt="2021-05-24T16:09:29.029" v="17007" actId="790"/>
          <ac:spMkLst>
            <pc:docMk/>
            <pc:sldMk cId="246696543" sldId="10470"/>
            <ac:spMk id="115" creationId="{89D31E51-F145-4E23-B085-988A1B42FF11}"/>
          </ac:spMkLst>
        </pc:spChg>
        <pc:spChg chg="add mod">
          <ac:chgData name="Sarah GAUVARD" userId="4c03e191-e154-482a-88b2-11de19eac96c" providerId="ADAL" clId="{8245CC27-65FB-483E-B8E7-D04039DBA80D}" dt="2021-05-24T16:09:29.029" v="17008" actId="790"/>
          <ac:spMkLst>
            <pc:docMk/>
            <pc:sldMk cId="246696543" sldId="10470"/>
            <ac:spMk id="116" creationId="{D12CBC38-01FD-43CD-9717-BA62835105E9}"/>
          </ac:spMkLst>
        </pc:spChg>
        <pc:spChg chg="add mod">
          <ac:chgData name="Sarah GAUVARD" userId="4c03e191-e154-482a-88b2-11de19eac96c" providerId="ADAL" clId="{8245CC27-65FB-483E-B8E7-D04039DBA80D}" dt="2021-05-24T16:09:29.029" v="17009" actId="790"/>
          <ac:spMkLst>
            <pc:docMk/>
            <pc:sldMk cId="246696543" sldId="10470"/>
            <ac:spMk id="125" creationId="{D3B4B401-D104-4A5F-B626-0FAE8929CF61}"/>
          </ac:spMkLst>
        </pc:spChg>
        <pc:graphicFrameChg chg="mod">
          <ac:chgData name="Sarah GAUVARD" userId="4c03e191-e154-482a-88b2-11de19eac96c" providerId="ADAL" clId="{8245CC27-65FB-483E-B8E7-D04039DBA80D}" dt="2021-05-24T16:09:30.021" v="17465"/>
          <ac:graphicFrameMkLst>
            <pc:docMk/>
            <pc:sldMk cId="246696543" sldId="10470"/>
            <ac:graphicFrameMk id="30" creationId="{53E3E7D1-27D2-497A-A4F4-626376A2C07A}"/>
          </ac:graphicFrameMkLst>
        </pc:graphicFrameChg>
        <pc:picChg chg="del mod">
          <ac:chgData name="Sarah GAUVARD" userId="4c03e191-e154-482a-88b2-11de19eac96c" providerId="ADAL" clId="{8245CC27-65FB-483E-B8E7-D04039DBA80D}" dt="2021-05-24T13:39:15.087" v="3591" actId="478"/>
          <ac:picMkLst>
            <pc:docMk/>
            <pc:sldMk cId="246696543" sldId="10470"/>
            <ac:picMk id="4" creationId="{BB8F2A1B-7625-4DDB-8BC7-DFDA467ABCFB}"/>
          </ac:picMkLst>
        </pc:picChg>
        <pc:picChg chg="del mod">
          <ac:chgData name="Sarah GAUVARD" userId="4c03e191-e154-482a-88b2-11de19eac96c" providerId="ADAL" clId="{8245CC27-65FB-483E-B8E7-D04039DBA80D}" dt="2021-05-24T13:39:15.087" v="3591" actId="478"/>
          <ac:picMkLst>
            <pc:docMk/>
            <pc:sldMk cId="246696543" sldId="10470"/>
            <ac:picMk id="10" creationId="{FF40F332-05F9-4B3A-A66B-EAA99C9CFD42}"/>
          </ac:picMkLst>
        </pc:picChg>
        <pc:picChg chg="del mod">
          <ac:chgData name="Sarah GAUVARD" userId="4c03e191-e154-482a-88b2-11de19eac96c" providerId="ADAL" clId="{8245CC27-65FB-483E-B8E7-D04039DBA80D}" dt="2021-05-24T13:39:15.087" v="3591" actId="478"/>
          <ac:picMkLst>
            <pc:docMk/>
            <pc:sldMk cId="246696543" sldId="10470"/>
            <ac:picMk id="14" creationId="{06731845-0F3F-49B4-9C2D-141D6E3DAAE6}"/>
          </ac:picMkLst>
        </pc:picChg>
        <pc:picChg chg="del mod">
          <ac:chgData name="Sarah GAUVARD" userId="4c03e191-e154-482a-88b2-11de19eac96c" providerId="ADAL" clId="{8245CC27-65FB-483E-B8E7-D04039DBA80D}" dt="2021-05-24T13:39:15.087" v="3591" actId="478"/>
          <ac:picMkLst>
            <pc:docMk/>
            <pc:sldMk cId="246696543" sldId="10470"/>
            <ac:picMk id="15" creationId="{FFEB81DA-57CC-480D-AA2C-96C7BC02F35C}"/>
          </ac:picMkLst>
        </pc:picChg>
        <pc:picChg chg="del mod">
          <ac:chgData name="Sarah GAUVARD" userId="4c03e191-e154-482a-88b2-11de19eac96c" providerId="ADAL" clId="{8245CC27-65FB-483E-B8E7-D04039DBA80D}" dt="2021-05-24T13:39:15.087" v="3591" actId="478"/>
          <ac:picMkLst>
            <pc:docMk/>
            <pc:sldMk cId="246696543" sldId="10470"/>
            <ac:picMk id="21" creationId="{F2C0D121-03F1-45C4-B249-F093203A3EAD}"/>
          </ac:picMkLst>
        </pc:picChg>
        <pc:picChg chg="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72" creationId="{B173FDE3-6FDA-47DC-A0D6-1AA485A5D372}"/>
          </ac:picMkLst>
        </pc:picChg>
        <pc:picChg chg="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78" creationId="{990A8E13-0E74-41A7-AB1D-0AD7142580B4}"/>
          </ac:picMkLst>
        </pc:picChg>
        <pc:picChg chg="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82" creationId="{26B811CE-5AF8-4913-A705-BAF0E5E9C3C4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89" creationId="{FEC36054-3938-4694-8333-5EA3E4DDD384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0" creationId="{26B8F488-FCF8-4793-9BF4-8FA7559913A0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1" creationId="{B42CB8EE-47CD-41D7-9935-6F792ADC6A41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2" creationId="{DFDBCFB0-0025-41CE-AC18-567547096341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3" creationId="{9766815D-24B5-48BF-BEF3-A3FFF8BB027B}"/>
          </ac:picMkLst>
        </pc:picChg>
        <pc:picChg chg="del">
          <ac:chgData name="Sarah GAUVARD" userId="4c03e191-e154-482a-88b2-11de19eac96c" providerId="ADAL" clId="{8245CC27-65FB-483E-B8E7-D04039DBA80D}" dt="2021-05-24T13:39:10.680" v="3589" actId="478"/>
          <ac:picMkLst>
            <pc:docMk/>
            <pc:sldMk cId="246696543" sldId="10470"/>
            <ac:picMk id="94" creationId="{B89D4555-DD0D-4998-AF55-FD1B04EFFE27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5" creationId="{93939CF9-9523-4EF6-A5C8-D3646C19BBB5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6" creationId="{1FFD2350-5EAB-43B4-8992-62E377FFF4BF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7" creationId="{FD6E6190-C27C-4317-A700-3617F2799D6E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99" creationId="{63C6ECA0-8F8E-4EBE-941A-DFDD469CE6F0}"/>
          </ac:picMkLst>
        </pc:picChg>
        <pc:picChg chg="del">
          <ac:chgData name="Sarah GAUVARD" userId="4c03e191-e154-482a-88b2-11de19eac96c" providerId="ADAL" clId="{8245CC27-65FB-483E-B8E7-D04039DBA80D}" dt="2021-05-24T13:39:07.549" v="3586" actId="478"/>
          <ac:picMkLst>
            <pc:docMk/>
            <pc:sldMk cId="246696543" sldId="10470"/>
            <ac:picMk id="100" creationId="{2B8E325D-205A-4FF1-AD0F-6598D61FB63A}"/>
          </ac:picMkLst>
        </pc:picChg>
        <pc:picChg chg="del">
          <ac:chgData name="Sarah GAUVARD" userId="4c03e191-e154-482a-88b2-11de19eac96c" providerId="ADAL" clId="{8245CC27-65FB-483E-B8E7-D04039DBA80D}" dt="2021-05-24T13:39:09.690" v="3588" actId="478"/>
          <ac:picMkLst>
            <pc:docMk/>
            <pc:sldMk cId="246696543" sldId="10470"/>
            <ac:picMk id="101" creationId="{BB0206F2-ED8F-40D2-AF09-597BCBFCC870}"/>
          </ac:picMkLst>
        </pc:picChg>
        <pc:picChg chg="del">
          <ac:chgData name="Sarah GAUVARD" userId="4c03e191-e154-482a-88b2-11de19eac96c" providerId="ADAL" clId="{8245CC27-65FB-483E-B8E7-D04039DBA80D}" dt="2021-05-24T13:39:09.256" v="3587" actId="478"/>
          <ac:picMkLst>
            <pc:docMk/>
            <pc:sldMk cId="246696543" sldId="10470"/>
            <ac:picMk id="102" creationId="{D520AF57-0940-45B9-8E70-C73F3F4616C3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12" creationId="{EF45491D-E70D-4253-8234-91BF8DAF915F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13" creationId="{73118AAD-7E14-4D14-BB77-8BF6EE5D342F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17" creationId="{14442800-F24C-4AFE-8DB2-CA1C0CF77684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18" creationId="{D57E250A-DA4E-4FE8-9A82-D00FCA40A3D0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19" creationId="{86C2E85D-0FDD-42B5-A523-5E1C1B4C97B9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20" creationId="{B312B44F-2A27-4CFB-A32F-B2C89179C55F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21" creationId="{7080EC16-06B3-4417-93D7-886B6D5389F6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22" creationId="{24854062-E0F7-4C10-9134-D913058DB86B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23" creationId="{CD848CE1-1A11-447A-BC3B-C0BAED2EABB8}"/>
          </ac:picMkLst>
        </pc:picChg>
        <pc:picChg chg="add mod">
          <ac:chgData name="Sarah GAUVARD" userId="4c03e191-e154-482a-88b2-11de19eac96c" providerId="ADAL" clId="{8245CC27-65FB-483E-B8E7-D04039DBA80D}" dt="2021-05-24T13:45:25.831" v="3866" actId="1076"/>
          <ac:picMkLst>
            <pc:docMk/>
            <pc:sldMk cId="246696543" sldId="10470"/>
            <ac:picMk id="124" creationId="{0C883E3A-2C79-46C4-8632-4C55C5CA6B0E}"/>
          </ac:picMkLst>
        </pc:picChg>
        <pc:picChg chg="add mod">
          <ac:chgData name="Sarah GAUVARD" userId="4c03e191-e154-482a-88b2-11de19eac96c" providerId="ADAL" clId="{8245CC27-65FB-483E-B8E7-D04039DBA80D}" dt="2021-05-24T13:49:52.104" v="4028"/>
          <ac:picMkLst>
            <pc:docMk/>
            <pc:sldMk cId="246696543" sldId="10470"/>
            <ac:picMk id="126" creationId="{B5704220-A864-4D76-BE66-E5F4E16EE97D}"/>
          </ac:picMkLst>
        </pc:picChg>
      </pc:sldChg>
      <pc:sldChg chg="addSp delSp modSp mod">
        <pc:chgData name="Sarah GAUVARD" userId="4c03e191-e154-482a-88b2-11de19eac96c" providerId="ADAL" clId="{8245CC27-65FB-483E-B8E7-D04039DBA80D}" dt="2021-05-25T07:45:51.728" v="17607" actId="20577"/>
        <pc:sldMkLst>
          <pc:docMk/>
          <pc:sldMk cId="3771311343" sldId="10471"/>
        </pc:sldMkLst>
        <pc:spChg chg="mod">
          <ac:chgData name="Sarah GAUVARD" userId="4c03e191-e154-482a-88b2-11de19eac96c" providerId="ADAL" clId="{8245CC27-65FB-483E-B8E7-D04039DBA80D}" dt="2021-05-24T15:34:45.600" v="11544" actId="948"/>
          <ac:spMkLst>
            <pc:docMk/>
            <pc:sldMk cId="3771311343" sldId="10471"/>
            <ac:spMk id="2" creationId="{14A63442-DA54-42D4-87F0-BDCB096140AA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3" creationId="{BF7EC08C-D333-4AEB-BF4D-1846F2A4EA5F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4" creationId="{F56E6202-8C73-436F-ABC3-79B9E1D041C9}"/>
          </ac:spMkLst>
        </pc:spChg>
        <pc:spChg chg="mod">
          <ac:chgData name="Sarah GAUVARD" userId="4c03e191-e154-482a-88b2-11de19eac96c" providerId="ADAL" clId="{8245CC27-65FB-483E-B8E7-D04039DBA80D}" dt="2021-05-24T16:09:28.999" v="16988" actId="790"/>
          <ac:spMkLst>
            <pc:docMk/>
            <pc:sldMk cId="3771311343" sldId="10471"/>
            <ac:spMk id="5" creationId="{C8A4A222-42CB-4AE9-9CCE-1E65EEBAD3E3}"/>
          </ac:spMkLst>
        </pc:spChg>
        <pc:spChg chg="mod">
          <ac:chgData name="Sarah GAUVARD" userId="4c03e191-e154-482a-88b2-11de19eac96c" providerId="ADAL" clId="{8245CC27-65FB-483E-B8E7-D04039DBA80D}" dt="2021-05-24T16:09:28.989" v="16977" actId="790"/>
          <ac:spMkLst>
            <pc:docMk/>
            <pc:sldMk cId="3771311343" sldId="10471"/>
            <ac:spMk id="7" creationId="{89660A66-5421-4DE8-A82F-E1A343298E85}"/>
          </ac:spMkLst>
        </pc:spChg>
        <pc:spChg chg="add del mod modVis">
          <ac:chgData name="Sarah GAUVARD" userId="4c03e191-e154-482a-88b2-11de19eac96c" providerId="ADAL" clId="{8245CC27-65FB-483E-B8E7-D04039DBA80D}" dt="2021-05-24T15:34:46.601" v="12124"/>
          <ac:spMkLst>
            <pc:docMk/>
            <pc:sldMk cId="3771311343" sldId="10471"/>
            <ac:spMk id="26" creationId="{CEDD893D-0A30-4F42-9D4D-3F717B53CF91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31" creationId="{6833583F-9417-4D83-8D65-EB5BC3514609}"/>
          </ac:spMkLst>
        </pc:spChg>
        <pc:spChg chg="mod">
          <ac:chgData name="Sarah GAUVARD" userId="4c03e191-e154-482a-88b2-11de19eac96c" providerId="ADAL" clId="{8245CC27-65FB-483E-B8E7-D04039DBA80D}" dt="2021-05-24T16:09:28.949" v="16925" actId="790"/>
          <ac:spMkLst>
            <pc:docMk/>
            <pc:sldMk cId="3771311343" sldId="10471"/>
            <ac:spMk id="35" creationId="{493BB09C-FA45-4A0B-AA09-A4CAEE243AD5}"/>
          </ac:spMkLst>
        </pc:spChg>
        <pc:spChg chg="mod">
          <ac:chgData name="Sarah GAUVARD" userId="4c03e191-e154-482a-88b2-11de19eac96c" providerId="ADAL" clId="{8245CC27-65FB-483E-B8E7-D04039DBA80D}" dt="2021-05-24T16:09:28.949" v="16926" actId="790"/>
          <ac:spMkLst>
            <pc:docMk/>
            <pc:sldMk cId="3771311343" sldId="10471"/>
            <ac:spMk id="36" creationId="{82BB232E-7B26-4AB7-A3CB-DB98A135B993}"/>
          </ac:spMkLst>
        </pc:spChg>
        <pc:spChg chg="mod">
          <ac:chgData name="Sarah GAUVARD" userId="4c03e191-e154-482a-88b2-11de19eac96c" providerId="ADAL" clId="{8245CC27-65FB-483E-B8E7-D04039DBA80D}" dt="2021-05-24T16:09:28.949" v="16927" actId="790"/>
          <ac:spMkLst>
            <pc:docMk/>
            <pc:sldMk cId="3771311343" sldId="10471"/>
            <ac:spMk id="37" creationId="{0A8E0738-A8AF-4249-931D-47A14D3A91FD}"/>
          </ac:spMkLst>
        </pc:spChg>
        <pc:spChg chg="mod">
          <ac:chgData name="Sarah GAUVARD" userId="4c03e191-e154-482a-88b2-11de19eac96c" providerId="ADAL" clId="{8245CC27-65FB-483E-B8E7-D04039DBA80D}" dt="2021-05-24T16:09:28.949" v="16928" actId="790"/>
          <ac:spMkLst>
            <pc:docMk/>
            <pc:sldMk cId="3771311343" sldId="10471"/>
            <ac:spMk id="38" creationId="{4CDFF166-E028-475A-AD25-5778BC8A48AD}"/>
          </ac:spMkLst>
        </pc:spChg>
        <pc:spChg chg="mod">
          <ac:chgData name="Sarah GAUVARD" userId="4c03e191-e154-482a-88b2-11de19eac96c" providerId="ADAL" clId="{8245CC27-65FB-483E-B8E7-D04039DBA80D}" dt="2021-05-24T16:09:28.949" v="16929" actId="790"/>
          <ac:spMkLst>
            <pc:docMk/>
            <pc:sldMk cId="3771311343" sldId="10471"/>
            <ac:spMk id="39" creationId="{11051FB9-3465-42B5-8D5F-7222DC80BBD1}"/>
          </ac:spMkLst>
        </pc:spChg>
        <pc:spChg chg="mod">
          <ac:chgData name="Sarah GAUVARD" userId="4c03e191-e154-482a-88b2-11de19eac96c" providerId="ADAL" clId="{8245CC27-65FB-483E-B8E7-D04039DBA80D}" dt="2021-05-24T16:09:28.949" v="16930" actId="790"/>
          <ac:spMkLst>
            <pc:docMk/>
            <pc:sldMk cId="3771311343" sldId="10471"/>
            <ac:spMk id="40" creationId="{85C2A5DC-8C64-4584-B35B-F94DDFB84C96}"/>
          </ac:spMkLst>
        </pc:spChg>
        <pc:spChg chg="mod">
          <ac:chgData name="Sarah GAUVARD" userId="4c03e191-e154-482a-88b2-11de19eac96c" providerId="ADAL" clId="{8245CC27-65FB-483E-B8E7-D04039DBA80D}" dt="2021-05-24T16:09:28.949" v="16931" actId="790"/>
          <ac:spMkLst>
            <pc:docMk/>
            <pc:sldMk cId="3771311343" sldId="10471"/>
            <ac:spMk id="41" creationId="{09DBE724-EE52-4B0F-A5AF-95D28BC90FAF}"/>
          </ac:spMkLst>
        </pc:spChg>
        <pc:spChg chg="mod">
          <ac:chgData name="Sarah GAUVARD" userId="4c03e191-e154-482a-88b2-11de19eac96c" providerId="ADAL" clId="{8245CC27-65FB-483E-B8E7-D04039DBA80D}" dt="2021-05-24T16:09:28.949" v="16932" actId="790"/>
          <ac:spMkLst>
            <pc:docMk/>
            <pc:sldMk cId="3771311343" sldId="10471"/>
            <ac:spMk id="42" creationId="{73115DBD-DBEB-484B-B0DA-E3BAE64BC68C}"/>
          </ac:spMkLst>
        </pc:spChg>
        <pc:spChg chg="mod">
          <ac:chgData name="Sarah GAUVARD" userId="4c03e191-e154-482a-88b2-11de19eac96c" providerId="ADAL" clId="{8245CC27-65FB-483E-B8E7-D04039DBA80D}" dt="2021-05-24T16:09:28.949" v="16933" actId="790"/>
          <ac:spMkLst>
            <pc:docMk/>
            <pc:sldMk cId="3771311343" sldId="10471"/>
            <ac:spMk id="43" creationId="{23DA9231-68E2-44FA-AFE3-79BB76D9E58E}"/>
          </ac:spMkLst>
        </pc:spChg>
        <pc:spChg chg="mod">
          <ac:chgData name="Sarah GAUVARD" userId="4c03e191-e154-482a-88b2-11de19eac96c" providerId="ADAL" clId="{8245CC27-65FB-483E-B8E7-D04039DBA80D}" dt="2021-05-24T16:09:28.949" v="16934" actId="790"/>
          <ac:spMkLst>
            <pc:docMk/>
            <pc:sldMk cId="3771311343" sldId="10471"/>
            <ac:spMk id="44" creationId="{8FA4736D-A144-4C84-9A93-62623A4348D6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61" creationId="{429B4092-7068-4B9D-A454-B1CB8E51857A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62" creationId="{C3BC7508-A876-408E-9AA5-D060235200CF}"/>
          </ac:spMkLst>
        </pc:spChg>
        <pc:spChg chg="mod">
          <ac:chgData name="Sarah GAUVARD" userId="4c03e191-e154-482a-88b2-11de19eac96c" providerId="ADAL" clId="{8245CC27-65FB-483E-B8E7-D04039DBA80D}" dt="2021-05-25T07:44:07.546" v="17574" actId="20577"/>
          <ac:spMkLst>
            <pc:docMk/>
            <pc:sldMk cId="3771311343" sldId="10471"/>
            <ac:spMk id="63" creationId="{154F5C8D-107C-461F-8E2E-5C0572ACEA23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65" creationId="{DAEC1D80-2DE8-42A1-B27A-ED68DD00D80A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66" creationId="{549CB0F9-0921-4F83-8BE1-33B1376C70AD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68" creationId="{BC6C384D-6D48-4F72-9CCC-A3090247DEF3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69" creationId="{3D97D249-03E2-45B9-9843-9C134F3CD172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70" creationId="{ED1757FD-82F7-4472-914B-403DC08243D6}"/>
          </ac:spMkLst>
        </pc:spChg>
        <pc:spChg chg="mod">
          <ac:chgData name="Sarah GAUVARD" userId="4c03e191-e154-482a-88b2-11de19eac96c" providerId="ADAL" clId="{8245CC27-65FB-483E-B8E7-D04039DBA80D}" dt="2021-05-25T07:45:29.280" v="17592" actId="20577"/>
          <ac:spMkLst>
            <pc:docMk/>
            <pc:sldMk cId="3771311343" sldId="10471"/>
            <ac:spMk id="71" creationId="{97222C63-D3F5-4F71-B21E-5ADF2F49728A}"/>
          </ac:spMkLst>
        </pc:spChg>
        <pc:spChg chg="mod">
          <ac:chgData name="Sarah GAUVARD" userId="4c03e191-e154-482a-88b2-11de19eac96c" providerId="ADAL" clId="{8245CC27-65FB-483E-B8E7-D04039DBA80D}" dt="2021-05-25T07:33:29.999" v="17569" actId="404"/>
          <ac:spMkLst>
            <pc:docMk/>
            <pc:sldMk cId="3771311343" sldId="10471"/>
            <ac:spMk id="74" creationId="{07A4452F-EC98-4B4B-AF01-D6E89D1240D3}"/>
          </ac:spMkLst>
        </pc:spChg>
        <pc:spChg chg="mod">
          <ac:chgData name="Sarah GAUVARD" userId="4c03e191-e154-482a-88b2-11de19eac96c" providerId="ADAL" clId="{8245CC27-65FB-483E-B8E7-D04039DBA80D}" dt="2021-05-24T15:34:40.326" v="8629" actId="790"/>
          <ac:spMkLst>
            <pc:docMk/>
            <pc:sldMk cId="3771311343" sldId="10471"/>
            <ac:spMk id="75" creationId="{57FC6978-2605-4AF6-BAA6-DB007EC0B10A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82" creationId="{F4E4B764-4651-4F52-BF5F-76CA304A2CB1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83" creationId="{D51A1D5E-455C-4169-8151-BC965C55A728}"/>
          </ac:spMkLst>
        </pc:spChg>
        <pc:spChg chg="mod">
          <ac:chgData name="Sarah GAUVARD" userId="4c03e191-e154-482a-88b2-11de19eac96c" providerId="ADAL" clId="{8245CC27-65FB-483E-B8E7-D04039DBA80D}" dt="2021-05-25T07:34:09.519" v="17573" actId="255"/>
          <ac:spMkLst>
            <pc:docMk/>
            <pc:sldMk cId="3771311343" sldId="10471"/>
            <ac:spMk id="85" creationId="{D05E3B6F-2AF2-44E5-9A62-A145B4EF039C}"/>
          </ac:spMkLst>
        </pc:spChg>
        <pc:spChg chg="mod">
          <ac:chgData name="Sarah GAUVARD" userId="4c03e191-e154-482a-88b2-11de19eac96c" providerId="ADAL" clId="{8245CC27-65FB-483E-B8E7-D04039DBA80D}" dt="2021-05-25T07:34:09.519" v="17573" actId="255"/>
          <ac:spMkLst>
            <pc:docMk/>
            <pc:sldMk cId="3771311343" sldId="10471"/>
            <ac:spMk id="86" creationId="{70006939-4845-44E0-8FFF-B0057E2B3972}"/>
          </ac:spMkLst>
        </pc:spChg>
        <pc:spChg chg="mod">
          <ac:chgData name="Sarah GAUVARD" userId="4c03e191-e154-482a-88b2-11de19eac96c" providerId="ADAL" clId="{8245CC27-65FB-483E-B8E7-D04039DBA80D}" dt="2021-05-25T07:34:09.519" v="17573" actId="255"/>
          <ac:spMkLst>
            <pc:docMk/>
            <pc:sldMk cId="3771311343" sldId="10471"/>
            <ac:spMk id="87" creationId="{470D8735-5753-40CE-B606-8B4E451A1A36}"/>
          </ac:spMkLst>
        </pc:spChg>
        <pc:spChg chg="mod">
          <ac:chgData name="Sarah GAUVARD" userId="4c03e191-e154-482a-88b2-11de19eac96c" providerId="ADAL" clId="{8245CC27-65FB-483E-B8E7-D04039DBA80D}" dt="2021-05-25T07:34:09.519" v="17573" actId="255"/>
          <ac:spMkLst>
            <pc:docMk/>
            <pc:sldMk cId="3771311343" sldId="10471"/>
            <ac:spMk id="88" creationId="{413CE789-E0ED-4212-82D0-2EAD3CD13AD7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89" creationId="{28AF8B66-2A65-4362-87E5-B0E235F35B9D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90" creationId="{41881290-9A30-4E7A-9BC1-876CB1F8A385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91" creationId="{B12DC479-034F-454F-AAA8-8EF5CFD02807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92" creationId="{76A58873-F028-44AD-B036-6014AFE98DAC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93" creationId="{3B9743A1-5ED2-4F4C-BB6D-275074013264}"/>
          </ac:spMkLst>
        </pc:spChg>
        <pc:spChg chg="mod">
          <ac:chgData name="Sarah GAUVARD" userId="4c03e191-e154-482a-88b2-11de19eac96c" providerId="ADAL" clId="{8245CC27-65FB-483E-B8E7-D04039DBA80D}" dt="2021-05-24T16:09:29.009" v="17003" actId="790"/>
          <ac:spMkLst>
            <pc:docMk/>
            <pc:sldMk cId="3771311343" sldId="10471"/>
            <ac:spMk id="94" creationId="{97DE17B6-9FE7-4223-89B2-30E2BE4EF922}"/>
          </ac:spMkLst>
        </pc:spChg>
        <pc:spChg chg="mod">
          <ac:chgData name="Sarah GAUVARD" userId="4c03e191-e154-482a-88b2-11de19eac96c" providerId="ADAL" clId="{8245CC27-65FB-483E-B8E7-D04039DBA80D}" dt="2021-05-25T07:45:37.684" v="17596" actId="20577"/>
          <ac:spMkLst>
            <pc:docMk/>
            <pc:sldMk cId="3771311343" sldId="10471"/>
            <ac:spMk id="96" creationId="{D2C43358-406F-4E70-BACB-F67E0A6CC3F2}"/>
          </ac:spMkLst>
        </pc:spChg>
        <pc:spChg chg="add mod">
          <ac:chgData name="Sarah GAUVARD" userId="4c03e191-e154-482a-88b2-11de19eac96c" providerId="ADAL" clId="{8245CC27-65FB-483E-B8E7-D04039DBA80D}" dt="2021-05-25T07:30:15.177" v="17507"/>
          <ac:spMkLst>
            <pc:docMk/>
            <pc:sldMk cId="3771311343" sldId="10471"/>
            <ac:spMk id="97" creationId="{E3203FCA-9AD2-4A9C-BEC4-FD7951EE5137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01" creationId="{DFEE41A0-0ABE-4979-86BF-6CBC2EF8B814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02" creationId="{25D9139B-5EFF-4CE0-B69B-AAFD2CC83680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03" creationId="{051E8E28-1C73-41A4-954F-28FCC69F8B3D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04" creationId="{BB921A20-15A9-4775-AA42-653C9967308F}"/>
          </ac:spMkLst>
        </pc:spChg>
        <pc:spChg chg="mod">
          <ac:chgData name="Sarah GAUVARD" userId="4c03e191-e154-482a-88b2-11de19eac96c" providerId="ADAL" clId="{8245CC27-65FB-483E-B8E7-D04039DBA80D}" dt="2021-05-25T07:44:15.647" v="17581" actId="20577"/>
          <ac:spMkLst>
            <pc:docMk/>
            <pc:sldMk cId="3771311343" sldId="10471"/>
            <ac:spMk id="105" creationId="{0B19B62A-017B-4A18-ACD3-C52265D63A61}"/>
          </ac:spMkLst>
        </pc:spChg>
        <pc:spChg chg="mod">
          <ac:chgData name="Sarah GAUVARD" userId="4c03e191-e154-482a-88b2-11de19eac96c" providerId="ADAL" clId="{8245CC27-65FB-483E-B8E7-D04039DBA80D}" dt="2021-05-25T07:45:51.728" v="17607" actId="20577"/>
          <ac:spMkLst>
            <pc:docMk/>
            <pc:sldMk cId="3771311343" sldId="10471"/>
            <ac:spMk id="108" creationId="{5E56E817-AA0F-401E-9C9B-444BDB6B1C9C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0" creationId="{A67ACEC3-8B8F-41CF-AA05-D23034EAEB75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1" creationId="{5C027790-24EA-487D-9B0D-C10E82E897F7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2" creationId="{9A8D8EC5-6AF6-4041-8DFB-9583B8307259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3" creationId="{44652165-FC6B-4F97-AC0D-133BB7D1BAD2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4" creationId="{E20A28FF-CC3B-46E1-8EAA-A16BF3535DFD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5" creationId="{B79490B9-35E9-4A2B-9078-72C34907B6FE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6" creationId="{456E1467-5C50-4A06-9522-0AD12C48A016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7" creationId="{F380ABA6-5B66-49D3-81BB-ACD662A765E6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8" creationId="{B9380990-3943-4657-BAAF-0D744F9FD78D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19" creationId="{9B267A34-A156-4106-9533-D8215EE2663E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20" creationId="{CB01490A-3973-40DC-AEB1-2D6EA6E1A0A4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21" creationId="{C2D7FB70-A462-48A0-89B9-CB4E2533177E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22" creationId="{C36B3BB3-0A10-4D0E-A0BA-E1DE98A30CB6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26" creationId="{6A4E3728-6F76-4F5C-AD55-F21D91F17917}"/>
          </ac:spMkLst>
        </pc:spChg>
        <pc:spChg chg="mod">
          <ac:chgData name="Sarah GAUVARD" userId="4c03e191-e154-482a-88b2-11de19eac96c" providerId="ADAL" clId="{8245CC27-65FB-483E-B8E7-D04039DBA80D}" dt="2021-05-25T07:33:02.564" v="17567" actId="255"/>
          <ac:spMkLst>
            <pc:docMk/>
            <pc:sldMk cId="3771311343" sldId="10471"/>
            <ac:spMk id="127" creationId="{EFED5C9C-72CB-4E63-A6AD-2C07271EAE9B}"/>
          </ac:spMkLst>
        </pc:spChg>
        <pc:spChg chg="mod">
          <ac:chgData name="Sarah GAUVARD" userId="4c03e191-e154-482a-88b2-11de19eac96c" providerId="ADAL" clId="{8245CC27-65FB-483E-B8E7-D04039DBA80D}" dt="2021-05-25T07:33:02.564" v="17567" actId="255"/>
          <ac:spMkLst>
            <pc:docMk/>
            <pc:sldMk cId="3771311343" sldId="10471"/>
            <ac:spMk id="128" creationId="{000C42A2-058A-4BC7-8070-8DB64E2E0DF1}"/>
          </ac:spMkLst>
        </pc:spChg>
        <pc:spChg chg="mod">
          <ac:chgData name="Sarah GAUVARD" userId="4c03e191-e154-482a-88b2-11de19eac96c" providerId="ADAL" clId="{8245CC27-65FB-483E-B8E7-D04039DBA80D}" dt="2021-05-25T07:33:02.564" v="17567" actId="255"/>
          <ac:spMkLst>
            <pc:docMk/>
            <pc:sldMk cId="3771311343" sldId="10471"/>
            <ac:spMk id="129" creationId="{704628AA-B675-421B-B2CD-4D9F22E8AF2A}"/>
          </ac:spMkLst>
        </pc:spChg>
        <pc:spChg chg="mod">
          <ac:chgData name="Sarah GAUVARD" userId="4c03e191-e154-482a-88b2-11de19eac96c" providerId="ADAL" clId="{8245CC27-65FB-483E-B8E7-D04039DBA80D}" dt="2021-05-24T16:09:28.989" v="16976" actId="790"/>
          <ac:spMkLst>
            <pc:docMk/>
            <pc:sldMk cId="3771311343" sldId="10471"/>
            <ac:spMk id="130" creationId="{8EC55234-29CE-40E6-8E6D-5C76C8A3D812}"/>
          </ac:spMkLst>
        </pc:spChg>
        <pc:spChg chg="mod">
          <ac:chgData name="Sarah GAUVARD" userId="4c03e191-e154-482a-88b2-11de19eac96c" providerId="ADAL" clId="{8245CC27-65FB-483E-B8E7-D04039DBA80D}" dt="2021-05-24T16:09:28.989" v="16980" actId="790"/>
          <ac:spMkLst>
            <pc:docMk/>
            <pc:sldMk cId="3771311343" sldId="10471"/>
            <ac:spMk id="131" creationId="{E92B0E66-09CA-4148-9FF3-26C30D1439DA}"/>
          </ac:spMkLst>
        </pc:spChg>
        <pc:spChg chg="mod">
          <ac:chgData name="Sarah GAUVARD" userId="4c03e191-e154-482a-88b2-11de19eac96c" providerId="ADAL" clId="{8245CC27-65FB-483E-B8E7-D04039DBA80D}" dt="2021-05-24T16:09:28.989" v="16978" actId="790"/>
          <ac:spMkLst>
            <pc:docMk/>
            <pc:sldMk cId="3771311343" sldId="10471"/>
            <ac:spMk id="132" creationId="{0083CCC6-F42B-4EAF-B9BA-BBC3E950AE97}"/>
          </ac:spMkLst>
        </pc:spChg>
        <pc:spChg chg="mod">
          <ac:chgData name="Sarah GAUVARD" userId="4c03e191-e154-482a-88b2-11de19eac96c" providerId="ADAL" clId="{8245CC27-65FB-483E-B8E7-D04039DBA80D}" dt="2021-05-24T16:09:28.989" v="16979" actId="790"/>
          <ac:spMkLst>
            <pc:docMk/>
            <pc:sldMk cId="3771311343" sldId="10471"/>
            <ac:spMk id="133" creationId="{916B3D0F-3F4E-49CE-9220-552D32AE6CCA}"/>
          </ac:spMkLst>
        </pc:spChg>
        <pc:spChg chg="mod">
          <ac:chgData name="Sarah GAUVARD" userId="4c03e191-e154-482a-88b2-11de19eac96c" providerId="ADAL" clId="{8245CC27-65FB-483E-B8E7-D04039DBA80D}" dt="2021-05-24T16:09:28.989" v="16981" actId="790"/>
          <ac:spMkLst>
            <pc:docMk/>
            <pc:sldMk cId="3771311343" sldId="10471"/>
            <ac:spMk id="134" creationId="{0E8FFEA0-725C-4183-B61D-99E0F0909086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35" creationId="{36579EE9-8F47-497C-8CC1-4A19EB98C2FB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40" creationId="{6248663C-319E-444C-8525-B5087AF9CE29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41" creationId="{85F111E8-5870-49AB-B728-7209C09AEC6E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43" creationId="{54B0EB5C-F61A-43AD-A123-55E4C90CB3B3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44" creationId="{EF655E77-DB9D-448E-A6D5-39E94417F17D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46" creationId="{693373D8-8E49-488D-BDCA-F1956724483D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47" creationId="{672B69A2-3519-46C9-96A5-3BBF955EECEF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49" creationId="{315A35B9-D3F4-4C97-B176-4798F54179D7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50" creationId="{5209417A-CD5F-4652-90C2-C3F7635829D9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51" creationId="{D2B036C2-8693-454B-B4F2-18AB2236FD3C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52" creationId="{CE1DAE80-D63E-4412-9269-9A18EAF38626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53" creationId="{D1862418-9E31-4865-A029-3E571F1DE652}"/>
          </ac:spMkLst>
        </pc:spChg>
        <pc:spChg chg="mod">
          <ac:chgData name="Sarah GAUVARD" userId="4c03e191-e154-482a-88b2-11de19eac96c" providerId="ADAL" clId="{8245CC27-65FB-483E-B8E7-D04039DBA80D}" dt="2021-05-25T07:33:55.220" v="17570" actId="404"/>
          <ac:spMkLst>
            <pc:docMk/>
            <pc:sldMk cId="3771311343" sldId="10471"/>
            <ac:spMk id="154" creationId="{B19F0202-21BD-46E5-90DA-AC056F04674D}"/>
          </ac:spMkLst>
        </pc:spChg>
        <pc:graphicFrameChg chg="mod">
          <ac:chgData name="Sarah GAUVARD" userId="4c03e191-e154-482a-88b2-11de19eac96c" providerId="ADAL" clId="{8245CC27-65FB-483E-B8E7-D04039DBA80D}" dt="2021-05-24T15:34:46.606" v="12126"/>
          <ac:graphicFrameMkLst>
            <pc:docMk/>
            <pc:sldMk cId="3771311343" sldId="10471"/>
            <ac:graphicFrameMk id="13" creationId="{D5282E07-8E0F-44F4-BAB3-480BECA549C1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08:59:45.410" v="19053" actId="20577"/>
        <pc:sldMkLst>
          <pc:docMk/>
          <pc:sldMk cId="923224959" sldId="10472"/>
        </pc:sldMkLst>
        <pc:spChg chg="mod">
          <ac:chgData name="Sarah GAUVARD" userId="4c03e191-e154-482a-88b2-11de19eac96c" providerId="ADAL" clId="{8245CC27-65FB-483E-B8E7-D04039DBA80D}" dt="2021-05-24T16:09:26.492" v="14545" actId="790"/>
          <ac:spMkLst>
            <pc:docMk/>
            <pc:sldMk cId="923224959" sldId="10472"/>
            <ac:spMk id="2" creationId="{5D79E977-AA1E-485B-8A01-E93F32111B97}"/>
          </ac:spMkLst>
        </pc:spChg>
        <pc:spChg chg="add del mod modVis">
          <ac:chgData name="Sarah GAUVARD" userId="4c03e191-e154-482a-88b2-11de19eac96c" providerId="ADAL" clId="{8245CC27-65FB-483E-B8E7-D04039DBA80D}" dt="2021-05-24T15:34:46.675" v="12147"/>
          <ac:spMkLst>
            <pc:docMk/>
            <pc:sldMk cId="923224959" sldId="10472"/>
            <ac:spMk id="3" creationId="{54122C40-937C-4E91-B3ED-EEE220704840}"/>
          </ac:spMkLst>
        </pc:spChg>
        <pc:spChg chg="mod">
          <ac:chgData name="Sarah GAUVARD" userId="4c03e191-e154-482a-88b2-11de19eac96c" providerId="ADAL" clId="{8245CC27-65FB-483E-B8E7-D04039DBA80D}" dt="2021-05-24T16:09:26.502" v="14551" actId="790"/>
          <ac:spMkLst>
            <pc:docMk/>
            <pc:sldMk cId="923224959" sldId="10472"/>
            <ac:spMk id="4" creationId="{CF43FFDF-1514-417B-8DD3-055802931621}"/>
          </ac:spMkLst>
        </pc:spChg>
        <pc:spChg chg="mod">
          <ac:chgData name="Sarah GAUVARD" userId="4c03e191-e154-482a-88b2-11de19eac96c" providerId="ADAL" clId="{8245CC27-65FB-483E-B8E7-D04039DBA80D}" dt="2021-05-24T16:09:26.510" v="14552" actId="790"/>
          <ac:spMkLst>
            <pc:docMk/>
            <pc:sldMk cId="923224959" sldId="10472"/>
            <ac:spMk id="6" creationId="{3CBA4C50-DBB5-4C5E-A8E6-B2C4564C2D94}"/>
          </ac:spMkLst>
        </pc:spChg>
        <pc:spChg chg="mod">
          <ac:chgData name="Sarah GAUVARD" userId="4c03e191-e154-482a-88b2-11de19eac96c" providerId="ADAL" clId="{8245CC27-65FB-483E-B8E7-D04039DBA80D}" dt="2021-05-24T16:09:26.510" v="14553" actId="790"/>
          <ac:spMkLst>
            <pc:docMk/>
            <pc:sldMk cId="923224959" sldId="10472"/>
            <ac:spMk id="7" creationId="{43822D74-25F7-4476-8B1E-2346DA56E4D6}"/>
          </ac:spMkLst>
        </pc:spChg>
        <pc:spChg chg="mod">
          <ac:chgData name="Sarah GAUVARD" userId="4c03e191-e154-482a-88b2-11de19eac96c" providerId="ADAL" clId="{8245CC27-65FB-483E-B8E7-D04039DBA80D}" dt="2021-05-24T16:09:26.512" v="14557" actId="790"/>
          <ac:spMkLst>
            <pc:docMk/>
            <pc:sldMk cId="923224959" sldId="10472"/>
            <ac:spMk id="8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510" v="14554" actId="790"/>
          <ac:spMkLst>
            <pc:docMk/>
            <pc:sldMk cId="923224959" sldId="10472"/>
            <ac:spMk id="9" creationId="{02B09B86-63EB-478A-A1B9-73EB0B102213}"/>
          </ac:spMkLst>
        </pc:spChg>
        <pc:spChg chg="mod">
          <ac:chgData name="Sarah GAUVARD" userId="4c03e191-e154-482a-88b2-11de19eac96c" providerId="ADAL" clId="{8245CC27-65FB-483E-B8E7-D04039DBA80D}" dt="2021-05-24T16:09:26.492" v="14546" actId="790"/>
          <ac:spMkLst>
            <pc:docMk/>
            <pc:sldMk cId="923224959" sldId="10472"/>
            <ac:spMk id="10" creationId="{35E020ED-F5CE-43BF-B644-9BAA4063B2A4}"/>
          </ac:spMkLst>
        </pc:spChg>
        <pc:spChg chg="mod">
          <ac:chgData name="Sarah GAUVARD" userId="4c03e191-e154-482a-88b2-11de19eac96c" providerId="ADAL" clId="{8245CC27-65FB-483E-B8E7-D04039DBA80D}" dt="2021-05-24T16:09:26.492" v="14547" actId="790"/>
          <ac:spMkLst>
            <pc:docMk/>
            <pc:sldMk cId="923224959" sldId="10472"/>
            <ac:spMk id="12" creationId="{17ACB834-4B29-46A1-8305-C573136B1B39}"/>
          </ac:spMkLst>
        </pc:spChg>
        <pc:spChg chg="mod">
          <ac:chgData name="Sarah GAUVARD" userId="4c03e191-e154-482a-88b2-11de19eac96c" providerId="ADAL" clId="{8245CC27-65FB-483E-B8E7-D04039DBA80D}" dt="2021-05-24T16:09:26.512" v="14558" actId="790"/>
          <ac:spMkLst>
            <pc:docMk/>
            <pc:sldMk cId="923224959" sldId="10472"/>
            <ac:spMk id="13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492" v="14548" actId="790"/>
          <ac:spMkLst>
            <pc:docMk/>
            <pc:sldMk cId="923224959" sldId="10472"/>
            <ac:spMk id="14" creationId="{1033C433-7522-4EDA-9187-702F506345A0}"/>
          </ac:spMkLst>
        </pc:spChg>
        <pc:spChg chg="mod">
          <ac:chgData name="Sarah GAUVARD" userId="4c03e191-e154-482a-88b2-11de19eac96c" providerId="ADAL" clId="{8245CC27-65FB-483E-B8E7-D04039DBA80D}" dt="2021-05-24T16:09:26.500" v="14549" actId="790"/>
          <ac:spMkLst>
            <pc:docMk/>
            <pc:sldMk cId="923224959" sldId="10472"/>
            <ac:spMk id="15" creationId="{CEFA4725-CB21-4B2C-A186-C70732A4705C}"/>
          </ac:spMkLst>
        </pc:spChg>
        <pc:spChg chg="mod">
          <ac:chgData name="Sarah GAUVARD" userId="4c03e191-e154-482a-88b2-11de19eac96c" providerId="ADAL" clId="{8245CC27-65FB-483E-B8E7-D04039DBA80D}" dt="2021-05-24T16:09:26.500" v="14550" actId="790"/>
          <ac:spMkLst>
            <pc:docMk/>
            <pc:sldMk cId="923224959" sldId="10472"/>
            <ac:spMk id="16" creationId="{6546156D-9B65-4AC1-8D80-88505BD08537}"/>
          </ac:spMkLst>
        </pc:spChg>
        <pc:spChg chg="mod">
          <ac:chgData name="Sarah GAUVARD" userId="4c03e191-e154-482a-88b2-11de19eac96c" providerId="ADAL" clId="{8245CC27-65FB-483E-B8E7-D04039DBA80D}" dt="2021-05-24T16:09:26.490" v="14543" actId="790"/>
          <ac:spMkLst>
            <pc:docMk/>
            <pc:sldMk cId="923224959" sldId="10472"/>
            <ac:spMk id="17" creationId="{93C43DF0-5B80-4873-976E-9DCC9459DEE9}"/>
          </ac:spMkLst>
        </pc:spChg>
        <pc:spChg chg="mod">
          <ac:chgData name="Sarah GAUVARD" userId="4c03e191-e154-482a-88b2-11de19eac96c" providerId="ADAL" clId="{8245CC27-65FB-483E-B8E7-D04039DBA80D}" dt="2021-05-24T16:09:26.492" v="14544" actId="790"/>
          <ac:spMkLst>
            <pc:docMk/>
            <pc:sldMk cId="923224959" sldId="10472"/>
            <ac:spMk id="19" creationId="{34792A96-E177-45FE-8A1C-54080EF644FD}"/>
          </ac:spMkLst>
        </pc:spChg>
        <pc:spChg chg="mod">
          <ac:chgData name="Sarah GAUVARD" userId="4c03e191-e154-482a-88b2-11de19eac96c" providerId="ADAL" clId="{8245CC27-65FB-483E-B8E7-D04039DBA80D}" dt="2021-05-24T16:09:26.512" v="14555" actId="790"/>
          <ac:spMkLst>
            <pc:docMk/>
            <pc:sldMk cId="923224959" sldId="10472"/>
            <ac:spMk id="25" creationId="{5146D732-EFA5-477C-B0A6-85AD09BD0B4D}"/>
          </ac:spMkLst>
        </pc:spChg>
        <pc:spChg chg="mod">
          <ac:chgData name="Sarah GAUVARD" userId="4c03e191-e154-482a-88b2-11de19eac96c" providerId="ADAL" clId="{8245CC27-65FB-483E-B8E7-D04039DBA80D}" dt="2021-05-24T16:09:26.482" v="14542" actId="790"/>
          <ac:spMkLst>
            <pc:docMk/>
            <pc:sldMk cId="923224959" sldId="10472"/>
            <ac:spMk id="26" creationId="{141BDBD6-FC39-484B-80B4-A5A00C8A001E}"/>
          </ac:spMkLst>
        </pc:spChg>
        <pc:spChg chg="mod">
          <ac:chgData name="Sarah GAUVARD" userId="4c03e191-e154-482a-88b2-11de19eac96c" providerId="ADAL" clId="{8245CC27-65FB-483E-B8E7-D04039DBA80D}" dt="2021-05-24T16:09:26.512" v="14559" actId="790"/>
          <ac:spMkLst>
            <pc:docMk/>
            <pc:sldMk cId="923224959" sldId="10472"/>
            <ac:spMk id="27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512" v="14560" actId="790"/>
          <ac:spMkLst>
            <pc:docMk/>
            <pc:sldMk cId="923224959" sldId="10472"/>
            <ac:spMk id="28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512" v="14556" actId="790"/>
          <ac:spMkLst>
            <pc:docMk/>
            <pc:sldMk cId="923224959" sldId="10472"/>
            <ac:spMk id="34" creationId="{504918DD-5AAF-4442-83FD-97BE3D7438E6}"/>
          </ac:spMkLst>
        </pc:spChg>
        <pc:spChg chg="mod">
          <ac:chgData name="Sarah GAUVARD" userId="4c03e191-e154-482a-88b2-11de19eac96c" providerId="ADAL" clId="{8245CC27-65FB-483E-B8E7-D04039DBA80D}" dt="2021-05-24T16:09:26.512" v="14561" actId="790"/>
          <ac:spMkLst>
            <pc:docMk/>
            <pc:sldMk cId="923224959" sldId="10472"/>
            <ac:spMk id="36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520" v="14562" actId="790"/>
          <ac:spMkLst>
            <pc:docMk/>
            <pc:sldMk cId="923224959" sldId="10472"/>
            <ac:spMk id="37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520" v="14563" actId="790"/>
          <ac:spMkLst>
            <pc:docMk/>
            <pc:sldMk cId="923224959" sldId="10472"/>
            <ac:spMk id="38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520" v="14564" actId="790"/>
          <ac:spMkLst>
            <pc:docMk/>
            <pc:sldMk cId="923224959" sldId="10472"/>
            <ac:spMk id="39" creationId="{724BFDF7-9689-4C00-8E86-336E333DE596}"/>
          </ac:spMkLst>
        </pc:spChg>
        <pc:spChg chg="mod">
          <ac:chgData name="Sarah GAUVARD" userId="4c03e191-e154-482a-88b2-11de19eac96c" providerId="ADAL" clId="{8245CC27-65FB-483E-B8E7-D04039DBA80D}" dt="2021-05-24T16:09:26.522" v="14565" actId="790"/>
          <ac:spMkLst>
            <pc:docMk/>
            <pc:sldMk cId="923224959" sldId="10472"/>
            <ac:spMk id="40" creationId="{724BFDF7-9689-4C00-8E86-336E333DE596}"/>
          </ac:spMkLst>
        </pc:spChg>
        <pc:spChg chg="add mod">
          <ac:chgData name="Sarah GAUVARD" userId="4c03e191-e154-482a-88b2-11de19eac96c" providerId="ADAL" clId="{8245CC27-65FB-483E-B8E7-D04039DBA80D}" dt="2021-05-25T08:59:45.410" v="19053" actId="20577"/>
          <ac:spMkLst>
            <pc:docMk/>
            <pc:sldMk cId="923224959" sldId="10472"/>
            <ac:spMk id="42" creationId="{2C60EBBA-A0F7-4759-9F4A-CC4D15F0DBFD}"/>
          </ac:spMkLst>
        </pc:spChg>
        <pc:spChg chg="mod">
          <ac:chgData name="Sarah GAUVARD" userId="4c03e191-e154-482a-88b2-11de19eac96c" providerId="ADAL" clId="{8245CC27-65FB-483E-B8E7-D04039DBA80D}" dt="2021-05-24T16:09:26.522" v="14566" actId="790"/>
          <ac:spMkLst>
            <pc:docMk/>
            <pc:sldMk cId="923224959" sldId="10472"/>
            <ac:spMk id="47" creationId="{9A1AD0E4-A534-4497-962F-4FBC4ED2C72B}"/>
          </ac:spMkLst>
        </pc:spChg>
        <pc:graphicFrameChg chg="mod">
          <ac:chgData name="Sarah GAUVARD" userId="4c03e191-e154-482a-88b2-11de19eac96c" providerId="ADAL" clId="{8245CC27-65FB-483E-B8E7-D04039DBA80D}" dt="2021-05-24T15:34:46.680" v="12149"/>
          <ac:graphicFrameMkLst>
            <pc:docMk/>
            <pc:sldMk cId="923224959" sldId="10472"/>
            <ac:graphicFrameMk id="5" creationId="{6308243E-0BBD-46A4-8D4E-B63D45AD58CB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7.249" v="15260" actId="790"/>
        <pc:sldMkLst>
          <pc:docMk/>
          <pc:sldMk cId="2505788154" sldId="10474"/>
        </pc:sldMkLst>
        <pc:spChg chg="mod">
          <ac:chgData name="Sarah GAUVARD" userId="4c03e191-e154-482a-88b2-11de19eac96c" providerId="ADAL" clId="{8245CC27-65FB-483E-B8E7-D04039DBA80D}" dt="2021-05-24T16:09:27.209" v="15223" actId="790"/>
          <ac:spMkLst>
            <pc:docMk/>
            <pc:sldMk cId="2505788154" sldId="10474"/>
            <ac:spMk id="2" creationId="{BA3E4240-1B8B-4AAA-9DCA-9FE236464846}"/>
          </ac:spMkLst>
        </pc:spChg>
        <pc:spChg chg="mod">
          <ac:chgData name="Sarah GAUVARD" userId="4c03e191-e154-482a-88b2-11de19eac96c" providerId="ADAL" clId="{8245CC27-65FB-483E-B8E7-D04039DBA80D}" dt="2021-05-24T16:09:27.209" v="15224" actId="790"/>
          <ac:spMkLst>
            <pc:docMk/>
            <pc:sldMk cId="2505788154" sldId="10474"/>
            <ac:spMk id="3" creationId="{1773FC09-D385-45A1-AC2E-146DDDE8BD0A}"/>
          </ac:spMkLst>
        </pc:spChg>
        <pc:spChg chg="add del mod modVis">
          <ac:chgData name="Sarah GAUVARD" userId="4c03e191-e154-482a-88b2-11de19eac96c" providerId="ADAL" clId="{8245CC27-65FB-483E-B8E7-D04039DBA80D}" dt="2021-05-24T15:34:46.664" v="12143"/>
          <ac:spMkLst>
            <pc:docMk/>
            <pc:sldMk cId="2505788154" sldId="10474"/>
            <ac:spMk id="4" creationId="{04B34AE6-7396-4FC1-A380-1F483A3D5C04}"/>
          </ac:spMkLst>
        </pc:spChg>
        <pc:spChg chg="mod">
          <ac:chgData name="Sarah GAUVARD" userId="4c03e191-e154-482a-88b2-11de19eac96c" providerId="ADAL" clId="{8245CC27-65FB-483E-B8E7-D04039DBA80D}" dt="2021-05-24T16:09:27.217" v="15225" actId="790"/>
          <ac:spMkLst>
            <pc:docMk/>
            <pc:sldMk cId="2505788154" sldId="10474"/>
            <ac:spMk id="9" creationId="{8EBE87B3-F04E-491F-82E3-AD5C42A920E2}"/>
          </ac:spMkLst>
        </pc:spChg>
        <pc:spChg chg="mod">
          <ac:chgData name="Sarah GAUVARD" userId="4c03e191-e154-482a-88b2-11de19eac96c" providerId="ADAL" clId="{8245CC27-65FB-483E-B8E7-D04039DBA80D}" dt="2021-05-24T16:09:27.217" v="15228" actId="790"/>
          <ac:spMkLst>
            <pc:docMk/>
            <pc:sldMk cId="2505788154" sldId="10474"/>
            <ac:spMk id="10" creationId="{8B80541E-0CB8-4F46-AA31-1D2CE8ECE50F}"/>
          </ac:spMkLst>
        </pc:spChg>
        <pc:spChg chg="mod">
          <ac:chgData name="Sarah GAUVARD" userId="4c03e191-e154-482a-88b2-11de19eac96c" providerId="ADAL" clId="{8245CC27-65FB-483E-B8E7-D04039DBA80D}" dt="2021-05-24T16:09:27.217" v="15226" actId="790"/>
          <ac:spMkLst>
            <pc:docMk/>
            <pc:sldMk cId="2505788154" sldId="10474"/>
            <ac:spMk id="12" creationId="{5632CA9B-96AD-46F9-9A8A-B6E6800443DD}"/>
          </ac:spMkLst>
        </pc:spChg>
        <pc:spChg chg="mod">
          <ac:chgData name="Sarah GAUVARD" userId="4c03e191-e154-482a-88b2-11de19eac96c" providerId="ADAL" clId="{8245CC27-65FB-483E-B8E7-D04039DBA80D}" dt="2021-05-24T16:09:27.217" v="15229" actId="790"/>
          <ac:spMkLst>
            <pc:docMk/>
            <pc:sldMk cId="2505788154" sldId="10474"/>
            <ac:spMk id="54" creationId="{A1ED7959-6972-4CA1-87DE-4A9E265D1EE1}"/>
          </ac:spMkLst>
        </pc:spChg>
        <pc:spChg chg="mod">
          <ac:chgData name="Sarah GAUVARD" userId="4c03e191-e154-482a-88b2-11de19eac96c" providerId="ADAL" clId="{8245CC27-65FB-483E-B8E7-D04039DBA80D}" dt="2021-05-24T16:09:27.217" v="15230" actId="790"/>
          <ac:spMkLst>
            <pc:docMk/>
            <pc:sldMk cId="2505788154" sldId="10474"/>
            <ac:spMk id="61" creationId="{0CCFF1A2-CE09-4311-BD82-2FC01C7F8607}"/>
          </ac:spMkLst>
        </pc:spChg>
        <pc:spChg chg="mod">
          <ac:chgData name="Sarah GAUVARD" userId="4c03e191-e154-482a-88b2-11de19eac96c" providerId="ADAL" clId="{8245CC27-65FB-483E-B8E7-D04039DBA80D}" dt="2021-05-24T16:09:27.217" v="15233" actId="790"/>
          <ac:spMkLst>
            <pc:docMk/>
            <pc:sldMk cId="2505788154" sldId="10474"/>
            <ac:spMk id="65" creationId="{621ABA10-DB52-4BB0-BAFC-8BE5CFD23B9F}"/>
          </ac:spMkLst>
        </pc:spChg>
        <pc:spChg chg="mod">
          <ac:chgData name="Sarah GAUVARD" userId="4c03e191-e154-482a-88b2-11de19eac96c" providerId="ADAL" clId="{8245CC27-65FB-483E-B8E7-D04039DBA80D}" dt="2021-05-24T16:09:27.217" v="15234" actId="790"/>
          <ac:spMkLst>
            <pc:docMk/>
            <pc:sldMk cId="2505788154" sldId="10474"/>
            <ac:spMk id="66" creationId="{A3EC114C-5251-4558-8979-7A09B9BD87E8}"/>
          </ac:spMkLst>
        </pc:spChg>
        <pc:spChg chg="mod">
          <ac:chgData name="Sarah GAUVARD" userId="4c03e191-e154-482a-88b2-11de19eac96c" providerId="ADAL" clId="{8245CC27-65FB-483E-B8E7-D04039DBA80D}" dt="2021-05-24T16:09:27.217" v="15235" actId="790"/>
          <ac:spMkLst>
            <pc:docMk/>
            <pc:sldMk cId="2505788154" sldId="10474"/>
            <ac:spMk id="67" creationId="{44209A18-064E-4D98-A20A-566CF9E8375A}"/>
          </ac:spMkLst>
        </pc:spChg>
        <pc:spChg chg="mod">
          <ac:chgData name="Sarah GAUVARD" userId="4c03e191-e154-482a-88b2-11de19eac96c" providerId="ADAL" clId="{8245CC27-65FB-483E-B8E7-D04039DBA80D}" dt="2021-05-24T16:09:27.217" v="15231" actId="790"/>
          <ac:spMkLst>
            <pc:docMk/>
            <pc:sldMk cId="2505788154" sldId="10474"/>
            <ac:spMk id="68" creationId="{A5346155-53F6-4492-8069-514F081C33B9}"/>
          </ac:spMkLst>
        </pc:spChg>
        <pc:spChg chg="mod">
          <ac:chgData name="Sarah GAUVARD" userId="4c03e191-e154-482a-88b2-11de19eac96c" providerId="ADAL" clId="{8245CC27-65FB-483E-B8E7-D04039DBA80D}" dt="2021-05-24T16:09:27.217" v="15236" actId="790"/>
          <ac:spMkLst>
            <pc:docMk/>
            <pc:sldMk cId="2505788154" sldId="10474"/>
            <ac:spMk id="72" creationId="{C5BAE9F3-F0CE-4E5D-A59F-809FDD7B37E5}"/>
          </ac:spMkLst>
        </pc:spChg>
        <pc:spChg chg="mod">
          <ac:chgData name="Sarah GAUVARD" userId="4c03e191-e154-482a-88b2-11de19eac96c" providerId="ADAL" clId="{8245CC27-65FB-483E-B8E7-D04039DBA80D}" dt="2021-05-24T16:09:27.217" v="15232" actId="790"/>
          <ac:spMkLst>
            <pc:docMk/>
            <pc:sldMk cId="2505788154" sldId="10474"/>
            <ac:spMk id="73" creationId="{98DD9878-7EFD-4EE3-8563-0AB6CA847BCD}"/>
          </ac:spMkLst>
        </pc:spChg>
        <pc:spChg chg="mod">
          <ac:chgData name="Sarah GAUVARD" userId="4c03e191-e154-482a-88b2-11de19eac96c" providerId="ADAL" clId="{8245CC27-65FB-483E-B8E7-D04039DBA80D}" dt="2021-05-24T16:09:27.227" v="15237" actId="790"/>
          <ac:spMkLst>
            <pc:docMk/>
            <pc:sldMk cId="2505788154" sldId="10474"/>
            <ac:spMk id="74" creationId="{E5DAF6B5-73B5-4F99-AC68-3AF9C1E72B1A}"/>
          </ac:spMkLst>
        </pc:spChg>
        <pc:spChg chg="mod">
          <ac:chgData name="Sarah GAUVARD" userId="4c03e191-e154-482a-88b2-11de19eac96c" providerId="ADAL" clId="{8245CC27-65FB-483E-B8E7-D04039DBA80D}" dt="2021-05-24T16:09:27.227" v="15238" actId="790"/>
          <ac:spMkLst>
            <pc:docMk/>
            <pc:sldMk cId="2505788154" sldId="10474"/>
            <ac:spMk id="75" creationId="{FC4FB322-02D4-4E5C-B006-A484E3CA441A}"/>
          </ac:spMkLst>
        </pc:spChg>
        <pc:spChg chg="mod">
          <ac:chgData name="Sarah GAUVARD" userId="4c03e191-e154-482a-88b2-11de19eac96c" providerId="ADAL" clId="{8245CC27-65FB-483E-B8E7-D04039DBA80D}" dt="2021-05-24T16:09:27.229" v="15239" actId="790"/>
          <ac:spMkLst>
            <pc:docMk/>
            <pc:sldMk cId="2505788154" sldId="10474"/>
            <ac:spMk id="76" creationId="{38973F65-37ED-4CDC-9A45-5183BBDA5DB7}"/>
          </ac:spMkLst>
        </pc:spChg>
        <pc:spChg chg="mod">
          <ac:chgData name="Sarah GAUVARD" userId="4c03e191-e154-482a-88b2-11de19eac96c" providerId="ADAL" clId="{8245CC27-65FB-483E-B8E7-D04039DBA80D}" dt="2021-05-24T16:09:27.229" v="15240" actId="790"/>
          <ac:spMkLst>
            <pc:docMk/>
            <pc:sldMk cId="2505788154" sldId="10474"/>
            <ac:spMk id="77" creationId="{C58DFF13-F614-467C-A649-5174336B1430}"/>
          </ac:spMkLst>
        </pc:spChg>
        <pc:spChg chg="mod">
          <ac:chgData name="Sarah GAUVARD" userId="4c03e191-e154-482a-88b2-11de19eac96c" providerId="ADAL" clId="{8245CC27-65FB-483E-B8E7-D04039DBA80D}" dt="2021-05-24T16:09:27.249" v="15253" actId="790"/>
          <ac:spMkLst>
            <pc:docMk/>
            <pc:sldMk cId="2505788154" sldId="10474"/>
            <ac:spMk id="78" creationId="{BE2FB5DD-C34E-41C9-91E9-F7910227B253}"/>
          </ac:spMkLst>
        </pc:spChg>
        <pc:spChg chg="mod">
          <ac:chgData name="Sarah GAUVARD" userId="4c03e191-e154-482a-88b2-11de19eac96c" providerId="ADAL" clId="{8245CC27-65FB-483E-B8E7-D04039DBA80D}" dt="2021-05-24T16:09:27.249" v="15254" actId="790"/>
          <ac:spMkLst>
            <pc:docMk/>
            <pc:sldMk cId="2505788154" sldId="10474"/>
            <ac:spMk id="79" creationId="{987E3A29-35FB-44D0-830C-98224FE5939E}"/>
          </ac:spMkLst>
        </pc:spChg>
        <pc:spChg chg="mod">
          <ac:chgData name="Sarah GAUVARD" userId="4c03e191-e154-482a-88b2-11de19eac96c" providerId="ADAL" clId="{8245CC27-65FB-483E-B8E7-D04039DBA80D}" dt="2021-05-24T16:09:27.249" v="15255" actId="790"/>
          <ac:spMkLst>
            <pc:docMk/>
            <pc:sldMk cId="2505788154" sldId="10474"/>
            <ac:spMk id="80" creationId="{9E159D94-53AC-4543-A7C1-B2F625D77A92}"/>
          </ac:spMkLst>
        </pc:spChg>
        <pc:spChg chg="mod">
          <ac:chgData name="Sarah GAUVARD" userId="4c03e191-e154-482a-88b2-11de19eac96c" providerId="ADAL" clId="{8245CC27-65FB-483E-B8E7-D04039DBA80D}" dt="2021-05-24T16:09:27.249" v="15256" actId="790"/>
          <ac:spMkLst>
            <pc:docMk/>
            <pc:sldMk cId="2505788154" sldId="10474"/>
            <ac:spMk id="81" creationId="{3F40900F-5E10-47C1-9B77-8A4BAB96ECE8}"/>
          </ac:spMkLst>
        </pc:spChg>
        <pc:spChg chg="mod">
          <ac:chgData name="Sarah GAUVARD" userId="4c03e191-e154-482a-88b2-11de19eac96c" providerId="ADAL" clId="{8245CC27-65FB-483E-B8E7-D04039DBA80D}" dt="2021-05-24T16:09:27.249" v="15257" actId="790"/>
          <ac:spMkLst>
            <pc:docMk/>
            <pc:sldMk cId="2505788154" sldId="10474"/>
            <ac:spMk id="82" creationId="{0E1D3493-1D0F-4215-B036-5EE85B79166D}"/>
          </ac:spMkLst>
        </pc:spChg>
        <pc:spChg chg="mod">
          <ac:chgData name="Sarah GAUVARD" userId="4c03e191-e154-482a-88b2-11de19eac96c" providerId="ADAL" clId="{8245CC27-65FB-483E-B8E7-D04039DBA80D}" dt="2021-05-24T16:09:27.229" v="15241" actId="790"/>
          <ac:spMkLst>
            <pc:docMk/>
            <pc:sldMk cId="2505788154" sldId="10474"/>
            <ac:spMk id="83" creationId="{F3D9AFF7-1D4F-497C-9EBC-5196256BD28B}"/>
          </ac:spMkLst>
        </pc:spChg>
        <pc:spChg chg="mod">
          <ac:chgData name="Sarah GAUVARD" userId="4c03e191-e154-482a-88b2-11de19eac96c" providerId="ADAL" clId="{8245CC27-65FB-483E-B8E7-D04039DBA80D}" dt="2021-05-24T16:09:27.249" v="15258" actId="790"/>
          <ac:spMkLst>
            <pc:docMk/>
            <pc:sldMk cId="2505788154" sldId="10474"/>
            <ac:spMk id="84" creationId="{82EBBB7A-5471-454F-9E18-48C0BA42145C}"/>
          </ac:spMkLst>
        </pc:spChg>
        <pc:spChg chg="mod">
          <ac:chgData name="Sarah GAUVARD" userId="4c03e191-e154-482a-88b2-11de19eac96c" providerId="ADAL" clId="{8245CC27-65FB-483E-B8E7-D04039DBA80D}" dt="2021-05-24T16:09:27.249" v="15259" actId="790"/>
          <ac:spMkLst>
            <pc:docMk/>
            <pc:sldMk cId="2505788154" sldId="10474"/>
            <ac:spMk id="85" creationId="{C45D6D08-8894-42EA-8C23-28E2C27E9226}"/>
          </ac:spMkLst>
        </pc:spChg>
        <pc:spChg chg="mod">
          <ac:chgData name="Sarah GAUVARD" userId="4c03e191-e154-482a-88b2-11de19eac96c" providerId="ADAL" clId="{8245CC27-65FB-483E-B8E7-D04039DBA80D}" dt="2021-05-24T16:09:27.249" v="15260" actId="790"/>
          <ac:spMkLst>
            <pc:docMk/>
            <pc:sldMk cId="2505788154" sldId="10474"/>
            <ac:spMk id="86" creationId="{24839B2F-6BC9-4925-93F1-34CB220326C4}"/>
          </ac:spMkLst>
        </pc:spChg>
        <pc:spChg chg="mod">
          <ac:chgData name="Sarah GAUVARD" userId="4c03e191-e154-482a-88b2-11de19eac96c" providerId="ADAL" clId="{8245CC27-65FB-483E-B8E7-D04039DBA80D}" dt="2021-05-24T16:09:27.229" v="15242" actId="790"/>
          <ac:spMkLst>
            <pc:docMk/>
            <pc:sldMk cId="2505788154" sldId="10474"/>
            <ac:spMk id="87" creationId="{7BB8F9F8-E10F-4E64-9187-C6D2D1422ACE}"/>
          </ac:spMkLst>
        </pc:spChg>
        <pc:spChg chg="mod">
          <ac:chgData name="Sarah GAUVARD" userId="4c03e191-e154-482a-88b2-11de19eac96c" providerId="ADAL" clId="{8245CC27-65FB-483E-B8E7-D04039DBA80D}" dt="2021-05-24T16:09:27.229" v="15243" actId="790"/>
          <ac:spMkLst>
            <pc:docMk/>
            <pc:sldMk cId="2505788154" sldId="10474"/>
            <ac:spMk id="104" creationId="{849ECA68-F6D3-4283-B6B3-B59566FC1F6D}"/>
          </ac:spMkLst>
        </pc:spChg>
        <pc:spChg chg="mod">
          <ac:chgData name="Sarah GAUVARD" userId="4c03e191-e154-482a-88b2-11de19eac96c" providerId="ADAL" clId="{8245CC27-65FB-483E-B8E7-D04039DBA80D}" dt="2021-05-24T16:09:27.229" v="15244" actId="790"/>
          <ac:spMkLst>
            <pc:docMk/>
            <pc:sldMk cId="2505788154" sldId="10474"/>
            <ac:spMk id="105" creationId="{EEE2C96C-B2B1-48D8-9332-E30827E4B0D0}"/>
          </ac:spMkLst>
        </pc:spChg>
        <pc:spChg chg="mod">
          <ac:chgData name="Sarah GAUVARD" userId="4c03e191-e154-482a-88b2-11de19eac96c" providerId="ADAL" clId="{8245CC27-65FB-483E-B8E7-D04039DBA80D}" dt="2021-05-24T16:09:27.237" v="15245" actId="790"/>
          <ac:spMkLst>
            <pc:docMk/>
            <pc:sldMk cId="2505788154" sldId="10474"/>
            <ac:spMk id="106" creationId="{0CE85CB8-7C7A-49B2-A57F-88CBBDC8A596}"/>
          </ac:spMkLst>
        </pc:spChg>
        <pc:spChg chg="mod">
          <ac:chgData name="Sarah GAUVARD" userId="4c03e191-e154-482a-88b2-11de19eac96c" providerId="ADAL" clId="{8245CC27-65FB-483E-B8E7-D04039DBA80D}" dt="2021-05-24T16:09:27.237" v="15246" actId="790"/>
          <ac:spMkLst>
            <pc:docMk/>
            <pc:sldMk cId="2505788154" sldId="10474"/>
            <ac:spMk id="107" creationId="{E85C8784-F071-4729-9033-22C4CE869084}"/>
          </ac:spMkLst>
        </pc:spChg>
        <pc:spChg chg="mod">
          <ac:chgData name="Sarah GAUVARD" userId="4c03e191-e154-482a-88b2-11de19eac96c" providerId="ADAL" clId="{8245CC27-65FB-483E-B8E7-D04039DBA80D}" dt="2021-05-24T16:09:27.239" v="15247" actId="790"/>
          <ac:spMkLst>
            <pc:docMk/>
            <pc:sldMk cId="2505788154" sldId="10474"/>
            <ac:spMk id="108" creationId="{718E7AB5-E818-4750-AA50-CF34925A2446}"/>
          </ac:spMkLst>
        </pc:spChg>
        <pc:spChg chg="mod">
          <ac:chgData name="Sarah GAUVARD" userId="4c03e191-e154-482a-88b2-11de19eac96c" providerId="ADAL" clId="{8245CC27-65FB-483E-B8E7-D04039DBA80D}" dt="2021-05-24T16:09:27.239" v="15248" actId="790"/>
          <ac:spMkLst>
            <pc:docMk/>
            <pc:sldMk cId="2505788154" sldId="10474"/>
            <ac:spMk id="110" creationId="{F5CF73F8-DE8B-4531-8E6F-66A5B1437B68}"/>
          </ac:spMkLst>
        </pc:spChg>
        <pc:spChg chg="mod">
          <ac:chgData name="Sarah GAUVARD" userId="4c03e191-e154-482a-88b2-11de19eac96c" providerId="ADAL" clId="{8245CC27-65FB-483E-B8E7-D04039DBA80D}" dt="2021-05-24T16:09:27.239" v="15249" actId="790"/>
          <ac:spMkLst>
            <pc:docMk/>
            <pc:sldMk cId="2505788154" sldId="10474"/>
            <ac:spMk id="112" creationId="{F1E7BD5C-F003-4784-B812-A952EED452E0}"/>
          </ac:spMkLst>
        </pc:spChg>
        <pc:spChg chg="mod">
          <ac:chgData name="Sarah GAUVARD" userId="4c03e191-e154-482a-88b2-11de19eac96c" providerId="ADAL" clId="{8245CC27-65FB-483E-B8E7-D04039DBA80D}" dt="2021-05-24T16:09:27.239" v="15250" actId="790"/>
          <ac:spMkLst>
            <pc:docMk/>
            <pc:sldMk cId="2505788154" sldId="10474"/>
            <ac:spMk id="113" creationId="{34780B37-667B-46AD-A90A-2E9A04B51827}"/>
          </ac:spMkLst>
        </pc:spChg>
        <pc:spChg chg="mod">
          <ac:chgData name="Sarah GAUVARD" userId="4c03e191-e154-482a-88b2-11de19eac96c" providerId="ADAL" clId="{8245CC27-65FB-483E-B8E7-D04039DBA80D}" dt="2021-05-24T16:09:27.209" v="15219" actId="790"/>
          <ac:spMkLst>
            <pc:docMk/>
            <pc:sldMk cId="2505788154" sldId="10474"/>
            <ac:spMk id="129" creationId="{D71975E8-6EB4-4EA3-B34C-4F9196C4ABBE}"/>
          </ac:spMkLst>
        </pc:spChg>
        <pc:spChg chg="mod">
          <ac:chgData name="Sarah GAUVARD" userId="4c03e191-e154-482a-88b2-11de19eac96c" providerId="ADAL" clId="{8245CC27-65FB-483E-B8E7-D04039DBA80D}" dt="2021-05-24T16:09:27.209" v="15220" actId="790"/>
          <ac:spMkLst>
            <pc:docMk/>
            <pc:sldMk cId="2505788154" sldId="10474"/>
            <ac:spMk id="133" creationId="{A342E216-A2F2-4FE4-89F9-E0010C3D7924}"/>
          </ac:spMkLst>
        </pc:spChg>
        <pc:spChg chg="mod">
          <ac:chgData name="Sarah GAUVARD" userId="4c03e191-e154-482a-88b2-11de19eac96c" providerId="ADAL" clId="{8245CC27-65FB-483E-B8E7-D04039DBA80D}" dt="2021-05-24T16:09:27.209" v="15221" actId="790"/>
          <ac:spMkLst>
            <pc:docMk/>
            <pc:sldMk cId="2505788154" sldId="10474"/>
            <ac:spMk id="134" creationId="{70FE3725-42CC-4172-9F8D-F2B05517B173}"/>
          </ac:spMkLst>
        </pc:spChg>
        <pc:spChg chg="mod">
          <ac:chgData name="Sarah GAUVARD" userId="4c03e191-e154-482a-88b2-11de19eac96c" providerId="ADAL" clId="{8245CC27-65FB-483E-B8E7-D04039DBA80D}" dt="2021-05-24T16:09:27.209" v="15222" actId="790"/>
          <ac:spMkLst>
            <pc:docMk/>
            <pc:sldMk cId="2505788154" sldId="10474"/>
            <ac:spMk id="135" creationId="{E9E47757-74E5-4C3A-8349-4DF9BC11DA26}"/>
          </ac:spMkLst>
        </pc:spChg>
        <pc:spChg chg="mod">
          <ac:chgData name="Sarah GAUVARD" userId="4c03e191-e154-482a-88b2-11de19eac96c" providerId="ADAL" clId="{8245CC27-65FB-483E-B8E7-D04039DBA80D}" dt="2021-05-24T16:09:27.247" v="15251" actId="790"/>
          <ac:spMkLst>
            <pc:docMk/>
            <pc:sldMk cId="2505788154" sldId="10474"/>
            <ac:spMk id="136" creationId="{F5655A12-1321-41AD-A021-A3F6072E401C}"/>
          </ac:spMkLst>
        </pc:spChg>
        <pc:spChg chg="mod">
          <ac:chgData name="Sarah GAUVARD" userId="4c03e191-e154-482a-88b2-11de19eac96c" providerId="ADAL" clId="{8245CC27-65FB-483E-B8E7-D04039DBA80D}" dt="2021-05-24T16:09:27.247" v="15252" actId="790"/>
          <ac:spMkLst>
            <pc:docMk/>
            <pc:sldMk cId="2505788154" sldId="10474"/>
            <ac:spMk id="137" creationId="{06AB971E-2F11-4688-B19E-8FA8645680CD}"/>
          </ac:spMkLst>
        </pc:spChg>
        <pc:spChg chg="mod">
          <ac:chgData name="Sarah GAUVARD" userId="4c03e191-e154-482a-88b2-11de19eac96c" providerId="ADAL" clId="{8245CC27-65FB-483E-B8E7-D04039DBA80D}" dt="2021-05-24T16:09:27.217" v="15227" actId="790"/>
          <ac:spMkLst>
            <pc:docMk/>
            <pc:sldMk cId="2505788154" sldId="10474"/>
            <ac:spMk id="152" creationId="{FD7ED2BD-3A04-423A-8563-A638727F3B40}"/>
          </ac:spMkLst>
        </pc:spChg>
        <pc:graphicFrameChg chg="mod">
          <ac:chgData name="Sarah GAUVARD" userId="4c03e191-e154-482a-88b2-11de19eac96c" providerId="ADAL" clId="{8245CC27-65FB-483E-B8E7-D04039DBA80D}" dt="2021-05-24T15:34:46.670" v="12145"/>
          <ac:graphicFrameMkLst>
            <pc:docMk/>
            <pc:sldMk cId="2505788154" sldId="10474"/>
            <ac:graphicFrameMk id="18" creationId="{597710FC-936F-4224-8A0A-F67D6B18BBF7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9.118" v="17085" actId="790"/>
        <pc:sldMkLst>
          <pc:docMk/>
          <pc:sldMk cId="2085535939" sldId="10475"/>
        </pc:sldMkLst>
        <pc:spChg chg="mod">
          <ac:chgData name="Sarah GAUVARD" userId="4c03e191-e154-482a-88b2-11de19eac96c" providerId="ADAL" clId="{8245CC27-65FB-483E-B8E7-D04039DBA80D}" dt="2021-05-24T16:09:29.080" v="17053" actId="790"/>
          <ac:spMkLst>
            <pc:docMk/>
            <pc:sldMk cId="2085535939" sldId="10475"/>
            <ac:spMk id="2" creationId="{BA3E4240-1B8B-4AAA-9DCA-9FE236464846}"/>
          </ac:spMkLst>
        </pc:spChg>
        <pc:spChg chg="mod">
          <ac:chgData name="Sarah GAUVARD" userId="4c03e191-e154-482a-88b2-11de19eac96c" providerId="ADAL" clId="{8245CC27-65FB-483E-B8E7-D04039DBA80D}" dt="2021-05-24T16:09:29.080" v="17054" actId="790"/>
          <ac:spMkLst>
            <pc:docMk/>
            <pc:sldMk cId="2085535939" sldId="10475"/>
            <ac:spMk id="3" creationId="{1773FC09-D385-45A1-AC2E-146DDDE8BD0A}"/>
          </ac:spMkLst>
        </pc:spChg>
        <pc:spChg chg="add del mod modVis">
          <ac:chgData name="Sarah GAUVARD" userId="4c03e191-e154-482a-88b2-11de19eac96c" providerId="ADAL" clId="{8245CC27-65FB-483E-B8E7-D04039DBA80D}" dt="2021-05-24T15:34:46.693" v="12155"/>
          <ac:spMkLst>
            <pc:docMk/>
            <pc:sldMk cId="2085535939" sldId="10475"/>
            <ac:spMk id="4" creationId="{40F78C88-8294-4AEC-9EAC-0CCC1641DED7}"/>
          </ac:spMkLst>
        </pc:spChg>
        <pc:spChg chg="mod">
          <ac:chgData name="Sarah GAUVARD" userId="4c03e191-e154-482a-88b2-11de19eac96c" providerId="ADAL" clId="{8245CC27-65FB-483E-B8E7-D04039DBA80D}" dt="2021-05-24T16:09:29.080" v="17055" actId="790"/>
          <ac:spMkLst>
            <pc:docMk/>
            <pc:sldMk cId="2085535939" sldId="10475"/>
            <ac:spMk id="9" creationId="{8EBE87B3-F04E-491F-82E3-AD5C42A920E2}"/>
          </ac:spMkLst>
        </pc:spChg>
        <pc:spChg chg="mod">
          <ac:chgData name="Sarah GAUVARD" userId="4c03e191-e154-482a-88b2-11de19eac96c" providerId="ADAL" clId="{8245CC27-65FB-483E-B8E7-D04039DBA80D}" dt="2021-05-24T16:09:29.090" v="17063" actId="790"/>
          <ac:spMkLst>
            <pc:docMk/>
            <pc:sldMk cId="2085535939" sldId="10475"/>
            <ac:spMk id="10" creationId="{8B80541E-0CB8-4F46-AA31-1D2CE8ECE50F}"/>
          </ac:spMkLst>
        </pc:spChg>
        <pc:spChg chg="mod">
          <ac:chgData name="Sarah GAUVARD" userId="4c03e191-e154-482a-88b2-11de19eac96c" providerId="ADAL" clId="{8245CC27-65FB-483E-B8E7-D04039DBA80D}" dt="2021-05-24T16:09:29.080" v="17056" actId="790"/>
          <ac:spMkLst>
            <pc:docMk/>
            <pc:sldMk cId="2085535939" sldId="10475"/>
            <ac:spMk id="12" creationId="{5632CA9B-96AD-46F9-9A8A-B6E6800443DD}"/>
          </ac:spMkLst>
        </pc:spChg>
        <pc:spChg chg="mod">
          <ac:chgData name="Sarah GAUVARD" userId="4c03e191-e154-482a-88b2-11de19eac96c" providerId="ADAL" clId="{8245CC27-65FB-483E-B8E7-D04039DBA80D}" dt="2021-05-24T16:09:29.080" v="17057" actId="790"/>
          <ac:spMkLst>
            <pc:docMk/>
            <pc:sldMk cId="2085535939" sldId="10475"/>
            <ac:spMk id="13" creationId="{8A47A578-76B7-48A6-B910-8A54E9BC3C53}"/>
          </ac:spMkLst>
        </pc:spChg>
        <pc:spChg chg="mod">
          <ac:chgData name="Sarah GAUVARD" userId="4c03e191-e154-482a-88b2-11de19eac96c" providerId="ADAL" clId="{8245CC27-65FB-483E-B8E7-D04039DBA80D}" dt="2021-05-24T16:09:29.080" v="17058" actId="790"/>
          <ac:spMkLst>
            <pc:docMk/>
            <pc:sldMk cId="2085535939" sldId="10475"/>
            <ac:spMk id="16" creationId="{4FCCDEAF-F1D6-472C-8877-BCF7D817DF4C}"/>
          </ac:spMkLst>
        </pc:spChg>
        <pc:spChg chg="mod">
          <ac:chgData name="Sarah GAUVARD" userId="4c03e191-e154-482a-88b2-11de19eac96c" providerId="ADAL" clId="{8245CC27-65FB-483E-B8E7-D04039DBA80D}" dt="2021-05-24T16:09:29.110" v="17077" actId="790"/>
          <ac:spMkLst>
            <pc:docMk/>
            <pc:sldMk cId="2085535939" sldId="10475"/>
            <ac:spMk id="21" creationId="{58337BA2-B7F0-4432-B9BF-C085B3E8B7D0}"/>
          </ac:spMkLst>
        </pc:spChg>
        <pc:spChg chg="mod">
          <ac:chgData name="Sarah GAUVARD" userId="4c03e191-e154-482a-88b2-11de19eac96c" providerId="ADAL" clId="{8245CC27-65FB-483E-B8E7-D04039DBA80D}" dt="2021-05-24T16:09:29.110" v="17078" actId="790"/>
          <ac:spMkLst>
            <pc:docMk/>
            <pc:sldMk cId="2085535939" sldId="10475"/>
            <ac:spMk id="23" creationId="{CAB7DE97-987C-4E1B-AC28-72D620F2E2AC}"/>
          </ac:spMkLst>
        </pc:spChg>
        <pc:spChg chg="mod">
          <ac:chgData name="Sarah GAUVARD" userId="4c03e191-e154-482a-88b2-11de19eac96c" providerId="ADAL" clId="{8245CC27-65FB-483E-B8E7-D04039DBA80D}" dt="2021-05-24T16:09:29.088" v="17060" actId="790"/>
          <ac:spMkLst>
            <pc:docMk/>
            <pc:sldMk cId="2085535939" sldId="10475"/>
            <ac:spMk id="50" creationId="{3D11D9AD-56B2-4FD0-998A-C3C17321490E}"/>
          </ac:spMkLst>
        </pc:spChg>
        <pc:spChg chg="mod">
          <ac:chgData name="Sarah GAUVARD" userId="4c03e191-e154-482a-88b2-11de19eac96c" providerId="ADAL" clId="{8245CC27-65FB-483E-B8E7-D04039DBA80D}" dt="2021-05-24T16:09:29.088" v="17061" actId="790"/>
          <ac:spMkLst>
            <pc:docMk/>
            <pc:sldMk cId="2085535939" sldId="10475"/>
            <ac:spMk id="51" creationId="{ABA09096-B3E8-4754-A77D-65D350688B5B}"/>
          </ac:spMkLst>
        </pc:spChg>
        <pc:spChg chg="mod">
          <ac:chgData name="Sarah GAUVARD" userId="4c03e191-e154-482a-88b2-11de19eac96c" providerId="ADAL" clId="{8245CC27-65FB-483E-B8E7-D04039DBA80D}" dt="2021-05-24T16:09:29.090" v="17062" actId="790"/>
          <ac:spMkLst>
            <pc:docMk/>
            <pc:sldMk cId="2085535939" sldId="10475"/>
            <ac:spMk id="52" creationId="{269DE5CB-BABB-4CE5-BFC8-CA5EE268E23C}"/>
          </ac:spMkLst>
        </pc:spChg>
        <pc:spChg chg="mod">
          <ac:chgData name="Sarah GAUVARD" userId="4c03e191-e154-482a-88b2-11de19eac96c" providerId="ADAL" clId="{8245CC27-65FB-483E-B8E7-D04039DBA80D}" dt="2021-05-24T16:09:29.090" v="17064" actId="790"/>
          <ac:spMkLst>
            <pc:docMk/>
            <pc:sldMk cId="2085535939" sldId="10475"/>
            <ac:spMk id="54" creationId="{A1ED7959-6972-4CA1-87DE-4A9E265D1EE1}"/>
          </ac:spMkLst>
        </pc:spChg>
        <pc:spChg chg="mod">
          <ac:chgData name="Sarah GAUVARD" userId="4c03e191-e154-482a-88b2-11de19eac96c" providerId="ADAL" clId="{8245CC27-65FB-483E-B8E7-D04039DBA80D}" dt="2021-05-24T16:09:29.090" v="17065" actId="790"/>
          <ac:spMkLst>
            <pc:docMk/>
            <pc:sldMk cId="2085535939" sldId="10475"/>
            <ac:spMk id="61" creationId="{0CCFF1A2-CE09-4311-BD82-2FC01C7F8607}"/>
          </ac:spMkLst>
        </pc:spChg>
        <pc:spChg chg="mod">
          <ac:chgData name="Sarah GAUVARD" userId="4c03e191-e154-482a-88b2-11de19eac96c" providerId="ADAL" clId="{8245CC27-65FB-483E-B8E7-D04039DBA80D}" dt="2021-05-24T16:09:29.090" v="17066" actId="790"/>
          <ac:spMkLst>
            <pc:docMk/>
            <pc:sldMk cId="2085535939" sldId="10475"/>
            <ac:spMk id="68" creationId="{A5346155-53F6-4492-8069-514F081C33B9}"/>
          </ac:spMkLst>
        </pc:spChg>
        <pc:spChg chg="mod">
          <ac:chgData name="Sarah GAUVARD" userId="4c03e191-e154-482a-88b2-11de19eac96c" providerId="ADAL" clId="{8245CC27-65FB-483E-B8E7-D04039DBA80D}" dt="2021-05-24T16:09:29.090" v="17067" actId="790"/>
          <ac:spMkLst>
            <pc:docMk/>
            <pc:sldMk cId="2085535939" sldId="10475"/>
            <ac:spMk id="73" creationId="{98DD9878-7EFD-4EE3-8563-0AB6CA847BCD}"/>
          </ac:spMkLst>
        </pc:spChg>
        <pc:spChg chg="mod">
          <ac:chgData name="Sarah GAUVARD" userId="4c03e191-e154-482a-88b2-11de19eac96c" providerId="ADAL" clId="{8245CC27-65FB-483E-B8E7-D04039DBA80D}" dt="2021-05-24T16:09:29.098" v="17068" actId="790"/>
          <ac:spMkLst>
            <pc:docMk/>
            <pc:sldMk cId="2085535939" sldId="10475"/>
            <ac:spMk id="78" creationId="{5112757C-9BF4-4BA1-9498-541BF2906FB2}"/>
          </ac:spMkLst>
        </pc:spChg>
        <pc:spChg chg="mod">
          <ac:chgData name="Sarah GAUVARD" userId="4c03e191-e154-482a-88b2-11de19eac96c" providerId="ADAL" clId="{8245CC27-65FB-483E-B8E7-D04039DBA80D}" dt="2021-05-24T16:09:29.098" v="17069" actId="790"/>
          <ac:spMkLst>
            <pc:docMk/>
            <pc:sldMk cId="2085535939" sldId="10475"/>
            <ac:spMk id="79" creationId="{03A27743-6F0C-44CB-A476-520C8741EAE9}"/>
          </ac:spMkLst>
        </pc:spChg>
        <pc:spChg chg="mod">
          <ac:chgData name="Sarah GAUVARD" userId="4c03e191-e154-482a-88b2-11de19eac96c" providerId="ADAL" clId="{8245CC27-65FB-483E-B8E7-D04039DBA80D}" dt="2021-05-24T16:09:29.100" v="17070" actId="790"/>
          <ac:spMkLst>
            <pc:docMk/>
            <pc:sldMk cId="2085535939" sldId="10475"/>
            <ac:spMk id="80" creationId="{E399A358-1215-4FA3-8339-9689B70175BF}"/>
          </ac:spMkLst>
        </pc:spChg>
        <pc:spChg chg="mod">
          <ac:chgData name="Sarah GAUVARD" userId="4c03e191-e154-482a-88b2-11de19eac96c" providerId="ADAL" clId="{8245CC27-65FB-483E-B8E7-D04039DBA80D}" dt="2021-05-24T16:09:29.110" v="17079" actId="790"/>
          <ac:spMkLst>
            <pc:docMk/>
            <pc:sldMk cId="2085535939" sldId="10475"/>
            <ac:spMk id="81" creationId="{60F8FC4C-7305-426C-8523-F98FB2B728B2}"/>
          </ac:spMkLst>
        </pc:spChg>
        <pc:spChg chg="mod">
          <ac:chgData name="Sarah GAUVARD" userId="4c03e191-e154-482a-88b2-11de19eac96c" providerId="ADAL" clId="{8245CC27-65FB-483E-B8E7-D04039DBA80D}" dt="2021-05-24T16:09:29.100" v="17071" actId="790"/>
          <ac:spMkLst>
            <pc:docMk/>
            <pc:sldMk cId="2085535939" sldId="10475"/>
            <ac:spMk id="82" creationId="{378DC2D4-4EBE-4118-8C40-86863555C037}"/>
          </ac:spMkLst>
        </pc:spChg>
        <pc:spChg chg="mod">
          <ac:chgData name="Sarah GAUVARD" userId="4c03e191-e154-482a-88b2-11de19eac96c" providerId="ADAL" clId="{8245CC27-65FB-483E-B8E7-D04039DBA80D}" dt="2021-05-24T16:09:29.100" v="17072" actId="790"/>
          <ac:spMkLst>
            <pc:docMk/>
            <pc:sldMk cId="2085535939" sldId="10475"/>
            <ac:spMk id="84" creationId="{3C53EFB8-8D77-4743-B5E2-D02A8132C2B0}"/>
          </ac:spMkLst>
        </pc:spChg>
        <pc:spChg chg="mod">
          <ac:chgData name="Sarah GAUVARD" userId="4c03e191-e154-482a-88b2-11de19eac96c" providerId="ADAL" clId="{8245CC27-65FB-483E-B8E7-D04039DBA80D}" dt="2021-05-24T16:09:29.110" v="17080" actId="790"/>
          <ac:spMkLst>
            <pc:docMk/>
            <pc:sldMk cId="2085535939" sldId="10475"/>
            <ac:spMk id="86" creationId="{5426AF42-AB87-4AFB-94AB-DD1D8EF561A6}"/>
          </ac:spMkLst>
        </pc:spChg>
        <pc:spChg chg="mod">
          <ac:chgData name="Sarah GAUVARD" userId="4c03e191-e154-482a-88b2-11de19eac96c" providerId="ADAL" clId="{8245CC27-65FB-483E-B8E7-D04039DBA80D}" dt="2021-05-24T16:09:29.100" v="17073" actId="790"/>
          <ac:spMkLst>
            <pc:docMk/>
            <pc:sldMk cId="2085535939" sldId="10475"/>
            <ac:spMk id="92" creationId="{58B5811A-7C8F-45CF-9D3B-9676978FB9CF}"/>
          </ac:spMkLst>
        </pc:spChg>
        <pc:spChg chg="mod">
          <ac:chgData name="Sarah GAUVARD" userId="4c03e191-e154-482a-88b2-11de19eac96c" providerId="ADAL" clId="{8245CC27-65FB-483E-B8E7-D04039DBA80D}" dt="2021-05-24T16:09:29.100" v="17074" actId="790"/>
          <ac:spMkLst>
            <pc:docMk/>
            <pc:sldMk cId="2085535939" sldId="10475"/>
            <ac:spMk id="98" creationId="{E7E824A9-0075-4DB7-94CB-07C41244E4EF}"/>
          </ac:spMkLst>
        </pc:spChg>
        <pc:spChg chg="mod">
          <ac:chgData name="Sarah GAUVARD" userId="4c03e191-e154-482a-88b2-11de19eac96c" providerId="ADAL" clId="{8245CC27-65FB-483E-B8E7-D04039DBA80D}" dt="2021-05-24T16:09:29.100" v="17075" actId="790"/>
          <ac:spMkLst>
            <pc:docMk/>
            <pc:sldMk cId="2085535939" sldId="10475"/>
            <ac:spMk id="99" creationId="{9F13D4F4-DACE-4D56-AD46-7369D3A8494C}"/>
          </ac:spMkLst>
        </pc:spChg>
        <pc:spChg chg="mod">
          <ac:chgData name="Sarah GAUVARD" userId="4c03e191-e154-482a-88b2-11de19eac96c" providerId="ADAL" clId="{8245CC27-65FB-483E-B8E7-D04039DBA80D}" dt="2021-05-24T16:09:29.110" v="17084" actId="790"/>
          <ac:spMkLst>
            <pc:docMk/>
            <pc:sldMk cId="2085535939" sldId="10475"/>
            <ac:spMk id="104" creationId="{84D904D1-6FD7-411F-9055-7BDDD6F8D510}"/>
          </ac:spMkLst>
        </pc:spChg>
        <pc:spChg chg="mod">
          <ac:chgData name="Sarah GAUVARD" userId="4c03e191-e154-482a-88b2-11de19eac96c" providerId="ADAL" clId="{8245CC27-65FB-483E-B8E7-D04039DBA80D}" dt="2021-05-24T16:09:29.118" v="17085" actId="790"/>
          <ac:spMkLst>
            <pc:docMk/>
            <pc:sldMk cId="2085535939" sldId="10475"/>
            <ac:spMk id="107" creationId="{E4B14101-5119-4FB2-BCD9-4C0E7BEAF957}"/>
          </ac:spMkLst>
        </pc:spChg>
        <pc:spChg chg="mod">
          <ac:chgData name="Sarah GAUVARD" userId="4c03e191-e154-482a-88b2-11de19eac96c" providerId="ADAL" clId="{8245CC27-65FB-483E-B8E7-D04039DBA80D}" dt="2021-05-24T16:09:29.108" v="17076" actId="790"/>
          <ac:spMkLst>
            <pc:docMk/>
            <pc:sldMk cId="2085535939" sldId="10475"/>
            <ac:spMk id="109" creationId="{E8BE3BCE-A832-4D22-9958-D819266EA290}"/>
          </ac:spMkLst>
        </pc:spChg>
        <pc:spChg chg="mod">
          <ac:chgData name="Sarah GAUVARD" userId="4c03e191-e154-482a-88b2-11de19eac96c" providerId="ADAL" clId="{8245CC27-65FB-483E-B8E7-D04039DBA80D}" dt="2021-05-24T16:09:29.110" v="17081" actId="790"/>
          <ac:spMkLst>
            <pc:docMk/>
            <pc:sldMk cId="2085535939" sldId="10475"/>
            <ac:spMk id="114" creationId="{EF7E7272-A5E8-48AE-AF6F-C99EB6336D02}"/>
          </ac:spMkLst>
        </pc:spChg>
        <pc:spChg chg="mod">
          <ac:chgData name="Sarah GAUVARD" userId="4c03e191-e154-482a-88b2-11de19eac96c" providerId="ADAL" clId="{8245CC27-65FB-483E-B8E7-D04039DBA80D}" dt="2021-05-24T16:09:29.110" v="17082" actId="790"/>
          <ac:spMkLst>
            <pc:docMk/>
            <pc:sldMk cId="2085535939" sldId="10475"/>
            <ac:spMk id="115" creationId="{E4406749-7A4A-41F0-A850-CE3465C20F17}"/>
          </ac:spMkLst>
        </pc:spChg>
        <pc:spChg chg="mod">
          <ac:chgData name="Sarah GAUVARD" userId="4c03e191-e154-482a-88b2-11de19eac96c" providerId="ADAL" clId="{8245CC27-65FB-483E-B8E7-D04039DBA80D}" dt="2021-05-24T16:09:29.110" v="17083" actId="790"/>
          <ac:spMkLst>
            <pc:docMk/>
            <pc:sldMk cId="2085535939" sldId="10475"/>
            <ac:spMk id="116" creationId="{2806627C-A398-4592-B3EB-4C56D0420050}"/>
          </ac:spMkLst>
        </pc:spChg>
        <pc:spChg chg="mod">
          <ac:chgData name="Sarah GAUVARD" userId="4c03e191-e154-482a-88b2-11de19eac96c" providerId="ADAL" clId="{8245CC27-65FB-483E-B8E7-D04039DBA80D}" dt="2021-05-24T16:09:29.088" v="17059" actId="790"/>
          <ac:spMkLst>
            <pc:docMk/>
            <pc:sldMk cId="2085535939" sldId="10475"/>
            <ac:spMk id="152" creationId="{FD7ED2BD-3A04-423A-8563-A638727F3B40}"/>
          </ac:spMkLst>
        </pc:spChg>
        <pc:graphicFrameChg chg="mod">
          <ac:chgData name="Sarah GAUVARD" userId="4c03e191-e154-482a-88b2-11de19eac96c" providerId="ADAL" clId="{8245CC27-65FB-483E-B8E7-D04039DBA80D}" dt="2021-05-24T15:34:46.699" v="12157"/>
          <ac:graphicFrameMkLst>
            <pc:docMk/>
            <pc:sldMk cId="2085535939" sldId="10475"/>
            <ac:graphicFrameMk id="18" creationId="{597710FC-936F-4224-8A0A-F67D6B18BBF7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4T16:09:29.151" v="17120" actId="790"/>
        <pc:sldMkLst>
          <pc:docMk/>
          <pc:sldMk cId="2421576044" sldId="10476"/>
        </pc:sldMkLst>
        <pc:spChg chg="mod">
          <ac:chgData name="Sarah GAUVARD" userId="4c03e191-e154-482a-88b2-11de19eac96c" providerId="ADAL" clId="{8245CC27-65FB-483E-B8E7-D04039DBA80D}" dt="2021-05-24T16:09:29.118" v="17090" actId="790"/>
          <ac:spMkLst>
            <pc:docMk/>
            <pc:sldMk cId="2421576044" sldId="10476"/>
            <ac:spMk id="2" creationId="{BA3E4240-1B8B-4AAA-9DCA-9FE236464846}"/>
          </ac:spMkLst>
        </pc:spChg>
        <pc:spChg chg="mod">
          <ac:chgData name="Sarah GAUVARD" userId="4c03e191-e154-482a-88b2-11de19eac96c" providerId="ADAL" clId="{8245CC27-65FB-483E-B8E7-D04039DBA80D}" dt="2021-05-24T16:09:29.118" v="17091" actId="790"/>
          <ac:spMkLst>
            <pc:docMk/>
            <pc:sldMk cId="2421576044" sldId="10476"/>
            <ac:spMk id="3" creationId="{1773FC09-D385-45A1-AC2E-146DDDE8BD0A}"/>
          </ac:spMkLst>
        </pc:spChg>
        <pc:spChg chg="add del mod modVis">
          <ac:chgData name="Sarah GAUVARD" userId="4c03e191-e154-482a-88b2-11de19eac96c" providerId="ADAL" clId="{8245CC27-65FB-483E-B8E7-D04039DBA80D}" dt="2021-05-24T15:34:46.684" v="12151"/>
          <ac:spMkLst>
            <pc:docMk/>
            <pc:sldMk cId="2421576044" sldId="10476"/>
            <ac:spMk id="4" creationId="{B7CBB293-9347-4A12-9843-B36BA6B7EBD6}"/>
          </ac:spMkLst>
        </pc:spChg>
        <pc:spChg chg="mod">
          <ac:chgData name="Sarah GAUVARD" userId="4c03e191-e154-482a-88b2-11de19eac96c" providerId="ADAL" clId="{8245CC27-65FB-483E-B8E7-D04039DBA80D}" dt="2021-05-24T16:09:29.118" v="17092" actId="790"/>
          <ac:spMkLst>
            <pc:docMk/>
            <pc:sldMk cId="2421576044" sldId="10476"/>
            <ac:spMk id="9" creationId="{8EBE87B3-F04E-491F-82E3-AD5C42A920E2}"/>
          </ac:spMkLst>
        </pc:spChg>
        <pc:spChg chg="mod">
          <ac:chgData name="Sarah GAUVARD" userId="4c03e191-e154-482a-88b2-11de19eac96c" providerId="ADAL" clId="{8245CC27-65FB-483E-B8E7-D04039DBA80D}" dt="2021-05-24T16:09:29.118" v="17095" actId="790"/>
          <ac:spMkLst>
            <pc:docMk/>
            <pc:sldMk cId="2421576044" sldId="10476"/>
            <ac:spMk id="10" creationId="{8B80541E-0CB8-4F46-AA31-1D2CE8ECE50F}"/>
          </ac:spMkLst>
        </pc:spChg>
        <pc:spChg chg="mod">
          <ac:chgData name="Sarah GAUVARD" userId="4c03e191-e154-482a-88b2-11de19eac96c" providerId="ADAL" clId="{8245CC27-65FB-483E-B8E7-D04039DBA80D}" dt="2021-05-24T16:09:29.118" v="17093" actId="790"/>
          <ac:spMkLst>
            <pc:docMk/>
            <pc:sldMk cId="2421576044" sldId="10476"/>
            <ac:spMk id="12" creationId="{5632CA9B-96AD-46F9-9A8A-B6E6800443DD}"/>
          </ac:spMkLst>
        </pc:spChg>
        <pc:spChg chg="mod">
          <ac:chgData name="Sarah GAUVARD" userId="4c03e191-e154-482a-88b2-11de19eac96c" providerId="ADAL" clId="{8245CC27-65FB-483E-B8E7-D04039DBA80D}" dt="2021-05-24T16:09:29.118" v="17096" actId="790"/>
          <ac:spMkLst>
            <pc:docMk/>
            <pc:sldMk cId="2421576044" sldId="10476"/>
            <ac:spMk id="54" creationId="{A1ED7959-6972-4CA1-87DE-4A9E265D1EE1}"/>
          </ac:spMkLst>
        </pc:spChg>
        <pc:spChg chg="mod">
          <ac:chgData name="Sarah GAUVARD" userId="4c03e191-e154-482a-88b2-11de19eac96c" providerId="ADAL" clId="{8245CC27-65FB-483E-B8E7-D04039DBA80D}" dt="2021-05-24T16:09:29.118" v="17097" actId="790"/>
          <ac:spMkLst>
            <pc:docMk/>
            <pc:sldMk cId="2421576044" sldId="10476"/>
            <ac:spMk id="61" creationId="{0CCFF1A2-CE09-4311-BD82-2FC01C7F8607}"/>
          </ac:spMkLst>
        </pc:spChg>
        <pc:spChg chg="mod">
          <ac:chgData name="Sarah GAUVARD" userId="4c03e191-e154-482a-88b2-11de19eac96c" providerId="ADAL" clId="{8245CC27-65FB-483E-B8E7-D04039DBA80D}" dt="2021-05-24T16:09:29.130" v="17100" actId="790"/>
          <ac:spMkLst>
            <pc:docMk/>
            <pc:sldMk cId="2421576044" sldId="10476"/>
            <ac:spMk id="65" creationId="{621ABA10-DB52-4BB0-BAFC-8BE5CFD23B9F}"/>
          </ac:spMkLst>
        </pc:spChg>
        <pc:spChg chg="mod">
          <ac:chgData name="Sarah GAUVARD" userId="4c03e191-e154-482a-88b2-11de19eac96c" providerId="ADAL" clId="{8245CC27-65FB-483E-B8E7-D04039DBA80D}" dt="2021-05-24T16:09:29.130" v="17101" actId="790"/>
          <ac:spMkLst>
            <pc:docMk/>
            <pc:sldMk cId="2421576044" sldId="10476"/>
            <ac:spMk id="66" creationId="{A3EC114C-5251-4558-8979-7A09B9BD87E8}"/>
          </ac:spMkLst>
        </pc:spChg>
        <pc:spChg chg="mod">
          <ac:chgData name="Sarah GAUVARD" userId="4c03e191-e154-482a-88b2-11de19eac96c" providerId="ADAL" clId="{8245CC27-65FB-483E-B8E7-D04039DBA80D}" dt="2021-05-24T16:09:29.130" v="17102" actId="790"/>
          <ac:spMkLst>
            <pc:docMk/>
            <pc:sldMk cId="2421576044" sldId="10476"/>
            <ac:spMk id="67" creationId="{44209A18-064E-4D98-A20A-566CF9E8375A}"/>
          </ac:spMkLst>
        </pc:spChg>
        <pc:spChg chg="mod">
          <ac:chgData name="Sarah GAUVARD" userId="4c03e191-e154-482a-88b2-11de19eac96c" providerId="ADAL" clId="{8245CC27-65FB-483E-B8E7-D04039DBA80D}" dt="2021-05-24T16:09:29.128" v="17098" actId="790"/>
          <ac:spMkLst>
            <pc:docMk/>
            <pc:sldMk cId="2421576044" sldId="10476"/>
            <ac:spMk id="68" creationId="{A5346155-53F6-4492-8069-514F081C33B9}"/>
          </ac:spMkLst>
        </pc:spChg>
        <pc:spChg chg="mod">
          <ac:chgData name="Sarah GAUVARD" userId="4c03e191-e154-482a-88b2-11de19eac96c" providerId="ADAL" clId="{8245CC27-65FB-483E-B8E7-D04039DBA80D}" dt="2021-05-24T16:09:29.130" v="17103" actId="790"/>
          <ac:spMkLst>
            <pc:docMk/>
            <pc:sldMk cId="2421576044" sldId="10476"/>
            <ac:spMk id="72" creationId="{C5BAE9F3-F0CE-4E5D-A59F-809FDD7B37E5}"/>
          </ac:spMkLst>
        </pc:spChg>
        <pc:spChg chg="mod">
          <ac:chgData name="Sarah GAUVARD" userId="4c03e191-e154-482a-88b2-11de19eac96c" providerId="ADAL" clId="{8245CC27-65FB-483E-B8E7-D04039DBA80D}" dt="2021-05-24T16:09:29.128" v="17099" actId="790"/>
          <ac:spMkLst>
            <pc:docMk/>
            <pc:sldMk cId="2421576044" sldId="10476"/>
            <ac:spMk id="73" creationId="{98DD9878-7EFD-4EE3-8563-0AB6CA847BCD}"/>
          </ac:spMkLst>
        </pc:spChg>
        <pc:spChg chg="mod">
          <ac:chgData name="Sarah GAUVARD" userId="4c03e191-e154-482a-88b2-11de19eac96c" providerId="ADAL" clId="{8245CC27-65FB-483E-B8E7-D04039DBA80D}" dt="2021-05-24T16:09:29.130" v="17104" actId="790"/>
          <ac:spMkLst>
            <pc:docMk/>
            <pc:sldMk cId="2421576044" sldId="10476"/>
            <ac:spMk id="74" creationId="{E5DAF6B5-73B5-4F99-AC68-3AF9C1E72B1A}"/>
          </ac:spMkLst>
        </pc:spChg>
        <pc:spChg chg="mod">
          <ac:chgData name="Sarah GAUVARD" userId="4c03e191-e154-482a-88b2-11de19eac96c" providerId="ADAL" clId="{8245CC27-65FB-483E-B8E7-D04039DBA80D}" dt="2021-05-24T16:09:29.130" v="17105" actId="790"/>
          <ac:spMkLst>
            <pc:docMk/>
            <pc:sldMk cId="2421576044" sldId="10476"/>
            <ac:spMk id="75" creationId="{FC4FB322-02D4-4E5C-B006-A484E3CA441A}"/>
          </ac:spMkLst>
        </pc:spChg>
        <pc:spChg chg="mod">
          <ac:chgData name="Sarah GAUVARD" userId="4c03e191-e154-482a-88b2-11de19eac96c" providerId="ADAL" clId="{8245CC27-65FB-483E-B8E7-D04039DBA80D}" dt="2021-05-24T16:09:29.130" v="17106" actId="790"/>
          <ac:spMkLst>
            <pc:docMk/>
            <pc:sldMk cId="2421576044" sldId="10476"/>
            <ac:spMk id="76" creationId="{38973F65-37ED-4CDC-9A45-5183BBDA5DB7}"/>
          </ac:spMkLst>
        </pc:spChg>
        <pc:spChg chg="mod">
          <ac:chgData name="Sarah GAUVARD" userId="4c03e191-e154-482a-88b2-11de19eac96c" providerId="ADAL" clId="{8245CC27-65FB-483E-B8E7-D04039DBA80D}" dt="2021-05-24T16:09:29.130" v="17107" actId="790"/>
          <ac:spMkLst>
            <pc:docMk/>
            <pc:sldMk cId="2421576044" sldId="10476"/>
            <ac:spMk id="77" creationId="{C58DFF13-F614-467C-A649-5174336B1430}"/>
          </ac:spMkLst>
        </pc:spChg>
        <pc:spChg chg="mod">
          <ac:chgData name="Sarah GAUVARD" userId="4c03e191-e154-482a-88b2-11de19eac96c" providerId="ADAL" clId="{8245CC27-65FB-483E-B8E7-D04039DBA80D}" dt="2021-05-24T16:09:29.138" v="17108" actId="790"/>
          <ac:spMkLst>
            <pc:docMk/>
            <pc:sldMk cId="2421576044" sldId="10476"/>
            <ac:spMk id="83" creationId="{F3D9AFF7-1D4F-497C-9EBC-5196256BD28B}"/>
          </ac:spMkLst>
        </pc:spChg>
        <pc:spChg chg="mod">
          <ac:chgData name="Sarah GAUVARD" userId="4c03e191-e154-482a-88b2-11de19eac96c" providerId="ADAL" clId="{8245CC27-65FB-483E-B8E7-D04039DBA80D}" dt="2021-05-24T16:09:29.151" v="17120" actId="790"/>
          <ac:spMkLst>
            <pc:docMk/>
            <pc:sldMk cId="2421576044" sldId="10476"/>
            <ac:spMk id="86" creationId="{24839B2F-6BC9-4925-93F1-34CB220326C4}"/>
          </ac:spMkLst>
        </pc:spChg>
        <pc:spChg chg="mod">
          <ac:chgData name="Sarah GAUVARD" userId="4c03e191-e154-482a-88b2-11de19eac96c" providerId="ADAL" clId="{8245CC27-65FB-483E-B8E7-D04039DBA80D}" dt="2021-05-24T16:09:29.141" v="17109" actId="790"/>
          <ac:spMkLst>
            <pc:docMk/>
            <pc:sldMk cId="2421576044" sldId="10476"/>
            <ac:spMk id="87" creationId="{7BB8F9F8-E10F-4E64-9187-C6D2D1422ACE}"/>
          </ac:spMkLst>
        </pc:spChg>
        <pc:spChg chg="mod">
          <ac:chgData name="Sarah GAUVARD" userId="4c03e191-e154-482a-88b2-11de19eac96c" providerId="ADAL" clId="{8245CC27-65FB-483E-B8E7-D04039DBA80D}" dt="2021-05-24T16:09:29.141" v="17110" actId="790"/>
          <ac:spMkLst>
            <pc:docMk/>
            <pc:sldMk cId="2421576044" sldId="10476"/>
            <ac:spMk id="104" creationId="{849ECA68-F6D3-4283-B6B3-B59566FC1F6D}"/>
          </ac:spMkLst>
        </pc:spChg>
        <pc:spChg chg="mod">
          <ac:chgData name="Sarah GAUVARD" userId="4c03e191-e154-482a-88b2-11de19eac96c" providerId="ADAL" clId="{8245CC27-65FB-483E-B8E7-D04039DBA80D}" dt="2021-05-24T16:09:29.141" v="17111" actId="790"/>
          <ac:spMkLst>
            <pc:docMk/>
            <pc:sldMk cId="2421576044" sldId="10476"/>
            <ac:spMk id="105" creationId="{EEE2C96C-B2B1-48D8-9332-E30827E4B0D0}"/>
          </ac:spMkLst>
        </pc:spChg>
        <pc:spChg chg="mod">
          <ac:chgData name="Sarah GAUVARD" userId="4c03e191-e154-482a-88b2-11de19eac96c" providerId="ADAL" clId="{8245CC27-65FB-483E-B8E7-D04039DBA80D}" dt="2021-05-24T16:09:29.141" v="17112" actId="790"/>
          <ac:spMkLst>
            <pc:docMk/>
            <pc:sldMk cId="2421576044" sldId="10476"/>
            <ac:spMk id="106" creationId="{0CE85CB8-7C7A-49B2-A57F-88CBBDC8A596}"/>
          </ac:spMkLst>
        </pc:spChg>
        <pc:spChg chg="mod">
          <ac:chgData name="Sarah GAUVARD" userId="4c03e191-e154-482a-88b2-11de19eac96c" providerId="ADAL" clId="{8245CC27-65FB-483E-B8E7-D04039DBA80D}" dt="2021-05-24T16:09:29.141" v="17113" actId="790"/>
          <ac:spMkLst>
            <pc:docMk/>
            <pc:sldMk cId="2421576044" sldId="10476"/>
            <ac:spMk id="107" creationId="{E85C8784-F071-4729-9033-22C4CE869084}"/>
          </ac:spMkLst>
        </pc:spChg>
        <pc:spChg chg="mod">
          <ac:chgData name="Sarah GAUVARD" userId="4c03e191-e154-482a-88b2-11de19eac96c" providerId="ADAL" clId="{8245CC27-65FB-483E-B8E7-D04039DBA80D}" dt="2021-05-24T16:09:29.141" v="17114" actId="790"/>
          <ac:spMkLst>
            <pc:docMk/>
            <pc:sldMk cId="2421576044" sldId="10476"/>
            <ac:spMk id="108" creationId="{718E7AB5-E818-4750-AA50-CF34925A2446}"/>
          </ac:spMkLst>
        </pc:spChg>
        <pc:spChg chg="mod">
          <ac:chgData name="Sarah GAUVARD" userId="4c03e191-e154-482a-88b2-11de19eac96c" providerId="ADAL" clId="{8245CC27-65FB-483E-B8E7-D04039DBA80D}" dt="2021-05-24T16:09:29.141" v="17115" actId="790"/>
          <ac:spMkLst>
            <pc:docMk/>
            <pc:sldMk cId="2421576044" sldId="10476"/>
            <ac:spMk id="110" creationId="{F5CF73F8-DE8B-4531-8E6F-66A5B1437B68}"/>
          </ac:spMkLst>
        </pc:spChg>
        <pc:spChg chg="mod">
          <ac:chgData name="Sarah GAUVARD" userId="4c03e191-e154-482a-88b2-11de19eac96c" providerId="ADAL" clId="{8245CC27-65FB-483E-B8E7-D04039DBA80D}" dt="2021-05-24T16:09:29.141" v="17116" actId="790"/>
          <ac:spMkLst>
            <pc:docMk/>
            <pc:sldMk cId="2421576044" sldId="10476"/>
            <ac:spMk id="112" creationId="{F1E7BD5C-F003-4784-B812-A952EED452E0}"/>
          </ac:spMkLst>
        </pc:spChg>
        <pc:spChg chg="mod">
          <ac:chgData name="Sarah GAUVARD" userId="4c03e191-e154-482a-88b2-11de19eac96c" providerId="ADAL" clId="{8245CC27-65FB-483E-B8E7-D04039DBA80D}" dt="2021-05-24T16:09:29.149" v="17117" actId="790"/>
          <ac:spMkLst>
            <pc:docMk/>
            <pc:sldMk cId="2421576044" sldId="10476"/>
            <ac:spMk id="113" creationId="{34780B37-667B-46AD-A90A-2E9A04B51827}"/>
          </ac:spMkLst>
        </pc:spChg>
        <pc:spChg chg="mod">
          <ac:chgData name="Sarah GAUVARD" userId="4c03e191-e154-482a-88b2-11de19eac96c" providerId="ADAL" clId="{8245CC27-65FB-483E-B8E7-D04039DBA80D}" dt="2021-05-24T16:09:29.118" v="17086" actId="790"/>
          <ac:spMkLst>
            <pc:docMk/>
            <pc:sldMk cId="2421576044" sldId="10476"/>
            <ac:spMk id="129" creationId="{D71975E8-6EB4-4EA3-B34C-4F9196C4ABBE}"/>
          </ac:spMkLst>
        </pc:spChg>
        <pc:spChg chg="mod">
          <ac:chgData name="Sarah GAUVARD" userId="4c03e191-e154-482a-88b2-11de19eac96c" providerId="ADAL" clId="{8245CC27-65FB-483E-B8E7-D04039DBA80D}" dt="2021-05-24T16:09:29.118" v="17087" actId="790"/>
          <ac:spMkLst>
            <pc:docMk/>
            <pc:sldMk cId="2421576044" sldId="10476"/>
            <ac:spMk id="133" creationId="{A342E216-A2F2-4FE4-89F9-E0010C3D7924}"/>
          </ac:spMkLst>
        </pc:spChg>
        <pc:spChg chg="mod">
          <ac:chgData name="Sarah GAUVARD" userId="4c03e191-e154-482a-88b2-11de19eac96c" providerId="ADAL" clId="{8245CC27-65FB-483E-B8E7-D04039DBA80D}" dt="2021-05-24T16:09:29.118" v="17088" actId="790"/>
          <ac:spMkLst>
            <pc:docMk/>
            <pc:sldMk cId="2421576044" sldId="10476"/>
            <ac:spMk id="134" creationId="{70FE3725-42CC-4172-9F8D-F2B05517B173}"/>
          </ac:spMkLst>
        </pc:spChg>
        <pc:spChg chg="mod">
          <ac:chgData name="Sarah GAUVARD" userId="4c03e191-e154-482a-88b2-11de19eac96c" providerId="ADAL" clId="{8245CC27-65FB-483E-B8E7-D04039DBA80D}" dt="2021-05-24T16:09:29.118" v="17089" actId="790"/>
          <ac:spMkLst>
            <pc:docMk/>
            <pc:sldMk cId="2421576044" sldId="10476"/>
            <ac:spMk id="135" creationId="{E9E47757-74E5-4C3A-8349-4DF9BC11DA26}"/>
          </ac:spMkLst>
        </pc:spChg>
        <pc:spChg chg="mod">
          <ac:chgData name="Sarah GAUVARD" userId="4c03e191-e154-482a-88b2-11de19eac96c" providerId="ADAL" clId="{8245CC27-65FB-483E-B8E7-D04039DBA80D}" dt="2021-05-24T16:09:29.151" v="17118" actId="790"/>
          <ac:spMkLst>
            <pc:docMk/>
            <pc:sldMk cId="2421576044" sldId="10476"/>
            <ac:spMk id="136" creationId="{F5655A12-1321-41AD-A021-A3F6072E401C}"/>
          </ac:spMkLst>
        </pc:spChg>
        <pc:spChg chg="mod">
          <ac:chgData name="Sarah GAUVARD" userId="4c03e191-e154-482a-88b2-11de19eac96c" providerId="ADAL" clId="{8245CC27-65FB-483E-B8E7-D04039DBA80D}" dt="2021-05-24T16:09:29.151" v="17119" actId="790"/>
          <ac:spMkLst>
            <pc:docMk/>
            <pc:sldMk cId="2421576044" sldId="10476"/>
            <ac:spMk id="137" creationId="{06AB971E-2F11-4688-B19E-8FA8645680CD}"/>
          </ac:spMkLst>
        </pc:spChg>
        <pc:spChg chg="mod">
          <ac:chgData name="Sarah GAUVARD" userId="4c03e191-e154-482a-88b2-11de19eac96c" providerId="ADAL" clId="{8245CC27-65FB-483E-B8E7-D04039DBA80D}" dt="2021-05-24T16:09:29.118" v="17094" actId="790"/>
          <ac:spMkLst>
            <pc:docMk/>
            <pc:sldMk cId="2421576044" sldId="10476"/>
            <ac:spMk id="152" creationId="{FD7ED2BD-3A04-423A-8563-A638727F3B40}"/>
          </ac:spMkLst>
        </pc:spChg>
        <pc:graphicFrameChg chg="mod">
          <ac:chgData name="Sarah GAUVARD" userId="4c03e191-e154-482a-88b2-11de19eac96c" providerId="ADAL" clId="{8245CC27-65FB-483E-B8E7-D04039DBA80D}" dt="2021-05-24T15:34:46.689" v="12153"/>
          <ac:graphicFrameMkLst>
            <pc:docMk/>
            <pc:sldMk cId="2421576044" sldId="10476"/>
            <ac:graphicFrameMk id="18" creationId="{597710FC-936F-4224-8A0A-F67D6B18BBF7}"/>
          </ac:graphicFrameMkLst>
        </pc:graphicFrameChg>
      </pc:sldChg>
      <pc:sldChg chg="addSp delSp modSp new add mod">
        <pc:chgData name="Sarah GAUVARD" userId="4c03e191-e154-482a-88b2-11de19eac96c" providerId="ADAL" clId="{8245CC27-65FB-483E-B8E7-D04039DBA80D}" dt="2021-05-25T15:28:09.529" v="27837" actId="1076"/>
        <pc:sldMkLst>
          <pc:docMk/>
          <pc:sldMk cId="334705468" sldId="10477"/>
        </pc:sldMkLst>
        <pc:spChg chg="mod">
          <ac:chgData name="Sarah GAUVARD" userId="4c03e191-e154-482a-88b2-11de19eac96c" providerId="ADAL" clId="{8245CC27-65FB-483E-B8E7-D04039DBA80D}" dt="2021-05-24T16:09:29.029" v="17010" actId="790"/>
          <ac:spMkLst>
            <pc:docMk/>
            <pc:sldMk cId="334705468" sldId="10477"/>
            <ac:spMk id="2" creationId="{EF803D54-FFD7-419D-904B-922F49CD2917}"/>
          </ac:spMkLst>
        </pc:spChg>
        <pc:spChg chg="add mod">
          <ac:chgData name="Sarah GAUVARD" userId="4c03e191-e154-482a-88b2-11de19eac96c" providerId="ADAL" clId="{8245CC27-65FB-483E-B8E7-D04039DBA80D}" dt="2021-05-24T16:09:29.037" v="17011" actId="790"/>
          <ac:spMkLst>
            <pc:docMk/>
            <pc:sldMk cId="334705468" sldId="10477"/>
            <ac:spMk id="3" creationId="{2A6E30E2-FDCF-4E7D-8476-BAB65F50C885}"/>
          </ac:spMkLst>
        </pc:spChg>
        <pc:spChg chg="add mod">
          <ac:chgData name="Sarah GAUVARD" userId="4c03e191-e154-482a-88b2-11de19eac96c" providerId="ADAL" clId="{8245CC27-65FB-483E-B8E7-D04039DBA80D}" dt="2021-05-24T16:09:29.037" v="17012" actId="790"/>
          <ac:spMkLst>
            <pc:docMk/>
            <pc:sldMk cId="334705468" sldId="10477"/>
            <ac:spMk id="4" creationId="{FBFA45FE-6078-4B3A-B961-35E498E9E5D3}"/>
          </ac:spMkLst>
        </pc:spChg>
        <pc:spChg chg="add mod">
          <ac:chgData name="Sarah GAUVARD" userId="4c03e191-e154-482a-88b2-11de19eac96c" providerId="ADAL" clId="{8245CC27-65FB-483E-B8E7-D04039DBA80D}" dt="2021-05-24T16:09:29.039" v="17013" actId="790"/>
          <ac:spMkLst>
            <pc:docMk/>
            <pc:sldMk cId="334705468" sldId="10477"/>
            <ac:spMk id="5" creationId="{BD728580-58BC-437C-9489-75F07B3629B7}"/>
          </ac:spMkLst>
        </pc:spChg>
        <pc:spChg chg="add mod">
          <ac:chgData name="Sarah GAUVARD" userId="4c03e191-e154-482a-88b2-11de19eac96c" providerId="ADAL" clId="{8245CC27-65FB-483E-B8E7-D04039DBA80D}" dt="2021-05-24T16:09:29.039" v="17014" actId="790"/>
          <ac:spMkLst>
            <pc:docMk/>
            <pc:sldMk cId="334705468" sldId="10477"/>
            <ac:spMk id="6" creationId="{0D71B3A7-C6C6-4652-87AB-E37A79AE81E6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10" creationId="{CF9EF04D-A8DA-430C-8FE6-73B9D52438D8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13" creationId="{033DC122-AC82-47EE-870C-AD69707CBF04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16" creationId="{BA25FE13-8A4A-4C62-8AAF-9FD70412153E}"/>
          </ac:spMkLst>
        </pc:spChg>
        <pc:spChg chg="add mod">
          <ac:chgData name="Sarah GAUVARD" userId="4c03e191-e154-482a-88b2-11de19eac96c" providerId="ADAL" clId="{8245CC27-65FB-483E-B8E7-D04039DBA80D}" dt="2021-05-24T16:09:29.039" v="17018" actId="790"/>
          <ac:spMkLst>
            <pc:docMk/>
            <pc:sldMk cId="334705468" sldId="10477"/>
            <ac:spMk id="17" creationId="{C95AA0A5-D344-4A89-8DED-5C9C7D2C8476}"/>
          </ac:spMkLst>
        </pc:spChg>
        <pc:spChg chg="add mod">
          <ac:chgData name="Sarah GAUVARD" userId="4c03e191-e154-482a-88b2-11de19eac96c" providerId="ADAL" clId="{8245CC27-65FB-483E-B8E7-D04039DBA80D}" dt="2021-05-24T16:09:29.039" v="17019" actId="790"/>
          <ac:spMkLst>
            <pc:docMk/>
            <pc:sldMk cId="334705468" sldId="10477"/>
            <ac:spMk id="18" creationId="{1E38532B-2BB5-4511-A5A4-2ADA00937150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20" creationId="{D3E8F46A-1282-4F9D-BA95-A76BD3832A8E}"/>
          </ac:spMkLst>
        </pc:spChg>
        <pc:spChg chg="add mod">
          <ac:chgData name="Sarah GAUVARD" userId="4c03e191-e154-482a-88b2-11de19eac96c" providerId="ADAL" clId="{8245CC27-65FB-483E-B8E7-D04039DBA80D}" dt="2021-05-24T16:09:29.039" v="17021" actId="790"/>
          <ac:spMkLst>
            <pc:docMk/>
            <pc:sldMk cId="334705468" sldId="10477"/>
            <ac:spMk id="22" creationId="{D535997E-8335-4695-94AA-DF0C785AF086}"/>
          </ac:spMkLst>
        </pc:spChg>
        <pc:spChg chg="add mod">
          <ac:chgData name="Sarah GAUVARD" userId="4c03e191-e154-482a-88b2-11de19eac96c" providerId="ADAL" clId="{8245CC27-65FB-483E-B8E7-D04039DBA80D}" dt="2021-05-25T15:20:50.651" v="27624" actId="207"/>
          <ac:spMkLst>
            <pc:docMk/>
            <pc:sldMk cId="334705468" sldId="10477"/>
            <ac:spMk id="26" creationId="{66C73AF3-2F81-48F3-9356-49C96219ED98}"/>
          </ac:spMkLst>
        </pc:spChg>
        <pc:spChg chg="add mod">
          <ac:chgData name="Sarah GAUVARD" userId="4c03e191-e154-482a-88b2-11de19eac96c" providerId="ADAL" clId="{8245CC27-65FB-483E-B8E7-D04039DBA80D}" dt="2021-05-25T10:11:27.477" v="19462" actId="465"/>
          <ac:spMkLst>
            <pc:docMk/>
            <pc:sldMk cId="334705468" sldId="10477"/>
            <ac:spMk id="28" creationId="{11F45C7E-D600-4FC3-A415-594AC03D2F45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29" creationId="{5365F92F-0931-4875-B2EB-848E9F83E6CC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30" creationId="{5CF58670-FDBC-4498-AA19-361A784C51E5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31" creationId="{AFB7D9E8-12F8-4137-9C99-6BE03780E318}"/>
          </ac:spMkLst>
        </pc:spChg>
        <pc:spChg chg="add del mod">
          <ac:chgData name="Sarah GAUVARD" userId="4c03e191-e154-482a-88b2-11de19eac96c" providerId="ADAL" clId="{8245CC27-65FB-483E-B8E7-D04039DBA80D}" dt="2021-05-24T15:36:30.088" v="12193"/>
          <ac:spMkLst>
            <pc:docMk/>
            <pc:sldMk cId="334705468" sldId="10477"/>
            <ac:spMk id="33" creationId="{8E735874-221E-4A71-8563-C30F31234A18}"/>
          </ac:spMkLst>
        </pc:spChg>
        <pc:spChg chg="add mod">
          <ac:chgData name="Sarah GAUVARD" userId="4c03e191-e154-482a-88b2-11de19eac96c" providerId="ADAL" clId="{8245CC27-65FB-483E-B8E7-D04039DBA80D}" dt="2021-05-25T10:11:25.280" v="19461" actId="465"/>
          <ac:spMkLst>
            <pc:docMk/>
            <pc:sldMk cId="334705468" sldId="10477"/>
            <ac:spMk id="34" creationId="{D51C10A5-1BAD-439D-A50A-11F2CFA0F6BE}"/>
          </ac:spMkLst>
        </pc:spChg>
        <pc:spChg chg="add del mod modVis">
          <ac:chgData name="Sarah GAUVARD" userId="4c03e191-e154-482a-88b2-11de19eac96c" providerId="ADAL" clId="{8245CC27-65FB-483E-B8E7-D04039DBA80D}" dt="2021-05-24T15:37:50.336" v="12288"/>
          <ac:spMkLst>
            <pc:docMk/>
            <pc:sldMk cId="334705468" sldId="10477"/>
            <ac:spMk id="41" creationId="{E02E8238-8811-4C06-AC60-73BFAAEEB01A}"/>
          </ac:spMkLst>
        </pc:spChg>
        <pc:spChg chg="add del mod modVis">
          <ac:chgData name="Sarah GAUVARD" userId="4c03e191-e154-482a-88b2-11de19eac96c" providerId="ADAL" clId="{8245CC27-65FB-483E-B8E7-D04039DBA80D}" dt="2021-05-24T15:37:52.564" v="12342"/>
          <ac:spMkLst>
            <pc:docMk/>
            <pc:sldMk cId="334705468" sldId="10477"/>
            <ac:spMk id="42" creationId="{97561E5E-82B3-4ED7-9B25-832DE983CB88}"/>
          </ac:spMkLst>
        </pc:spChg>
        <pc:spChg chg="add del mod modVis">
          <ac:chgData name="Sarah GAUVARD" userId="4c03e191-e154-482a-88b2-11de19eac96c" providerId="ADAL" clId="{8245CC27-65FB-483E-B8E7-D04039DBA80D}" dt="2021-05-24T15:37:56.290" v="12412"/>
          <ac:spMkLst>
            <pc:docMk/>
            <pc:sldMk cId="334705468" sldId="10477"/>
            <ac:spMk id="43" creationId="{A9C5BF6A-6D67-4C38-A6BC-1E9251C8340D}"/>
          </ac:spMkLst>
        </pc:spChg>
        <pc:spChg chg="add del mod modVis">
          <ac:chgData name="Sarah GAUVARD" userId="4c03e191-e154-482a-88b2-11de19eac96c" providerId="ADAL" clId="{8245CC27-65FB-483E-B8E7-D04039DBA80D}" dt="2021-05-24T15:37:58.501" v="12469"/>
          <ac:spMkLst>
            <pc:docMk/>
            <pc:sldMk cId="334705468" sldId="10477"/>
            <ac:spMk id="44" creationId="{D547FD37-8004-47AA-844E-49E8DA4CCF5E}"/>
          </ac:spMkLst>
        </pc:spChg>
        <pc:spChg chg="add del mod modVis">
          <ac:chgData name="Sarah GAUVARD" userId="4c03e191-e154-482a-88b2-11de19eac96c" providerId="ADAL" clId="{8245CC27-65FB-483E-B8E7-D04039DBA80D}" dt="2021-05-24T15:38:05.474" v="12516"/>
          <ac:spMkLst>
            <pc:docMk/>
            <pc:sldMk cId="334705468" sldId="10477"/>
            <ac:spMk id="45" creationId="{0F62C3F6-C069-4837-BBD3-4945E5B29AA0}"/>
          </ac:spMkLst>
        </pc:spChg>
        <pc:spChg chg="add del mod modVis">
          <ac:chgData name="Sarah GAUVARD" userId="4c03e191-e154-482a-88b2-11de19eac96c" providerId="ADAL" clId="{8245CC27-65FB-483E-B8E7-D04039DBA80D}" dt="2021-05-24T15:38:06.694" v="12567"/>
          <ac:spMkLst>
            <pc:docMk/>
            <pc:sldMk cId="334705468" sldId="10477"/>
            <ac:spMk id="46" creationId="{23B8815D-579C-4C56-B3D0-0A15FFF9767A}"/>
          </ac:spMkLst>
        </pc:spChg>
        <pc:spChg chg="add del mod modVis">
          <ac:chgData name="Sarah GAUVARD" userId="4c03e191-e154-482a-88b2-11de19eac96c" providerId="ADAL" clId="{8245CC27-65FB-483E-B8E7-D04039DBA80D}" dt="2021-05-24T15:38:15.677" v="12654"/>
          <ac:spMkLst>
            <pc:docMk/>
            <pc:sldMk cId="334705468" sldId="10477"/>
            <ac:spMk id="47" creationId="{F7ED6124-D60D-4F71-89A1-AD7FDE54C93A}"/>
          </ac:spMkLst>
        </pc:spChg>
        <pc:spChg chg="add del mod modVis">
          <ac:chgData name="Sarah GAUVARD" userId="4c03e191-e154-482a-88b2-11de19eac96c" providerId="ADAL" clId="{8245CC27-65FB-483E-B8E7-D04039DBA80D}" dt="2021-05-24T15:38:18.179" v="12703"/>
          <ac:spMkLst>
            <pc:docMk/>
            <pc:sldMk cId="334705468" sldId="10477"/>
            <ac:spMk id="48" creationId="{418DF91B-AB62-4C36-BB40-9FD3B718DF1F}"/>
          </ac:spMkLst>
        </pc:spChg>
        <pc:spChg chg="add del mod modVis">
          <ac:chgData name="Sarah GAUVARD" userId="4c03e191-e154-482a-88b2-11de19eac96c" providerId="ADAL" clId="{8245CC27-65FB-483E-B8E7-D04039DBA80D}" dt="2021-05-24T15:38:23.092" v="12752"/>
          <ac:spMkLst>
            <pc:docMk/>
            <pc:sldMk cId="334705468" sldId="10477"/>
            <ac:spMk id="49" creationId="{8A2F41D8-0F19-482B-B577-5AAA639B1BDB}"/>
          </ac:spMkLst>
        </pc:spChg>
        <pc:spChg chg="add del mod modVis">
          <ac:chgData name="Sarah GAUVARD" userId="4c03e191-e154-482a-88b2-11de19eac96c" providerId="ADAL" clId="{8245CC27-65FB-483E-B8E7-D04039DBA80D}" dt="2021-05-24T15:38:25.110" v="12807"/>
          <ac:spMkLst>
            <pc:docMk/>
            <pc:sldMk cId="334705468" sldId="10477"/>
            <ac:spMk id="50" creationId="{2792267E-989F-4085-A863-B0086D3E79E5}"/>
          </ac:spMkLst>
        </pc:spChg>
        <pc:spChg chg="add del mod modVis">
          <ac:chgData name="Sarah GAUVARD" userId="4c03e191-e154-482a-88b2-11de19eac96c" providerId="ADAL" clId="{8245CC27-65FB-483E-B8E7-D04039DBA80D}" dt="2021-05-24T15:38:27.742" v="12851"/>
          <ac:spMkLst>
            <pc:docMk/>
            <pc:sldMk cId="334705468" sldId="10477"/>
            <ac:spMk id="51" creationId="{2396497D-8202-45C4-AECC-368F802B9890}"/>
          </ac:spMkLst>
        </pc:spChg>
        <pc:spChg chg="add del mod modVis">
          <ac:chgData name="Sarah GAUVARD" userId="4c03e191-e154-482a-88b2-11de19eac96c" providerId="ADAL" clId="{8245CC27-65FB-483E-B8E7-D04039DBA80D}" dt="2021-05-24T15:38:35.222" v="12895"/>
          <ac:spMkLst>
            <pc:docMk/>
            <pc:sldMk cId="334705468" sldId="10477"/>
            <ac:spMk id="52" creationId="{B254B424-7E1C-4C70-93C0-21B305DDDE54}"/>
          </ac:spMkLst>
        </pc:spChg>
        <pc:spChg chg="add del mod modVis">
          <ac:chgData name="Sarah GAUVARD" userId="4c03e191-e154-482a-88b2-11de19eac96c" providerId="ADAL" clId="{8245CC27-65FB-483E-B8E7-D04039DBA80D}" dt="2021-05-24T15:38:39.040" v="12940"/>
          <ac:spMkLst>
            <pc:docMk/>
            <pc:sldMk cId="334705468" sldId="10477"/>
            <ac:spMk id="53" creationId="{E17353A3-E71A-4C7C-91A1-C15F76FF4194}"/>
          </ac:spMkLst>
        </pc:spChg>
        <pc:spChg chg="add del mod modVis">
          <ac:chgData name="Sarah GAUVARD" userId="4c03e191-e154-482a-88b2-11de19eac96c" providerId="ADAL" clId="{8245CC27-65FB-483E-B8E7-D04039DBA80D}" dt="2021-05-24T15:38:42.302" v="12991"/>
          <ac:spMkLst>
            <pc:docMk/>
            <pc:sldMk cId="334705468" sldId="10477"/>
            <ac:spMk id="54" creationId="{8D518670-22E3-4B39-A527-7F6EA7A3E11B}"/>
          </ac:spMkLst>
        </pc:spChg>
        <pc:spChg chg="add mod">
          <ac:chgData name="Sarah GAUVARD" userId="4c03e191-e154-482a-88b2-11de19eac96c" providerId="ADAL" clId="{8245CC27-65FB-483E-B8E7-D04039DBA80D}" dt="2021-05-25T08:08:59.166" v="18677" actId="14100"/>
          <ac:spMkLst>
            <pc:docMk/>
            <pc:sldMk cId="334705468" sldId="10477"/>
            <ac:spMk id="55" creationId="{A655C1A1-F1BC-4E0A-8733-FE9304D5DF11}"/>
          </ac:spMkLst>
        </pc:spChg>
        <pc:spChg chg="add mod">
          <ac:chgData name="Sarah GAUVARD" userId="4c03e191-e154-482a-88b2-11de19eac96c" providerId="ADAL" clId="{8245CC27-65FB-483E-B8E7-D04039DBA80D}" dt="2021-05-25T08:09:18.223" v="18714" actId="20577"/>
          <ac:spMkLst>
            <pc:docMk/>
            <pc:sldMk cId="334705468" sldId="10477"/>
            <ac:spMk id="56" creationId="{677E9C9C-EFC6-41AC-96D5-37F781C64C68}"/>
          </ac:spMkLst>
        </pc:spChg>
        <pc:spChg chg="add mod">
          <ac:chgData name="Sarah GAUVARD" userId="4c03e191-e154-482a-88b2-11de19eac96c" providerId="ADAL" clId="{8245CC27-65FB-483E-B8E7-D04039DBA80D}" dt="2021-05-25T08:08:59.166" v="18677" actId="14100"/>
          <ac:spMkLst>
            <pc:docMk/>
            <pc:sldMk cId="334705468" sldId="10477"/>
            <ac:spMk id="57" creationId="{8C686930-14F3-4E4F-ACF7-741C5C0CBA0E}"/>
          </ac:spMkLst>
        </pc:spChg>
        <pc:spChg chg="add mod">
          <ac:chgData name="Sarah GAUVARD" userId="4c03e191-e154-482a-88b2-11de19eac96c" providerId="ADAL" clId="{8245CC27-65FB-483E-B8E7-D04039DBA80D}" dt="2021-05-25T10:16:29.025" v="19531" actId="1036"/>
          <ac:spMkLst>
            <pc:docMk/>
            <pc:sldMk cId="334705468" sldId="10477"/>
            <ac:spMk id="58" creationId="{7D9AD63F-1A86-4E94-836B-E191B19B627C}"/>
          </ac:spMkLst>
        </pc:spChg>
        <pc:spChg chg="add mod">
          <ac:chgData name="Sarah GAUVARD" userId="4c03e191-e154-482a-88b2-11de19eac96c" providerId="ADAL" clId="{8245CC27-65FB-483E-B8E7-D04039DBA80D}" dt="2021-05-25T15:28:09.529" v="27837" actId="1076"/>
          <ac:spMkLst>
            <pc:docMk/>
            <pc:sldMk cId="334705468" sldId="10477"/>
            <ac:spMk id="59" creationId="{041C200D-085E-4D71-9F95-528827DD5908}"/>
          </ac:spMkLst>
        </pc:spChg>
        <pc:spChg chg="add mod">
          <ac:chgData name="Sarah GAUVARD" userId="4c03e191-e154-482a-88b2-11de19eac96c" providerId="ADAL" clId="{8245CC27-65FB-483E-B8E7-D04039DBA80D}" dt="2021-05-24T16:09:43.245" v="17478" actId="1076"/>
          <ac:spMkLst>
            <pc:docMk/>
            <pc:sldMk cId="334705468" sldId="10477"/>
            <ac:spMk id="62" creationId="{DACD3A10-EDCD-4394-8682-3E21BEBD94B9}"/>
          </ac:spMkLst>
        </pc:spChg>
        <pc:spChg chg="add mod">
          <ac:chgData name="Sarah GAUVARD" userId="4c03e191-e154-482a-88b2-11de19eac96c" providerId="ADAL" clId="{8245CC27-65FB-483E-B8E7-D04039DBA80D}" dt="2021-05-25T07:31:08.136" v="17565" actId="20577"/>
          <ac:spMkLst>
            <pc:docMk/>
            <pc:sldMk cId="334705468" sldId="10477"/>
            <ac:spMk id="63" creationId="{5293ED27-83B1-4596-AF8C-8E4ED5F56B2A}"/>
          </ac:spMkLst>
        </pc:spChg>
        <pc:spChg chg="add mod">
          <ac:chgData name="Sarah GAUVARD" userId="4c03e191-e154-482a-88b2-11de19eac96c" providerId="ADAL" clId="{8245CC27-65FB-483E-B8E7-D04039DBA80D}" dt="2021-05-24T16:09:29.060" v="17035" actId="790"/>
          <ac:spMkLst>
            <pc:docMk/>
            <pc:sldMk cId="334705468" sldId="10477"/>
            <ac:spMk id="70" creationId="{113E5341-4F28-4188-8C4A-3DE28CB9566A}"/>
          </ac:spMkLst>
        </pc:spChg>
        <pc:spChg chg="add mod">
          <ac:chgData name="Sarah GAUVARD" userId="4c03e191-e154-482a-88b2-11de19eac96c" providerId="ADAL" clId="{8245CC27-65FB-483E-B8E7-D04039DBA80D}" dt="2021-05-24T16:09:29.060" v="17036" actId="790"/>
          <ac:spMkLst>
            <pc:docMk/>
            <pc:sldMk cId="334705468" sldId="10477"/>
            <ac:spMk id="71" creationId="{3592CACF-8BA8-4665-B2A9-12172F995CEC}"/>
          </ac:spMkLst>
        </pc:spChg>
        <pc:spChg chg="add mod">
          <ac:chgData name="Sarah GAUVARD" userId="4c03e191-e154-482a-88b2-11de19eac96c" providerId="ADAL" clId="{8245CC27-65FB-483E-B8E7-D04039DBA80D}" dt="2021-05-24T16:09:29.060" v="17037" actId="790"/>
          <ac:spMkLst>
            <pc:docMk/>
            <pc:sldMk cId="334705468" sldId="10477"/>
            <ac:spMk id="72" creationId="{F58111E3-E56D-4B61-BEB0-20F5DAD06446}"/>
          </ac:spMkLst>
        </pc:spChg>
        <pc:spChg chg="add del mod modVis">
          <ac:chgData name="Sarah GAUVARD" userId="4c03e191-e154-482a-88b2-11de19eac96c" providerId="ADAL" clId="{8245CC27-65FB-483E-B8E7-D04039DBA80D}" dt="2021-05-24T15:56:26.862" v="13629"/>
          <ac:spMkLst>
            <pc:docMk/>
            <pc:sldMk cId="334705468" sldId="10477"/>
            <ac:spMk id="73" creationId="{A6D320C6-36A0-47F6-B85A-56C99B4302A5}"/>
          </ac:spMkLst>
        </pc:spChg>
        <pc:spChg chg="add del mod modVis">
          <ac:chgData name="Sarah GAUVARD" userId="4c03e191-e154-482a-88b2-11de19eac96c" providerId="ADAL" clId="{8245CC27-65FB-483E-B8E7-D04039DBA80D}" dt="2021-05-24T15:56:28.944" v="13678"/>
          <ac:spMkLst>
            <pc:docMk/>
            <pc:sldMk cId="334705468" sldId="10477"/>
            <ac:spMk id="74" creationId="{5253A955-D8C2-41E5-8A8B-489E04FF1BB9}"/>
          </ac:spMkLst>
        </pc:spChg>
        <pc:spChg chg="add del mod modVis">
          <ac:chgData name="Sarah GAUVARD" userId="4c03e191-e154-482a-88b2-11de19eac96c" providerId="ADAL" clId="{8245CC27-65FB-483E-B8E7-D04039DBA80D}" dt="2021-05-24T15:56:33.664" v="13733"/>
          <ac:spMkLst>
            <pc:docMk/>
            <pc:sldMk cId="334705468" sldId="10477"/>
            <ac:spMk id="75" creationId="{577DF8E5-2F91-420C-A131-0CE3D8E76E9C}"/>
          </ac:spMkLst>
        </pc:spChg>
        <pc:spChg chg="add del mod modVis">
          <ac:chgData name="Sarah GAUVARD" userId="4c03e191-e154-482a-88b2-11de19eac96c" providerId="ADAL" clId="{8245CC27-65FB-483E-B8E7-D04039DBA80D}" dt="2021-05-24T15:56:48.018" v="13782"/>
          <ac:spMkLst>
            <pc:docMk/>
            <pc:sldMk cId="334705468" sldId="10477"/>
            <ac:spMk id="76" creationId="{BDA8B19E-49E7-4B3D-B731-93DD6BBD6BC0}"/>
          </ac:spMkLst>
        </pc:spChg>
        <pc:spChg chg="add del mod modVis">
          <ac:chgData name="Sarah GAUVARD" userId="4c03e191-e154-482a-88b2-11de19eac96c" providerId="ADAL" clId="{8245CC27-65FB-483E-B8E7-D04039DBA80D}" dt="2021-05-24T15:57:03.857" v="13850"/>
          <ac:spMkLst>
            <pc:docMk/>
            <pc:sldMk cId="334705468" sldId="10477"/>
            <ac:spMk id="77" creationId="{87ACF0CF-A444-4CB3-8E85-7579DAACC362}"/>
          </ac:spMkLst>
        </pc:spChg>
        <pc:spChg chg="add del mod modVis">
          <ac:chgData name="Sarah GAUVARD" userId="4c03e191-e154-482a-88b2-11de19eac96c" providerId="ADAL" clId="{8245CC27-65FB-483E-B8E7-D04039DBA80D}" dt="2021-05-24T15:57:07.778" v="13910"/>
          <ac:spMkLst>
            <pc:docMk/>
            <pc:sldMk cId="334705468" sldId="10477"/>
            <ac:spMk id="78" creationId="{7DB850E6-6B23-42A1-B07D-27C14821803E}"/>
          </ac:spMkLst>
        </pc:spChg>
        <pc:spChg chg="add del mod modVis">
          <ac:chgData name="Sarah GAUVARD" userId="4c03e191-e154-482a-88b2-11de19eac96c" providerId="ADAL" clId="{8245CC27-65FB-483E-B8E7-D04039DBA80D}" dt="2021-05-24T15:57:12.410" v="13954"/>
          <ac:spMkLst>
            <pc:docMk/>
            <pc:sldMk cId="334705468" sldId="10477"/>
            <ac:spMk id="79" creationId="{4DC0055B-34E6-4989-AAEB-1E72E3BF8503}"/>
          </ac:spMkLst>
        </pc:spChg>
        <pc:spChg chg="add del mod modVis">
          <ac:chgData name="Sarah GAUVARD" userId="4c03e191-e154-482a-88b2-11de19eac96c" providerId="ADAL" clId="{8245CC27-65FB-483E-B8E7-D04039DBA80D}" dt="2021-05-24T15:57:21.727" v="13998"/>
          <ac:spMkLst>
            <pc:docMk/>
            <pc:sldMk cId="334705468" sldId="10477"/>
            <ac:spMk id="80" creationId="{DACF2BD1-C56E-4794-A0BF-8AAC37D46BA3}"/>
          </ac:spMkLst>
        </pc:spChg>
        <pc:spChg chg="add del mod modVis">
          <ac:chgData name="Sarah GAUVARD" userId="4c03e191-e154-482a-88b2-11de19eac96c" providerId="ADAL" clId="{8245CC27-65FB-483E-B8E7-D04039DBA80D}" dt="2021-05-24T15:57:24.993" v="14042"/>
          <ac:spMkLst>
            <pc:docMk/>
            <pc:sldMk cId="334705468" sldId="10477"/>
            <ac:spMk id="81" creationId="{CFA4100C-BE93-4104-9F0E-C49C779B6E58}"/>
          </ac:spMkLst>
        </pc:spChg>
        <pc:spChg chg="add mod">
          <ac:chgData name="Sarah GAUVARD" userId="4c03e191-e154-482a-88b2-11de19eac96c" providerId="ADAL" clId="{8245CC27-65FB-483E-B8E7-D04039DBA80D}" dt="2021-05-25T10:10:17.007" v="19448" actId="571"/>
          <ac:spMkLst>
            <pc:docMk/>
            <pc:sldMk cId="334705468" sldId="10477"/>
            <ac:spMk id="83" creationId="{BBEDC2F7-2402-445A-B640-9462BA281C6B}"/>
          </ac:spMkLst>
        </pc:spChg>
        <pc:spChg chg="add del mod">
          <ac:chgData name="Sarah GAUVARD" userId="4c03e191-e154-482a-88b2-11de19eac96c" providerId="ADAL" clId="{8245CC27-65FB-483E-B8E7-D04039DBA80D}" dt="2021-05-25T10:14:02.836" v="19467" actId="478"/>
          <ac:spMkLst>
            <pc:docMk/>
            <pc:sldMk cId="334705468" sldId="10477"/>
            <ac:spMk id="84" creationId="{D03BB465-5728-4A42-A210-C34B81F8EEB8}"/>
          </ac:spMkLst>
        </pc:spChg>
        <pc:spChg chg="add mod">
          <ac:chgData name="Sarah GAUVARD" userId="4c03e191-e154-482a-88b2-11de19eac96c" providerId="ADAL" clId="{8245CC27-65FB-483E-B8E7-D04039DBA80D}" dt="2021-05-24T16:09:29.060" v="17038" actId="790"/>
          <ac:spMkLst>
            <pc:docMk/>
            <pc:sldMk cId="334705468" sldId="10477"/>
            <ac:spMk id="85" creationId="{68001F5E-6947-4E7D-975E-31B3E2A94A1A}"/>
          </ac:spMkLst>
        </pc:spChg>
        <pc:spChg chg="add mod">
          <ac:chgData name="Sarah GAUVARD" userId="4c03e191-e154-482a-88b2-11de19eac96c" providerId="ADAL" clId="{8245CC27-65FB-483E-B8E7-D04039DBA80D}" dt="2021-05-25T10:49:42.185" v="19572" actId="14100"/>
          <ac:spMkLst>
            <pc:docMk/>
            <pc:sldMk cId="334705468" sldId="10477"/>
            <ac:spMk id="86" creationId="{820AFBE1-61ED-4FFA-946D-2E783059BBBE}"/>
          </ac:spMkLst>
        </pc:spChg>
        <pc:spChg chg="add mod">
          <ac:chgData name="Sarah GAUVARD" userId="4c03e191-e154-482a-88b2-11de19eac96c" providerId="ADAL" clId="{8245CC27-65FB-483E-B8E7-D04039DBA80D}" dt="2021-05-25T10:49:45.183" v="19573" actId="1076"/>
          <ac:spMkLst>
            <pc:docMk/>
            <pc:sldMk cId="334705468" sldId="10477"/>
            <ac:spMk id="87" creationId="{7FBDB10B-1BA5-42DA-A513-C61789A1AF1C}"/>
          </ac:spMkLst>
        </pc:spChg>
        <pc:spChg chg="add mod">
          <ac:chgData name="Sarah GAUVARD" userId="4c03e191-e154-482a-88b2-11de19eac96c" providerId="ADAL" clId="{8245CC27-65FB-483E-B8E7-D04039DBA80D}" dt="2021-05-25T15:28:06.061" v="27836" actId="1076"/>
          <ac:spMkLst>
            <pc:docMk/>
            <pc:sldMk cId="334705468" sldId="10477"/>
            <ac:spMk id="88" creationId="{29183D46-5420-483E-87FD-D9321C8095A3}"/>
          </ac:spMkLst>
        </pc:spChg>
        <pc:spChg chg="add mod">
          <ac:chgData name="Sarah GAUVARD" userId="4c03e191-e154-482a-88b2-11de19eac96c" providerId="ADAL" clId="{8245CC27-65FB-483E-B8E7-D04039DBA80D}" dt="2021-05-25T10:11:47.131" v="19465" actId="552"/>
          <ac:spMkLst>
            <pc:docMk/>
            <pc:sldMk cId="334705468" sldId="10477"/>
            <ac:spMk id="89" creationId="{EC8EA891-9074-42C7-909C-A4254666A874}"/>
          </ac:spMkLst>
        </pc:spChg>
        <pc:spChg chg="add mod">
          <ac:chgData name="Sarah GAUVARD" userId="4c03e191-e154-482a-88b2-11de19eac96c" providerId="ADAL" clId="{8245CC27-65FB-483E-B8E7-D04039DBA80D}" dt="2021-05-25T10:07:24.263" v="19384" actId="1076"/>
          <ac:spMkLst>
            <pc:docMk/>
            <pc:sldMk cId="334705468" sldId="10477"/>
            <ac:spMk id="90" creationId="{508AA679-5CA1-4AF0-8C4D-3DAD14C5E05B}"/>
          </ac:spMkLst>
        </pc:spChg>
        <pc:spChg chg="add mod">
          <ac:chgData name="Sarah GAUVARD" userId="4c03e191-e154-482a-88b2-11de19eac96c" providerId="ADAL" clId="{8245CC27-65FB-483E-B8E7-D04039DBA80D}" dt="2021-05-25T10:10:45.262" v="19452" actId="1076"/>
          <ac:spMkLst>
            <pc:docMk/>
            <pc:sldMk cId="334705468" sldId="10477"/>
            <ac:spMk id="91" creationId="{587FB1B6-ABB0-4EF1-8100-2CF2CD97B6D7}"/>
          </ac:spMkLst>
        </pc:spChg>
        <pc:spChg chg="add mod">
          <ac:chgData name="Sarah GAUVARD" userId="4c03e191-e154-482a-88b2-11de19eac96c" providerId="ADAL" clId="{8245CC27-65FB-483E-B8E7-D04039DBA80D}" dt="2021-05-25T10:15:06.681" v="19499" actId="14100"/>
          <ac:spMkLst>
            <pc:docMk/>
            <pc:sldMk cId="334705468" sldId="10477"/>
            <ac:spMk id="93" creationId="{CB470B3E-F071-4E4E-9C69-1F39B42015EC}"/>
          </ac:spMkLst>
        </pc:spChg>
        <pc:graphicFrameChg chg="add mod ord modVis">
          <ac:chgData name="Sarah GAUVARD" userId="4c03e191-e154-482a-88b2-11de19eac96c" providerId="ADAL" clId="{8245CC27-65FB-483E-B8E7-D04039DBA80D}" dt="2021-05-24T15:57:24.996" v="14044"/>
          <ac:graphicFrameMkLst>
            <pc:docMk/>
            <pc:sldMk cId="334705468" sldId="10477"/>
            <ac:graphicFrameMk id="27" creationId="{BFED8127-4C36-49D7-B643-65705A286230}"/>
          </ac:graphicFrameMkLst>
        </pc:graphicFrameChg>
        <pc:picChg chg="add mod">
          <ac:chgData name="Sarah GAUVARD" userId="4c03e191-e154-482a-88b2-11de19eac96c" providerId="ADAL" clId="{8245CC27-65FB-483E-B8E7-D04039DBA80D}" dt="2021-05-25T10:15:15.367" v="19500" actId="1076"/>
          <ac:picMkLst>
            <pc:docMk/>
            <pc:sldMk cId="334705468" sldId="10477"/>
            <ac:picMk id="7" creationId="{2929ED29-B0BD-4B11-948A-4811710159E5}"/>
          </ac:picMkLst>
        </pc:picChg>
        <pc:picChg chg="add mod">
          <ac:chgData name="Sarah GAUVARD" userId="4c03e191-e154-482a-88b2-11de19eac96c" providerId="ADAL" clId="{8245CC27-65FB-483E-B8E7-D04039DBA80D}" dt="2021-05-25T10:16:09.290" v="19510" actId="1076"/>
          <ac:picMkLst>
            <pc:docMk/>
            <pc:sldMk cId="334705468" sldId="10477"/>
            <ac:picMk id="8" creationId="{F943C314-59B0-4574-8F6E-B5AE0CFC559A}"/>
          </ac:picMkLst>
        </pc:picChg>
        <pc:picChg chg="add mod">
          <ac:chgData name="Sarah GAUVARD" userId="4c03e191-e154-482a-88b2-11de19eac96c" providerId="ADAL" clId="{8245CC27-65FB-483E-B8E7-D04039DBA80D}" dt="2021-05-24T16:09:43.245" v="17478" actId="1076"/>
          <ac:picMkLst>
            <pc:docMk/>
            <pc:sldMk cId="334705468" sldId="10477"/>
            <ac:picMk id="9" creationId="{8778A21F-BE99-4DD2-8603-8659C12E87A5}"/>
          </ac:picMkLst>
        </pc:picChg>
        <pc:picChg chg="add mod">
          <ac:chgData name="Sarah GAUVARD" userId="4c03e191-e154-482a-88b2-11de19eac96c" providerId="ADAL" clId="{8245CC27-65FB-483E-B8E7-D04039DBA80D}" dt="2021-05-24T16:09:43.245" v="17478" actId="1076"/>
          <ac:picMkLst>
            <pc:docMk/>
            <pc:sldMk cId="334705468" sldId="10477"/>
            <ac:picMk id="11" creationId="{2D2CEFCD-A039-419F-81A1-8AA3003D6890}"/>
          </ac:picMkLst>
        </pc:picChg>
        <pc:picChg chg="add mod">
          <ac:chgData name="Sarah GAUVARD" userId="4c03e191-e154-482a-88b2-11de19eac96c" providerId="ADAL" clId="{8245CC27-65FB-483E-B8E7-D04039DBA80D}" dt="2021-05-25T10:11:20.466" v="19459" actId="465"/>
          <ac:picMkLst>
            <pc:docMk/>
            <pc:sldMk cId="334705468" sldId="10477"/>
            <ac:picMk id="12" creationId="{BD95FA27-BF22-4DB4-9B28-617517531DAA}"/>
          </ac:picMkLst>
        </pc:picChg>
        <pc:picChg chg="add mod">
          <ac:chgData name="Sarah GAUVARD" userId="4c03e191-e154-482a-88b2-11de19eac96c" providerId="ADAL" clId="{8245CC27-65FB-483E-B8E7-D04039DBA80D}" dt="2021-05-24T16:09:43.245" v="17478" actId="1076"/>
          <ac:picMkLst>
            <pc:docMk/>
            <pc:sldMk cId="334705468" sldId="10477"/>
            <ac:picMk id="14" creationId="{6BC28474-8AF3-473C-8F8C-18461A6CE0B9}"/>
          </ac:picMkLst>
        </pc:picChg>
        <pc:picChg chg="add mod">
          <ac:chgData name="Sarah GAUVARD" userId="4c03e191-e154-482a-88b2-11de19eac96c" providerId="ADAL" clId="{8245CC27-65FB-483E-B8E7-D04039DBA80D}" dt="2021-05-24T16:09:43.245" v="17478" actId="1076"/>
          <ac:picMkLst>
            <pc:docMk/>
            <pc:sldMk cId="334705468" sldId="10477"/>
            <ac:picMk id="15" creationId="{56DF0977-C4D1-41D2-A890-6ED0D5862AFE}"/>
          </ac:picMkLst>
        </pc:picChg>
        <pc:picChg chg="add mod">
          <ac:chgData name="Sarah GAUVARD" userId="4c03e191-e154-482a-88b2-11de19eac96c" providerId="ADAL" clId="{8245CC27-65FB-483E-B8E7-D04039DBA80D}" dt="2021-05-25T10:11:34.432" v="19463" actId="552"/>
          <ac:picMkLst>
            <pc:docMk/>
            <pc:sldMk cId="334705468" sldId="10477"/>
            <ac:picMk id="19" creationId="{9793FF22-688A-47E8-B3B3-DCC441A4FF14}"/>
          </ac:picMkLst>
        </pc:picChg>
        <pc:picChg chg="add mod">
          <ac:chgData name="Sarah GAUVARD" userId="4c03e191-e154-482a-88b2-11de19eac96c" providerId="ADAL" clId="{8245CC27-65FB-483E-B8E7-D04039DBA80D}" dt="2021-05-25T10:17:49.232" v="19542" actId="465"/>
          <ac:picMkLst>
            <pc:docMk/>
            <pc:sldMk cId="334705468" sldId="10477"/>
            <ac:picMk id="32" creationId="{06782DC8-58F7-44AC-8D69-9255CA51E9A4}"/>
          </ac:picMkLst>
        </pc:picChg>
        <pc:picChg chg="add mod">
          <ac:chgData name="Sarah GAUVARD" userId="4c03e191-e154-482a-88b2-11de19eac96c" providerId="ADAL" clId="{8245CC27-65FB-483E-B8E7-D04039DBA80D}" dt="2021-05-25T10:17:38.706" v="19541" actId="465"/>
          <ac:picMkLst>
            <pc:docMk/>
            <pc:sldMk cId="334705468" sldId="10477"/>
            <ac:picMk id="35" creationId="{7FCB5740-A04F-408A-8CF9-31FDB56784C8}"/>
          </ac:picMkLst>
        </pc:picChg>
        <pc:picChg chg="add mod">
          <ac:chgData name="Sarah GAUVARD" userId="4c03e191-e154-482a-88b2-11de19eac96c" providerId="ADAL" clId="{8245CC27-65FB-483E-B8E7-D04039DBA80D}" dt="2021-05-25T10:07:24.263" v="19384" actId="1076"/>
          <ac:picMkLst>
            <pc:docMk/>
            <pc:sldMk cId="334705468" sldId="10477"/>
            <ac:picMk id="36" creationId="{409B7CBE-2060-470E-98AB-6EFA723F6260}"/>
          </ac:picMkLst>
        </pc:picChg>
        <pc:picChg chg="add mod">
          <ac:chgData name="Sarah GAUVARD" userId="4c03e191-e154-482a-88b2-11de19eac96c" providerId="ADAL" clId="{8245CC27-65FB-483E-B8E7-D04039DBA80D}" dt="2021-05-25T10:07:24.263" v="19384" actId="1076"/>
          <ac:picMkLst>
            <pc:docMk/>
            <pc:sldMk cId="334705468" sldId="10477"/>
            <ac:picMk id="37" creationId="{BED9F253-3ECC-4C94-913A-B7000DF90473}"/>
          </ac:picMkLst>
        </pc:picChg>
        <pc:picChg chg="add mod">
          <ac:chgData name="Sarah GAUVARD" userId="4c03e191-e154-482a-88b2-11de19eac96c" providerId="ADAL" clId="{8245CC27-65FB-483E-B8E7-D04039DBA80D}" dt="2021-05-25T10:07:24.263" v="19384" actId="1076"/>
          <ac:picMkLst>
            <pc:docMk/>
            <pc:sldMk cId="334705468" sldId="10477"/>
            <ac:picMk id="38" creationId="{48F53FFE-6EF9-4960-BC83-E233F3A710C7}"/>
          </ac:picMkLst>
        </pc:picChg>
        <pc:picChg chg="add mod">
          <ac:chgData name="Sarah GAUVARD" userId="4c03e191-e154-482a-88b2-11de19eac96c" providerId="ADAL" clId="{8245CC27-65FB-483E-B8E7-D04039DBA80D}" dt="2021-05-25T10:07:24.263" v="19384" actId="1076"/>
          <ac:picMkLst>
            <pc:docMk/>
            <pc:sldMk cId="334705468" sldId="10477"/>
            <ac:picMk id="39" creationId="{C407932B-E9DF-4E75-A878-0DFD88BE4268}"/>
          </ac:picMkLst>
        </pc:picChg>
        <pc:picChg chg="add del mod">
          <ac:chgData name="Sarah GAUVARD" userId="4c03e191-e154-482a-88b2-11de19eac96c" providerId="ADAL" clId="{8245CC27-65FB-483E-B8E7-D04039DBA80D}" dt="2021-05-24T16:06:55.643" v="14364" actId="478"/>
          <ac:picMkLst>
            <pc:docMk/>
            <pc:sldMk cId="334705468" sldId="10477"/>
            <ac:picMk id="40" creationId="{BA543D36-BF6D-4F1F-9AE5-CC424A00CA9B}"/>
          </ac:picMkLst>
        </pc:picChg>
        <pc:picChg chg="add mod">
          <ac:chgData name="Sarah GAUVARD" userId="4c03e191-e154-482a-88b2-11de19eac96c" providerId="ADAL" clId="{8245CC27-65FB-483E-B8E7-D04039DBA80D}" dt="2021-05-25T10:11:23.449" v="19460" actId="465"/>
          <ac:picMkLst>
            <pc:docMk/>
            <pc:sldMk cId="334705468" sldId="10477"/>
            <ac:picMk id="60" creationId="{51487C34-4D80-40A8-949E-18D8BA63ACB5}"/>
          </ac:picMkLst>
        </pc:picChg>
        <pc:picChg chg="add mod">
          <ac:chgData name="Sarah GAUVARD" userId="4c03e191-e154-482a-88b2-11de19eac96c" providerId="ADAL" clId="{8245CC27-65FB-483E-B8E7-D04039DBA80D}" dt="2021-05-25T10:11:47.131" v="19465" actId="552"/>
          <ac:picMkLst>
            <pc:docMk/>
            <pc:sldMk cId="334705468" sldId="10477"/>
            <ac:picMk id="78" creationId="{467FBB22-7E12-416B-9466-7D424BC4AAD1}"/>
          </ac:picMkLst>
        </pc:picChg>
        <pc:picChg chg="add mod">
          <ac:chgData name="Sarah GAUVARD" userId="4c03e191-e154-482a-88b2-11de19eac96c" providerId="ADAL" clId="{8245CC27-65FB-483E-B8E7-D04039DBA80D}" dt="2021-05-25T10:07:24.263" v="19384" actId="1076"/>
          <ac:picMkLst>
            <pc:docMk/>
            <pc:sldMk cId="334705468" sldId="10477"/>
            <ac:picMk id="79" creationId="{FA860EA6-ED1C-4D2E-940F-ED2A91BA3BF3}"/>
          </ac:picMkLst>
        </pc:picChg>
        <pc:picChg chg="add mod">
          <ac:chgData name="Sarah GAUVARD" userId="4c03e191-e154-482a-88b2-11de19eac96c" providerId="ADAL" clId="{8245CC27-65FB-483E-B8E7-D04039DBA80D}" dt="2021-05-25T10:07:24.263" v="19384" actId="1076"/>
          <ac:picMkLst>
            <pc:docMk/>
            <pc:sldMk cId="334705468" sldId="10477"/>
            <ac:picMk id="80" creationId="{E3DE989F-2571-441B-AFF1-29F28A895994}"/>
          </ac:picMkLst>
        </pc:picChg>
        <pc:picChg chg="add mod">
          <ac:chgData name="Sarah GAUVARD" userId="4c03e191-e154-482a-88b2-11de19eac96c" providerId="ADAL" clId="{8245CC27-65FB-483E-B8E7-D04039DBA80D}" dt="2021-05-25T10:11:34.432" v="19463" actId="552"/>
          <ac:picMkLst>
            <pc:docMk/>
            <pc:sldMk cId="334705468" sldId="10477"/>
            <ac:picMk id="81" creationId="{8F0586C8-C4A2-4211-9BAC-8ACB3C0AB3BF}"/>
          </ac:picMkLst>
        </pc:picChg>
        <pc:picChg chg="add del mod">
          <ac:chgData name="Sarah GAUVARD" userId="4c03e191-e154-482a-88b2-11de19eac96c" providerId="ADAL" clId="{8245CC27-65FB-483E-B8E7-D04039DBA80D}" dt="2021-05-25T10:10:07.281" v="19447" actId="478"/>
          <ac:picMkLst>
            <pc:docMk/>
            <pc:sldMk cId="334705468" sldId="10477"/>
            <ac:picMk id="82" creationId="{C517C7DE-02E6-4345-B4AA-CB8C3A33D60D}"/>
          </ac:picMkLst>
        </pc:picChg>
        <pc:picChg chg="add mod">
          <ac:chgData name="Sarah GAUVARD" userId="4c03e191-e154-482a-88b2-11de19eac96c" providerId="ADAL" clId="{8245CC27-65FB-483E-B8E7-D04039DBA80D}" dt="2021-05-25T10:14:07.512" v="19468" actId="571"/>
          <ac:picMkLst>
            <pc:docMk/>
            <pc:sldMk cId="334705468" sldId="10477"/>
            <ac:picMk id="92" creationId="{4DA0F3A0-2375-4DF6-B07C-F5E77826D81E}"/>
          </ac:picMkLst>
        </pc:picChg>
        <pc:picChg chg="add mod">
          <ac:chgData name="Sarah GAUVARD" userId="4c03e191-e154-482a-88b2-11de19eac96c" providerId="ADAL" clId="{8245CC27-65FB-483E-B8E7-D04039DBA80D}" dt="2021-05-25T10:07:24.263" v="19384" actId="1076"/>
          <ac:picMkLst>
            <pc:docMk/>
            <pc:sldMk cId="334705468" sldId="10477"/>
            <ac:picMk id="2050" creationId="{C8668CE2-366E-46CF-937B-722D06DBE883}"/>
          </ac:picMkLst>
        </pc:picChg>
        <pc:cxnChg chg="add mod">
          <ac:chgData name="Sarah GAUVARD" userId="4c03e191-e154-482a-88b2-11de19eac96c" providerId="ADAL" clId="{8245CC27-65FB-483E-B8E7-D04039DBA80D}" dt="2021-05-24T15:32:22.584" v="5954"/>
          <ac:cxnSpMkLst>
            <pc:docMk/>
            <pc:sldMk cId="334705468" sldId="10477"/>
            <ac:cxnSpMk id="21" creationId="{BBBA781A-2579-449A-89E6-E5547D58DD58}"/>
          </ac:cxnSpMkLst>
        </pc:cxnChg>
        <pc:cxnChg chg="add mod">
          <ac:chgData name="Sarah GAUVARD" userId="4c03e191-e154-482a-88b2-11de19eac96c" providerId="ADAL" clId="{8245CC27-65FB-483E-B8E7-D04039DBA80D}" dt="2021-05-25T10:15:57.957" v="19509" actId="552"/>
          <ac:cxnSpMkLst>
            <pc:docMk/>
            <pc:sldMk cId="334705468" sldId="10477"/>
            <ac:cxnSpMk id="24" creationId="{BCD35E70-C34E-4658-8AA1-2D42BC7846FC}"/>
          </ac:cxnSpMkLst>
        </pc:cxnChg>
        <pc:cxnChg chg="add del mod">
          <ac:chgData name="Sarah GAUVARD" userId="4c03e191-e154-482a-88b2-11de19eac96c" providerId="ADAL" clId="{8245CC27-65FB-483E-B8E7-D04039DBA80D}" dt="2021-05-24T16:04:02.973" v="14270" actId="478"/>
          <ac:cxnSpMkLst>
            <pc:docMk/>
            <pc:sldMk cId="334705468" sldId="10477"/>
            <ac:cxnSpMk id="61" creationId="{06E62C25-490A-466C-8012-9A6EED96D599}"/>
          </ac:cxnSpMkLst>
        </pc:cxnChg>
        <pc:cxnChg chg="add mod">
          <ac:chgData name="Sarah GAUVARD" userId="4c03e191-e154-482a-88b2-11de19eac96c" providerId="ADAL" clId="{8245CC27-65FB-483E-B8E7-D04039DBA80D}" dt="2021-05-24T15:59:26.919" v="14055" actId="14100"/>
          <ac:cxnSpMkLst>
            <pc:docMk/>
            <pc:sldMk cId="334705468" sldId="10477"/>
            <ac:cxnSpMk id="65" creationId="{6D083564-EDC9-4BE2-B378-615EE250954B}"/>
          </ac:cxnSpMkLst>
        </pc:cxnChg>
        <pc:cxnChg chg="add mod">
          <ac:chgData name="Sarah GAUVARD" userId="4c03e191-e154-482a-88b2-11de19eac96c" providerId="ADAL" clId="{8245CC27-65FB-483E-B8E7-D04039DBA80D}" dt="2021-05-24T16:07:44.582" v="14387" actId="1076"/>
          <ac:cxnSpMkLst>
            <pc:docMk/>
            <pc:sldMk cId="334705468" sldId="10477"/>
            <ac:cxnSpMk id="66" creationId="{77AB1B1D-7D93-4E03-89B8-E1FDFC7D43FA}"/>
          </ac:cxnSpMkLst>
        </pc:cxnChg>
        <pc:cxnChg chg="add mod">
          <ac:chgData name="Sarah GAUVARD" userId="4c03e191-e154-482a-88b2-11de19eac96c" providerId="ADAL" clId="{8245CC27-65FB-483E-B8E7-D04039DBA80D}" dt="2021-05-24T16:07:38.630" v="14386" actId="1076"/>
          <ac:cxnSpMkLst>
            <pc:docMk/>
            <pc:sldMk cId="334705468" sldId="10477"/>
            <ac:cxnSpMk id="68" creationId="{45C75D40-F54A-4A77-9895-B6B157A6A05E}"/>
          </ac:cxnSpMkLst>
        </pc:cxnChg>
        <pc:cxnChg chg="add mod">
          <ac:chgData name="Sarah GAUVARD" userId="4c03e191-e154-482a-88b2-11de19eac96c" providerId="ADAL" clId="{8245CC27-65FB-483E-B8E7-D04039DBA80D}" dt="2021-05-25T10:15:57.957" v="19509" actId="552"/>
          <ac:cxnSpMkLst>
            <pc:docMk/>
            <pc:sldMk cId="334705468" sldId="10477"/>
            <ac:cxnSpMk id="94" creationId="{C053319C-52D6-4F26-B048-79BD860E515D}"/>
          </ac:cxnSpMkLst>
        </pc:cxnChg>
      </pc:sldChg>
      <pc:sldChg chg="addSp delSp modSp new add mod modClrScheme chgLayout">
        <pc:chgData name="Sarah GAUVARD" userId="4c03e191-e154-482a-88b2-11de19eac96c" providerId="ADAL" clId="{8245CC27-65FB-483E-B8E7-D04039DBA80D}" dt="2021-05-25T08:02:07.496" v="18456" actId="478"/>
        <pc:sldMkLst>
          <pc:docMk/>
          <pc:sldMk cId="736967352" sldId="10478"/>
        </pc:sldMkLst>
        <pc:spChg chg="add mod ord">
          <ac:chgData name="Sarah GAUVARD" userId="4c03e191-e154-482a-88b2-11de19eac96c" providerId="ADAL" clId="{8245CC27-65FB-483E-B8E7-D04039DBA80D}" dt="2021-05-25T07:56:57.022" v="18329" actId="948"/>
          <ac:spMkLst>
            <pc:docMk/>
            <pc:sldMk cId="736967352" sldId="10478"/>
            <ac:spMk id="6" creationId="{94FCAA59-3122-4D3E-BB92-89E8DDA4E673}"/>
          </ac:spMkLst>
        </pc:spChg>
        <pc:spChg chg="add del mod">
          <ac:chgData name="Sarah GAUVARD" userId="4c03e191-e154-482a-88b2-11de19eac96c" providerId="ADAL" clId="{8245CC27-65FB-483E-B8E7-D04039DBA80D}" dt="2021-05-25T07:52:07.150" v="17775" actId="478"/>
          <ac:spMkLst>
            <pc:docMk/>
            <pc:sldMk cId="736967352" sldId="10478"/>
            <ac:spMk id="7" creationId="{9615B96F-F5F1-4289-93A2-88631CD3C036}"/>
          </ac:spMkLst>
        </pc:spChg>
        <pc:spChg chg="add del mod modVis">
          <ac:chgData name="Sarah GAUVARD" userId="4c03e191-e154-482a-88b2-11de19eac96c" providerId="ADAL" clId="{8245CC27-65FB-483E-B8E7-D04039DBA80D}" dt="2021-05-25T07:52:12.407" v="17849"/>
          <ac:spMkLst>
            <pc:docMk/>
            <pc:sldMk cId="736967352" sldId="10478"/>
            <ac:spMk id="10" creationId="{1E5BB4BF-CA32-4CC1-8FA8-6DDB2479D070}"/>
          </ac:spMkLst>
        </pc:spChg>
        <pc:spChg chg="add del mod modVis">
          <ac:chgData name="Sarah GAUVARD" userId="4c03e191-e154-482a-88b2-11de19eac96c" providerId="ADAL" clId="{8245CC27-65FB-483E-B8E7-D04039DBA80D}" dt="2021-05-25T07:52:13.184" v="17894"/>
          <ac:spMkLst>
            <pc:docMk/>
            <pc:sldMk cId="736967352" sldId="10478"/>
            <ac:spMk id="11" creationId="{A7D9E5DC-C543-474F-ACBE-520996108003}"/>
          </ac:spMkLst>
        </pc:spChg>
        <pc:spChg chg="add del mod modVis">
          <ac:chgData name="Sarah GAUVARD" userId="4c03e191-e154-482a-88b2-11de19eac96c" providerId="ADAL" clId="{8245CC27-65FB-483E-B8E7-D04039DBA80D}" dt="2021-05-25T07:52:14.959" v="17938"/>
          <ac:spMkLst>
            <pc:docMk/>
            <pc:sldMk cId="736967352" sldId="10478"/>
            <ac:spMk id="12" creationId="{BB0605D0-A454-46F3-B653-55AEEEAA85FB}"/>
          </ac:spMkLst>
        </pc:spChg>
        <pc:spChg chg="add del mod modVis">
          <ac:chgData name="Sarah GAUVARD" userId="4c03e191-e154-482a-88b2-11de19eac96c" providerId="ADAL" clId="{8245CC27-65FB-483E-B8E7-D04039DBA80D}" dt="2021-05-25T07:52:21.690" v="18020"/>
          <ac:spMkLst>
            <pc:docMk/>
            <pc:sldMk cId="736967352" sldId="10478"/>
            <ac:spMk id="13" creationId="{DB6B8CDC-8246-4F0C-B581-A92B155EAD22}"/>
          </ac:spMkLst>
        </pc:spChg>
        <pc:spChg chg="add del mod modVis">
          <ac:chgData name="Sarah GAUVARD" userId="4c03e191-e154-482a-88b2-11de19eac96c" providerId="ADAL" clId="{8245CC27-65FB-483E-B8E7-D04039DBA80D}" dt="2021-05-25T07:52:23.316" v="18069"/>
          <ac:spMkLst>
            <pc:docMk/>
            <pc:sldMk cId="736967352" sldId="10478"/>
            <ac:spMk id="14" creationId="{3330FB4C-F74E-4A55-BA6F-DC0779EE5B6A}"/>
          </ac:spMkLst>
        </pc:spChg>
        <pc:spChg chg="add del mod modVis">
          <ac:chgData name="Sarah GAUVARD" userId="4c03e191-e154-482a-88b2-11de19eac96c" providerId="ADAL" clId="{8245CC27-65FB-483E-B8E7-D04039DBA80D}" dt="2021-05-25T07:52:28.865" v="18152"/>
          <ac:spMkLst>
            <pc:docMk/>
            <pc:sldMk cId="736967352" sldId="10478"/>
            <ac:spMk id="15" creationId="{518339C4-5B73-4A81-B56E-983A8FA7BB5A}"/>
          </ac:spMkLst>
        </pc:spChg>
        <pc:spChg chg="add del mod modVis">
          <ac:chgData name="Sarah GAUVARD" userId="4c03e191-e154-482a-88b2-11de19eac96c" providerId="ADAL" clId="{8245CC27-65FB-483E-B8E7-D04039DBA80D}" dt="2021-05-25T07:52:43.571" v="18234"/>
          <ac:spMkLst>
            <pc:docMk/>
            <pc:sldMk cId="736967352" sldId="10478"/>
            <ac:spMk id="16" creationId="{6ACFAEF5-D7C4-45DD-A4A3-F4F4EF0AEF54}"/>
          </ac:spMkLst>
        </pc:spChg>
        <pc:spChg chg="add del mod modVis">
          <ac:chgData name="Sarah GAUVARD" userId="4c03e191-e154-482a-88b2-11de19eac96c" providerId="ADAL" clId="{8245CC27-65FB-483E-B8E7-D04039DBA80D}" dt="2021-05-25T07:52:45.529" v="18279"/>
          <ac:spMkLst>
            <pc:docMk/>
            <pc:sldMk cId="736967352" sldId="10478"/>
            <ac:spMk id="17" creationId="{B4DC3AE7-7813-41A1-AA51-D604EED87BFD}"/>
          </ac:spMkLst>
        </pc:spChg>
        <pc:spChg chg="add mod">
          <ac:chgData name="Sarah GAUVARD" userId="4c03e191-e154-482a-88b2-11de19eac96c" providerId="ADAL" clId="{8245CC27-65FB-483E-B8E7-D04039DBA80D}" dt="2021-05-25T08:01:46.603" v="18452" actId="14100"/>
          <ac:spMkLst>
            <pc:docMk/>
            <pc:sldMk cId="736967352" sldId="10478"/>
            <ac:spMk id="19" creationId="{4D7AAE71-D4C6-4985-9DEC-118E6DC22C57}"/>
          </ac:spMkLst>
        </pc:spChg>
        <pc:spChg chg="add del mod modVis">
          <ac:chgData name="Sarah GAUVARD" userId="4c03e191-e154-482a-88b2-11de19eac96c" providerId="ADAL" clId="{8245CC27-65FB-483E-B8E7-D04039DBA80D}" dt="2021-05-25T07:56:55.714" v="18325"/>
          <ac:spMkLst>
            <pc:docMk/>
            <pc:sldMk cId="736967352" sldId="10478"/>
            <ac:spMk id="20" creationId="{9E1B05FA-5A8A-46F8-93B1-DA1722BD1497}"/>
          </ac:spMkLst>
        </pc:spChg>
        <pc:spChg chg="add del mod modVis">
          <ac:chgData name="Sarah GAUVARD" userId="4c03e191-e154-482a-88b2-11de19eac96c" providerId="ADAL" clId="{8245CC27-65FB-483E-B8E7-D04039DBA80D}" dt="2021-05-25T07:56:57.053" v="18369"/>
          <ac:spMkLst>
            <pc:docMk/>
            <pc:sldMk cId="736967352" sldId="10478"/>
            <ac:spMk id="21" creationId="{A25BF426-4202-491B-8806-19D78C50FDF8}"/>
          </ac:spMkLst>
        </pc:spChg>
        <pc:spChg chg="add mod">
          <ac:chgData name="Sarah GAUVARD" userId="4c03e191-e154-482a-88b2-11de19eac96c" providerId="ADAL" clId="{8245CC27-65FB-483E-B8E7-D04039DBA80D}" dt="2021-05-25T08:01:50.729" v="18453"/>
          <ac:spMkLst>
            <pc:docMk/>
            <pc:sldMk cId="736967352" sldId="10478"/>
            <ac:spMk id="22" creationId="{B9BD5E20-F2DD-4137-92F4-7D7F45ED8514}"/>
          </ac:spMkLst>
        </pc:spChg>
        <pc:graphicFrameChg chg="add mod ord modVis">
          <ac:chgData name="Sarah GAUVARD" userId="4c03e191-e154-482a-88b2-11de19eac96c" providerId="ADAL" clId="{8245CC27-65FB-483E-B8E7-D04039DBA80D}" dt="2021-05-25T07:56:57.054" v="18371"/>
          <ac:graphicFrameMkLst>
            <pc:docMk/>
            <pc:sldMk cId="736967352" sldId="10478"/>
            <ac:graphicFrameMk id="9" creationId="{E62728D1-C447-402F-9BDC-908745AC75D9}"/>
          </ac:graphicFrameMkLst>
        </pc:graphicFrameChg>
        <pc:picChg chg="add del mod">
          <ac:chgData name="Sarah GAUVARD" userId="4c03e191-e154-482a-88b2-11de19eac96c" providerId="ADAL" clId="{8245CC27-65FB-483E-B8E7-D04039DBA80D}" dt="2021-05-25T08:02:07.496" v="18456" actId="478"/>
          <ac:picMkLst>
            <pc:docMk/>
            <pc:sldMk cId="736967352" sldId="10478"/>
            <ac:picMk id="2" creationId="{BD2CA34C-3E1E-45B4-BD6B-20CA6A0C3437}"/>
          </ac:picMkLst>
        </pc:picChg>
        <pc:picChg chg="add del mod">
          <ac:chgData name="Sarah GAUVARD" userId="4c03e191-e154-482a-88b2-11de19eac96c" providerId="ADAL" clId="{8245CC27-65FB-483E-B8E7-D04039DBA80D}" dt="2021-05-25T08:02:07.496" v="18456" actId="478"/>
          <ac:picMkLst>
            <pc:docMk/>
            <pc:sldMk cId="736967352" sldId="10478"/>
            <ac:picMk id="3" creationId="{A755722E-9D08-4328-99D5-8D388E1391AE}"/>
          </ac:picMkLst>
        </pc:picChg>
        <pc:picChg chg="add mod">
          <ac:chgData name="Sarah GAUVARD" userId="4c03e191-e154-482a-88b2-11de19eac96c" providerId="ADAL" clId="{8245CC27-65FB-483E-B8E7-D04039DBA80D}" dt="2021-05-25T08:02:03.593" v="18455" actId="1076"/>
          <ac:picMkLst>
            <pc:docMk/>
            <pc:sldMk cId="736967352" sldId="10478"/>
            <ac:picMk id="4" creationId="{5632EF48-BC7D-4B4E-98F6-021AD6346815}"/>
          </ac:picMkLst>
        </pc:picChg>
        <pc:picChg chg="add mod modCrop">
          <ac:chgData name="Sarah GAUVARD" userId="4c03e191-e154-482a-88b2-11de19eac96c" providerId="ADAL" clId="{8245CC27-65FB-483E-B8E7-D04039DBA80D}" dt="2021-05-25T08:02:03.593" v="18455" actId="1076"/>
          <ac:picMkLst>
            <pc:docMk/>
            <pc:sldMk cId="736967352" sldId="10478"/>
            <ac:picMk id="5" creationId="{D076AD52-6905-4D67-8BA7-8F14F5DF2550}"/>
          </ac:picMkLst>
        </pc:picChg>
        <pc:picChg chg="add mod">
          <ac:chgData name="Sarah GAUVARD" userId="4c03e191-e154-482a-88b2-11de19eac96c" providerId="ADAL" clId="{8245CC27-65FB-483E-B8E7-D04039DBA80D}" dt="2021-05-25T07:51:56.363" v="17771"/>
          <ac:picMkLst>
            <pc:docMk/>
            <pc:sldMk cId="736967352" sldId="10478"/>
            <ac:picMk id="8" creationId="{5EE3F0B1-C493-4B24-BC4B-0F70821C7377}"/>
          </ac:picMkLst>
        </pc:picChg>
        <pc:cxnChg chg="add mod">
          <ac:chgData name="Sarah GAUVARD" userId="4c03e191-e154-482a-88b2-11de19eac96c" providerId="ADAL" clId="{8245CC27-65FB-483E-B8E7-D04039DBA80D}" dt="2021-05-25T07:56:50.865" v="18283" actId="1076"/>
          <ac:cxnSpMkLst>
            <pc:docMk/>
            <pc:sldMk cId="736967352" sldId="10478"/>
            <ac:cxnSpMk id="18" creationId="{2DDBD080-2766-499B-A23E-75B664EE94C3}"/>
          </ac:cxnSpMkLst>
        </pc:cxnChg>
      </pc:sldChg>
      <pc:sldChg chg="addSp modSp mod">
        <pc:chgData name="Sarah GAUVARD" userId="4c03e191-e154-482a-88b2-11de19eac96c" providerId="ADAL" clId="{8245CC27-65FB-483E-B8E7-D04039DBA80D}" dt="2021-05-25T09:59:09.814" v="19357" actId="207"/>
        <pc:sldMkLst>
          <pc:docMk/>
          <pc:sldMk cId="1763597230" sldId="10482"/>
        </pc:sldMkLst>
        <pc:spChg chg="mod">
          <ac:chgData name="Sarah GAUVARD" userId="4c03e191-e154-482a-88b2-11de19eac96c" providerId="ADAL" clId="{8245CC27-65FB-483E-B8E7-D04039DBA80D}" dt="2021-05-25T09:57:49.997" v="19335" actId="1076"/>
          <ac:spMkLst>
            <pc:docMk/>
            <pc:sldMk cId="1763597230" sldId="10482"/>
            <ac:spMk id="6" creationId="{70B52D0E-DC9C-4722-916E-D6FDF79A7420}"/>
          </ac:spMkLst>
        </pc:spChg>
        <pc:spChg chg="mod">
          <ac:chgData name="Sarah GAUVARD" userId="4c03e191-e154-482a-88b2-11de19eac96c" providerId="ADAL" clId="{8245CC27-65FB-483E-B8E7-D04039DBA80D}" dt="2021-05-25T09:58:33.464" v="19347" actId="14861"/>
          <ac:spMkLst>
            <pc:docMk/>
            <pc:sldMk cId="1763597230" sldId="10482"/>
            <ac:spMk id="20" creationId="{8E9A3326-3694-454B-B327-B03B4A415605}"/>
          </ac:spMkLst>
        </pc:spChg>
        <pc:spChg chg="add mod">
          <ac:chgData name="Sarah GAUVARD" userId="4c03e191-e154-482a-88b2-11de19eac96c" providerId="ADAL" clId="{8245CC27-65FB-483E-B8E7-D04039DBA80D}" dt="2021-05-25T09:58:02.853" v="19338" actId="14861"/>
          <ac:spMkLst>
            <pc:docMk/>
            <pc:sldMk cId="1763597230" sldId="10482"/>
            <ac:spMk id="64" creationId="{CD0E5380-6872-484D-BA30-8815C6D13DCE}"/>
          </ac:spMkLst>
        </pc:spChg>
        <pc:spChg chg="add mod">
          <ac:chgData name="Sarah GAUVARD" userId="4c03e191-e154-482a-88b2-11de19eac96c" providerId="ADAL" clId="{8245CC27-65FB-483E-B8E7-D04039DBA80D}" dt="2021-05-25T09:58:10.689" v="19341" actId="14861"/>
          <ac:spMkLst>
            <pc:docMk/>
            <pc:sldMk cId="1763597230" sldId="10482"/>
            <ac:spMk id="65" creationId="{69CDFEDF-A03C-473A-A597-D74E4B7BB63A}"/>
          </ac:spMkLst>
        </pc:spChg>
        <pc:spChg chg="add mod">
          <ac:chgData name="Sarah GAUVARD" userId="4c03e191-e154-482a-88b2-11de19eac96c" providerId="ADAL" clId="{8245CC27-65FB-483E-B8E7-D04039DBA80D}" dt="2021-05-25T09:58:20.142" v="19344" actId="14861"/>
          <ac:spMkLst>
            <pc:docMk/>
            <pc:sldMk cId="1763597230" sldId="10482"/>
            <ac:spMk id="66" creationId="{1B96CF0D-1D9C-428E-BF87-D9A580AE991C}"/>
          </ac:spMkLst>
        </pc:spChg>
        <pc:spChg chg="add mod">
          <ac:chgData name="Sarah GAUVARD" userId="4c03e191-e154-482a-88b2-11de19eac96c" providerId="ADAL" clId="{8245CC27-65FB-483E-B8E7-D04039DBA80D}" dt="2021-05-25T09:58:29.160" v="19345" actId="571"/>
          <ac:spMkLst>
            <pc:docMk/>
            <pc:sldMk cId="1763597230" sldId="10482"/>
            <ac:spMk id="67" creationId="{8E9A3326-3694-454B-B327-B03B4A415605}"/>
          </ac:spMkLst>
        </pc:spChg>
        <pc:spChg chg="mod">
          <ac:chgData name="Sarah GAUVARD" userId="4c03e191-e154-482a-88b2-11de19eac96c" providerId="ADAL" clId="{8245CC27-65FB-483E-B8E7-D04039DBA80D}" dt="2021-05-25T09:57:07.827" v="19333" actId="20577"/>
          <ac:spMkLst>
            <pc:docMk/>
            <pc:sldMk cId="1763597230" sldId="10482"/>
            <ac:spMk id="69" creationId="{01D1152F-DC04-47F3-B3E6-FE427477534B}"/>
          </ac:spMkLst>
        </pc:spChg>
        <pc:spChg chg="mod">
          <ac:chgData name="Sarah GAUVARD" userId="4c03e191-e154-482a-88b2-11de19eac96c" providerId="ADAL" clId="{8245CC27-65FB-483E-B8E7-D04039DBA80D}" dt="2021-05-25T09:59:09.814" v="19357" actId="207"/>
          <ac:spMkLst>
            <pc:docMk/>
            <pc:sldMk cId="1763597230" sldId="10482"/>
            <ac:spMk id="104" creationId="{4A968F88-0BEE-4D26-A5E9-83CB21CDAC4E}"/>
          </ac:spMkLst>
        </pc:spChg>
      </pc:sldChg>
      <pc:sldChg chg="addSp delSp modSp mod">
        <pc:chgData name="Sarah GAUVARD" userId="4c03e191-e154-482a-88b2-11de19eac96c" providerId="ADAL" clId="{8245CC27-65FB-483E-B8E7-D04039DBA80D}" dt="2021-05-25T11:34:59.841" v="21204"/>
        <pc:sldMkLst>
          <pc:docMk/>
          <pc:sldMk cId="759424876" sldId="10484"/>
        </pc:sldMkLst>
        <pc:spChg chg="mod">
          <ac:chgData name="Sarah GAUVARD" userId="4c03e191-e154-482a-88b2-11de19eac96c" providerId="ADAL" clId="{8245CC27-65FB-483E-B8E7-D04039DBA80D}" dt="2021-05-25T11:34:59.777" v="21147" actId="948"/>
          <ac:spMkLst>
            <pc:docMk/>
            <pc:sldMk cId="759424876" sldId="10484"/>
            <ac:spMk id="2" creationId="{BA3E4240-1B8B-4AAA-9DCA-9FE236464846}"/>
          </ac:spMkLst>
        </pc:spChg>
        <pc:spChg chg="add del mod modVis">
          <ac:chgData name="Sarah GAUVARD" userId="4c03e191-e154-482a-88b2-11de19eac96c" providerId="ADAL" clId="{8245CC27-65FB-483E-B8E7-D04039DBA80D}" dt="2021-05-25T11:34:51.082" v="21053"/>
          <ac:spMkLst>
            <pc:docMk/>
            <pc:sldMk cId="759424876" sldId="10484"/>
            <ac:spMk id="5" creationId="{EF4A2FAB-7D96-45ED-B640-4EF7682E3802}"/>
          </ac:spMkLst>
        </pc:spChg>
        <pc:spChg chg="add del mod modVis">
          <ac:chgData name="Sarah GAUVARD" userId="4c03e191-e154-482a-88b2-11de19eac96c" providerId="ADAL" clId="{8245CC27-65FB-483E-B8E7-D04039DBA80D}" dt="2021-05-25T11:34:53.707" v="21097"/>
          <ac:spMkLst>
            <pc:docMk/>
            <pc:sldMk cId="759424876" sldId="10484"/>
            <ac:spMk id="6" creationId="{312862DB-421C-4C24-8886-EE911714D7EC}"/>
          </ac:spMkLst>
        </pc:spChg>
        <pc:spChg chg="add del mod modVis">
          <ac:chgData name="Sarah GAUVARD" userId="4c03e191-e154-482a-88b2-11de19eac96c" providerId="ADAL" clId="{8245CC27-65FB-483E-B8E7-D04039DBA80D}" dt="2021-05-25T11:34:57.147" v="21143"/>
          <ac:spMkLst>
            <pc:docMk/>
            <pc:sldMk cId="759424876" sldId="10484"/>
            <ac:spMk id="8" creationId="{89E9C9D9-112E-47B6-B0C7-D4EA739315FC}"/>
          </ac:spMkLst>
        </pc:spChg>
        <pc:spChg chg="add del mod modVis">
          <ac:chgData name="Sarah GAUVARD" userId="4c03e191-e154-482a-88b2-11de19eac96c" providerId="ADAL" clId="{8245CC27-65FB-483E-B8E7-D04039DBA80D}" dt="2021-05-25T11:34:59.839" v="21202"/>
          <ac:spMkLst>
            <pc:docMk/>
            <pc:sldMk cId="759424876" sldId="10484"/>
            <ac:spMk id="9" creationId="{60AD2DCE-C3D4-4DCB-B96D-4B6A596A0027}"/>
          </ac:spMkLst>
        </pc:spChg>
        <pc:spChg chg="add mod">
          <ac:chgData name="Sarah GAUVARD" userId="4c03e191-e154-482a-88b2-11de19eac96c" providerId="ADAL" clId="{8245CC27-65FB-483E-B8E7-D04039DBA80D}" dt="2021-05-25T11:34:46.750" v="20994" actId="1076"/>
          <ac:spMkLst>
            <pc:docMk/>
            <pc:sldMk cId="759424876" sldId="10484"/>
            <ac:spMk id="57" creationId="{D30E4BB8-C603-4557-971A-35F504DB7076}"/>
          </ac:spMkLst>
        </pc:spChg>
        <pc:graphicFrameChg chg="mod">
          <ac:chgData name="Sarah GAUVARD" userId="4c03e191-e154-482a-88b2-11de19eac96c" providerId="ADAL" clId="{8245CC27-65FB-483E-B8E7-D04039DBA80D}" dt="2021-05-25T11:34:59.841" v="21204"/>
          <ac:graphicFrameMkLst>
            <pc:docMk/>
            <pc:sldMk cId="759424876" sldId="10484"/>
            <ac:graphicFrameMk id="18" creationId="{597710FC-936F-4224-8A0A-F67D6B18BBF7}"/>
          </ac:graphicFrameMkLst>
        </pc:graphicFrameChg>
      </pc:sldChg>
      <pc:sldChg chg="addSp delSp modSp mod">
        <pc:chgData name="Sarah GAUVARD" userId="4c03e191-e154-482a-88b2-11de19eac96c" providerId="ADAL" clId="{8245CC27-65FB-483E-B8E7-D04039DBA80D}" dt="2021-05-25T13:31:36.833" v="24553"/>
        <pc:sldMkLst>
          <pc:docMk/>
          <pc:sldMk cId="85178067" sldId="10485"/>
        </pc:sldMkLst>
        <pc:spChg chg="mod">
          <ac:chgData name="Sarah GAUVARD" userId="4c03e191-e154-482a-88b2-11de19eac96c" providerId="ADAL" clId="{8245CC27-65FB-483E-B8E7-D04039DBA80D}" dt="2021-05-25T13:31:36.663" v="24496" actId="948"/>
          <ac:spMkLst>
            <pc:docMk/>
            <pc:sldMk cId="85178067" sldId="10485"/>
            <ac:spMk id="2" creationId="{BA3E4240-1B8B-4AAA-9DCA-9FE236464846}"/>
          </ac:spMkLst>
        </pc:spChg>
        <pc:spChg chg="add del mod modVis">
          <ac:chgData name="Sarah GAUVARD" userId="4c03e191-e154-482a-88b2-11de19eac96c" providerId="ADAL" clId="{8245CC27-65FB-483E-B8E7-D04039DBA80D}" dt="2021-05-25T13:31:36.832" v="24551"/>
          <ac:spMkLst>
            <pc:docMk/>
            <pc:sldMk cId="85178067" sldId="10485"/>
            <ac:spMk id="17" creationId="{C310CF06-FEF4-41D0-8F8C-6E25CF826AFC}"/>
          </ac:spMkLst>
        </pc:spChg>
        <pc:spChg chg="mod">
          <ac:chgData name="Sarah GAUVARD" userId="4c03e191-e154-482a-88b2-11de19eac96c" providerId="ADAL" clId="{8245CC27-65FB-483E-B8E7-D04039DBA80D}" dt="2021-05-25T11:26:28.223" v="20476" actId="20577"/>
          <ac:spMkLst>
            <pc:docMk/>
            <pc:sldMk cId="85178067" sldId="10485"/>
            <ac:spMk id="54" creationId="{A1ED7959-6972-4CA1-87DE-4A9E265D1EE1}"/>
          </ac:spMkLst>
        </pc:spChg>
        <pc:spChg chg="mod">
          <ac:chgData name="Sarah GAUVARD" userId="4c03e191-e154-482a-88b2-11de19eac96c" providerId="ADAL" clId="{8245CC27-65FB-483E-B8E7-D04039DBA80D}" dt="2021-05-25T11:26:56.814" v="20503" actId="20577"/>
          <ac:spMkLst>
            <pc:docMk/>
            <pc:sldMk cId="85178067" sldId="10485"/>
            <ac:spMk id="61" creationId="{0CCFF1A2-CE09-4311-BD82-2FC01C7F8607}"/>
          </ac:spMkLst>
        </pc:spChg>
        <pc:spChg chg="add mod">
          <ac:chgData name="Sarah GAUVARD" userId="4c03e191-e154-482a-88b2-11de19eac96c" providerId="ADAL" clId="{8245CC27-65FB-483E-B8E7-D04039DBA80D}" dt="2021-05-25T11:16:50.015" v="20339"/>
          <ac:spMkLst>
            <pc:docMk/>
            <pc:sldMk cId="85178067" sldId="10485"/>
            <ac:spMk id="94" creationId="{2064E1D4-D896-4762-BC12-C2CFA45096B3}"/>
          </ac:spMkLst>
        </pc:spChg>
        <pc:spChg chg="add mod">
          <ac:chgData name="Sarah GAUVARD" userId="4c03e191-e154-482a-88b2-11de19eac96c" providerId="ADAL" clId="{8245CC27-65FB-483E-B8E7-D04039DBA80D}" dt="2021-05-25T11:29:42.526" v="20627" actId="20577"/>
          <ac:spMkLst>
            <pc:docMk/>
            <pc:sldMk cId="85178067" sldId="10485"/>
            <ac:spMk id="138" creationId="{683FE8D8-E48B-4F3C-ABFC-A1C90A49C024}"/>
          </ac:spMkLst>
        </pc:spChg>
        <pc:graphicFrameChg chg="mod">
          <ac:chgData name="Sarah GAUVARD" userId="4c03e191-e154-482a-88b2-11de19eac96c" providerId="ADAL" clId="{8245CC27-65FB-483E-B8E7-D04039DBA80D}" dt="2021-05-25T13:31:36.833" v="24553"/>
          <ac:graphicFrameMkLst>
            <pc:docMk/>
            <pc:sldMk cId="85178067" sldId="10485"/>
            <ac:graphicFrameMk id="18" creationId="{597710FC-936F-4224-8A0A-F67D6B18BBF7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5T12:53:25.651" v="22702" actId="20577"/>
        <pc:sldMkLst>
          <pc:docMk/>
          <pc:sldMk cId="1662158175" sldId="10487"/>
        </pc:sldMkLst>
        <pc:spChg chg="mod">
          <ac:chgData name="Sarah GAUVARD" userId="4c03e191-e154-482a-88b2-11de19eac96c" providerId="ADAL" clId="{8245CC27-65FB-483E-B8E7-D04039DBA80D}" dt="2021-05-25T12:53:25.651" v="22702" actId="20577"/>
          <ac:spMkLst>
            <pc:docMk/>
            <pc:sldMk cId="1662158175" sldId="10487"/>
            <ac:spMk id="20" creationId="{CF43FFDF-1514-417B-8DD3-055802931621}"/>
          </ac:spMkLst>
        </pc:spChg>
      </pc:sldChg>
      <pc:sldChg chg="addSp delSp modSp add mod">
        <pc:chgData name="Sarah GAUVARD" userId="4c03e191-e154-482a-88b2-11de19eac96c" providerId="ADAL" clId="{8245CC27-65FB-483E-B8E7-D04039DBA80D}" dt="2021-05-25T13:39:50.902" v="24571" actId="13926"/>
        <pc:sldMkLst>
          <pc:docMk/>
          <pc:sldMk cId="304171044" sldId="10488"/>
        </pc:sldMkLst>
        <pc:spChg chg="mod">
          <ac:chgData name="Sarah GAUVARD" userId="4c03e191-e154-482a-88b2-11de19eac96c" providerId="ADAL" clId="{8245CC27-65FB-483E-B8E7-D04039DBA80D}" dt="2021-05-25T13:31:09.013" v="24437" actId="948"/>
          <ac:spMkLst>
            <pc:docMk/>
            <pc:sldMk cId="304171044" sldId="10488"/>
            <ac:spMk id="2" creationId="{076A8F7F-F895-46CF-AE68-CFD9FFD3C71A}"/>
          </ac:spMkLst>
        </pc:spChg>
        <pc:spChg chg="del mod">
          <ac:chgData name="Sarah GAUVARD" userId="4c03e191-e154-482a-88b2-11de19eac96c" providerId="ADAL" clId="{8245CC27-65FB-483E-B8E7-D04039DBA80D}" dt="2021-05-25T13:14:47.064" v="23059" actId="478"/>
          <ac:spMkLst>
            <pc:docMk/>
            <pc:sldMk cId="304171044" sldId="10488"/>
            <ac:spMk id="3" creationId="{99D55450-9CBF-4572-8BF1-B9F5C66D1D7B}"/>
          </ac:spMkLst>
        </pc:spChg>
        <pc:spChg chg="add del mod modVis">
          <ac:chgData name="Sarah GAUVARD" userId="4c03e191-e154-482a-88b2-11de19eac96c" providerId="ADAL" clId="{8245CC27-65FB-483E-B8E7-D04039DBA80D}" dt="2021-05-25T12:35:08.841" v="21911"/>
          <ac:spMkLst>
            <pc:docMk/>
            <pc:sldMk cId="304171044" sldId="10488"/>
            <ac:spMk id="14" creationId="{62190525-F3F9-41CB-BE45-A7E16CEAEC26}"/>
          </ac:spMkLst>
        </pc:spChg>
        <pc:spChg chg="add del mod modVis">
          <ac:chgData name="Sarah GAUVARD" userId="4c03e191-e154-482a-88b2-11de19eac96c" providerId="ADAL" clId="{8245CC27-65FB-483E-B8E7-D04039DBA80D}" dt="2021-05-25T13:22:35.487" v="23214"/>
          <ac:spMkLst>
            <pc:docMk/>
            <pc:sldMk cId="304171044" sldId="10488"/>
            <ac:spMk id="15" creationId="{CD8F8F3F-1B3C-451D-B92E-D27CAD6B996F}"/>
          </ac:spMkLst>
        </pc:spChg>
        <pc:spChg chg="add del mod modVis">
          <ac:chgData name="Sarah GAUVARD" userId="4c03e191-e154-482a-88b2-11de19eac96c" providerId="ADAL" clId="{8245CC27-65FB-483E-B8E7-D04039DBA80D}" dt="2021-05-25T13:22:47.886" v="23367"/>
          <ac:spMkLst>
            <pc:docMk/>
            <pc:sldMk cId="304171044" sldId="10488"/>
            <ac:spMk id="16" creationId="{E690246D-4E4E-4D77-B63D-4FBA93039E98}"/>
          </ac:spMkLst>
        </pc:spChg>
        <pc:spChg chg="add del mod modVis">
          <ac:chgData name="Sarah GAUVARD" userId="4c03e191-e154-482a-88b2-11de19eac96c" providerId="ADAL" clId="{8245CC27-65FB-483E-B8E7-D04039DBA80D}" dt="2021-05-25T13:22:50.822" v="23436"/>
          <ac:spMkLst>
            <pc:docMk/>
            <pc:sldMk cId="304171044" sldId="10488"/>
            <ac:spMk id="17" creationId="{B87A9E37-746B-4D07-9C1A-46C204FEEC61}"/>
          </ac:spMkLst>
        </pc:spChg>
        <pc:spChg chg="add del mod modVis">
          <ac:chgData name="Sarah GAUVARD" userId="4c03e191-e154-482a-88b2-11de19eac96c" providerId="ADAL" clId="{8245CC27-65FB-483E-B8E7-D04039DBA80D}" dt="2021-05-25T13:22:53.812" v="23503"/>
          <ac:spMkLst>
            <pc:docMk/>
            <pc:sldMk cId="304171044" sldId="10488"/>
            <ac:spMk id="18" creationId="{C8DE4E5C-C47B-437F-802C-63070389707A}"/>
          </ac:spMkLst>
        </pc:spChg>
        <pc:spChg chg="add del mod modVis">
          <ac:chgData name="Sarah GAUVARD" userId="4c03e191-e154-482a-88b2-11de19eac96c" providerId="ADAL" clId="{8245CC27-65FB-483E-B8E7-D04039DBA80D}" dt="2021-05-25T13:22:55.269" v="23566"/>
          <ac:spMkLst>
            <pc:docMk/>
            <pc:sldMk cId="304171044" sldId="10488"/>
            <ac:spMk id="19" creationId="{B2D072F0-CF3A-4F44-83B1-D646491252F0}"/>
          </ac:spMkLst>
        </pc:spChg>
        <pc:spChg chg="add del mod modVis">
          <ac:chgData name="Sarah GAUVARD" userId="4c03e191-e154-482a-88b2-11de19eac96c" providerId="ADAL" clId="{8245CC27-65FB-483E-B8E7-D04039DBA80D}" dt="2021-05-25T13:24:32.034" v="23634"/>
          <ac:spMkLst>
            <pc:docMk/>
            <pc:sldMk cId="304171044" sldId="10488"/>
            <ac:spMk id="20" creationId="{3B86F396-DF83-4D51-ABA5-5460F60AC7F7}"/>
          </ac:spMkLst>
        </pc:spChg>
        <pc:spChg chg="add del mod modVis">
          <ac:chgData name="Sarah GAUVARD" userId="4c03e191-e154-482a-88b2-11de19eac96c" providerId="ADAL" clId="{8245CC27-65FB-483E-B8E7-D04039DBA80D}" dt="2021-05-25T13:29:57.058" v="23703"/>
          <ac:spMkLst>
            <pc:docMk/>
            <pc:sldMk cId="304171044" sldId="10488"/>
            <ac:spMk id="21" creationId="{907D782C-D3E0-4055-93F2-5D5B8D414DF5}"/>
          </ac:spMkLst>
        </pc:spChg>
        <pc:spChg chg="add del mod modVis">
          <ac:chgData name="Sarah GAUVARD" userId="4c03e191-e154-482a-88b2-11de19eac96c" providerId="ADAL" clId="{8245CC27-65FB-483E-B8E7-D04039DBA80D}" dt="2021-05-25T13:29:59.602" v="23764"/>
          <ac:spMkLst>
            <pc:docMk/>
            <pc:sldMk cId="304171044" sldId="10488"/>
            <ac:spMk id="22" creationId="{97EB02D0-0D7C-4328-9A93-3B29B90C28A8}"/>
          </ac:spMkLst>
        </pc:spChg>
        <pc:spChg chg="add del mod modVis">
          <ac:chgData name="Sarah GAUVARD" userId="4c03e191-e154-482a-88b2-11de19eac96c" providerId="ADAL" clId="{8245CC27-65FB-483E-B8E7-D04039DBA80D}" dt="2021-05-25T13:30:08.519" v="23877"/>
          <ac:spMkLst>
            <pc:docMk/>
            <pc:sldMk cId="304171044" sldId="10488"/>
            <ac:spMk id="29" creationId="{DF08F2A7-5E78-4A00-BE94-E078211AF506}"/>
          </ac:spMkLst>
        </pc:spChg>
        <pc:spChg chg="add del mod modVis">
          <ac:chgData name="Sarah GAUVARD" userId="4c03e191-e154-482a-88b2-11de19eac96c" providerId="ADAL" clId="{8245CC27-65FB-483E-B8E7-D04039DBA80D}" dt="2021-05-25T13:30:09.920" v="23940"/>
          <ac:spMkLst>
            <pc:docMk/>
            <pc:sldMk cId="304171044" sldId="10488"/>
            <ac:spMk id="30" creationId="{4DB3055F-6777-4200-8137-B1F1EDBBE424}"/>
          </ac:spMkLst>
        </pc:spChg>
        <pc:spChg chg="add del mod modVis">
          <ac:chgData name="Sarah GAUVARD" userId="4c03e191-e154-482a-88b2-11de19eac96c" providerId="ADAL" clId="{8245CC27-65FB-483E-B8E7-D04039DBA80D}" dt="2021-05-25T13:30:10.907" v="24001"/>
          <ac:spMkLst>
            <pc:docMk/>
            <pc:sldMk cId="304171044" sldId="10488"/>
            <ac:spMk id="31" creationId="{B0F87F2E-FE1C-4DED-B7EC-71B37B3D6D3A}"/>
          </ac:spMkLst>
        </pc:spChg>
        <pc:spChg chg="add del mod modVis">
          <ac:chgData name="Sarah GAUVARD" userId="4c03e191-e154-482a-88b2-11de19eac96c" providerId="ADAL" clId="{8245CC27-65FB-483E-B8E7-D04039DBA80D}" dt="2021-05-25T13:30:11.753" v="24061"/>
          <ac:spMkLst>
            <pc:docMk/>
            <pc:sldMk cId="304171044" sldId="10488"/>
            <ac:spMk id="66" creationId="{0F1965A8-46B1-4FD8-9394-ADA46A42ABB9}"/>
          </ac:spMkLst>
        </pc:spChg>
        <pc:spChg chg="del mod">
          <ac:chgData name="Sarah GAUVARD" userId="4c03e191-e154-482a-88b2-11de19eac96c" providerId="ADAL" clId="{8245CC27-65FB-483E-B8E7-D04039DBA80D}" dt="2021-05-25T13:14:50.856" v="23061" actId="478"/>
          <ac:spMkLst>
            <pc:docMk/>
            <pc:sldMk cId="304171044" sldId="10488"/>
            <ac:spMk id="73" creationId="{BC60175A-9B83-4F54-8FC1-AB31B35E1F8F}"/>
          </ac:spMkLst>
        </pc:spChg>
        <pc:spChg chg="add del mod modVis">
          <ac:chgData name="Sarah GAUVARD" userId="4c03e191-e154-482a-88b2-11de19eac96c" providerId="ADAL" clId="{8245CC27-65FB-483E-B8E7-D04039DBA80D}" dt="2021-05-25T13:30:12.900" v="24120"/>
          <ac:spMkLst>
            <pc:docMk/>
            <pc:sldMk cId="304171044" sldId="10488"/>
            <ac:spMk id="74" creationId="{9E77CE76-1815-46B7-A391-F8DE32EE8410}"/>
          </ac:spMkLst>
        </pc:spChg>
        <pc:spChg chg="mod">
          <ac:chgData name="Sarah GAUVARD" userId="4c03e191-e154-482a-88b2-11de19eac96c" providerId="ADAL" clId="{8245CC27-65FB-483E-B8E7-D04039DBA80D}" dt="2021-05-25T13:39:50.902" v="24571" actId="13926"/>
          <ac:spMkLst>
            <pc:docMk/>
            <pc:sldMk cId="304171044" sldId="10488"/>
            <ac:spMk id="75" creationId="{BF048926-BF08-4F31-8C26-458582C96095}"/>
          </ac:spMkLst>
        </pc:spChg>
        <pc:spChg chg="mod">
          <ac:chgData name="Sarah GAUVARD" userId="4c03e191-e154-482a-88b2-11de19eac96c" providerId="ADAL" clId="{8245CC27-65FB-483E-B8E7-D04039DBA80D}" dt="2021-05-25T13:18:04.873" v="23079" actId="207"/>
          <ac:spMkLst>
            <pc:docMk/>
            <pc:sldMk cId="304171044" sldId="10488"/>
            <ac:spMk id="76" creationId="{52A62CB2-099B-45B3-821C-FD4F0C05C0E7}"/>
          </ac:spMkLst>
        </pc:spChg>
        <pc:spChg chg="mod">
          <ac:chgData name="Sarah GAUVARD" userId="4c03e191-e154-482a-88b2-11de19eac96c" providerId="ADAL" clId="{8245CC27-65FB-483E-B8E7-D04039DBA80D}" dt="2021-05-25T13:05:57.769" v="22865" actId="1076"/>
          <ac:spMkLst>
            <pc:docMk/>
            <pc:sldMk cId="304171044" sldId="10488"/>
            <ac:spMk id="79" creationId="{63666777-1A26-448C-AE32-879D7BAD492E}"/>
          </ac:spMkLst>
        </pc:spChg>
        <pc:spChg chg="del">
          <ac:chgData name="Sarah GAUVARD" userId="4c03e191-e154-482a-88b2-11de19eac96c" providerId="ADAL" clId="{8245CC27-65FB-483E-B8E7-D04039DBA80D}" dt="2021-05-25T13:14:49.150" v="23060" actId="478"/>
          <ac:spMkLst>
            <pc:docMk/>
            <pc:sldMk cId="304171044" sldId="10488"/>
            <ac:spMk id="80" creationId="{D1A3758C-C7AE-4A43-B86B-B40616756D1F}"/>
          </ac:spMkLst>
        </pc:spChg>
        <pc:spChg chg="del mod">
          <ac:chgData name="Sarah GAUVARD" userId="4c03e191-e154-482a-88b2-11de19eac96c" providerId="ADAL" clId="{8245CC27-65FB-483E-B8E7-D04039DBA80D}" dt="2021-05-25T12:35:06.721" v="21854" actId="478"/>
          <ac:spMkLst>
            <pc:docMk/>
            <pc:sldMk cId="304171044" sldId="10488"/>
            <ac:spMk id="83" creationId="{D7CEA98B-A173-4E42-937D-1020B1B5A07A}"/>
          </ac:spMkLst>
        </pc:spChg>
        <pc:spChg chg="mod">
          <ac:chgData name="Sarah GAUVARD" userId="4c03e191-e154-482a-88b2-11de19eac96c" providerId="ADAL" clId="{8245CC27-65FB-483E-B8E7-D04039DBA80D}" dt="2021-05-25T13:05:57.769" v="22865" actId="1076"/>
          <ac:spMkLst>
            <pc:docMk/>
            <pc:sldMk cId="304171044" sldId="10488"/>
            <ac:spMk id="84" creationId="{A40ACC65-186E-458D-8C70-A590D9417865}"/>
          </ac:spMkLst>
        </pc:spChg>
        <pc:spChg chg="mod">
          <ac:chgData name="Sarah GAUVARD" userId="4c03e191-e154-482a-88b2-11de19eac96c" providerId="ADAL" clId="{8245CC27-65FB-483E-B8E7-D04039DBA80D}" dt="2021-05-25T13:05:57.769" v="22865" actId="1076"/>
          <ac:spMkLst>
            <pc:docMk/>
            <pc:sldMk cId="304171044" sldId="10488"/>
            <ac:spMk id="87" creationId="{4E8A0885-908A-42BB-8CAF-E46BCB676080}"/>
          </ac:spMkLst>
        </pc:spChg>
        <pc:spChg chg="mod">
          <ac:chgData name="Sarah GAUVARD" userId="4c03e191-e154-482a-88b2-11de19eac96c" providerId="ADAL" clId="{8245CC27-65FB-483E-B8E7-D04039DBA80D}" dt="2021-05-25T13:05:57.769" v="22865" actId="1076"/>
          <ac:spMkLst>
            <pc:docMk/>
            <pc:sldMk cId="304171044" sldId="10488"/>
            <ac:spMk id="88" creationId="{A622C32B-C0AA-43E7-817D-88335DA34C4B}"/>
          </ac:spMkLst>
        </pc:spChg>
        <pc:spChg chg="mod">
          <ac:chgData name="Sarah GAUVARD" userId="4c03e191-e154-482a-88b2-11de19eac96c" providerId="ADAL" clId="{8245CC27-65FB-483E-B8E7-D04039DBA80D}" dt="2021-05-25T13:06:28.108" v="22873" actId="571"/>
          <ac:spMkLst>
            <pc:docMk/>
            <pc:sldMk cId="304171044" sldId="10488"/>
            <ac:spMk id="90" creationId="{96E36915-6A9E-417A-B216-4D96C3A10DB5}"/>
          </ac:spMkLst>
        </pc:spChg>
        <pc:spChg chg="mod">
          <ac:chgData name="Sarah GAUVARD" userId="4c03e191-e154-482a-88b2-11de19eac96c" providerId="ADAL" clId="{8245CC27-65FB-483E-B8E7-D04039DBA80D}" dt="2021-05-25T13:06:28.108" v="22873" actId="571"/>
          <ac:spMkLst>
            <pc:docMk/>
            <pc:sldMk cId="304171044" sldId="10488"/>
            <ac:spMk id="91" creationId="{BFF78B58-FD89-4362-9BA8-9B6C47C0E53F}"/>
          </ac:spMkLst>
        </pc:spChg>
        <pc:spChg chg="add del mod modVis">
          <ac:chgData name="Sarah GAUVARD" userId="4c03e191-e154-482a-88b2-11de19eac96c" providerId="ADAL" clId="{8245CC27-65FB-483E-B8E7-D04039DBA80D}" dt="2021-05-25T13:30:27.686" v="24190"/>
          <ac:spMkLst>
            <pc:docMk/>
            <pc:sldMk cId="304171044" sldId="10488"/>
            <ac:spMk id="108" creationId="{70B87901-8AC7-4CBC-A3F7-54A7325786C0}"/>
          </ac:spMkLst>
        </pc:spChg>
        <pc:spChg chg="add del mod modVis">
          <ac:chgData name="Sarah GAUVARD" userId="4c03e191-e154-482a-88b2-11de19eac96c" providerId="ADAL" clId="{8245CC27-65FB-483E-B8E7-D04039DBA80D}" dt="2021-05-25T13:30:28.771" v="24251"/>
          <ac:spMkLst>
            <pc:docMk/>
            <pc:sldMk cId="304171044" sldId="10488"/>
            <ac:spMk id="109" creationId="{4F4ED37F-E530-4332-A876-F9C050BC8FCB}"/>
          </ac:spMkLst>
        </pc:spChg>
        <pc:spChg chg="add del mod modVis">
          <ac:chgData name="Sarah GAUVARD" userId="4c03e191-e154-482a-88b2-11de19eac96c" providerId="ADAL" clId="{8245CC27-65FB-483E-B8E7-D04039DBA80D}" dt="2021-05-25T13:30:57.921" v="24315"/>
          <ac:spMkLst>
            <pc:docMk/>
            <pc:sldMk cId="304171044" sldId="10488"/>
            <ac:spMk id="110" creationId="{F3DD0868-D0DD-4065-82FA-D3B81DDBA01E}"/>
          </ac:spMkLst>
        </pc:spChg>
        <pc:spChg chg="add del mod modVis">
          <ac:chgData name="Sarah GAUVARD" userId="4c03e191-e154-482a-88b2-11de19eac96c" providerId="ADAL" clId="{8245CC27-65FB-483E-B8E7-D04039DBA80D}" dt="2021-05-25T13:31:01.915" v="24374"/>
          <ac:spMkLst>
            <pc:docMk/>
            <pc:sldMk cId="304171044" sldId="10488"/>
            <ac:spMk id="111" creationId="{07DF79BB-0623-48E4-B507-43AB493330FE}"/>
          </ac:spMkLst>
        </pc:spChg>
        <pc:spChg chg="add del mod modVis">
          <ac:chgData name="Sarah GAUVARD" userId="4c03e191-e154-482a-88b2-11de19eac96c" providerId="ADAL" clId="{8245CC27-65FB-483E-B8E7-D04039DBA80D}" dt="2021-05-25T13:31:05.388" v="24433"/>
          <ac:spMkLst>
            <pc:docMk/>
            <pc:sldMk cId="304171044" sldId="10488"/>
            <ac:spMk id="112" creationId="{545C8673-3C76-4655-93AB-8A500107D4C8}"/>
          </ac:spMkLst>
        </pc:spChg>
        <pc:spChg chg="add del mod modVis">
          <ac:chgData name="Sarah GAUVARD" userId="4c03e191-e154-482a-88b2-11de19eac96c" providerId="ADAL" clId="{8245CC27-65FB-483E-B8E7-D04039DBA80D}" dt="2021-05-25T13:31:09.066" v="24492"/>
          <ac:spMkLst>
            <pc:docMk/>
            <pc:sldMk cId="304171044" sldId="10488"/>
            <ac:spMk id="113" creationId="{5AAA4F6F-8C68-4D75-B68A-521CC525972B}"/>
          </ac:spMkLst>
        </pc:spChg>
        <pc:grpChg chg="add mod">
          <ac:chgData name="Sarah GAUVARD" userId="4c03e191-e154-482a-88b2-11de19eac96c" providerId="ADAL" clId="{8245CC27-65FB-483E-B8E7-D04039DBA80D}" dt="2021-05-25T13:05:57.769" v="22865" actId="1076"/>
          <ac:grpSpMkLst>
            <pc:docMk/>
            <pc:sldMk cId="304171044" sldId="10488"/>
            <ac:grpSpMk id="78" creationId="{C37060A4-71F4-43B5-94D9-F2FD5F6DE9BF}"/>
          </ac:grpSpMkLst>
        </pc:grpChg>
        <pc:grpChg chg="add mod">
          <ac:chgData name="Sarah GAUVARD" userId="4c03e191-e154-482a-88b2-11de19eac96c" providerId="ADAL" clId="{8245CC27-65FB-483E-B8E7-D04039DBA80D}" dt="2021-05-25T13:05:57.769" v="22865" actId="1076"/>
          <ac:grpSpMkLst>
            <pc:docMk/>
            <pc:sldMk cId="304171044" sldId="10488"/>
            <ac:grpSpMk id="85" creationId="{F8EFE2B0-4D77-47D3-A8BF-6DD08CBBBDFB}"/>
          </ac:grpSpMkLst>
        </pc:grpChg>
        <pc:grpChg chg="add mod">
          <ac:chgData name="Sarah GAUVARD" userId="4c03e191-e154-482a-88b2-11de19eac96c" providerId="ADAL" clId="{8245CC27-65FB-483E-B8E7-D04039DBA80D}" dt="2021-05-25T13:06:28.108" v="22873" actId="571"/>
          <ac:grpSpMkLst>
            <pc:docMk/>
            <pc:sldMk cId="304171044" sldId="10488"/>
            <ac:grpSpMk id="89" creationId="{305F55DB-DE11-461C-8172-C57F2F643919}"/>
          </ac:grpSpMkLst>
        </pc:grpChg>
        <pc:graphicFrameChg chg="mod">
          <ac:chgData name="Sarah GAUVARD" userId="4c03e191-e154-482a-88b2-11de19eac96c" providerId="ADAL" clId="{8245CC27-65FB-483E-B8E7-D04039DBA80D}" dt="2021-05-25T13:31:09.068" v="24494"/>
          <ac:graphicFrameMkLst>
            <pc:docMk/>
            <pc:sldMk cId="304171044" sldId="10488"/>
            <ac:graphicFrameMk id="4" creationId="{FE9A305D-3669-4634-B9B4-C6C2AFA8A793}"/>
          </ac:graphicFrameMkLst>
        </pc:graphicFrameChg>
      </pc:sldChg>
      <pc:sldChg chg="modSp mod">
        <pc:chgData name="Sarah GAUVARD" userId="4c03e191-e154-482a-88b2-11de19eac96c" providerId="ADAL" clId="{8245CC27-65FB-483E-B8E7-D04039DBA80D}" dt="2021-05-25T15:20:07.076" v="27621" actId="20577"/>
        <pc:sldMkLst>
          <pc:docMk/>
          <pc:sldMk cId="2842141633" sldId="10490"/>
        </pc:sldMkLst>
        <pc:spChg chg="mod">
          <ac:chgData name="Sarah GAUVARD" userId="4c03e191-e154-482a-88b2-11de19eac96c" providerId="ADAL" clId="{8245CC27-65FB-483E-B8E7-D04039DBA80D}" dt="2021-05-25T15:20:07.076" v="27621" actId="20577"/>
          <ac:spMkLst>
            <pc:docMk/>
            <pc:sldMk cId="2842141633" sldId="10490"/>
            <ac:spMk id="184" creationId="{6B69893E-36F2-47E0-AE32-6A4236006FD0}"/>
          </ac:spMkLst>
        </pc:spChg>
      </pc:sldChg>
      <pc:sldChg chg="addSp delSp modSp add mod">
        <pc:chgData name="Sarah GAUVARD" userId="4c03e191-e154-482a-88b2-11de19eac96c" providerId="ADAL" clId="{8245CC27-65FB-483E-B8E7-D04039DBA80D}" dt="2021-05-25T15:12:20.213" v="27575" actId="1076"/>
        <pc:sldMkLst>
          <pc:docMk/>
          <pc:sldMk cId="1879522387" sldId="10491"/>
        </pc:sldMkLst>
        <pc:spChg chg="mod">
          <ac:chgData name="Sarah GAUVARD" userId="4c03e191-e154-482a-88b2-11de19eac96c" providerId="ADAL" clId="{8245CC27-65FB-483E-B8E7-D04039DBA80D}" dt="2021-05-25T14:55:03.642" v="25428" actId="948"/>
          <ac:spMkLst>
            <pc:docMk/>
            <pc:sldMk cId="1879522387" sldId="10491"/>
            <ac:spMk id="2" creationId="{13177ED9-F236-4FEB-A676-BB6F2C98ABD8}"/>
          </ac:spMkLst>
        </pc:spChg>
        <pc:spChg chg="del">
          <ac:chgData name="Sarah GAUVARD" userId="4c03e191-e154-482a-88b2-11de19eac96c" providerId="ADAL" clId="{8245CC27-65FB-483E-B8E7-D04039DBA80D}" dt="2021-05-25T14:37:15.937" v="24573" actId="478"/>
          <ac:spMkLst>
            <pc:docMk/>
            <pc:sldMk cId="1879522387" sldId="10491"/>
            <ac:spMk id="7" creationId="{75C3341A-4544-4CBA-B638-ED39D3469F99}"/>
          </ac:spMkLst>
        </pc:spChg>
        <pc:spChg chg="add del mod modVis">
          <ac:chgData name="Sarah GAUVARD" userId="4c03e191-e154-482a-88b2-11de19eac96c" providerId="ADAL" clId="{8245CC27-65FB-483E-B8E7-D04039DBA80D}" dt="2021-05-25T14:52:30.995" v="24918"/>
          <ac:spMkLst>
            <pc:docMk/>
            <pc:sldMk cId="1879522387" sldId="10491"/>
            <ac:spMk id="8" creationId="{DE5E0A67-98FC-4A1E-9547-4B9F23018CDA}"/>
          </ac:spMkLst>
        </pc:spChg>
        <pc:spChg chg="add del mod modVis">
          <ac:chgData name="Sarah GAUVARD" userId="4c03e191-e154-482a-88b2-11de19eac96c" providerId="ADAL" clId="{8245CC27-65FB-483E-B8E7-D04039DBA80D}" dt="2021-05-25T14:52:33.487" v="24962"/>
          <ac:spMkLst>
            <pc:docMk/>
            <pc:sldMk cId="1879522387" sldId="10491"/>
            <ac:spMk id="10" creationId="{AB0A2A72-8773-4DF6-83ED-6C743D082463}"/>
          </ac:spMkLst>
        </pc:spChg>
        <pc:spChg chg="add del mod modVis">
          <ac:chgData name="Sarah GAUVARD" userId="4c03e191-e154-482a-88b2-11de19eac96c" providerId="ADAL" clId="{8245CC27-65FB-483E-B8E7-D04039DBA80D}" dt="2021-05-25T14:52:38.820" v="25008"/>
          <ac:spMkLst>
            <pc:docMk/>
            <pc:sldMk cId="1879522387" sldId="10491"/>
            <ac:spMk id="11" creationId="{E0017A84-F2CD-481A-8903-A6C03D9CA8B8}"/>
          </ac:spMkLst>
        </pc:spChg>
        <pc:spChg chg="add del mod modVis">
          <ac:chgData name="Sarah GAUVARD" userId="4c03e191-e154-482a-88b2-11de19eac96c" providerId="ADAL" clId="{8245CC27-65FB-483E-B8E7-D04039DBA80D}" dt="2021-05-25T14:53:34.617" v="25098"/>
          <ac:spMkLst>
            <pc:docMk/>
            <pc:sldMk cId="1879522387" sldId="10491"/>
            <ac:spMk id="12" creationId="{CCDB41D3-C8F9-463B-9BF9-A8FF53D49D05}"/>
          </ac:spMkLst>
        </pc:spChg>
        <pc:spChg chg="add del mod modVis">
          <ac:chgData name="Sarah GAUVARD" userId="4c03e191-e154-482a-88b2-11de19eac96c" providerId="ADAL" clId="{8245CC27-65FB-483E-B8E7-D04039DBA80D}" dt="2021-05-25T14:53:41.761" v="25150"/>
          <ac:spMkLst>
            <pc:docMk/>
            <pc:sldMk cId="1879522387" sldId="10491"/>
            <ac:spMk id="13" creationId="{0EFFAC59-353D-4617-A8A1-88137CBEA89C}"/>
          </ac:spMkLst>
        </pc:spChg>
        <pc:spChg chg="add del mod modVis">
          <ac:chgData name="Sarah GAUVARD" userId="4c03e191-e154-482a-88b2-11de19eac96c" providerId="ADAL" clId="{8245CC27-65FB-483E-B8E7-D04039DBA80D}" dt="2021-05-25T14:53:43.656" v="25204"/>
          <ac:spMkLst>
            <pc:docMk/>
            <pc:sldMk cId="1879522387" sldId="10491"/>
            <ac:spMk id="14" creationId="{7178656B-01E6-40D7-BBB8-41412DEA0199}"/>
          </ac:spMkLst>
        </pc:spChg>
        <pc:spChg chg="add del mod modVis">
          <ac:chgData name="Sarah GAUVARD" userId="4c03e191-e154-482a-88b2-11de19eac96c" providerId="ADAL" clId="{8245CC27-65FB-483E-B8E7-D04039DBA80D}" dt="2021-05-25T14:54:50.536" v="25258"/>
          <ac:spMkLst>
            <pc:docMk/>
            <pc:sldMk cId="1879522387" sldId="10491"/>
            <ac:spMk id="15" creationId="{CE8CEA55-F5DF-43CF-998A-C5167E620674}"/>
          </ac:spMkLst>
        </pc:spChg>
        <pc:spChg chg="add del mod modVis">
          <ac:chgData name="Sarah GAUVARD" userId="4c03e191-e154-482a-88b2-11de19eac96c" providerId="ADAL" clId="{8245CC27-65FB-483E-B8E7-D04039DBA80D}" dt="2021-05-25T14:54:55.372" v="25331"/>
          <ac:spMkLst>
            <pc:docMk/>
            <pc:sldMk cId="1879522387" sldId="10491"/>
            <ac:spMk id="16" creationId="{7C30759E-5460-4345-85B5-728FEF119858}"/>
          </ac:spMkLst>
        </pc:spChg>
        <pc:spChg chg="add del mod modVis">
          <ac:chgData name="Sarah GAUVARD" userId="4c03e191-e154-482a-88b2-11de19eac96c" providerId="ADAL" clId="{8245CC27-65FB-483E-B8E7-D04039DBA80D}" dt="2021-05-25T14:54:56.582" v="25380"/>
          <ac:spMkLst>
            <pc:docMk/>
            <pc:sldMk cId="1879522387" sldId="10491"/>
            <ac:spMk id="17" creationId="{73378021-B353-41BA-9308-207EBE653EDA}"/>
          </ac:spMkLst>
        </pc:spChg>
        <pc:spChg chg="add del mod modVis">
          <ac:chgData name="Sarah GAUVARD" userId="4c03e191-e154-482a-88b2-11de19eac96c" providerId="ADAL" clId="{8245CC27-65FB-483E-B8E7-D04039DBA80D}" dt="2021-05-25T14:55:02.511" v="25424"/>
          <ac:spMkLst>
            <pc:docMk/>
            <pc:sldMk cId="1879522387" sldId="10491"/>
            <ac:spMk id="18" creationId="{C4924F9C-77E9-4E97-B22F-3C1869E6C072}"/>
          </ac:spMkLst>
        </pc:spChg>
        <pc:spChg chg="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19" creationId="{92BEB8F1-C1CF-4E36-805E-A6856F8CDD12}"/>
          </ac:spMkLst>
        </pc:spChg>
        <pc:spChg chg="add del mod modVis">
          <ac:chgData name="Sarah GAUVARD" userId="4c03e191-e154-482a-88b2-11de19eac96c" providerId="ADAL" clId="{8245CC27-65FB-483E-B8E7-D04039DBA80D}" dt="2021-05-25T14:55:03.687" v="25468"/>
          <ac:spMkLst>
            <pc:docMk/>
            <pc:sldMk cId="1879522387" sldId="10491"/>
            <ac:spMk id="20" creationId="{EE397B29-18D0-4E47-917E-F431B9F6DDF1}"/>
          </ac:spMkLst>
        </pc:spChg>
        <pc:spChg chg="mod">
          <ac:chgData name="Sarah GAUVARD" userId="4c03e191-e154-482a-88b2-11de19eac96c" providerId="ADAL" clId="{8245CC27-65FB-483E-B8E7-D04039DBA80D}" dt="2021-05-25T15:10:21.962" v="27562" actId="1076"/>
          <ac:spMkLst>
            <pc:docMk/>
            <pc:sldMk cId="1879522387" sldId="10491"/>
            <ac:spMk id="57" creationId="{AACC9758-A2ED-4421-A4F8-A76E33C47C70}"/>
          </ac:spMkLst>
        </pc:spChg>
        <pc:spChg chg="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62" creationId="{AF6339FC-FBB6-47B9-9F4D-D8ACD6747EB6}"/>
          </ac:spMkLst>
        </pc:spChg>
        <pc:spChg chg="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63" creationId="{26B41FF6-0A98-40D6-BCF8-B69CFBD7AEC9}"/>
          </ac:spMkLst>
        </pc:spChg>
        <pc:spChg chg="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64" creationId="{D92ED501-D560-4011-853E-32C9D096212A}"/>
          </ac:spMkLst>
        </pc:spChg>
        <pc:spChg chg="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65" creationId="{FF13FFC1-D72B-4AA8-9171-3F6FE050ECEE}"/>
          </ac:spMkLst>
        </pc:spChg>
        <pc:spChg chg="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66" creationId="{C89A4321-D49B-45EF-9ED4-AC6785CA08DD}"/>
          </ac:spMkLst>
        </pc:spChg>
        <pc:spChg chg="mod">
          <ac:chgData name="Sarah GAUVARD" userId="4c03e191-e154-482a-88b2-11de19eac96c" providerId="ADAL" clId="{8245CC27-65FB-483E-B8E7-D04039DBA80D}" dt="2021-05-25T15:10:21.962" v="27562" actId="1076"/>
          <ac:spMkLst>
            <pc:docMk/>
            <pc:sldMk cId="1879522387" sldId="10491"/>
            <ac:spMk id="67" creationId="{F56A9879-6797-4938-987E-8B0EA9BBCD37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71" creationId="{CBB8A796-2090-4136-81B3-DD25F2B14E0D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72" creationId="{C9932B38-97C7-4428-81BB-3801F596C7A8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73" creationId="{912B60C1-10C9-4C93-96D2-E41216B4B5D3}"/>
          </ac:spMkLst>
        </pc:spChg>
        <pc:spChg chg="add 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75" creationId="{64D8CCC3-A255-44B6-B5F7-FB54AB37A092}"/>
          </ac:spMkLst>
        </pc:spChg>
        <pc:spChg chg="add mod">
          <ac:chgData name="Sarah GAUVARD" userId="4c03e191-e154-482a-88b2-11de19eac96c" providerId="ADAL" clId="{8245CC27-65FB-483E-B8E7-D04039DBA80D}" dt="2021-05-25T14:52:11.822" v="24876" actId="1076"/>
          <ac:spMkLst>
            <pc:docMk/>
            <pc:sldMk cId="1879522387" sldId="10491"/>
            <ac:spMk id="76" creationId="{6BEDCAD7-AB15-4FD5-A783-48493886C240}"/>
          </ac:spMkLst>
        </pc:spChg>
        <pc:spChg chg="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77" creationId="{2AD3025A-834E-47AF-BF62-355274B6372C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78" creationId="{AE4EF315-F328-4682-8B75-485D8875BA5E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79" creationId="{10A64F4F-BB6B-47D4-837A-829635E590C8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80" creationId="{A3F7ED49-A1B8-4A51-933F-989B04FC19FC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81" creationId="{64E7544E-B9B8-4B7C-8860-391AE1530B8B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82" creationId="{CA591A00-3A45-4433-8941-7B3DC8EB36B5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83" creationId="{79B13BAC-5AF8-4002-A1EB-410345754704}"/>
          </ac:spMkLst>
        </pc:spChg>
        <pc:spChg chg="add 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84" creationId="{8C164082-564A-427F-8C3C-2B4E0CF3E5D7}"/>
          </ac:spMkLst>
        </pc:spChg>
        <pc:spChg chg="del">
          <ac:chgData name="Sarah GAUVARD" userId="4c03e191-e154-482a-88b2-11de19eac96c" providerId="ADAL" clId="{8245CC27-65FB-483E-B8E7-D04039DBA80D}" dt="2021-05-25T14:37:26.533" v="24574" actId="478"/>
          <ac:spMkLst>
            <pc:docMk/>
            <pc:sldMk cId="1879522387" sldId="10491"/>
            <ac:spMk id="86" creationId="{C61072E4-514A-4B47-8169-8FCBDA18612C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87" creationId="{CC75CEBD-D0F7-494C-B0E8-E10F7802B25A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88" creationId="{002A8146-6C05-413C-9359-F34D34BD36CC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89" creationId="{CC8692CD-2725-4A24-8138-E9D717F44FBF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93" creationId="{18E9E939-3A31-48B2-A250-683C8CA82A6D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94" creationId="{936DBA7E-DFF1-49CD-B514-14D2F22E6C38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95" creationId="{91D2A43F-22CC-49A6-A939-58B4E7960186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96" creationId="{CE68ECD8-A90E-4C77-ADA9-7E6E6891C31B}"/>
          </ac:spMkLst>
        </pc:spChg>
        <pc:spChg chg="mod">
          <ac:chgData name="Sarah GAUVARD" userId="4c03e191-e154-482a-88b2-11de19eac96c" providerId="ADAL" clId="{8245CC27-65FB-483E-B8E7-D04039DBA80D}" dt="2021-05-25T14:44:34.978" v="24652" actId="1076"/>
          <ac:spMkLst>
            <pc:docMk/>
            <pc:sldMk cId="1879522387" sldId="10491"/>
            <ac:spMk id="97" creationId="{3717E40B-02C5-4E02-8593-981487E67EE4}"/>
          </ac:spMkLst>
        </pc:spChg>
        <pc:spChg chg="add 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98" creationId="{A31A827E-08A4-45B0-A3E5-1B2A40288FDF}"/>
          </ac:spMkLst>
        </pc:spChg>
        <pc:spChg chg="add 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99" creationId="{8BFC7D6E-E9D4-444D-82C9-7BF49CBFC9B8}"/>
          </ac:spMkLst>
        </pc:spChg>
        <pc:spChg chg="mod">
          <ac:chgData name="Sarah GAUVARD" userId="4c03e191-e154-482a-88b2-11de19eac96c" providerId="ADAL" clId="{8245CC27-65FB-483E-B8E7-D04039DBA80D}" dt="2021-05-25T15:10:21.962" v="27562" actId="1076"/>
          <ac:spMkLst>
            <pc:docMk/>
            <pc:sldMk cId="1879522387" sldId="10491"/>
            <ac:spMk id="100" creationId="{9FCC959C-37AB-4DE6-96D6-8D512E39D78C}"/>
          </ac:spMkLst>
        </pc:spChg>
        <pc:spChg chg="mod">
          <ac:chgData name="Sarah GAUVARD" userId="4c03e191-e154-482a-88b2-11de19eac96c" providerId="ADAL" clId="{8245CC27-65FB-483E-B8E7-D04039DBA80D}" dt="2021-05-25T14:42:12.149" v="24641" actId="14100"/>
          <ac:spMkLst>
            <pc:docMk/>
            <pc:sldMk cId="1879522387" sldId="10491"/>
            <ac:spMk id="102" creationId="{6D0B3FD5-2182-421F-9A88-C1673460DB2B}"/>
          </ac:spMkLst>
        </pc:spChg>
        <pc:spChg chg="del">
          <ac:chgData name="Sarah GAUVARD" userId="4c03e191-e154-482a-88b2-11de19eac96c" providerId="ADAL" clId="{8245CC27-65FB-483E-B8E7-D04039DBA80D}" dt="2021-05-25T14:37:26.533" v="24574" actId="478"/>
          <ac:spMkLst>
            <pc:docMk/>
            <pc:sldMk cId="1879522387" sldId="10491"/>
            <ac:spMk id="104" creationId="{C4AE2C1F-9FB2-4440-8BB3-2C0E7D9EDCE0}"/>
          </ac:spMkLst>
        </pc:spChg>
        <pc:spChg chg="mod">
          <ac:chgData name="Sarah GAUVARD" userId="4c03e191-e154-482a-88b2-11de19eac96c" providerId="ADAL" clId="{8245CC27-65FB-483E-B8E7-D04039DBA80D}" dt="2021-05-25T14:48:42.828" v="24757" actId="1076"/>
          <ac:spMkLst>
            <pc:docMk/>
            <pc:sldMk cId="1879522387" sldId="10491"/>
            <ac:spMk id="105" creationId="{04EF4D1A-C037-42D0-B892-5838973F1158}"/>
          </ac:spMkLst>
        </pc:spChg>
        <pc:spChg chg="mod">
          <ac:chgData name="Sarah GAUVARD" userId="4c03e191-e154-482a-88b2-11de19eac96c" providerId="ADAL" clId="{8245CC27-65FB-483E-B8E7-D04039DBA80D}" dt="2021-05-25T14:48:42.828" v="24757" actId="1076"/>
          <ac:spMkLst>
            <pc:docMk/>
            <pc:sldMk cId="1879522387" sldId="10491"/>
            <ac:spMk id="106" creationId="{1A98F378-0609-47B5-A22F-B3DF98061CA5}"/>
          </ac:spMkLst>
        </pc:spChg>
        <pc:spChg chg="mod">
          <ac:chgData name="Sarah GAUVARD" userId="4c03e191-e154-482a-88b2-11de19eac96c" providerId="ADAL" clId="{8245CC27-65FB-483E-B8E7-D04039DBA80D}" dt="2021-05-25T14:49:01.554" v="24762" actId="1076"/>
          <ac:spMkLst>
            <pc:docMk/>
            <pc:sldMk cId="1879522387" sldId="10491"/>
            <ac:spMk id="107" creationId="{CD736F70-A922-478A-A935-A6627A6FA958}"/>
          </ac:spMkLst>
        </pc:spChg>
        <pc:spChg chg="mod">
          <ac:chgData name="Sarah GAUVARD" userId="4c03e191-e154-482a-88b2-11de19eac96c" providerId="ADAL" clId="{8245CC27-65FB-483E-B8E7-D04039DBA80D}" dt="2021-05-25T15:12:20.213" v="27575" actId="1076"/>
          <ac:spMkLst>
            <pc:docMk/>
            <pc:sldMk cId="1879522387" sldId="10491"/>
            <ac:spMk id="108" creationId="{E83BE468-E05E-4A0B-886A-54474D37CF16}"/>
          </ac:spMkLst>
        </pc:spChg>
        <pc:spChg chg="add 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09" creationId="{3A1230BD-E192-4DF8-8661-DBD491371753}"/>
          </ac:spMkLst>
        </pc:spChg>
        <pc:spChg chg="mod">
          <ac:chgData name="Sarah GAUVARD" userId="4c03e191-e154-482a-88b2-11de19eac96c" providerId="ADAL" clId="{8245CC27-65FB-483E-B8E7-D04039DBA80D}" dt="2021-05-25T15:12:20.213" v="27575" actId="1076"/>
          <ac:spMkLst>
            <pc:docMk/>
            <pc:sldMk cId="1879522387" sldId="10491"/>
            <ac:spMk id="110" creationId="{B2460D74-F7C7-4AE2-921F-029A5C4ACC25}"/>
          </ac:spMkLst>
        </pc:spChg>
        <pc:spChg chg="mod">
          <ac:chgData name="Sarah GAUVARD" userId="4c03e191-e154-482a-88b2-11de19eac96c" providerId="ADAL" clId="{8245CC27-65FB-483E-B8E7-D04039DBA80D}" dt="2021-05-25T15:12:20.213" v="27575" actId="1076"/>
          <ac:spMkLst>
            <pc:docMk/>
            <pc:sldMk cId="1879522387" sldId="10491"/>
            <ac:spMk id="111" creationId="{A29F75D6-CEAB-4A60-940C-8B8C0D8323F5}"/>
          </ac:spMkLst>
        </pc:spChg>
        <pc:spChg chg="mod">
          <ac:chgData name="Sarah GAUVARD" userId="4c03e191-e154-482a-88b2-11de19eac96c" providerId="ADAL" clId="{8245CC27-65FB-483E-B8E7-D04039DBA80D}" dt="2021-05-25T15:12:20.213" v="27575" actId="1076"/>
          <ac:spMkLst>
            <pc:docMk/>
            <pc:sldMk cId="1879522387" sldId="10491"/>
            <ac:spMk id="112" creationId="{58CE4BCF-2D3A-46AF-85AE-F32E8E0C6316}"/>
          </ac:spMkLst>
        </pc:spChg>
        <pc:spChg chg="mod">
          <ac:chgData name="Sarah GAUVARD" userId="4c03e191-e154-482a-88b2-11de19eac96c" providerId="ADAL" clId="{8245CC27-65FB-483E-B8E7-D04039DBA80D}" dt="2021-05-25T15:12:20.213" v="27575" actId="1076"/>
          <ac:spMkLst>
            <pc:docMk/>
            <pc:sldMk cId="1879522387" sldId="10491"/>
            <ac:spMk id="113" creationId="{D9F52C90-3573-4606-A864-DAB7537E0C94}"/>
          </ac:spMkLst>
        </pc:spChg>
        <pc:spChg chg="mod">
          <ac:chgData name="Sarah GAUVARD" userId="4c03e191-e154-482a-88b2-11de19eac96c" providerId="ADAL" clId="{8245CC27-65FB-483E-B8E7-D04039DBA80D}" dt="2021-05-25T15:12:20.213" v="27575" actId="1076"/>
          <ac:spMkLst>
            <pc:docMk/>
            <pc:sldMk cId="1879522387" sldId="10491"/>
            <ac:spMk id="114" creationId="{1E401A45-86B4-4614-954C-00ABC11FB73A}"/>
          </ac:spMkLst>
        </pc:spChg>
        <pc:spChg chg="del mod">
          <ac:chgData name="Sarah GAUVARD" userId="4c03e191-e154-482a-88b2-11de19eac96c" providerId="ADAL" clId="{8245CC27-65FB-483E-B8E7-D04039DBA80D}" dt="2021-05-25T14:48:17.614" v="24753" actId="478"/>
          <ac:spMkLst>
            <pc:docMk/>
            <pc:sldMk cId="1879522387" sldId="10491"/>
            <ac:spMk id="115" creationId="{A0C7CAD2-4A72-4C8D-8B97-E7D950CB9A60}"/>
          </ac:spMkLst>
        </pc:spChg>
        <pc:spChg chg="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17" creationId="{F1B1BA3F-0EF4-45B8-959F-B6488B8EE9E3}"/>
          </ac:spMkLst>
        </pc:spChg>
        <pc:spChg chg="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21" creationId="{DDF8CD5B-3CA5-4FEE-B74B-8254766F2692}"/>
          </ac:spMkLst>
        </pc:spChg>
        <pc:spChg chg="mod">
          <ac:chgData name="Sarah GAUVARD" userId="4c03e191-e154-482a-88b2-11de19eac96c" providerId="ADAL" clId="{8245CC27-65FB-483E-B8E7-D04039DBA80D}" dt="2021-05-25T14:48:49.169" v="24758" actId="1076"/>
          <ac:spMkLst>
            <pc:docMk/>
            <pc:sldMk cId="1879522387" sldId="10491"/>
            <ac:spMk id="122" creationId="{4E4FBE5C-5A66-4677-B132-6E8E0699697B}"/>
          </ac:spMkLst>
        </pc:spChg>
        <pc:spChg chg="mod">
          <ac:chgData name="Sarah GAUVARD" userId="4c03e191-e154-482a-88b2-11de19eac96c" providerId="ADAL" clId="{8245CC27-65FB-483E-B8E7-D04039DBA80D}" dt="2021-05-25T14:48:49.169" v="24758" actId="1076"/>
          <ac:spMkLst>
            <pc:docMk/>
            <pc:sldMk cId="1879522387" sldId="10491"/>
            <ac:spMk id="123" creationId="{46FFD1D4-ABDD-404D-A66F-7BFC9FE9B411}"/>
          </ac:spMkLst>
        </pc:spChg>
        <pc:spChg chg="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24" creationId="{1DFF2629-1E4A-4CDD-825B-8F87B5A2F516}"/>
          </ac:spMkLst>
        </pc:spChg>
        <pc:spChg chg="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25" creationId="{3B641D3A-89D8-4D40-9ED2-A5809ACB34AE}"/>
          </ac:spMkLst>
        </pc:spChg>
        <pc:spChg chg="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26" creationId="{00DBEF8B-1142-4C9E-B212-116DDAEDA10C}"/>
          </ac:spMkLst>
        </pc:spChg>
        <pc:spChg chg="add 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37" creationId="{EC6FC040-7C10-48EE-BC2D-DECA3EBC503B}"/>
          </ac:spMkLst>
        </pc:spChg>
        <pc:spChg chg="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39" creationId="{7F93AE47-0D65-4415-B009-3A76E796BA34}"/>
          </ac:spMkLst>
        </pc:spChg>
        <pc:spChg chg="mod">
          <ac:chgData name="Sarah GAUVARD" userId="4c03e191-e154-482a-88b2-11de19eac96c" providerId="ADAL" clId="{8245CC27-65FB-483E-B8E7-D04039DBA80D}" dt="2021-05-25T14:38:21.657" v="24583" actId="571"/>
          <ac:spMkLst>
            <pc:docMk/>
            <pc:sldMk cId="1879522387" sldId="10491"/>
            <ac:spMk id="140" creationId="{7F8BCC9B-9069-4C4B-BD64-90869AB56824}"/>
          </ac:spMkLst>
        </pc:spChg>
        <pc:spChg chg="add mod">
          <ac:chgData name="Sarah GAUVARD" userId="4c03e191-e154-482a-88b2-11de19eac96c" providerId="ADAL" clId="{8245CC27-65FB-483E-B8E7-D04039DBA80D}" dt="2021-05-25T14:39:42.690" v="24601" actId="1076"/>
          <ac:spMkLst>
            <pc:docMk/>
            <pc:sldMk cId="1879522387" sldId="10491"/>
            <ac:spMk id="141" creationId="{C8487647-F97B-48C9-A08C-CD7CF7EFC5D2}"/>
          </ac:spMkLst>
        </pc:spChg>
        <pc:spChg chg="add mod">
          <ac:chgData name="Sarah GAUVARD" userId="4c03e191-e154-482a-88b2-11de19eac96c" providerId="ADAL" clId="{8245CC27-65FB-483E-B8E7-D04039DBA80D}" dt="2021-05-25T14:39:42.690" v="24601" actId="1076"/>
          <ac:spMkLst>
            <pc:docMk/>
            <pc:sldMk cId="1879522387" sldId="10491"/>
            <ac:spMk id="142" creationId="{3DDE5158-C7A4-499A-A3EA-DF913E4FD34E}"/>
          </ac:spMkLst>
        </pc:spChg>
        <pc:spChg chg="add 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143" creationId="{5CD6DBA3-02B5-4E86-A3E9-5DCDA75FE86E}"/>
          </ac:spMkLst>
        </pc:spChg>
        <pc:spChg chg="add mod">
          <ac:chgData name="Sarah GAUVARD" userId="4c03e191-e154-482a-88b2-11de19eac96c" providerId="ADAL" clId="{8245CC27-65FB-483E-B8E7-D04039DBA80D}" dt="2021-05-25T14:39:42.690" v="24601" actId="1076"/>
          <ac:spMkLst>
            <pc:docMk/>
            <pc:sldMk cId="1879522387" sldId="10491"/>
            <ac:spMk id="144" creationId="{6C14B6AF-D4A0-46BA-9222-378DB4A401B4}"/>
          </ac:spMkLst>
        </pc:spChg>
        <pc:spChg chg="add mod">
          <ac:chgData name="Sarah GAUVARD" userId="4c03e191-e154-482a-88b2-11de19eac96c" providerId="ADAL" clId="{8245CC27-65FB-483E-B8E7-D04039DBA80D}" dt="2021-05-25T14:39:42.690" v="24601" actId="1076"/>
          <ac:spMkLst>
            <pc:docMk/>
            <pc:sldMk cId="1879522387" sldId="10491"/>
            <ac:spMk id="145" creationId="{91178DE2-0AB0-49E7-9E5F-6542666A3EB1}"/>
          </ac:spMkLst>
        </pc:spChg>
        <pc:spChg chg="add mod">
          <ac:chgData name="Sarah GAUVARD" userId="4c03e191-e154-482a-88b2-11de19eac96c" providerId="ADAL" clId="{8245CC27-65FB-483E-B8E7-D04039DBA80D}" dt="2021-05-25T14:49:34.427" v="24772" actId="114"/>
          <ac:spMkLst>
            <pc:docMk/>
            <pc:sldMk cId="1879522387" sldId="10491"/>
            <ac:spMk id="146" creationId="{CB39C469-9662-45EF-8704-D7A889B03018}"/>
          </ac:spMkLst>
        </pc:spChg>
        <pc:spChg chg="add del">
          <ac:chgData name="Sarah GAUVARD" userId="4c03e191-e154-482a-88b2-11de19eac96c" providerId="ADAL" clId="{8245CC27-65FB-483E-B8E7-D04039DBA80D}" dt="2021-05-25T14:49:09.057" v="24766" actId="22"/>
          <ac:spMkLst>
            <pc:docMk/>
            <pc:sldMk cId="1879522387" sldId="10491"/>
            <ac:spMk id="147" creationId="{72D9F01C-FDC7-44CA-8CD4-EEFB3132B579}"/>
          </ac:spMkLst>
        </pc:spChg>
        <pc:spChg chg="add mod">
          <ac:chgData name="Sarah GAUVARD" userId="4c03e191-e154-482a-88b2-11de19eac96c" providerId="ADAL" clId="{8245CC27-65FB-483E-B8E7-D04039DBA80D}" dt="2021-05-25T15:10:21.962" v="27562" actId="1076"/>
          <ac:spMkLst>
            <pc:docMk/>
            <pc:sldMk cId="1879522387" sldId="10491"/>
            <ac:spMk id="148" creationId="{C16BB411-6976-4B29-8DEA-BEF8FD0D9A3E}"/>
          </ac:spMkLst>
        </pc:spChg>
        <pc:spChg chg="add mod">
          <ac:chgData name="Sarah GAUVARD" userId="4c03e191-e154-482a-88b2-11de19eac96c" providerId="ADAL" clId="{8245CC27-65FB-483E-B8E7-D04039DBA80D}" dt="2021-05-25T15:12:11.706" v="27574" actId="1076"/>
          <ac:spMkLst>
            <pc:docMk/>
            <pc:sldMk cId="1879522387" sldId="10491"/>
            <ac:spMk id="150" creationId="{1984CA49-E60F-403F-86FD-F715CCEDA702}"/>
          </ac:spMkLst>
        </pc:spChg>
        <pc:spChg chg="add mod">
          <ac:chgData name="Sarah GAUVARD" userId="4c03e191-e154-482a-88b2-11de19eac96c" providerId="ADAL" clId="{8245CC27-65FB-483E-B8E7-D04039DBA80D}" dt="2021-05-25T15:10:38.465" v="27566" actId="1076"/>
          <ac:spMkLst>
            <pc:docMk/>
            <pc:sldMk cId="1879522387" sldId="10491"/>
            <ac:spMk id="151" creationId="{C0DEFECA-BAA3-46D8-A2B1-551A3A20E432}"/>
          </ac:spMkLst>
        </pc:spChg>
        <pc:spChg chg="add del mod">
          <ac:chgData name="Sarah GAUVARD" userId="4c03e191-e154-482a-88b2-11de19eac96c" providerId="ADAL" clId="{8245CC27-65FB-483E-B8E7-D04039DBA80D}" dt="2021-05-25T15:10:31.214" v="27565" actId="478"/>
          <ac:spMkLst>
            <pc:docMk/>
            <pc:sldMk cId="1879522387" sldId="10491"/>
            <ac:spMk id="152" creationId="{0BCA392C-D5C9-4DA5-BABA-F1E9A17688AB}"/>
          </ac:spMkLst>
        </pc:spChg>
        <pc:grpChg chg="add mod">
          <ac:chgData name="Sarah GAUVARD" userId="4c03e191-e154-482a-88b2-11de19eac96c" providerId="ADAL" clId="{8245CC27-65FB-483E-B8E7-D04039DBA80D}" dt="2021-05-25T14:40:04.880" v="24608" actId="164"/>
          <ac:grpSpMkLst>
            <pc:docMk/>
            <pc:sldMk cId="1879522387" sldId="10491"/>
            <ac:grpSpMk id="5" creationId="{B6A0BA83-C208-4353-AAC8-9BB0F7EB2864}"/>
          </ac:grpSpMkLst>
        </pc:grpChg>
        <pc:grpChg chg="mod">
          <ac:chgData name="Sarah GAUVARD" userId="4c03e191-e154-482a-88b2-11de19eac96c" providerId="ADAL" clId="{8245CC27-65FB-483E-B8E7-D04039DBA80D}" dt="2021-05-25T15:12:11.706" v="27574" actId="1076"/>
          <ac:grpSpMkLst>
            <pc:docMk/>
            <pc:sldMk cId="1879522387" sldId="10491"/>
            <ac:grpSpMk id="60" creationId="{382D2D27-1615-4C87-AE47-D7562B4ECF72}"/>
          </ac:grpSpMkLst>
        </pc:grpChg>
        <pc:grpChg chg="mod">
          <ac:chgData name="Sarah GAUVARD" userId="4c03e191-e154-482a-88b2-11de19eac96c" providerId="ADAL" clId="{8245CC27-65FB-483E-B8E7-D04039DBA80D}" dt="2021-05-25T14:44:34.978" v="24652" actId="1076"/>
          <ac:grpSpMkLst>
            <pc:docMk/>
            <pc:sldMk cId="1879522387" sldId="10491"/>
            <ac:grpSpMk id="70" creationId="{D85D133B-8A78-418C-A1DC-E74F095EC91A}"/>
          </ac:grpSpMkLst>
        </pc:grpChg>
        <pc:grpChg chg="mod">
          <ac:chgData name="Sarah GAUVARD" userId="4c03e191-e154-482a-88b2-11de19eac96c" providerId="ADAL" clId="{8245CC27-65FB-483E-B8E7-D04039DBA80D}" dt="2021-05-25T14:44:34.978" v="24652" actId="1076"/>
          <ac:grpSpMkLst>
            <pc:docMk/>
            <pc:sldMk cId="1879522387" sldId="10491"/>
            <ac:grpSpMk id="92" creationId="{EBAD5360-A7B4-4F87-A3F6-4F52C3A8F42F}"/>
          </ac:grpSpMkLst>
        </pc:grpChg>
        <pc:grpChg chg="mod">
          <ac:chgData name="Sarah GAUVARD" userId="4c03e191-e154-482a-88b2-11de19eac96c" providerId="ADAL" clId="{8245CC27-65FB-483E-B8E7-D04039DBA80D}" dt="2021-05-25T15:12:20.213" v="27575" actId="1076"/>
          <ac:grpSpMkLst>
            <pc:docMk/>
            <pc:sldMk cId="1879522387" sldId="10491"/>
            <ac:grpSpMk id="103" creationId="{14E1AF50-EF10-4318-A0A9-9FFEC96B8E39}"/>
          </ac:grpSpMkLst>
        </pc:grpChg>
        <pc:grpChg chg="add mod">
          <ac:chgData name="Sarah GAUVARD" userId="4c03e191-e154-482a-88b2-11de19eac96c" providerId="ADAL" clId="{8245CC27-65FB-483E-B8E7-D04039DBA80D}" dt="2021-05-25T14:38:21.657" v="24583" actId="571"/>
          <ac:grpSpMkLst>
            <pc:docMk/>
            <pc:sldMk cId="1879522387" sldId="10491"/>
            <ac:grpSpMk id="116" creationId="{6CFBD294-2A45-4527-88B3-4FF3F8869418}"/>
          </ac:grpSpMkLst>
        </pc:grpChg>
        <pc:grpChg chg="mod">
          <ac:chgData name="Sarah GAUVARD" userId="4c03e191-e154-482a-88b2-11de19eac96c" providerId="ADAL" clId="{8245CC27-65FB-483E-B8E7-D04039DBA80D}" dt="2021-05-25T14:48:49.169" v="24758" actId="1076"/>
          <ac:grpSpMkLst>
            <pc:docMk/>
            <pc:sldMk cId="1879522387" sldId="10491"/>
            <ac:grpSpMk id="120" creationId="{F30C03CE-C2B9-4F0B-B742-1FF1A844ED41}"/>
          </ac:grpSpMkLst>
        </pc:grpChg>
        <pc:grpChg chg="add mod">
          <ac:chgData name="Sarah GAUVARD" userId="4c03e191-e154-482a-88b2-11de19eac96c" providerId="ADAL" clId="{8245CC27-65FB-483E-B8E7-D04039DBA80D}" dt="2021-05-25T14:38:21.657" v="24583" actId="571"/>
          <ac:grpSpMkLst>
            <pc:docMk/>
            <pc:sldMk cId="1879522387" sldId="10491"/>
            <ac:grpSpMk id="138" creationId="{E30CAD27-CD6B-4B3A-BD65-09B1185F3099}"/>
          </ac:grpSpMkLst>
        </pc:grpChg>
        <pc:graphicFrameChg chg="mod">
          <ac:chgData name="Sarah GAUVARD" userId="4c03e191-e154-482a-88b2-11de19eac96c" providerId="ADAL" clId="{8245CC27-65FB-483E-B8E7-D04039DBA80D}" dt="2021-05-25T14:55:03.689" v="25470"/>
          <ac:graphicFrameMkLst>
            <pc:docMk/>
            <pc:sldMk cId="1879522387" sldId="10491"/>
            <ac:graphicFrameMk id="4" creationId="{94A1FA70-75C7-4697-BDFD-BE281399CCBB}"/>
          </ac:graphicFrameMkLst>
        </pc:graphicFrameChg>
        <pc:picChg chg="mod">
          <ac:chgData name="Sarah GAUVARD" userId="4c03e191-e154-482a-88b2-11de19eac96c" providerId="ADAL" clId="{8245CC27-65FB-483E-B8E7-D04039DBA80D}" dt="2021-05-25T14:44:34.978" v="24652" actId="1076"/>
          <ac:picMkLst>
            <pc:docMk/>
            <pc:sldMk cId="1879522387" sldId="10491"/>
            <ac:picMk id="9" creationId="{B2E9AECA-F06A-45B3-920A-C5618AE78B6A}"/>
          </ac:picMkLst>
        </pc:picChg>
        <pc:picChg chg="mod">
          <ac:chgData name="Sarah GAUVARD" userId="4c03e191-e154-482a-88b2-11de19eac96c" providerId="ADAL" clId="{8245CC27-65FB-483E-B8E7-D04039DBA80D}" dt="2021-05-25T14:42:27.697" v="24644" actId="1076"/>
          <ac:picMkLst>
            <pc:docMk/>
            <pc:sldMk cId="1879522387" sldId="10491"/>
            <ac:picMk id="68" creationId="{BF96F10C-34D6-4069-B03B-6622AB306D97}"/>
          </ac:picMkLst>
        </pc:picChg>
        <pc:picChg chg="mod">
          <ac:chgData name="Sarah GAUVARD" userId="4c03e191-e154-482a-88b2-11de19eac96c" providerId="ADAL" clId="{8245CC27-65FB-483E-B8E7-D04039DBA80D}" dt="2021-05-25T14:44:34.978" v="24652" actId="1076"/>
          <ac:picMkLst>
            <pc:docMk/>
            <pc:sldMk cId="1879522387" sldId="10491"/>
            <ac:picMk id="85" creationId="{D08123C3-390E-40B4-9D7D-A9D994A0C6CD}"/>
          </ac:picMkLst>
        </pc:picChg>
        <pc:picChg chg="mod">
          <ac:chgData name="Sarah GAUVARD" userId="4c03e191-e154-482a-88b2-11de19eac96c" providerId="ADAL" clId="{8245CC27-65FB-483E-B8E7-D04039DBA80D}" dt="2021-05-25T14:44:34.978" v="24652" actId="1076"/>
          <ac:picMkLst>
            <pc:docMk/>
            <pc:sldMk cId="1879522387" sldId="10491"/>
            <ac:picMk id="90" creationId="{7A048C0E-7BDD-4995-AA72-48932D5E2AD8}"/>
          </ac:picMkLst>
        </pc:picChg>
        <pc:picChg chg="mod">
          <ac:chgData name="Sarah GAUVARD" userId="4c03e191-e154-482a-88b2-11de19eac96c" providerId="ADAL" clId="{8245CC27-65FB-483E-B8E7-D04039DBA80D}" dt="2021-05-25T14:44:34.978" v="24652" actId="1076"/>
          <ac:picMkLst>
            <pc:docMk/>
            <pc:sldMk cId="1879522387" sldId="10491"/>
            <ac:picMk id="91" creationId="{968F02EF-A917-4CA9-B0F1-8D161EC31A10}"/>
          </ac:picMkLst>
        </pc:picChg>
        <pc:picChg chg="mod">
          <ac:chgData name="Sarah GAUVARD" userId="4c03e191-e154-482a-88b2-11de19eac96c" providerId="ADAL" clId="{8245CC27-65FB-483E-B8E7-D04039DBA80D}" dt="2021-05-25T14:48:42.828" v="24757" actId="1076"/>
          <ac:picMkLst>
            <pc:docMk/>
            <pc:sldMk cId="1879522387" sldId="10491"/>
            <ac:picMk id="118" creationId="{0222D6E6-248E-4C5B-A447-BC2EF7705DD4}"/>
          </ac:picMkLst>
        </pc:picChg>
        <pc:picChg chg="mod">
          <ac:chgData name="Sarah GAUVARD" userId="4c03e191-e154-482a-88b2-11de19eac96c" providerId="ADAL" clId="{8245CC27-65FB-483E-B8E7-D04039DBA80D}" dt="2021-05-25T14:48:42.828" v="24757" actId="1076"/>
          <ac:picMkLst>
            <pc:docMk/>
            <pc:sldMk cId="1879522387" sldId="10491"/>
            <ac:picMk id="119" creationId="{71FB901A-842F-4213-9BC6-EA695DCBCF9F}"/>
          </ac:picMkLst>
        </pc:picChg>
        <pc:picChg chg="add mod">
          <ac:chgData name="Sarah GAUVARD" userId="4c03e191-e154-482a-88b2-11de19eac96c" providerId="ADAL" clId="{8245CC27-65FB-483E-B8E7-D04039DBA80D}" dt="2021-05-25T14:38:21.657" v="24583" actId="571"/>
          <ac:picMkLst>
            <pc:docMk/>
            <pc:sldMk cId="1879522387" sldId="10491"/>
            <ac:picMk id="127" creationId="{4108357E-9B26-4BD6-9D0D-0AF02EA00134}"/>
          </ac:picMkLst>
        </pc:picChg>
        <pc:picChg chg="add mod">
          <ac:chgData name="Sarah GAUVARD" userId="4c03e191-e154-482a-88b2-11de19eac96c" providerId="ADAL" clId="{8245CC27-65FB-483E-B8E7-D04039DBA80D}" dt="2021-05-25T14:38:21.657" v="24583" actId="571"/>
          <ac:picMkLst>
            <pc:docMk/>
            <pc:sldMk cId="1879522387" sldId="10491"/>
            <ac:picMk id="136" creationId="{7A497A39-30BC-44F6-8B4B-E6C51F7AA39F}"/>
          </ac:picMkLst>
        </pc:picChg>
        <pc:picChg chg="add mod">
          <ac:chgData name="Sarah GAUVARD" userId="4c03e191-e154-482a-88b2-11de19eac96c" providerId="ADAL" clId="{8245CC27-65FB-483E-B8E7-D04039DBA80D}" dt="2021-05-25T15:12:11.706" v="27574" actId="1076"/>
          <ac:picMkLst>
            <pc:docMk/>
            <pc:sldMk cId="1879522387" sldId="10491"/>
            <ac:picMk id="149" creationId="{4B51F436-C761-407F-A144-48380A91158B}"/>
          </ac:picMkLst>
        </pc:picChg>
        <pc:picChg chg="del">
          <ac:chgData name="Sarah GAUVARD" userId="4c03e191-e154-482a-88b2-11de19eac96c" providerId="ADAL" clId="{8245CC27-65FB-483E-B8E7-D04039DBA80D}" dt="2021-05-25T14:37:26.533" v="24574" actId="478"/>
          <ac:picMkLst>
            <pc:docMk/>
            <pc:sldMk cId="1879522387" sldId="10491"/>
            <ac:picMk id="2050" creationId="{F6497183-5CE1-426B-9F1B-2F875FA7A0A1}"/>
          </ac:picMkLst>
        </pc:picChg>
        <pc:picChg chg="del">
          <ac:chgData name="Sarah GAUVARD" userId="4c03e191-e154-482a-88b2-11de19eac96c" providerId="ADAL" clId="{8245CC27-65FB-483E-B8E7-D04039DBA80D}" dt="2021-05-25T14:37:26.533" v="24574" actId="478"/>
          <ac:picMkLst>
            <pc:docMk/>
            <pc:sldMk cId="1879522387" sldId="10491"/>
            <ac:picMk id="2052" creationId="{9E02FA54-863B-4728-8FB1-E407BAF23655}"/>
          </ac:picMkLst>
        </pc:picChg>
        <pc:cxnChg chg="mod">
          <ac:chgData name="Sarah GAUVARD" userId="4c03e191-e154-482a-88b2-11de19eac96c" providerId="ADAL" clId="{8245CC27-65FB-483E-B8E7-D04039DBA80D}" dt="2021-05-25T14:42:25.972" v="24643" actId="1076"/>
          <ac:cxnSpMkLst>
            <pc:docMk/>
            <pc:sldMk cId="1879522387" sldId="10491"/>
            <ac:cxnSpMk id="101" creationId="{A2B810CB-7B93-4D34-B9C6-B7F2E39EB3AE}"/>
          </ac:cxnSpMkLst>
        </pc:cxnChg>
      </pc:sldChg>
      <pc:sldChg chg="addSp delSp modSp add mod">
        <pc:chgData name="Sarah GAUVARD" userId="4c03e191-e154-482a-88b2-11de19eac96c" providerId="ADAL" clId="{8245CC27-65FB-483E-B8E7-D04039DBA80D}" dt="2021-05-25T15:07:53.814" v="27555"/>
        <pc:sldMkLst>
          <pc:docMk/>
          <pc:sldMk cId="3046076768" sldId="10492"/>
        </pc:sldMkLst>
        <pc:spChg chg="mod">
          <ac:chgData name="Sarah GAUVARD" userId="4c03e191-e154-482a-88b2-11de19eac96c" providerId="ADAL" clId="{8245CC27-65FB-483E-B8E7-D04039DBA80D}" dt="2021-05-25T15:07:53.762" v="27513" actId="948"/>
          <ac:spMkLst>
            <pc:docMk/>
            <pc:sldMk cId="3046076768" sldId="10492"/>
            <ac:spMk id="2" creationId="{8ECED2BA-32CC-4045-8D14-78B10AEA12FB}"/>
          </ac:spMkLst>
        </pc:spChg>
        <pc:spChg chg="del">
          <ac:chgData name="Sarah GAUVARD" userId="4c03e191-e154-482a-88b2-11de19eac96c" providerId="ADAL" clId="{8245CC27-65FB-483E-B8E7-D04039DBA80D}" dt="2021-05-25T14:38:54.816" v="24589" actId="21"/>
          <ac:spMkLst>
            <pc:docMk/>
            <pc:sldMk cId="3046076768" sldId="10492"/>
            <ac:spMk id="3" creationId="{B501C848-A2DC-4147-8A2D-73995C4BC00F}"/>
          </ac:spMkLst>
        </pc:spChg>
        <pc:spChg chg="del">
          <ac:chgData name="Sarah GAUVARD" userId="4c03e191-e154-482a-88b2-11de19eac96c" providerId="ADAL" clId="{8245CC27-65FB-483E-B8E7-D04039DBA80D}" dt="2021-05-25T14:38:54.816" v="24589" actId="21"/>
          <ac:spMkLst>
            <pc:docMk/>
            <pc:sldMk cId="3046076768" sldId="10492"/>
            <ac:spMk id="4" creationId="{F7D6FC23-B579-4054-8BE5-06AAB333B6F1}"/>
          </ac:spMkLst>
        </pc:spChg>
        <pc:spChg chg="mod">
          <ac:chgData name="Sarah GAUVARD" userId="4c03e191-e154-482a-88b2-11de19eac96c" providerId="ADAL" clId="{8245CC27-65FB-483E-B8E7-D04039DBA80D}" dt="2021-05-25T14:39:04.842" v="24591" actId="1076"/>
          <ac:spMkLst>
            <pc:docMk/>
            <pc:sldMk cId="3046076768" sldId="10492"/>
            <ac:spMk id="5" creationId="{E05AFE09-2ECE-45A0-B1A6-917994C4A573}"/>
          </ac:spMkLst>
        </pc:spChg>
        <pc:spChg chg="mod">
          <ac:chgData name="Sarah GAUVARD" userId="4c03e191-e154-482a-88b2-11de19eac96c" providerId="ADAL" clId="{8245CC27-65FB-483E-B8E7-D04039DBA80D}" dt="2021-05-25T14:39:04.842" v="24591" actId="1076"/>
          <ac:spMkLst>
            <pc:docMk/>
            <pc:sldMk cId="3046076768" sldId="10492"/>
            <ac:spMk id="6" creationId="{97ECC932-E904-4A9B-8E43-A105D088ABBA}"/>
          </ac:spMkLst>
        </pc:spChg>
        <pc:spChg chg="mod">
          <ac:chgData name="Sarah GAUVARD" userId="4c03e191-e154-482a-88b2-11de19eac96c" providerId="ADAL" clId="{8245CC27-65FB-483E-B8E7-D04039DBA80D}" dt="2021-05-25T14:47:13.752" v="24746" actId="1076"/>
          <ac:spMkLst>
            <pc:docMk/>
            <pc:sldMk cId="3046076768" sldId="10492"/>
            <ac:spMk id="7" creationId="{7F4369D1-89B8-488C-A693-6DCA73F7A083}"/>
          </ac:spMkLst>
        </pc:spChg>
        <pc:spChg chg="del">
          <ac:chgData name="Sarah GAUVARD" userId="4c03e191-e154-482a-88b2-11de19eac96c" providerId="ADAL" clId="{8245CC27-65FB-483E-B8E7-D04039DBA80D}" dt="2021-05-25T14:38:54.816" v="24589" actId="21"/>
          <ac:spMkLst>
            <pc:docMk/>
            <pc:sldMk cId="3046076768" sldId="10492"/>
            <ac:spMk id="10" creationId="{BAC2F0DB-4A90-42A5-824F-1E510EB9DCB5}"/>
          </ac:spMkLst>
        </pc:spChg>
        <pc:spChg chg="add del mod modVis">
          <ac:chgData name="Sarah GAUVARD" userId="4c03e191-e154-482a-88b2-11de19eac96c" providerId="ADAL" clId="{8245CC27-65FB-483E-B8E7-D04039DBA80D}" dt="2021-05-25T14:53:04.417" v="25054"/>
          <ac:spMkLst>
            <pc:docMk/>
            <pc:sldMk cId="3046076768" sldId="10492"/>
            <ac:spMk id="11" creationId="{E23C8980-9053-44B2-AFD7-EF1066AA2A12}"/>
          </ac:spMkLst>
        </pc:spChg>
        <pc:spChg chg="del mod">
          <ac:chgData name="Sarah GAUVARD" userId="4c03e191-e154-482a-88b2-11de19eac96c" providerId="ADAL" clId="{8245CC27-65FB-483E-B8E7-D04039DBA80D}" dt="2021-05-25T14:39:07.157" v="24592" actId="478"/>
          <ac:spMkLst>
            <pc:docMk/>
            <pc:sldMk cId="3046076768" sldId="10492"/>
            <ac:spMk id="12" creationId="{B3C0B329-0DB4-4820-80B0-697179429242}"/>
          </ac:spMkLst>
        </pc:spChg>
        <pc:spChg chg="add del mod modVis">
          <ac:chgData name="Sarah GAUVARD" userId="4c03e191-e154-482a-88b2-11de19eac96c" providerId="ADAL" clId="{8245CC27-65FB-483E-B8E7-D04039DBA80D}" dt="2021-05-25T14:57:12.488" v="25526"/>
          <ac:spMkLst>
            <pc:docMk/>
            <pc:sldMk cId="3046076768" sldId="10492"/>
            <ac:spMk id="13" creationId="{14C87EA9-1A24-4F1C-A47D-2B74DD207288}"/>
          </ac:spMkLst>
        </pc:spChg>
        <pc:spChg chg="mod">
          <ac:chgData name="Sarah GAUVARD" userId="4c03e191-e154-482a-88b2-11de19eac96c" providerId="ADAL" clId="{8245CC27-65FB-483E-B8E7-D04039DBA80D}" dt="2021-05-25T14:41:24.840" v="24619" actId="20577"/>
          <ac:spMkLst>
            <pc:docMk/>
            <pc:sldMk cId="3046076768" sldId="10492"/>
            <ac:spMk id="14" creationId="{6F40B73C-ED48-415F-9826-3160F048C49D}"/>
          </ac:spMkLst>
        </pc:spChg>
        <pc:spChg chg="mod">
          <ac:chgData name="Sarah GAUVARD" userId="4c03e191-e154-482a-88b2-11de19eac96c" providerId="ADAL" clId="{8245CC27-65FB-483E-B8E7-D04039DBA80D}" dt="2021-05-25T14:45:38.449" v="24664" actId="1076"/>
          <ac:spMkLst>
            <pc:docMk/>
            <pc:sldMk cId="3046076768" sldId="10492"/>
            <ac:spMk id="15" creationId="{1EAFF699-192B-46E9-B8E8-C0838CC08C2C}"/>
          </ac:spMkLst>
        </pc:spChg>
        <pc:spChg chg="add del mod modVis">
          <ac:chgData name="Sarah GAUVARD" userId="4c03e191-e154-482a-88b2-11de19eac96c" providerId="ADAL" clId="{8245CC27-65FB-483E-B8E7-D04039DBA80D}" dt="2021-05-25T14:57:13.317" v="25571"/>
          <ac:spMkLst>
            <pc:docMk/>
            <pc:sldMk cId="3046076768" sldId="10492"/>
            <ac:spMk id="16" creationId="{B203C5C2-694F-40B5-8C4D-490FA8D766FE}"/>
          </ac:spMkLst>
        </pc:spChg>
        <pc:spChg chg="del">
          <ac:chgData name="Sarah GAUVARD" userId="4c03e191-e154-482a-88b2-11de19eac96c" providerId="ADAL" clId="{8245CC27-65FB-483E-B8E7-D04039DBA80D}" dt="2021-05-25T14:38:54.816" v="24589" actId="21"/>
          <ac:spMkLst>
            <pc:docMk/>
            <pc:sldMk cId="3046076768" sldId="10492"/>
            <ac:spMk id="17" creationId="{8D2A536B-772E-484E-8D44-1AC57A161AF0}"/>
          </ac:spMkLst>
        </pc:spChg>
        <pc:spChg chg="del">
          <ac:chgData name="Sarah GAUVARD" userId="4c03e191-e154-482a-88b2-11de19eac96c" providerId="ADAL" clId="{8245CC27-65FB-483E-B8E7-D04039DBA80D}" dt="2021-05-25T14:38:54.816" v="24589" actId="21"/>
          <ac:spMkLst>
            <pc:docMk/>
            <pc:sldMk cId="3046076768" sldId="10492"/>
            <ac:spMk id="18" creationId="{C87F9580-72EF-4198-9D8A-320AB7543801}"/>
          </ac:spMkLst>
        </pc:spChg>
        <pc:spChg chg="del">
          <ac:chgData name="Sarah GAUVARD" userId="4c03e191-e154-482a-88b2-11de19eac96c" providerId="ADAL" clId="{8245CC27-65FB-483E-B8E7-D04039DBA80D}" dt="2021-05-25T14:38:54.816" v="24589" actId="21"/>
          <ac:spMkLst>
            <pc:docMk/>
            <pc:sldMk cId="3046076768" sldId="10492"/>
            <ac:spMk id="19" creationId="{FBC7EDC3-999F-41DB-BAE4-EC07B2C7B35B}"/>
          </ac:spMkLst>
        </pc:spChg>
        <pc:spChg chg="add del mod modVis">
          <ac:chgData name="Sarah GAUVARD" userId="4c03e191-e154-482a-88b2-11de19eac96c" providerId="ADAL" clId="{8245CC27-65FB-483E-B8E7-D04039DBA80D}" dt="2021-05-25T14:57:14.421" v="25617"/>
          <ac:spMkLst>
            <pc:docMk/>
            <pc:sldMk cId="3046076768" sldId="10492"/>
            <ac:spMk id="20" creationId="{16E6F1F0-0EA2-4800-A063-31DB8853E9C0}"/>
          </ac:spMkLst>
        </pc:spChg>
        <pc:spChg chg="del mod">
          <ac:chgData name="Sarah GAUVARD" userId="4c03e191-e154-482a-88b2-11de19eac96c" providerId="ADAL" clId="{8245CC27-65FB-483E-B8E7-D04039DBA80D}" dt="2021-05-25T14:39:07.157" v="24592" actId="478"/>
          <ac:spMkLst>
            <pc:docMk/>
            <pc:sldMk cId="3046076768" sldId="10492"/>
            <ac:spMk id="21" creationId="{1B0FB440-CD14-4D76-8D20-CF2F87E8BD3F}"/>
          </ac:spMkLst>
        </pc:spChg>
        <pc:spChg chg="add del mod modVis">
          <ac:chgData name="Sarah GAUVARD" userId="4c03e191-e154-482a-88b2-11de19eac96c" providerId="ADAL" clId="{8245CC27-65FB-483E-B8E7-D04039DBA80D}" dt="2021-05-25T14:57:17.364" v="25665"/>
          <ac:spMkLst>
            <pc:docMk/>
            <pc:sldMk cId="3046076768" sldId="10492"/>
            <ac:spMk id="22" creationId="{8952333B-2C69-49AE-A130-99D7658C2368}"/>
          </ac:spMkLst>
        </pc:spChg>
        <pc:spChg chg="add del mod modVis">
          <ac:chgData name="Sarah GAUVARD" userId="4c03e191-e154-482a-88b2-11de19eac96c" providerId="ADAL" clId="{8245CC27-65FB-483E-B8E7-D04039DBA80D}" dt="2021-05-25T14:57:21.719" v="25709"/>
          <ac:spMkLst>
            <pc:docMk/>
            <pc:sldMk cId="3046076768" sldId="10492"/>
            <ac:spMk id="24" creationId="{47496A92-9AF9-473F-8B8B-41D8F1D40DB4}"/>
          </ac:spMkLst>
        </pc:spChg>
        <pc:spChg chg="add del mod modVis">
          <ac:chgData name="Sarah GAUVARD" userId="4c03e191-e154-482a-88b2-11de19eac96c" providerId="ADAL" clId="{8245CC27-65FB-483E-B8E7-D04039DBA80D}" dt="2021-05-25T14:57:25.070" v="25756"/>
          <ac:spMkLst>
            <pc:docMk/>
            <pc:sldMk cId="3046076768" sldId="10492"/>
            <ac:spMk id="25" creationId="{3FDDAC7F-7997-49B0-BCEB-CD30CB930C91}"/>
          </ac:spMkLst>
        </pc:spChg>
        <pc:spChg chg="add del mod modVis">
          <ac:chgData name="Sarah GAUVARD" userId="4c03e191-e154-482a-88b2-11de19eac96c" providerId="ADAL" clId="{8245CC27-65FB-483E-B8E7-D04039DBA80D}" dt="2021-05-25T14:57:27.846" v="25803"/>
          <ac:spMkLst>
            <pc:docMk/>
            <pc:sldMk cId="3046076768" sldId="10492"/>
            <ac:spMk id="26" creationId="{3F1B34D5-047F-4467-AAA4-5A8560642152}"/>
          </ac:spMkLst>
        </pc:spChg>
        <pc:spChg chg="add del mod modVis">
          <ac:chgData name="Sarah GAUVARD" userId="4c03e191-e154-482a-88b2-11de19eac96c" providerId="ADAL" clId="{8245CC27-65FB-483E-B8E7-D04039DBA80D}" dt="2021-05-25T14:57:30.929" v="25861"/>
          <ac:spMkLst>
            <pc:docMk/>
            <pc:sldMk cId="3046076768" sldId="10492"/>
            <ac:spMk id="28" creationId="{9586F266-47C6-47D3-AA52-41DE6B5ED48E}"/>
          </ac:spMkLst>
        </pc:spChg>
        <pc:spChg chg="add del mod modVis">
          <ac:chgData name="Sarah GAUVARD" userId="4c03e191-e154-482a-88b2-11de19eac96c" providerId="ADAL" clId="{8245CC27-65FB-483E-B8E7-D04039DBA80D}" dt="2021-05-25T14:58:54.102" v="25922"/>
          <ac:spMkLst>
            <pc:docMk/>
            <pc:sldMk cId="3046076768" sldId="10492"/>
            <ac:spMk id="29" creationId="{40AB74CE-A8E6-4F15-9052-B67EADCABD1D}"/>
          </ac:spMkLst>
        </pc:spChg>
        <pc:spChg chg="add del mod modVis">
          <ac:chgData name="Sarah GAUVARD" userId="4c03e191-e154-482a-88b2-11de19eac96c" providerId="ADAL" clId="{8245CC27-65FB-483E-B8E7-D04039DBA80D}" dt="2021-05-25T14:59:01.251" v="26013"/>
          <ac:spMkLst>
            <pc:docMk/>
            <pc:sldMk cId="3046076768" sldId="10492"/>
            <ac:spMk id="30" creationId="{7B4B43D3-7C11-4810-A40B-75B98B78013D}"/>
          </ac:spMkLst>
        </pc:spChg>
        <pc:spChg chg="add del mod modVis">
          <ac:chgData name="Sarah GAUVARD" userId="4c03e191-e154-482a-88b2-11de19eac96c" providerId="ADAL" clId="{8245CC27-65FB-483E-B8E7-D04039DBA80D}" dt="2021-05-25T14:59:03.343" v="26064"/>
          <ac:spMkLst>
            <pc:docMk/>
            <pc:sldMk cId="3046076768" sldId="10492"/>
            <ac:spMk id="31" creationId="{0FEF5001-D025-40C7-954F-4E900EBA6D2F}"/>
          </ac:spMkLst>
        </pc:spChg>
        <pc:spChg chg="add del mod modVis">
          <ac:chgData name="Sarah GAUVARD" userId="4c03e191-e154-482a-88b2-11de19eac96c" providerId="ADAL" clId="{8245CC27-65FB-483E-B8E7-D04039DBA80D}" dt="2021-05-25T14:59:05.225" v="26117"/>
          <ac:spMkLst>
            <pc:docMk/>
            <pc:sldMk cId="3046076768" sldId="10492"/>
            <ac:spMk id="32" creationId="{0349CD31-8DB2-4A4B-9953-5A733B4D6E15}"/>
          </ac:spMkLst>
        </pc:spChg>
        <pc:spChg chg="add del mod modVis">
          <ac:chgData name="Sarah GAUVARD" userId="4c03e191-e154-482a-88b2-11de19eac96c" providerId="ADAL" clId="{8245CC27-65FB-483E-B8E7-D04039DBA80D}" dt="2021-05-25T14:59:06.220" v="26166"/>
          <ac:spMkLst>
            <pc:docMk/>
            <pc:sldMk cId="3046076768" sldId="10492"/>
            <ac:spMk id="33" creationId="{336DBBD3-9381-448F-8D56-2832BC22DAEC}"/>
          </ac:spMkLst>
        </pc:spChg>
        <pc:spChg chg="add del mod modVis">
          <ac:chgData name="Sarah GAUVARD" userId="4c03e191-e154-482a-88b2-11de19eac96c" providerId="ADAL" clId="{8245CC27-65FB-483E-B8E7-D04039DBA80D}" dt="2021-05-25T14:59:09.232" v="26215"/>
          <ac:spMkLst>
            <pc:docMk/>
            <pc:sldMk cId="3046076768" sldId="10492"/>
            <ac:spMk id="34" creationId="{D6FEC9DB-7222-4CA8-8BF6-3AFCE221B196}"/>
          </ac:spMkLst>
        </pc:spChg>
        <pc:spChg chg="add del mod modVis">
          <ac:chgData name="Sarah GAUVARD" userId="4c03e191-e154-482a-88b2-11de19eac96c" providerId="ADAL" clId="{8245CC27-65FB-483E-B8E7-D04039DBA80D}" dt="2021-05-25T14:59:10.418" v="26266"/>
          <ac:spMkLst>
            <pc:docMk/>
            <pc:sldMk cId="3046076768" sldId="10492"/>
            <ac:spMk id="35" creationId="{89CA5131-E816-4C2B-81B0-733BB14E0E8D}"/>
          </ac:spMkLst>
        </pc:spChg>
        <pc:spChg chg="add del mod modVis">
          <ac:chgData name="Sarah GAUVARD" userId="4c03e191-e154-482a-88b2-11de19eac96c" providerId="ADAL" clId="{8245CC27-65FB-483E-B8E7-D04039DBA80D}" dt="2021-05-25T15:01:15.933" v="26314"/>
          <ac:spMkLst>
            <pc:docMk/>
            <pc:sldMk cId="3046076768" sldId="10492"/>
            <ac:spMk id="36" creationId="{3D09EC48-2955-4529-B292-A0FDD3CEADF6}"/>
          </ac:spMkLst>
        </pc:spChg>
        <pc:spChg chg="add mod">
          <ac:chgData name="Sarah GAUVARD" userId="4c03e191-e154-482a-88b2-11de19eac96c" providerId="ADAL" clId="{8245CC27-65FB-483E-B8E7-D04039DBA80D}" dt="2021-05-25T14:45:38.449" v="24664" actId="1076"/>
          <ac:spMkLst>
            <pc:docMk/>
            <pc:sldMk cId="3046076768" sldId="10492"/>
            <ac:spMk id="37" creationId="{0F222602-3722-4822-98C2-CDBFE984F2B4}"/>
          </ac:spMkLst>
        </pc:spChg>
        <pc:spChg chg="add del mod modVis">
          <ac:chgData name="Sarah GAUVARD" userId="4c03e191-e154-482a-88b2-11de19eac96c" providerId="ADAL" clId="{8245CC27-65FB-483E-B8E7-D04039DBA80D}" dt="2021-05-25T15:02:11.637" v="26365"/>
          <ac:spMkLst>
            <pc:docMk/>
            <pc:sldMk cId="3046076768" sldId="10492"/>
            <ac:spMk id="38" creationId="{0239AF0C-448A-499B-9FF2-8A3F342C3BCF}"/>
          </ac:spMkLst>
        </pc:spChg>
        <pc:spChg chg="add del">
          <ac:chgData name="Sarah GAUVARD" userId="4c03e191-e154-482a-88b2-11de19eac96c" providerId="ADAL" clId="{8245CC27-65FB-483E-B8E7-D04039DBA80D}" dt="2021-05-25T14:42:31.786" v="24647" actId="22"/>
          <ac:spMkLst>
            <pc:docMk/>
            <pc:sldMk cId="3046076768" sldId="10492"/>
            <ac:spMk id="39" creationId="{7DFDD1C5-4F46-44FB-B6CF-1893923A6F09}"/>
          </ac:spMkLst>
        </pc:spChg>
        <pc:spChg chg="add mod">
          <ac:chgData name="Sarah GAUVARD" userId="4c03e191-e154-482a-88b2-11de19eac96c" providerId="ADAL" clId="{8245CC27-65FB-483E-B8E7-D04039DBA80D}" dt="2021-05-25T14:47:11.359" v="24745" actId="1076"/>
          <ac:spMkLst>
            <pc:docMk/>
            <pc:sldMk cId="3046076768" sldId="10492"/>
            <ac:spMk id="41" creationId="{B829649C-A518-491F-A4B3-40028D0F2A45}"/>
          </ac:spMkLst>
        </pc:spChg>
        <pc:spChg chg="add del mod modVis">
          <ac:chgData name="Sarah GAUVARD" userId="4c03e191-e154-482a-88b2-11de19eac96c" providerId="ADAL" clId="{8245CC27-65FB-483E-B8E7-D04039DBA80D}" dt="2021-05-25T15:02:38.061" v="26409"/>
          <ac:spMkLst>
            <pc:docMk/>
            <pc:sldMk cId="3046076768" sldId="10492"/>
            <ac:spMk id="42" creationId="{22D43D4D-C35C-4C47-B40D-0F65059722D6}"/>
          </ac:spMkLst>
        </pc:spChg>
        <pc:spChg chg="add del mod modVis">
          <ac:chgData name="Sarah GAUVARD" userId="4c03e191-e154-482a-88b2-11de19eac96c" providerId="ADAL" clId="{8245CC27-65FB-483E-B8E7-D04039DBA80D}" dt="2021-05-25T15:02:52.693" v="26456"/>
          <ac:spMkLst>
            <pc:docMk/>
            <pc:sldMk cId="3046076768" sldId="10492"/>
            <ac:spMk id="44" creationId="{919F1384-9D0A-4810-B012-85BF803C64AD}"/>
          </ac:spMkLst>
        </pc:spChg>
        <pc:spChg chg="add del mod modVis">
          <ac:chgData name="Sarah GAUVARD" userId="4c03e191-e154-482a-88b2-11de19eac96c" providerId="ADAL" clId="{8245CC27-65FB-483E-B8E7-D04039DBA80D}" dt="2021-05-25T15:02:53.856" v="26500"/>
          <ac:spMkLst>
            <pc:docMk/>
            <pc:sldMk cId="3046076768" sldId="10492"/>
            <ac:spMk id="45" creationId="{C0C78933-7D30-4A93-9512-C07F7CBAAB19}"/>
          </ac:spMkLst>
        </pc:spChg>
        <pc:spChg chg="mod">
          <ac:chgData name="Sarah GAUVARD" userId="4c03e191-e154-482a-88b2-11de19eac96c" providerId="ADAL" clId="{8245CC27-65FB-483E-B8E7-D04039DBA80D}" dt="2021-05-25T14:46:12.783" v="24743" actId="14100"/>
          <ac:spMkLst>
            <pc:docMk/>
            <pc:sldMk cId="3046076768" sldId="10492"/>
            <ac:spMk id="47" creationId="{C9CE8351-A7D3-4CFD-BA79-B676ED4E43BC}"/>
          </ac:spMkLst>
        </pc:spChg>
        <pc:spChg chg="add del mod modVis">
          <ac:chgData name="Sarah GAUVARD" userId="4c03e191-e154-482a-88b2-11de19eac96c" providerId="ADAL" clId="{8245CC27-65FB-483E-B8E7-D04039DBA80D}" dt="2021-05-25T15:02:54.918" v="26544"/>
          <ac:spMkLst>
            <pc:docMk/>
            <pc:sldMk cId="3046076768" sldId="10492"/>
            <ac:spMk id="50" creationId="{F7C4B059-B748-40F1-AAE9-8852A96C4E3E}"/>
          </ac:spMkLst>
        </pc:spChg>
        <pc:spChg chg="add del mod modVis">
          <ac:chgData name="Sarah GAUVARD" userId="4c03e191-e154-482a-88b2-11de19eac96c" providerId="ADAL" clId="{8245CC27-65FB-483E-B8E7-D04039DBA80D}" dt="2021-05-25T15:02:58.707" v="26609"/>
          <ac:spMkLst>
            <pc:docMk/>
            <pc:sldMk cId="3046076768" sldId="10492"/>
            <ac:spMk id="51" creationId="{646523F2-353F-43DF-90F2-8DB4E97975F2}"/>
          </ac:spMkLst>
        </pc:spChg>
        <pc:spChg chg="add del mod modVis">
          <ac:chgData name="Sarah GAUVARD" userId="4c03e191-e154-482a-88b2-11de19eac96c" providerId="ADAL" clId="{8245CC27-65FB-483E-B8E7-D04039DBA80D}" dt="2021-05-25T15:03:00.823" v="26656"/>
          <ac:spMkLst>
            <pc:docMk/>
            <pc:sldMk cId="3046076768" sldId="10492"/>
            <ac:spMk id="52" creationId="{A0CE80F0-2EBB-4D15-AA75-702B293EE73F}"/>
          </ac:spMkLst>
        </pc:spChg>
        <pc:spChg chg="add del mod modVis">
          <ac:chgData name="Sarah GAUVARD" userId="4c03e191-e154-482a-88b2-11de19eac96c" providerId="ADAL" clId="{8245CC27-65FB-483E-B8E7-D04039DBA80D}" dt="2021-05-25T15:03:07.854" v="26710"/>
          <ac:spMkLst>
            <pc:docMk/>
            <pc:sldMk cId="3046076768" sldId="10492"/>
            <ac:spMk id="53" creationId="{49E545F7-7BC6-45FC-B8A4-F97005736906}"/>
          </ac:spMkLst>
        </pc:spChg>
        <pc:spChg chg="add del mod modVis">
          <ac:chgData name="Sarah GAUVARD" userId="4c03e191-e154-482a-88b2-11de19eac96c" providerId="ADAL" clId="{8245CC27-65FB-483E-B8E7-D04039DBA80D}" dt="2021-05-25T15:03:15.627" v="26754"/>
          <ac:spMkLst>
            <pc:docMk/>
            <pc:sldMk cId="3046076768" sldId="10492"/>
            <ac:spMk id="54" creationId="{CCB3E565-7A19-4B89-95C0-CDF1F9643887}"/>
          </ac:spMkLst>
        </pc:spChg>
        <pc:spChg chg="add del mod modVis">
          <ac:chgData name="Sarah GAUVARD" userId="4c03e191-e154-482a-88b2-11de19eac96c" providerId="ADAL" clId="{8245CC27-65FB-483E-B8E7-D04039DBA80D}" dt="2021-05-25T15:04:04.002" v="26811"/>
          <ac:spMkLst>
            <pc:docMk/>
            <pc:sldMk cId="3046076768" sldId="10492"/>
            <ac:spMk id="55" creationId="{E84762F9-0E32-4A94-8DB0-594B7A3BE3CD}"/>
          </ac:spMkLst>
        </pc:spChg>
        <pc:spChg chg="add del mod modVis">
          <ac:chgData name="Sarah GAUVARD" userId="4c03e191-e154-482a-88b2-11de19eac96c" providerId="ADAL" clId="{8245CC27-65FB-483E-B8E7-D04039DBA80D}" dt="2021-05-25T15:04:11.547" v="26862"/>
          <ac:spMkLst>
            <pc:docMk/>
            <pc:sldMk cId="3046076768" sldId="10492"/>
            <ac:spMk id="56" creationId="{AA0CD42F-6735-4AA1-9C25-4B3FB023C713}"/>
          </ac:spMkLst>
        </pc:spChg>
        <pc:spChg chg="add del mod modVis">
          <ac:chgData name="Sarah GAUVARD" userId="4c03e191-e154-482a-88b2-11de19eac96c" providerId="ADAL" clId="{8245CC27-65FB-483E-B8E7-D04039DBA80D}" dt="2021-05-25T15:05:11.269" v="26910"/>
          <ac:spMkLst>
            <pc:docMk/>
            <pc:sldMk cId="3046076768" sldId="10492"/>
            <ac:spMk id="57" creationId="{28D69EDB-644C-4BD9-8CF8-5A8E0DB95249}"/>
          </ac:spMkLst>
        </pc:spChg>
        <pc:spChg chg="add del mod modVis">
          <ac:chgData name="Sarah GAUVARD" userId="4c03e191-e154-482a-88b2-11de19eac96c" providerId="ADAL" clId="{8245CC27-65FB-483E-B8E7-D04039DBA80D}" dt="2021-05-25T15:06:21.519" v="26983"/>
          <ac:spMkLst>
            <pc:docMk/>
            <pc:sldMk cId="3046076768" sldId="10492"/>
            <ac:spMk id="58" creationId="{271A2F85-B772-4E25-A5D4-9B64E0F79AD7}"/>
          </ac:spMkLst>
        </pc:spChg>
        <pc:spChg chg="add del mod modVis">
          <ac:chgData name="Sarah GAUVARD" userId="4c03e191-e154-482a-88b2-11de19eac96c" providerId="ADAL" clId="{8245CC27-65FB-483E-B8E7-D04039DBA80D}" dt="2021-05-25T15:06:22.022" v="27027"/>
          <ac:spMkLst>
            <pc:docMk/>
            <pc:sldMk cId="3046076768" sldId="10492"/>
            <ac:spMk id="59" creationId="{F89E292B-B30F-40A3-AF47-925B98E7D671}"/>
          </ac:spMkLst>
        </pc:spChg>
        <pc:spChg chg="del">
          <ac:chgData name="Sarah GAUVARD" userId="4c03e191-e154-482a-88b2-11de19eac96c" providerId="ADAL" clId="{8245CC27-65FB-483E-B8E7-D04039DBA80D}" dt="2021-05-25T14:38:57.016" v="24590" actId="478"/>
          <ac:spMkLst>
            <pc:docMk/>
            <pc:sldMk cId="3046076768" sldId="10492"/>
            <ac:spMk id="60" creationId="{E0DD7ACC-B725-4FC3-ACD8-42B4184CF801}"/>
          </ac:spMkLst>
        </pc:spChg>
        <pc:spChg chg="add del mod modVis">
          <ac:chgData name="Sarah GAUVARD" userId="4c03e191-e154-482a-88b2-11de19eac96c" providerId="ADAL" clId="{8245CC27-65FB-483E-B8E7-D04039DBA80D}" dt="2021-05-25T15:06:26.754" v="27090"/>
          <ac:spMkLst>
            <pc:docMk/>
            <pc:sldMk cId="3046076768" sldId="10492"/>
            <ac:spMk id="65" creationId="{A99F8008-6D5B-4BC8-8267-43BE4D3CAB90}"/>
          </ac:spMkLst>
        </pc:spChg>
        <pc:spChg chg="add del mod modVis">
          <ac:chgData name="Sarah GAUVARD" userId="4c03e191-e154-482a-88b2-11de19eac96c" providerId="ADAL" clId="{8245CC27-65FB-483E-B8E7-D04039DBA80D}" dt="2021-05-25T15:06:33.427" v="27133"/>
          <ac:spMkLst>
            <pc:docMk/>
            <pc:sldMk cId="3046076768" sldId="10492"/>
            <ac:spMk id="66" creationId="{A1813DE2-8667-4534-AB33-301EE860BCA1}"/>
          </ac:spMkLst>
        </pc:spChg>
        <pc:spChg chg="add del mod modVis">
          <ac:chgData name="Sarah GAUVARD" userId="4c03e191-e154-482a-88b2-11de19eac96c" providerId="ADAL" clId="{8245CC27-65FB-483E-B8E7-D04039DBA80D}" dt="2021-05-25T15:06:42.653" v="27177"/>
          <ac:spMkLst>
            <pc:docMk/>
            <pc:sldMk cId="3046076768" sldId="10492"/>
            <ac:spMk id="67" creationId="{C6EE3307-4F41-4CCC-9B2F-B9D3B24F8D24}"/>
          </ac:spMkLst>
        </pc:spChg>
        <pc:spChg chg="add del mod modVis">
          <ac:chgData name="Sarah GAUVARD" userId="4c03e191-e154-482a-88b2-11de19eac96c" providerId="ADAL" clId="{8245CC27-65FB-483E-B8E7-D04039DBA80D}" dt="2021-05-25T15:06:48.661" v="27225"/>
          <ac:spMkLst>
            <pc:docMk/>
            <pc:sldMk cId="3046076768" sldId="10492"/>
            <ac:spMk id="68" creationId="{62522F5A-F13A-4996-AC0D-EB0F31B479E2}"/>
          </ac:spMkLst>
        </pc:spChg>
        <pc:spChg chg="add del mod modVis">
          <ac:chgData name="Sarah GAUVARD" userId="4c03e191-e154-482a-88b2-11de19eac96c" providerId="ADAL" clId="{8245CC27-65FB-483E-B8E7-D04039DBA80D}" dt="2021-05-25T15:07:13.983" v="27269"/>
          <ac:spMkLst>
            <pc:docMk/>
            <pc:sldMk cId="3046076768" sldId="10492"/>
            <ac:spMk id="69" creationId="{2A70A33E-6AE3-4B7D-B5B8-EE9F6EA46547}"/>
          </ac:spMkLst>
        </pc:spChg>
        <pc:spChg chg="add del mod modVis">
          <ac:chgData name="Sarah GAUVARD" userId="4c03e191-e154-482a-88b2-11de19eac96c" providerId="ADAL" clId="{8245CC27-65FB-483E-B8E7-D04039DBA80D}" dt="2021-05-25T15:07:19.171" v="27322"/>
          <ac:spMkLst>
            <pc:docMk/>
            <pc:sldMk cId="3046076768" sldId="10492"/>
            <ac:spMk id="70" creationId="{F0D8C0F0-F91B-4745-8BFB-0D63B00B12DE}"/>
          </ac:spMkLst>
        </pc:spChg>
        <pc:spChg chg="add del mod modVis">
          <ac:chgData name="Sarah GAUVARD" userId="4c03e191-e154-482a-88b2-11de19eac96c" providerId="ADAL" clId="{8245CC27-65FB-483E-B8E7-D04039DBA80D}" dt="2021-05-25T15:07:20.909" v="27367"/>
          <ac:spMkLst>
            <pc:docMk/>
            <pc:sldMk cId="3046076768" sldId="10492"/>
            <ac:spMk id="71" creationId="{26843C8C-2EBB-4628-A43F-A236E37E614F}"/>
          </ac:spMkLst>
        </pc:spChg>
        <pc:spChg chg="add del mod modVis">
          <ac:chgData name="Sarah GAUVARD" userId="4c03e191-e154-482a-88b2-11de19eac96c" providerId="ADAL" clId="{8245CC27-65FB-483E-B8E7-D04039DBA80D}" dt="2021-05-25T15:07:27.305" v="27411"/>
          <ac:spMkLst>
            <pc:docMk/>
            <pc:sldMk cId="3046076768" sldId="10492"/>
            <ac:spMk id="72" creationId="{61815125-7964-424A-9F38-934102AF2421}"/>
          </ac:spMkLst>
        </pc:spChg>
        <pc:spChg chg="add del mod modVis">
          <ac:chgData name="Sarah GAUVARD" userId="4c03e191-e154-482a-88b2-11de19eac96c" providerId="ADAL" clId="{8245CC27-65FB-483E-B8E7-D04039DBA80D}" dt="2021-05-25T15:07:30.448" v="27456"/>
          <ac:spMkLst>
            <pc:docMk/>
            <pc:sldMk cId="3046076768" sldId="10492"/>
            <ac:spMk id="73" creationId="{05CFA233-FA99-4BC0-9459-0378EE80ECDD}"/>
          </ac:spMkLst>
        </pc:spChg>
        <pc:spChg chg="add del mod modVis">
          <ac:chgData name="Sarah GAUVARD" userId="4c03e191-e154-482a-88b2-11de19eac96c" providerId="ADAL" clId="{8245CC27-65FB-483E-B8E7-D04039DBA80D}" dt="2021-05-25T15:07:33.825" v="27500"/>
          <ac:spMkLst>
            <pc:docMk/>
            <pc:sldMk cId="3046076768" sldId="10492"/>
            <ac:spMk id="74" creationId="{A4C41601-7D65-4273-AC62-5DF5965C0D0E}"/>
          </ac:spMkLst>
        </pc:spChg>
        <pc:spChg chg="add del mod modVis">
          <ac:chgData name="Sarah GAUVARD" userId="4c03e191-e154-482a-88b2-11de19eac96c" providerId="ADAL" clId="{8245CC27-65FB-483E-B8E7-D04039DBA80D}" dt="2021-05-25T15:07:53.812" v="27553"/>
          <ac:spMkLst>
            <pc:docMk/>
            <pc:sldMk cId="3046076768" sldId="10492"/>
            <ac:spMk id="75" creationId="{284C78B9-492F-4E4E-BED0-27AD90E11C16}"/>
          </ac:spMkLst>
        </pc:spChg>
        <pc:graphicFrameChg chg="mod">
          <ac:chgData name="Sarah GAUVARD" userId="4c03e191-e154-482a-88b2-11de19eac96c" providerId="ADAL" clId="{8245CC27-65FB-483E-B8E7-D04039DBA80D}" dt="2021-05-25T15:07:53.814" v="27555"/>
          <ac:graphicFrameMkLst>
            <pc:docMk/>
            <pc:sldMk cId="3046076768" sldId="10492"/>
            <ac:graphicFrameMk id="9" creationId="{4C9211EC-3DF0-469A-9BEA-6F9A1A2A7E7A}"/>
          </ac:graphicFrameMkLst>
        </pc:graphicFrameChg>
        <pc:picChg chg="add mod">
          <ac:chgData name="Sarah GAUVARD" userId="4c03e191-e154-482a-88b2-11de19eac96c" providerId="ADAL" clId="{8245CC27-65FB-483E-B8E7-D04039DBA80D}" dt="2021-05-25T14:47:11.359" v="24745" actId="1076"/>
          <ac:picMkLst>
            <pc:docMk/>
            <pc:sldMk cId="3046076768" sldId="10492"/>
            <ac:picMk id="40" creationId="{AA8353CF-BDBB-47D6-8E62-66E383018E1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3" y="11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66" y="11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/>
          <a:lstStyle>
            <a:lvl1pPr algn="r">
              <a:defRPr sz="1200"/>
            </a:lvl1pPr>
          </a:lstStyle>
          <a:p>
            <a:fld id="{4B3B0C9A-CE48-44F6-A15F-2C76B33764C1}" type="datetimeFigureOut">
              <a:rPr lang="fr-FR" smtClean="0"/>
              <a:pPr/>
              <a:t>25/05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23" y="9377328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66" y="9377328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 anchor="b"/>
          <a:lstStyle>
            <a:lvl1pPr algn="r">
              <a:defRPr sz="1200"/>
            </a:lvl1pPr>
          </a:lstStyle>
          <a:p>
            <a:fld id="{FDA54296-63EC-4CE7-97C6-0B8A852BBA12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57908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3" y="11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/>
          <a:lstStyle>
            <a:lvl1pPr algn="l" eaLnBrk="1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66" y="11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/>
          <a:lstStyle>
            <a:lvl1pPr algn="r">
              <a:defRPr sz="1200"/>
            </a:lvl1pPr>
          </a:lstStyle>
          <a:p>
            <a:fld id="{E36E58C6-1998-4FD4-BEF9-DCC3837155B9}" type="datetimeFigureOut">
              <a:rPr lang="en-GB" smtClean="0"/>
              <a:pPr/>
              <a:t>25/05/2021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39775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86" tIns="45691" rIns="91386" bIns="45691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689529"/>
            <a:ext cx="5438140" cy="4442698"/>
          </a:xfrm>
          <a:prstGeom prst="rect">
            <a:avLst/>
          </a:prstGeom>
        </p:spPr>
        <p:txBody>
          <a:bodyPr vert="horz" lIns="91386" tIns="45691" rIns="91386" bIns="45691" rtlCol="0">
            <a:normAutofit/>
          </a:bodyPr>
          <a:lstStyle/>
          <a:p>
            <a:pPr lvl="0"/>
            <a:r>
              <a:rPr lang="en-GB"/>
              <a:t>Cliquez pour modifier les styles du texte du masque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3" y="9377328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 anchor="b"/>
          <a:lstStyle>
            <a:lvl1pPr algn="l" eaLnBrk="1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66" y="9377328"/>
            <a:ext cx="2945659" cy="493632"/>
          </a:xfrm>
          <a:prstGeom prst="rect">
            <a:avLst/>
          </a:prstGeom>
        </p:spPr>
        <p:txBody>
          <a:bodyPr vert="horz" lIns="91386" tIns="45691" rIns="91386" bIns="45691" rtlCol="0" anchor="b"/>
          <a:lstStyle>
            <a:lvl1pPr algn="r">
              <a:defRPr sz="1200"/>
            </a:lvl1pPr>
          </a:lstStyle>
          <a:p>
            <a:fld id="{6818DACB-E39B-46DA-8F93-7DC7974D70A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459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767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C5D44B-557D-47AE-BF3A-CAD25C15B4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3033" b="0" i="0" baseline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70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60995" y="2954793"/>
            <a:ext cx="6397517" cy="765944"/>
          </a:xfrm>
        </p:spPr>
        <p:txBody>
          <a:bodyPr anchor="t"/>
          <a:lstStyle>
            <a:lvl1pPr algn="l" defTabSz="99057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fr-FR" sz="3033" b="0" kern="1200" cap="all" noProof="0" dirty="0" smtClean="0">
                <a:solidFill>
                  <a:srgbClr val="009DB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/>
              <a:t>Titre de la section</a:t>
            </a:r>
            <a:endParaRPr lang="en-GB" noProof="0"/>
          </a:p>
        </p:txBody>
      </p:sp>
      <p:sp>
        <p:nvSpPr>
          <p:cNvPr id="8704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58000" y="4262045"/>
            <a:ext cx="6903312" cy="8623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 typeface="Arial" pitchFamily="34" charset="0"/>
              <a:buNone/>
              <a:defRPr lang="fr-FR" sz="1950" b="1" kern="1200" noProof="0" dirty="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/>
              <a:t>Sous-titre de la sect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E261BD5-98F0-43DD-ACD7-7F4E696C6E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647866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E261BD5-98F0-43DD-ACD7-7F4E696C6E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1F11DA2-7A52-4483-B11A-01C5FB66D3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600" b="1" i="0" baseline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ctrTitle"/>
          </p:nvPr>
        </p:nvSpPr>
        <p:spPr>
          <a:xfrm>
            <a:off x="584515" y="116632"/>
            <a:ext cx="8814979" cy="576064"/>
          </a:xfrm>
        </p:spPr>
        <p:txBody>
          <a:bodyPr vert="horz" lIns="0" tIns="45720" rIns="0" bIns="45720" rtlCol="0" anchor="ctr">
            <a:noAutofit/>
          </a:bodyPr>
          <a:lstStyle>
            <a:lvl1pPr>
              <a:defRPr lang="en-US" sz="1600" b="1" spc="-40" dirty="0"/>
            </a:lvl1pPr>
          </a:lstStyle>
          <a:p>
            <a:pPr lvl="0"/>
            <a:r>
              <a:rPr lang="en-GB"/>
              <a:t>Modifiez le style du t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605488" y="63093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7">
                <a:solidFill>
                  <a:srgbClr val="009DB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13D40E4-1F54-455C-988D-F19D86D048BD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942888" y="6368560"/>
            <a:ext cx="4963113" cy="422949"/>
          </a:xfrm>
          <a:prstGeom prst="rect">
            <a:avLst/>
          </a:prstGeom>
        </p:spPr>
      </p:pic>
      <p:cxnSp>
        <p:nvCxnSpPr>
          <p:cNvPr id="4" name="Connecteur droit 3"/>
          <p:cNvCxnSpPr/>
          <p:nvPr userDrawn="1"/>
        </p:nvCxnSpPr>
        <p:spPr>
          <a:xfrm>
            <a:off x="584515" y="692696"/>
            <a:ext cx="8814979" cy="0"/>
          </a:xfrm>
          <a:prstGeom prst="line">
            <a:avLst/>
          </a:prstGeom>
          <a:ln w="38100">
            <a:solidFill>
              <a:srgbClr val="009D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A489F39-59D7-4155-8432-8411A4957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6680"/>
            <a:ext cx="8757557" cy="59327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16550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/>
              <a:t>Click to edit Master title styl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DAB023CD-156D-4860-ACD8-2D21E20907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31828822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58772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55606581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843C47-5927-4432-9337-962CE37EBE9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0" i="0" baseline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7656055" cy="8501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Titre de la présentation</a:t>
            </a:r>
          </a:p>
        </p:txBody>
      </p:sp>
      <p:sp>
        <p:nvSpPr>
          <p:cNvPr id="13" name="AutoShape 10"/>
          <p:cNvSpPr>
            <a:spLocks noChangeAspect="1" noChangeArrowheads="1" noTextEdit="1"/>
          </p:cNvSpPr>
          <p:nvPr/>
        </p:nvSpPr>
        <p:spPr bwMode="auto">
          <a:xfrm>
            <a:off x="-6671072" y="-5788025"/>
            <a:ext cx="51456168" cy="3359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sz="1950"/>
          </a:p>
        </p:txBody>
      </p:sp>
      <p:sp>
        <p:nvSpPr>
          <p:cNvPr id="7" name="Espace réservé du numéro de diapositive 5"/>
          <p:cNvSpPr txBox="1">
            <a:spLocks/>
          </p:cNvSpPr>
          <p:nvPr/>
        </p:nvSpPr>
        <p:spPr>
          <a:xfrm>
            <a:off x="2605488" y="6309321"/>
            <a:ext cx="2311400" cy="365125"/>
          </a:xfrm>
          <a:prstGeom prst="rect">
            <a:avLst/>
          </a:prstGeom>
        </p:spPr>
        <p:txBody>
          <a:bodyPr vert="horz" lIns="99060" tIns="49530" rIns="99060" bIns="49530" rtlCol="0" anchor="ctr"/>
          <a:lstStyle>
            <a:lvl1pPr algn="r">
              <a:defRPr sz="1400">
                <a:solidFill>
                  <a:srgbClr val="009DB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r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3D40E4-1F54-455C-988D-F19D86D048BD}" type="slidenum">
              <a:rPr kumimoji="0" lang="en-GB" sz="1517" b="0" i="0" u="none" strike="noStrike" kern="1200" cap="none" spc="0" normalizeH="0" baseline="0" noProof="0" smtClean="0">
                <a:ln>
                  <a:noFill/>
                </a:ln>
                <a:solidFill>
                  <a:srgbClr val="009DB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r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GB" sz="1517" b="0" i="0" u="none" strike="noStrike" kern="1200" cap="none" spc="0" normalizeH="0" baseline="0" noProof="0">
              <a:ln>
                <a:noFill/>
              </a:ln>
              <a:solidFill>
                <a:srgbClr val="009DB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942888" y="6368560"/>
            <a:ext cx="4963113" cy="42294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0" r:id="rId2"/>
    <p:sldLayoutId id="2147483673" r:id="rId3"/>
    <p:sldLayoutId id="2147483674" r:id="rId4"/>
    <p:sldLayoutId id="2147483675" r:id="rId5"/>
  </p:sldLayoutIdLst>
  <p:hf sldNum="0" hdr="0" ftr="0" dt="0"/>
  <p:txStyles>
    <p:titleStyle>
      <a:lvl1pPr algn="l" defTabSz="99057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71464" indent="-371464" algn="l" defTabSz="990570" rtl="0" eaLnBrk="1" latinLnBrk="0" hangingPunct="1">
        <a:spcBef>
          <a:spcPct val="20000"/>
        </a:spcBef>
        <a:buFont typeface="Arial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04838" indent="-309553" algn="l" defTabSz="990570" rtl="0" eaLnBrk="1" latinLnBrk="0" hangingPunct="1">
        <a:spcBef>
          <a:spcPct val="20000"/>
        </a:spcBef>
        <a:buFont typeface="Arial" pitchFamily="34" charset="0"/>
        <a:buChar char="–"/>
        <a:defRPr sz="3033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defTabSz="990570" rtl="0" eaLnBrk="1" latinLnBrk="0" hangingPunct="1">
        <a:spcBef>
          <a:spcPct val="20000"/>
        </a:spcBef>
        <a:buFont typeface="Arial" pitchFamily="34" charset="0"/>
        <a:buChar char="–"/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defTabSz="990570" rtl="0" eaLnBrk="1" latinLnBrk="0" hangingPunct="1">
        <a:spcBef>
          <a:spcPct val="20000"/>
        </a:spcBef>
        <a:buFont typeface="Arial" pitchFamily="34" charset="0"/>
        <a:buChar char="»"/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11" Type="http://schemas.openxmlformats.org/officeDocument/2006/relationships/image" Target="../media/image11.svg"/><Relationship Id="rId5" Type="http://schemas.openxmlformats.org/officeDocument/2006/relationships/image" Target="../media/image5.png"/><Relationship Id="rId15" Type="http://schemas.openxmlformats.org/officeDocument/2006/relationships/image" Target="../media/image15.svg"/><Relationship Id="rId10" Type="http://schemas.openxmlformats.org/officeDocument/2006/relationships/image" Target="../media/image10.sv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08243E-0BBD-46A4-8D4E-B63D45AD58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24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6" imgH="423" progId="TCLayout.ActiveDocument.1">
                  <p:embed/>
                </p:oleObj>
              </mc:Choice>
              <mc:Fallback>
                <p:oleObj name="Diapositive think-cell" r:id="rId3" imgW="416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08243E-0BBD-46A4-8D4E-B63D45AD5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93C43DF0-5B80-4873-976E-9DCC9459DEE9}"/>
              </a:ext>
            </a:extLst>
          </p:cNvPr>
          <p:cNvSpPr/>
          <p:nvPr/>
        </p:nvSpPr>
        <p:spPr bwMode="auto">
          <a:xfrm>
            <a:off x="1221413" y="1028628"/>
            <a:ext cx="7864530" cy="15117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4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5912" indent="-228600">
              <a:spcAft>
                <a:spcPts val="100"/>
              </a:spcAft>
              <a:buFont typeface="+mj-lt"/>
              <a:buAutoNum type="arabicPeriod"/>
            </a:pPr>
            <a:r>
              <a:rPr lang="en-US" sz="800">
                <a:highlight>
                  <a:srgbClr val="FFFF00"/>
                </a:highlight>
                <a:latin typeface="+mj-lt"/>
                <a:cs typeface="Arial"/>
              </a:rPr>
              <a:t>Hestia’s digital projects answer different use-cases faced by REN providers with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  <a:latin typeface="+mj-lt"/>
                <a:cs typeface="Arial"/>
              </a:rPr>
              <a:t>different level of impact and complexity </a:t>
            </a:r>
            <a:r>
              <a:rPr lang="en-US" sz="800">
                <a:highlight>
                  <a:srgbClr val="FFFF00"/>
                </a:highlight>
                <a:latin typeface="+mj-lt"/>
                <a:cs typeface="Arial"/>
              </a:rPr>
              <a:t>to implement</a:t>
            </a:r>
          </a:p>
          <a:p>
            <a:pPr marL="773112" lvl="1" indent="-22860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>
                <a:latin typeface="+mj-lt"/>
                <a:cs typeface="Arial"/>
              </a:rPr>
              <a:t>Hestia’s has well defined what key use-cases must be addressed and for most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has chosen market standards </a:t>
            </a:r>
            <a:r>
              <a:rPr lang="en-US" sz="800">
                <a:latin typeface="+mj-lt"/>
                <a:cs typeface="Arial"/>
              </a:rPr>
              <a:t>response with a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level of complexity quickly achievable</a:t>
            </a:r>
            <a:endParaRPr lang="en-US" sz="800">
              <a:latin typeface="+mj-lt"/>
              <a:cs typeface="Arial"/>
            </a:endParaRPr>
          </a:p>
          <a:p>
            <a:pPr marL="315912" indent="-228600">
              <a:spcAft>
                <a:spcPts val="100"/>
              </a:spcAft>
              <a:buFont typeface="+mj-lt"/>
              <a:buAutoNum type="arabicPeriod" startAt="2"/>
            </a:pPr>
            <a:r>
              <a:rPr lang="en-US" sz="800">
                <a:latin typeface="+mj-lt"/>
                <a:cs typeface="Arial"/>
              </a:rPr>
              <a:t>Hestia’s digital roadmap comprises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projects tackling many key use-cases,</a:t>
            </a:r>
            <a:r>
              <a:rPr lang="en-US" sz="800">
                <a:latin typeface="+mj-lt"/>
                <a:cs typeface="Arial"/>
              </a:rPr>
              <a:t> but some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remain unaddressed</a:t>
            </a:r>
          </a:p>
          <a:p>
            <a:pPr marL="773112" lvl="1" indent="-22860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>
                <a:latin typeface="+mj-lt"/>
                <a:cs typeface="Arial"/>
              </a:rPr>
              <a:t>Hestia’s digital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roadmap</a:t>
            </a:r>
            <a:r>
              <a:rPr lang="en-US" sz="800">
                <a:latin typeface="+mj-lt"/>
                <a:cs typeface="Arial"/>
              </a:rPr>
              <a:t> is ambitious and should be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redefined</a:t>
            </a:r>
            <a:r>
              <a:rPr lang="en-US" sz="800">
                <a:latin typeface="+mj-lt"/>
                <a:cs typeface="Arial"/>
              </a:rPr>
              <a:t> in the view of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stakeholders’ expectations </a:t>
            </a:r>
            <a:r>
              <a:rPr lang="en-US" sz="800">
                <a:latin typeface="+mj-lt"/>
                <a:cs typeface="Arial"/>
              </a:rPr>
              <a:t>&amp;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 feasibility</a:t>
            </a:r>
            <a:r>
              <a:rPr lang="en-US" sz="800">
                <a:latin typeface="+mj-lt"/>
                <a:cs typeface="Arial"/>
              </a:rPr>
              <a:t> to implement; and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strengthen</a:t>
            </a:r>
            <a:r>
              <a:rPr lang="en-US" sz="800">
                <a:latin typeface="+mj-lt"/>
                <a:cs typeface="Arial"/>
              </a:rPr>
              <a:t> the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digitalization of the workflow management</a:t>
            </a:r>
          </a:p>
          <a:p>
            <a:pPr marL="315912" indent="-228600">
              <a:spcAft>
                <a:spcPts val="100"/>
              </a:spcAft>
              <a:buFont typeface="+mj-lt"/>
              <a:buAutoNum type="arabicPeriod" startAt="3"/>
            </a:pPr>
            <a:r>
              <a:rPr lang="en-US" sz="800">
                <a:latin typeface="+mj-lt"/>
                <a:cs typeface="Arial"/>
              </a:rPr>
              <a:t>Digital creates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two barriers-to-entry </a:t>
            </a:r>
            <a:r>
              <a:rPr lang="en-US" sz="800">
                <a:latin typeface="+mj-lt"/>
                <a:cs typeface="Arial"/>
              </a:rPr>
              <a:t>in Hestia’s market separating small, localized actors from actors integrated in the ecosystem and the second one between medium-sized actors and major ones</a:t>
            </a:r>
          </a:p>
          <a:p>
            <a:pPr marL="773112" lvl="1" indent="-22860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>
                <a:latin typeface="+mj-lt"/>
                <a:cs typeface="Arial"/>
              </a:rPr>
              <a:t>Hestia’s is currently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overcoming the first barrier-to-entry </a:t>
            </a:r>
            <a:r>
              <a:rPr lang="en-US" sz="800">
                <a:latin typeface="+mj-lt"/>
                <a:cs typeface="Arial"/>
              </a:rPr>
              <a:t>integrating them well in the repair-in-kind ecosystem. Once fully digitalized on the workflow management aspect, Hestia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should focus on digitalizing workers tool and managemen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79E977-AA1E-485B-8A01-E93F32111B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1300">
                <a:solidFill>
                  <a:schemeClr val="accent5">
                    <a:lumMod val="75000"/>
                  </a:schemeClr>
                </a:solidFill>
                <a:latin typeface="+mj-lt"/>
              </a:rPr>
              <a:t>One-pager red flag analysis</a:t>
            </a:r>
            <a:endParaRPr lang="en-US" sz="130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5E020ED-F5CE-43BF-B644-9BAA4063B2A4}"/>
              </a:ext>
            </a:extLst>
          </p:cNvPr>
          <p:cNvSpPr txBox="1"/>
          <p:nvPr/>
        </p:nvSpPr>
        <p:spPr>
          <a:xfrm>
            <a:off x="5054597" y="6404341"/>
            <a:ext cx="445154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800" i="1">
                <a:solidFill>
                  <a:schemeClr val="bg1"/>
                </a:solidFill>
              </a:rPr>
              <a:t>Sources: eleven research and analysis, expert calls, Hestia’s VDD, Hestia’s I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ACB834-4B29-46A1-8305-C573136B1B39}"/>
              </a:ext>
            </a:extLst>
          </p:cNvPr>
          <p:cNvSpPr/>
          <p:nvPr/>
        </p:nvSpPr>
        <p:spPr bwMode="auto">
          <a:xfrm>
            <a:off x="337527" y="799745"/>
            <a:ext cx="8748416" cy="151366"/>
          </a:xfrm>
          <a:prstGeom prst="rect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900" i="1" u="none" strike="noStrike" cap="all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Key take-Aways</a:t>
            </a:r>
            <a:r>
              <a:rPr lang="en-US" sz="900" i="1" cap="all" dirty="0">
                <a:solidFill>
                  <a:schemeClr val="bg1"/>
                </a:solidFill>
                <a:latin typeface="+mj-lt"/>
              </a:rPr>
              <a:t> </a:t>
            </a:r>
            <a:r>
              <a:rPr kumimoji="0" lang="en-US" sz="900" i="1" u="none" strike="noStrike" cap="all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in the digital Due diligence of Hestia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1033C433-7522-4EDA-9187-702F506345A0}"/>
              </a:ext>
            </a:extLst>
          </p:cNvPr>
          <p:cNvSpPr/>
          <p:nvPr/>
        </p:nvSpPr>
        <p:spPr bwMode="auto">
          <a:xfrm>
            <a:off x="332810" y="1028631"/>
            <a:ext cx="1127690" cy="1511757"/>
          </a:xfrm>
          <a:prstGeom prst="homePlate">
            <a:avLst>
              <a:gd name="adj" fmla="val 15026"/>
            </a:avLst>
          </a:prstGeom>
          <a:solidFill>
            <a:srgbClr val="009DB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180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Hestia</a:t>
            </a:r>
            <a:r>
              <a:rPr lang="en-US" sz="900" b="1">
                <a:solidFill>
                  <a:schemeClr val="bg1"/>
                </a:solidFill>
                <a:latin typeface="+mj-lt"/>
              </a:rPr>
              <a:t>’s digital maturity and projects’ assessment</a:t>
            </a:r>
            <a:endParaRPr kumimoji="0" lang="en-US" sz="9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FA4725-CB21-4B2C-A186-C70732A4705C}"/>
              </a:ext>
            </a:extLst>
          </p:cNvPr>
          <p:cNvSpPr/>
          <p:nvPr/>
        </p:nvSpPr>
        <p:spPr bwMode="auto">
          <a:xfrm>
            <a:off x="9142593" y="799745"/>
            <a:ext cx="499830" cy="151366"/>
          </a:xfrm>
          <a:prstGeom prst="rect">
            <a:avLst/>
          </a:prstGeom>
          <a:solidFill>
            <a:srgbClr val="A6A6A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i="1" u="none" strike="noStrike" cap="all" normalizeH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Flags</a:t>
            </a:r>
          </a:p>
        </p:txBody>
      </p:sp>
      <p:pic>
        <p:nvPicPr>
          <p:cNvPr id="18" name="Graphique 17" descr="Marquer">
            <a:extLst>
              <a:ext uri="{FF2B5EF4-FFF2-40B4-BE49-F238E27FC236}">
                <a16:creationId xmlns:a16="http://schemas.microsoft.com/office/drawing/2014/main" id="{228EABAF-A989-4B46-8036-4F98D5212A6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35542"/>
          <a:stretch/>
        </p:blipFill>
        <p:spPr>
          <a:xfrm>
            <a:off x="9199623" y="1076336"/>
            <a:ext cx="385769" cy="255574"/>
          </a:xfrm>
          <a:prstGeom prst="rect">
            <a:avLst/>
          </a:prstGeom>
        </p:spPr>
      </p:pic>
      <p:pic>
        <p:nvPicPr>
          <p:cNvPr id="29" name="Graphique 28" descr="Marquer">
            <a:extLst>
              <a:ext uri="{FF2B5EF4-FFF2-40B4-BE49-F238E27FC236}">
                <a16:creationId xmlns:a16="http://schemas.microsoft.com/office/drawing/2014/main" id="{25B9D01C-A3C2-4BDA-842F-156B9360845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35542"/>
          <a:stretch/>
        </p:blipFill>
        <p:spPr>
          <a:xfrm>
            <a:off x="9199623" y="1538459"/>
            <a:ext cx="385769" cy="255574"/>
          </a:xfrm>
          <a:prstGeom prst="rect">
            <a:avLst/>
          </a:prstGeom>
        </p:spPr>
      </p:pic>
      <p:pic>
        <p:nvPicPr>
          <p:cNvPr id="30" name="Graphique 29" descr="Marquer">
            <a:extLst>
              <a:ext uri="{FF2B5EF4-FFF2-40B4-BE49-F238E27FC236}">
                <a16:creationId xmlns:a16="http://schemas.microsoft.com/office/drawing/2014/main" id="{5339F1DB-1565-41E6-8F4C-5EED9E5CA49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35542"/>
          <a:stretch/>
        </p:blipFill>
        <p:spPr>
          <a:xfrm>
            <a:off x="9199623" y="2016376"/>
            <a:ext cx="385769" cy="255574"/>
          </a:xfrm>
          <a:prstGeom prst="rect">
            <a:avLst/>
          </a:prstGeom>
        </p:spPr>
      </p:pic>
      <p:pic>
        <p:nvPicPr>
          <p:cNvPr id="35" name="Graphique 34">
            <a:extLst>
              <a:ext uri="{FF2B5EF4-FFF2-40B4-BE49-F238E27FC236}">
                <a16:creationId xmlns:a16="http://schemas.microsoft.com/office/drawing/2014/main" id="{F6BE703A-B5DE-453D-A711-8625467EF67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16232"/>
          <a:stretch/>
        </p:blipFill>
        <p:spPr>
          <a:xfrm>
            <a:off x="657648" y="1109641"/>
            <a:ext cx="478014" cy="50052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2B09B86-63EB-478A-A1B9-73EB0B102213}"/>
              </a:ext>
            </a:extLst>
          </p:cNvPr>
          <p:cNvSpPr/>
          <p:nvPr/>
        </p:nvSpPr>
        <p:spPr>
          <a:xfrm>
            <a:off x="8278885" y="-535147"/>
            <a:ext cx="1614115" cy="472353"/>
          </a:xfrm>
          <a:prstGeom prst="rect">
            <a:avLst/>
          </a:prstGeom>
          <a:solidFill>
            <a:srgbClr val="FFFF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000">
                <a:solidFill>
                  <a:schemeClr val="tx1"/>
                </a:solidFill>
              </a:rPr>
              <a:t>A RELI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43FFDF-1514-417B-8DD3-055802931621}"/>
              </a:ext>
            </a:extLst>
          </p:cNvPr>
          <p:cNvSpPr/>
          <p:nvPr/>
        </p:nvSpPr>
        <p:spPr bwMode="auto">
          <a:xfrm>
            <a:off x="1221413" y="2609756"/>
            <a:ext cx="7864530" cy="18927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4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5912" indent="-228600">
              <a:spcAft>
                <a:spcPts val="100"/>
              </a:spcAft>
              <a:buFont typeface="+mj-lt"/>
              <a:buAutoNum type="arabicPeriod"/>
            </a:pPr>
            <a:r>
              <a:rPr lang="en-US" sz="800" err="1">
                <a:latin typeface="+mj-lt"/>
                <a:cs typeface="Arial"/>
              </a:rPr>
              <a:t>Sinapps</a:t>
            </a:r>
            <a:r>
              <a:rPr lang="en-US" sz="800" dirty="0">
                <a:latin typeface="+mj-lt"/>
                <a:cs typeface="Arial"/>
              </a:rPr>
              <a:t>, by providing to REN an interface with insurances and expertise companies and workflow management tools,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could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lead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to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a reduction of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entry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barriers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and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favor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 the emergence of small REN providers</a:t>
            </a:r>
          </a:p>
          <a:p>
            <a:pPr marL="715962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 dirty="0">
                <a:latin typeface="+mj-lt"/>
                <a:cs typeface="Arial"/>
              </a:rPr>
              <a:t>Smaller REN providers might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use </a:t>
            </a:r>
            <a:r>
              <a:rPr lang="en-US" sz="800" err="1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Sinapps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 IRD’s </a:t>
            </a:r>
            <a:r>
              <a:rPr lang="en-US" sz="800" dirty="0">
                <a:latin typeface="+mj-lt"/>
                <a:cs typeface="Arial"/>
              </a:rPr>
              <a:t>workstation module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as their IT systems </a:t>
            </a:r>
            <a:r>
              <a:rPr lang="en-US" sz="800" dirty="0">
                <a:latin typeface="+mj-lt"/>
                <a:cs typeface="Arial"/>
              </a:rPr>
              <a:t>to connect with insurers. </a:t>
            </a:r>
          </a:p>
          <a:p>
            <a:pPr marL="315912" indent="-228600">
              <a:spcAft>
                <a:spcPts val="100"/>
              </a:spcAft>
              <a:buFont typeface="+mj-lt"/>
              <a:buAutoNum type="arabicPeriod" startAt="2"/>
            </a:pPr>
            <a:r>
              <a:rPr lang="en-US" sz="800" err="1"/>
              <a:t>Sinapps</a:t>
            </a:r>
            <a:r>
              <a:rPr lang="en-US" sz="800" dirty="0"/>
              <a:t> could leverage its technical solution to build a platform aggregating craftsmen and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</a:rPr>
              <a:t>becomes a REN provider</a:t>
            </a:r>
          </a:p>
          <a:p>
            <a:pPr marL="715962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 dirty="0">
                <a:latin typeface="+mj-lt"/>
                <a:cs typeface="Arial"/>
              </a:rPr>
              <a:t>Insurers are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way too sensitive </a:t>
            </a:r>
            <a:r>
              <a:rPr lang="en-US" sz="800" dirty="0">
                <a:latin typeface="+mj-lt"/>
                <a:cs typeface="Arial"/>
              </a:rPr>
              <a:t>when it comes to customer satisfaction during a loss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to entrust it any craftsmen through a platform</a:t>
            </a:r>
            <a:r>
              <a:rPr lang="en-US" sz="800" dirty="0">
                <a:latin typeface="+mj-lt"/>
                <a:cs typeface="Arial"/>
              </a:rPr>
              <a:t> Additionally, doing so would require from </a:t>
            </a:r>
            <a:r>
              <a:rPr lang="en-US" sz="800" err="1">
                <a:latin typeface="+mj-lt"/>
                <a:cs typeface="Arial"/>
              </a:rPr>
              <a:t>Darva</a:t>
            </a:r>
            <a:r>
              <a:rPr lang="en-US" sz="800" dirty="0">
                <a:latin typeface="+mj-lt"/>
                <a:cs typeface="Arial"/>
              </a:rPr>
              <a:t> the ability to manage a network of craftsmen</a:t>
            </a:r>
            <a:endParaRPr lang="en-US" sz="800" dirty="0">
              <a:solidFill>
                <a:schemeClr val="accent5">
                  <a:lumMod val="75000"/>
                </a:schemeClr>
              </a:solidFill>
            </a:endParaRPr>
          </a:p>
          <a:p>
            <a:pPr marL="315912" indent="-228600">
              <a:spcAft>
                <a:spcPts val="100"/>
              </a:spcAft>
              <a:buFont typeface="+mj-lt"/>
              <a:buAutoNum type="arabicPeriod" startAt="3"/>
            </a:pPr>
            <a:r>
              <a:rPr lang="en-US" sz="800" dirty="0"/>
              <a:t>B2C platforms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</a:rPr>
              <a:t>could position as « in-kind » </a:t>
            </a:r>
            <a:r>
              <a:rPr lang="en-US" sz="800" dirty="0"/>
              <a:t>reparation providers for insurances</a:t>
            </a:r>
          </a:p>
          <a:p>
            <a:pPr marL="715962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 dirty="0">
                <a:latin typeface="+mj-lt"/>
                <a:cs typeface="Arial"/>
              </a:rPr>
              <a:t>Due to the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importance of managing individuals’ loss</a:t>
            </a:r>
            <a:r>
              <a:rPr lang="en-US" sz="800" dirty="0">
                <a:latin typeface="+mj-lt"/>
                <a:cs typeface="Arial"/>
              </a:rPr>
              <a:t>, insurers are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unlikely to rely on online platforms </a:t>
            </a:r>
            <a:r>
              <a:rPr lang="en-US" sz="800" dirty="0">
                <a:latin typeface="+mj-lt"/>
                <a:cs typeface="Arial"/>
              </a:rPr>
              <a:t>which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don’t carry the execution risk for post-loss renovation</a:t>
            </a:r>
            <a:endParaRPr lang="en-US" sz="800" dirty="0"/>
          </a:p>
          <a:p>
            <a:pPr marL="315912" indent="-228600">
              <a:spcAft>
                <a:spcPts val="100"/>
              </a:spcAft>
              <a:buFont typeface="+mj-lt"/>
              <a:buAutoNum type="arabicPeriod" startAt="4"/>
            </a:pPr>
            <a:r>
              <a:rPr lang="en-US" sz="800" dirty="0"/>
              <a:t>With the emergence of both B2C and C2C platform, insured person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</a:rPr>
              <a:t>might increase</a:t>
            </a:r>
            <a:r>
              <a:rPr lang="en-US" sz="800" dirty="0"/>
              <a:t> their use of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</a:rPr>
              <a:t>« over-the-counter » and « on-estimate » </a:t>
            </a:r>
            <a:r>
              <a:rPr lang="en-US" sz="800" dirty="0"/>
              <a:t>compensation</a:t>
            </a:r>
          </a:p>
          <a:p>
            <a:pPr marL="715962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 dirty="0">
                <a:latin typeface="+mj-lt"/>
                <a:cs typeface="Arial"/>
              </a:rPr>
              <a:t>To provide the best maximum level of service to individuals, insurers could rely on a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network of partner platforms </a:t>
            </a:r>
            <a:r>
              <a:rPr lang="en-US" sz="800" dirty="0">
                <a:latin typeface="+mj-lt"/>
                <a:cs typeface="Arial"/>
              </a:rPr>
              <a:t>that they recommend to customers for over-the-counter and on-estimate compensation</a:t>
            </a:r>
          </a:p>
        </p:txBody>
      </p:sp>
      <p:sp>
        <p:nvSpPr>
          <p:cNvPr id="22" name="Arrow: Pentagon 13">
            <a:extLst>
              <a:ext uri="{FF2B5EF4-FFF2-40B4-BE49-F238E27FC236}">
                <a16:creationId xmlns:a16="http://schemas.microsoft.com/office/drawing/2014/main" id="{43822D74-25F7-4476-8B1E-2346DA56E4D6}"/>
              </a:ext>
            </a:extLst>
          </p:cNvPr>
          <p:cNvSpPr/>
          <p:nvPr/>
        </p:nvSpPr>
        <p:spPr bwMode="auto">
          <a:xfrm>
            <a:off x="332810" y="2606040"/>
            <a:ext cx="1127690" cy="1892763"/>
          </a:xfrm>
          <a:prstGeom prst="homePlate">
            <a:avLst>
              <a:gd name="adj" fmla="val 15026"/>
            </a:avLst>
          </a:prstGeom>
          <a:solidFill>
            <a:srgbClr val="009DB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180000" numCol="1" rtlCol="0" anchor="b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bg1"/>
                </a:solidFill>
                <a:latin typeface="+mj-lt"/>
              </a:rPr>
              <a:t>Risks on platforms models</a:t>
            </a:r>
          </a:p>
        </p:txBody>
      </p:sp>
      <p:pic>
        <p:nvPicPr>
          <p:cNvPr id="31" name="Graphique 30" descr="Marquer">
            <a:extLst>
              <a:ext uri="{FF2B5EF4-FFF2-40B4-BE49-F238E27FC236}">
                <a16:creationId xmlns:a16="http://schemas.microsoft.com/office/drawing/2014/main" id="{B7DFEDFB-DB95-4178-9150-11024DB995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35542"/>
          <a:stretch/>
        </p:blipFill>
        <p:spPr>
          <a:xfrm>
            <a:off x="9199623" y="2673999"/>
            <a:ext cx="385769" cy="255574"/>
          </a:xfrm>
          <a:prstGeom prst="rect">
            <a:avLst/>
          </a:prstGeom>
        </p:spPr>
      </p:pic>
      <p:pic>
        <p:nvPicPr>
          <p:cNvPr id="32" name="Graphique 31" descr="Marquer">
            <a:extLst>
              <a:ext uri="{FF2B5EF4-FFF2-40B4-BE49-F238E27FC236}">
                <a16:creationId xmlns:a16="http://schemas.microsoft.com/office/drawing/2014/main" id="{B0CCC845-4ED5-4CDF-97F8-057AC4F4608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35542"/>
          <a:stretch/>
        </p:blipFill>
        <p:spPr>
          <a:xfrm>
            <a:off x="9199623" y="3240901"/>
            <a:ext cx="385769" cy="255574"/>
          </a:xfrm>
          <a:prstGeom prst="rect">
            <a:avLst/>
          </a:prstGeom>
        </p:spPr>
      </p:pic>
      <p:pic>
        <p:nvPicPr>
          <p:cNvPr id="33" name="Graphique 32" descr="Marquer">
            <a:extLst>
              <a:ext uri="{FF2B5EF4-FFF2-40B4-BE49-F238E27FC236}">
                <a16:creationId xmlns:a16="http://schemas.microsoft.com/office/drawing/2014/main" id="{3E7DD9B9-1CEA-4E94-9A2C-D61BA89219D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35542"/>
          <a:stretch/>
        </p:blipFill>
        <p:spPr>
          <a:xfrm>
            <a:off x="9199623" y="3720303"/>
            <a:ext cx="385769" cy="25557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9E17E9C5-80F5-49AA-A8CA-05F3894C819A}"/>
              </a:ext>
            </a:extLst>
          </p:cNvPr>
          <p:cNvGrpSpPr/>
          <p:nvPr/>
        </p:nvGrpSpPr>
        <p:grpSpPr>
          <a:xfrm>
            <a:off x="9122716" y="4112286"/>
            <a:ext cx="539583" cy="255574"/>
            <a:chOff x="9187421" y="4200562"/>
            <a:chExt cx="539583" cy="255574"/>
          </a:xfrm>
        </p:grpSpPr>
        <p:pic>
          <p:nvPicPr>
            <p:cNvPr id="23" name="Graphique 22" descr="Marquer">
              <a:extLst>
                <a:ext uri="{FF2B5EF4-FFF2-40B4-BE49-F238E27FC236}">
                  <a16:creationId xmlns:a16="http://schemas.microsoft.com/office/drawing/2014/main" id="{47965000-65DF-48F1-A225-D918A4975A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b="35542"/>
            <a:stretch/>
          </p:blipFill>
          <p:spPr>
            <a:xfrm>
              <a:off x="9187421" y="4200562"/>
              <a:ext cx="385769" cy="255574"/>
            </a:xfrm>
            <a:prstGeom prst="rect">
              <a:avLst/>
            </a:prstGeom>
          </p:spPr>
        </p:pic>
        <p:pic>
          <p:nvPicPr>
            <p:cNvPr id="24" name="Graphique 23" descr="Marquer">
              <a:extLst>
                <a:ext uri="{FF2B5EF4-FFF2-40B4-BE49-F238E27FC236}">
                  <a16:creationId xmlns:a16="http://schemas.microsoft.com/office/drawing/2014/main" id="{A832B60B-1530-4164-B6C9-CEC461E7DD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35542"/>
            <a:stretch/>
          </p:blipFill>
          <p:spPr>
            <a:xfrm>
              <a:off x="9341235" y="4200562"/>
              <a:ext cx="385769" cy="255574"/>
            </a:xfrm>
            <a:prstGeom prst="rect">
              <a:avLst/>
            </a:prstGeom>
          </p:spPr>
        </p:pic>
      </p:grpSp>
      <p:sp>
        <p:nvSpPr>
          <p:cNvPr id="46" name="Graphic 44">
            <a:extLst>
              <a:ext uri="{FF2B5EF4-FFF2-40B4-BE49-F238E27FC236}">
                <a16:creationId xmlns:a16="http://schemas.microsoft.com/office/drawing/2014/main" id="{9A1AD0E4-A534-4497-962F-4FBC4ED2C72B}"/>
              </a:ext>
            </a:extLst>
          </p:cNvPr>
          <p:cNvSpPr>
            <a:spLocks noChangeAspect="1"/>
          </p:cNvSpPr>
          <p:nvPr/>
        </p:nvSpPr>
        <p:spPr>
          <a:xfrm>
            <a:off x="656703" y="3049777"/>
            <a:ext cx="479905" cy="528538"/>
          </a:xfrm>
          <a:custGeom>
            <a:avLst/>
            <a:gdLst>
              <a:gd name="connsiteX0" fmla="*/ 558400 w 961238"/>
              <a:gd name="connsiteY0" fmla="*/ 0 h 961270"/>
              <a:gd name="connsiteX1" fmla="*/ 378775 w 961238"/>
              <a:gd name="connsiteY1" fmla="*/ 105419 h 961270"/>
              <a:gd name="connsiteX2" fmla="*/ 240037 w 961238"/>
              <a:gd name="connsiteY2" fmla="*/ 235420 h 961270"/>
              <a:gd name="connsiteX3" fmla="*/ 163072 w 961238"/>
              <a:gd name="connsiteY3" fmla="*/ 336791 h 961270"/>
              <a:gd name="connsiteX4" fmla="*/ 268605 w 961238"/>
              <a:gd name="connsiteY4" fmla="*/ 442269 h 961270"/>
              <a:gd name="connsiteX5" fmla="*/ 451693 w 961238"/>
              <a:gd name="connsiteY5" fmla="*/ 442269 h 961270"/>
              <a:gd name="connsiteX6" fmla="*/ 451693 w 961238"/>
              <a:gd name="connsiteY6" fmla="*/ 535955 h 961270"/>
              <a:gd name="connsiteX7" fmla="*/ 152864 w 961238"/>
              <a:gd name="connsiteY7" fmla="*/ 535955 h 961270"/>
              <a:gd name="connsiteX8" fmla="*/ 152864 w 961238"/>
              <a:gd name="connsiteY8" fmla="*/ 711596 h 961270"/>
              <a:gd name="connsiteX9" fmla="*/ 30024 w 961238"/>
              <a:gd name="connsiteY9" fmla="*/ 711596 h 961270"/>
              <a:gd name="connsiteX10" fmla="*/ 27150 w 961238"/>
              <a:gd name="connsiteY10" fmla="*/ 711596 h 961270"/>
              <a:gd name="connsiteX11" fmla="*/ 106 w 961238"/>
              <a:gd name="connsiteY11" fmla="*/ 741514 h 961270"/>
              <a:gd name="connsiteX12" fmla="*/ 106 w 961238"/>
              <a:gd name="connsiteY12" fmla="*/ 833676 h 961270"/>
              <a:gd name="connsiteX13" fmla="*/ 106 w 961238"/>
              <a:gd name="connsiteY13" fmla="*/ 838721 h 961270"/>
              <a:gd name="connsiteX14" fmla="*/ 106 w 961238"/>
              <a:gd name="connsiteY14" fmla="*/ 931059 h 961270"/>
              <a:gd name="connsiteX15" fmla="*/ 29971 w 961238"/>
              <a:gd name="connsiteY15" fmla="*/ 961270 h 961270"/>
              <a:gd name="connsiteX16" fmla="*/ 30024 w 961238"/>
              <a:gd name="connsiteY16" fmla="*/ 961270 h 961270"/>
              <a:gd name="connsiteX17" fmla="*/ 335951 w 961238"/>
              <a:gd name="connsiteY17" fmla="*/ 961270 h 961270"/>
              <a:gd name="connsiteX18" fmla="*/ 366162 w 961238"/>
              <a:gd name="connsiteY18" fmla="*/ 931405 h 961270"/>
              <a:gd name="connsiteX19" fmla="*/ 366162 w 961238"/>
              <a:gd name="connsiteY19" fmla="*/ 931059 h 961270"/>
              <a:gd name="connsiteX20" fmla="*/ 366162 w 961238"/>
              <a:gd name="connsiteY20" fmla="*/ 741514 h 961270"/>
              <a:gd name="connsiteX21" fmla="*/ 336004 w 961238"/>
              <a:gd name="connsiteY21" fmla="*/ 711596 h 961270"/>
              <a:gd name="connsiteX22" fmla="*/ 335951 w 961238"/>
              <a:gd name="connsiteY22" fmla="*/ 711596 h 961270"/>
              <a:gd name="connsiteX23" fmla="*/ 212934 w 961238"/>
              <a:gd name="connsiteY23" fmla="*/ 711596 h 961270"/>
              <a:gd name="connsiteX24" fmla="*/ 212934 w 961238"/>
              <a:gd name="connsiteY24" fmla="*/ 596086 h 961270"/>
              <a:gd name="connsiteX25" fmla="*/ 748350 w 961238"/>
              <a:gd name="connsiteY25" fmla="*/ 596086 h 961270"/>
              <a:gd name="connsiteX26" fmla="*/ 748350 w 961238"/>
              <a:gd name="connsiteY26" fmla="*/ 711596 h 961270"/>
              <a:gd name="connsiteX27" fmla="*/ 625100 w 961238"/>
              <a:gd name="connsiteY27" fmla="*/ 711596 h 961270"/>
              <a:gd name="connsiteX28" fmla="*/ 621990 w 961238"/>
              <a:gd name="connsiteY28" fmla="*/ 711596 h 961270"/>
              <a:gd name="connsiteX29" fmla="*/ 595182 w 961238"/>
              <a:gd name="connsiteY29" fmla="*/ 741514 h 961270"/>
              <a:gd name="connsiteX30" fmla="*/ 595182 w 961238"/>
              <a:gd name="connsiteY30" fmla="*/ 833676 h 961270"/>
              <a:gd name="connsiteX31" fmla="*/ 595182 w 961238"/>
              <a:gd name="connsiteY31" fmla="*/ 838721 h 961270"/>
              <a:gd name="connsiteX32" fmla="*/ 595182 w 961238"/>
              <a:gd name="connsiteY32" fmla="*/ 931059 h 961270"/>
              <a:gd name="connsiteX33" fmla="*/ 625046 w 961238"/>
              <a:gd name="connsiteY33" fmla="*/ 961270 h 961270"/>
              <a:gd name="connsiteX34" fmla="*/ 625100 w 961238"/>
              <a:gd name="connsiteY34" fmla="*/ 961270 h 961270"/>
              <a:gd name="connsiteX35" fmla="*/ 931085 w 961238"/>
              <a:gd name="connsiteY35" fmla="*/ 961270 h 961270"/>
              <a:gd name="connsiteX36" fmla="*/ 961238 w 961238"/>
              <a:gd name="connsiteY36" fmla="*/ 931347 h 961270"/>
              <a:gd name="connsiteX37" fmla="*/ 961238 w 961238"/>
              <a:gd name="connsiteY37" fmla="*/ 931059 h 961270"/>
              <a:gd name="connsiteX38" fmla="*/ 961238 w 961238"/>
              <a:gd name="connsiteY38" fmla="*/ 741514 h 961270"/>
              <a:gd name="connsiteX39" fmla="*/ 931085 w 961238"/>
              <a:gd name="connsiteY39" fmla="*/ 711596 h 961270"/>
              <a:gd name="connsiteX40" fmla="*/ 808480 w 961238"/>
              <a:gd name="connsiteY40" fmla="*/ 711596 h 961270"/>
              <a:gd name="connsiteX41" fmla="*/ 808480 w 961238"/>
              <a:gd name="connsiteY41" fmla="*/ 535955 h 961270"/>
              <a:gd name="connsiteX42" fmla="*/ 511822 w 961238"/>
              <a:gd name="connsiteY42" fmla="*/ 535955 h 961270"/>
              <a:gd name="connsiteX43" fmla="*/ 511822 w 961238"/>
              <a:gd name="connsiteY43" fmla="*/ 442269 h 961270"/>
              <a:gd name="connsiteX44" fmla="*/ 692503 w 961238"/>
              <a:gd name="connsiteY44" fmla="*/ 442269 h 961270"/>
              <a:gd name="connsiteX45" fmla="*/ 797980 w 961238"/>
              <a:gd name="connsiteY45" fmla="*/ 336791 h 961270"/>
              <a:gd name="connsiteX46" fmla="*/ 758558 w 961238"/>
              <a:gd name="connsiteY46" fmla="*/ 254719 h 961270"/>
              <a:gd name="connsiteX47" fmla="*/ 764600 w 961238"/>
              <a:gd name="connsiteY47" fmla="*/ 206263 h 961270"/>
              <a:gd name="connsiteX48" fmla="*/ 764600 w 961238"/>
              <a:gd name="connsiteY48" fmla="*/ 206146 h 961270"/>
              <a:gd name="connsiteX49" fmla="*/ 558400 w 961238"/>
              <a:gd name="connsiteY49" fmla="*/ 0 h 961270"/>
              <a:gd name="connsiteX50" fmla="*/ 558400 w 961238"/>
              <a:gd name="connsiteY50" fmla="*/ 60072 h 961270"/>
              <a:gd name="connsiteX51" fmla="*/ 558459 w 961238"/>
              <a:gd name="connsiteY51" fmla="*/ 60072 h 961270"/>
              <a:gd name="connsiteX52" fmla="*/ 704470 w 961238"/>
              <a:gd name="connsiteY52" fmla="*/ 206087 h 961270"/>
              <a:gd name="connsiteX53" fmla="*/ 695025 w 961238"/>
              <a:gd name="connsiteY53" fmla="*/ 257301 h 961270"/>
              <a:gd name="connsiteX54" fmla="*/ 710924 w 961238"/>
              <a:gd name="connsiteY54" fmla="*/ 295374 h 961270"/>
              <a:gd name="connsiteX55" fmla="*/ 737909 w 961238"/>
              <a:gd name="connsiteY55" fmla="*/ 336791 h 961270"/>
              <a:gd name="connsiteX56" fmla="*/ 692503 w 961238"/>
              <a:gd name="connsiteY56" fmla="*/ 382197 h 961270"/>
              <a:gd name="connsiteX57" fmla="*/ 268605 w 961238"/>
              <a:gd name="connsiteY57" fmla="*/ 382197 h 961270"/>
              <a:gd name="connsiteX58" fmla="*/ 223201 w 961238"/>
              <a:gd name="connsiteY58" fmla="*/ 336791 h 961270"/>
              <a:gd name="connsiteX59" fmla="*/ 268429 w 961238"/>
              <a:gd name="connsiteY59" fmla="*/ 291444 h 961270"/>
              <a:gd name="connsiteX60" fmla="*/ 298375 w 961238"/>
              <a:gd name="connsiteY60" fmla="*/ 261276 h 961270"/>
              <a:gd name="connsiteX61" fmla="*/ 298347 w 961238"/>
              <a:gd name="connsiteY61" fmla="*/ 260116 h 961270"/>
              <a:gd name="connsiteX62" fmla="*/ 298289 w 961238"/>
              <a:gd name="connsiteY62" fmla="*/ 258885 h 961270"/>
              <a:gd name="connsiteX63" fmla="*/ 392150 w 961238"/>
              <a:gd name="connsiteY63" fmla="*/ 164905 h 961270"/>
              <a:gd name="connsiteX64" fmla="*/ 395435 w 961238"/>
              <a:gd name="connsiteY64" fmla="*/ 165081 h 961270"/>
              <a:gd name="connsiteX65" fmla="*/ 424883 w 961238"/>
              <a:gd name="connsiteY65" fmla="*/ 147188 h 961270"/>
              <a:gd name="connsiteX66" fmla="*/ 558400 w 961238"/>
              <a:gd name="connsiteY66" fmla="*/ 60072 h 961270"/>
              <a:gd name="connsiteX67" fmla="*/ 60177 w 961238"/>
              <a:gd name="connsiteY67" fmla="*/ 771668 h 961270"/>
              <a:gd name="connsiteX68" fmla="*/ 306033 w 961238"/>
              <a:gd name="connsiteY68" fmla="*/ 771668 h 961270"/>
              <a:gd name="connsiteX69" fmla="*/ 306033 w 961238"/>
              <a:gd name="connsiteY69" fmla="*/ 806280 h 961270"/>
              <a:gd name="connsiteX70" fmla="*/ 60177 w 961238"/>
              <a:gd name="connsiteY70" fmla="*/ 806280 h 961270"/>
              <a:gd name="connsiteX71" fmla="*/ 655018 w 961238"/>
              <a:gd name="connsiteY71" fmla="*/ 771668 h 961270"/>
              <a:gd name="connsiteX72" fmla="*/ 768062 w 961238"/>
              <a:gd name="connsiteY72" fmla="*/ 771668 h 961270"/>
              <a:gd name="connsiteX73" fmla="*/ 788887 w 961238"/>
              <a:gd name="connsiteY73" fmla="*/ 771668 h 961270"/>
              <a:gd name="connsiteX74" fmla="*/ 901167 w 961238"/>
              <a:gd name="connsiteY74" fmla="*/ 771668 h 961270"/>
              <a:gd name="connsiteX75" fmla="*/ 901167 w 961238"/>
              <a:gd name="connsiteY75" fmla="*/ 806280 h 961270"/>
              <a:gd name="connsiteX76" fmla="*/ 655018 w 961238"/>
              <a:gd name="connsiteY76" fmla="*/ 806280 h 961270"/>
              <a:gd name="connsiteX77" fmla="*/ 60177 w 961238"/>
              <a:gd name="connsiteY77" fmla="*/ 866352 h 961270"/>
              <a:gd name="connsiteX78" fmla="*/ 306033 w 961238"/>
              <a:gd name="connsiteY78" fmla="*/ 866352 h 961270"/>
              <a:gd name="connsiteX79" fmla="*/ 306033 w 961238"/>
              <a:gd name="connsiteY79" fmla="*/ 901140 h 961270"/>
              <a:gd name="connsiteX80" fmla="*/ 60177 w 961238"/>
              <a:gd name="connsiteY80" fmla="*/ 901140 h 961270"/>
              <a:gd name="connsiteX81" fmla="*/ 655018 w 961238"/>
              <a:gd name="connsiteY81" fmla="*/ 866352 h 961270"/>
              <a:gd name="connsiteX82" fmla="*/ 901167 w 961238"/>
              <a:gd name="connsiteY82" fmla="*/ 866352 h 961270"/>
              <a:gd name="connsiteX83" fmla="*/ 901167 w 961238"/>
              <a:gd name="connsiteY83" fmla="*/ 901140 h 961270"/>
              <a:gd name="connsiteX84" fmla="*/ 655018 w 961238"/>
              <a:gd name="connsiteY84" fmla="*/ 901140 h 96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961238" h="961270">
                <a:moveTo>
                  <a:pt x="558400" y="0"/>
                </a:moveTo>
                <a:cubicBezTo>
                  <a:pt x="483435" y="50"/>
                  <a:pt x="414938" y="40875"/>
                  <a:pt x="378775" y="105419"/>
                </a:cubicBezTo>
                <a:cubicBezTo>
                  <a:pt x="308158" y="111713"/>
                  <a:pt x="250819" y="166135"/>
                  <a:pt x="240037" y="235420"/>
                </a:cubicBezTo>
                <a:cubicBezTo>
                  <a:pt x="195851" y="247990"/>
                  <a:pt x="163072" y="288762"/>
                  <a:pt x="163072" y="336791"/>
                </a:cubicBezTo>
                <a:cubicBezTo>
                  <a:pt x="163072" y="394716"/>
                  <a:pt x="210682" y="442269"/>
                  <a:pt x="268605" y="442269"/>
                </a:cubicBezTo>
                <a:lnTo>
                  <a:pt x="451693" y="442269"/>
                </a:lnTo>
                <a:lnTo>
                  <a:pt x="451693" y="535955"/>
                </a:lnTo>
                <a:lnTo>
                  <a:pt x="152864" y="535955"/>
                </a:lnTo>
                <a:lnTo>
                  <a:pt x="152864" y="711596"/>
                </a:lnTo>
                <a:lnTo>
                  <a:pt x="30024" y="711596"/>
                </a:lnTo>
                <a:cubicBezTo>
                  <a:pt x="29066" y="711550"/>
                  <a:pt x="28107" y="711550"/>
                  <a:pt x="27150" y="711596"/>
                </a:cubicBezTo>
                <a:cubicBezTo>
                  <a:pt x="11785" y="713135"/>
                  <a:pt x="91" y="726073"/>
                  <a:pt x="106" y="741514"/>
                </a:cubicBezTo>
                <a:lnTo>
                  <a:pt x="106" y="833676"/>
                </a:lnTo>
                <a:cubicBezTo>
                  <a:pt x="-35" y="835355"/>
                  <a:pt x="-35" y="837042"/>
                  <a:pt x="106" y="838721"/>
                </a:cubicBezTo>
                <a:lnTo>
                  <a:pt x="106" y="931059"/>
                </a:lnTo>
                <a:cubicBezTo>
                  <a:pt x="10" y="947649"/>
                  <a:pt x="13381" y="961175"/>
                  <a:pt x="29971" y="961270"/>
                </a:cubicBezTo>
                <a:cubicBezTo>
                  <a:pt x="29988" y="961270"/>
                  <a:pt x="30006" y="961270"/>
                  <a:pt x="30024" y="961270"/>
                </a:cubicBezTo>
                <a:lnTo>
                  <a:pt x="335951" y="961270"/>
                </a:lnTo>
                <a:cubicBezTo>
                  <a:pt x="352540" y="961367"/>
                  <a:pt x="366066" y="947995"/>
                  <a:pt x="366162" y="931405"/>
                </a:cubicBezTo>
                <a:cubicBezTo>
                  <a:pt x="366163" y="931290"/>
                  <a:pt x="366163" y="931174"/>
                  <a:pt x="366162" y="931059"/>
                </a:cubicBezTo>
                <a:lnTo>
                  <a:pt x="366162" y="741514"/>
                </a:lnTo>
                <a:cubicBezTo>
                  <a:pt x="366096" y="724924"/>
                  <a:pt x="352594" y="711530"/>
                  <a:pt x="336004" y="711596"/>
                </a:cubicBezTo>
                <a:cubicBezTo>
                  <a:pt x="335986" y="711596"/>
                  <a:pt x="335969" y="711596"/>
                  <a:pt x="335951" y="711596"/>
                </a:cubicBezTo>
                <a:lnTo>
                  <a:pt x="212934" y="711596"/>
                </a:lnTo>
                <a:lnTo>
                  <a:pt x="212934" y="596086"/>
                </a:lnTo>
                <a:lnTo>
                  <a:pt x="748350" y="596086"/>
                </a:lnTo>
                <a:lnTo>
                  <a:pt x="748350" y="711596"/>
                </a:lnTo>
                <a:lnTo>
                  <a:pt x="625100" y="711596"/>
                </a:lnTo>
                <a:cubicBezTo>
                  <a:pt x="624064" y="711542"/>
                  <a:pt x="623026" y="711542"/>
                  <a:pt x="621990" y="711596"/>
                </a:cubicBezTo>
                <a:cubicBezTo>
                  <a:pt x="606720" y="713247"/>
                  <a:pt x="595154" y="726154"/>
                  <a:pt x="595182" y="741514"/>
                </a:cubicBezTo>
                <a:lnTo>
                  <a:pt x="595182" y="833676"/>
                </a:lnTo>
                <a:cubicBezTo>
                  <a:pt x="595041" y="835355"/>
                  <a:pt x="595041" y="837042"/>
                  <a:pt x="595182" y="838721"/>
                </a:cubicBezTo>
                <a:lnTo>
                  <a:pt x="595182" y="931059"/>
                </a:lnTo>
                <a:cubicBezTo>
                  <a:pt x="595086" y="947649"/>
                  <a:pt x="608457" y="961175"/>
                  <a:pt x="625046" y="961270"/>
                </a:cubicBezTo>
                <a:cubicBezTo>
                  <a:pt x="625064" y="961270"/>
                  <a:pt x="625081" y="961270"/>
                  <a:pt x="625100" y="961270"/>
                </a:cubicBezTo>
                <a:lnTo>
                  <a:pt x="931085" y="961270"/>
                </a:lnTo>
                <a:cubicBezTo>
                  <a:pt x="947674" y="961334"/>
                  <a:pt x="961175" y="947936"/>
                  <a:pt x="961238" y="931347"/>
                </a:cubicBezTo>
                <a:cubicBezTo>
                  <a:pt x="961239" y="931250"/>
                  <a:pt x="961239" y="931154"/>
                  <a:pt x="961238" y="931059"/>
                </a:cubicBezTo>
                <a:lnTo>
                  <a:pt x="961238" y="741514"/>
                </a:lnTo>
                <a:cubicBezTo>
                  <a:pt x="961172" y="724926"/>
                  <a:pt x="947672" y="711532"/>
                  <a:pt x="931085" y="711596"/>
                </a:cubicBezTo>
                <a:lnTo>
                  <a:pt x="808480" y="711596"/>
                </a:lnTo>
                <a:lnTo>
                  <a:pt x="808480" y="535955"/>
                </a:lnTo>
                <a:lnTo>
                  <a:pt x="511822" y="535955"/>
                </a:lnTo>
                <a:lnTo>
                  <a:pt x="511822" y="442269"/>
                </a:lnTo>
                <a:lnTo>
                  <a:pt x="692503" y="442269"/>
                </a:lnTo>
                <a:cubicBezTo>
                  <a:pt x="750427" y="442269"/>
                  <a:pt x="797980" y="394716"/>
                  <a:pt x="797980" y="336791"/>
                </a:cubicBezTo>
                <a:cubicBezTo>
                  <a:pt x="797980" y="303731"/>
                  <a:pt x="782559" y="274065"/>
                  <a:pt x="758558" y="254719"/>
                </a:cubicBezTo>
                <a:cubicBezTo>
                  <a:pt x="762453" y="238871"/>
                  <a:pt x="764545" y="222642"/>
                  <a:pt x="764600" y="206263"/>
                </a:cubicBezTo>
                <a:cubicBezTo>
                  <a:pt x="764600" y="206224"/>
                  <a:pt x="764600" y="206185"/>
                  <a:pt x="764600" y="206146"/>
                </a:cubicBezTo>
                <a:cubicBezTo>
                  <a:pt x="764588" y="92647"/>
                  <a:pt x="671896" y="12"/>
                  <a:pt x="558400" y="0"/>
                </a:cubicBezTo>
                <a:close/>
                <a:moveTo>
                  <a:pt x="558400" y="60072"/>
                </a:moveTo>
                <a:lnTo>
                  <a:pt x="558459" y="60072"/>
                </a:lnTo>
                <a:cubicBezTo>
                  <a:pt x="639442" y="60093"/>
                  <a:pt x="704425" y="125108"/>
                  <a:pt x="704470" y="206087"/>
                </a:cubicBezTo>
                <a:cubicBezTo>
                  <a:pt x="704408" y="223585"/>
                  <a:pt x="701221" y="240937"/>
                  <a:pt x="695025" y="257301"/>
                </a:cubicBezTo>
                <a:cubicBezTo>
                  <a:pt x="689403" y="272200"/>
                  <a:pt x="696375" y="288899"/>
                  <a:pt x="710924" y="295374"/>
                </a:cubicBezTo>
                <a:cubicBezTo>
                  <a:pt x="726840" y="302433"/>
                  <a:pt x="737909" y="317894"/>
                  <a:pt x="737909" y="336791"/>
                </a:cubicBezTo>
                <a:cubicBezTo>
                  <a:pt x="737909" y="362457"/>
                  <a:pt x="718169" y="382197"/>
                  <a:pt x="692503" y="382197"/>
                </a:cubicBezTo>
                <a:lnTo>
                  <a:pt x="268605" y="382197"/>
                </a:lnTo>
                <a:cubicBezTo>
                  <a:pt x="242940" y="382197"/>
                  <a:pt x="223201" y="362457"/>
                  <a:pt x="223201" y="336791"/>
                </a:cubicBezTo>
                <a:cubicBezTo>
                  <a:pt x="223201" y="311184"/>
                  <a:pt x="242837" y="291532"/>
                  <a:pt x="268429" y="291444"/>
                </a:cubicBezTo>
                <a:cubicBezTo>
                  <a:pt x="285029" y="291382"/>
                  <a:pt x="298436" y="277876"/>
                  <a:pt x="298375" y="261276"/>
                </a:cubicBezTo>
                <a:cubicBezTo>
                  <a:pt x="298373" y="260889"/>
                  <a:pt x="298364" y="260503"/>
                  <a:pt x="298347" y="260116"/>
                </a:cubicBezTo>
                <a:cubicBezTo>
                  <a:pt x="298330" y="259703"/>
                  <a:pt x="298302" y="259298"/>
                  <a:pt x="298289" y="258885"/>
                </a:cubicBezTo>
                <a:cubicBezTo>
                  <a:pt x="298379" y="206701"/>
                  <a:pt x="339982" y="165054"/>
                  <a:pt x="392150" y="164905"/>
                </a:cubicBezTo>
                <a:cubicBezTo>
                  <a:pt x="393239" y="164938"/>
                  <a:pt x="394351" y="165011"/>
                  <a:pt x="395435" y="165081"/>
                </a:cubicBezTo>
                <a:cubicBezTo>
                  <a:pt x="408034" y="165894"/>
                  <a:pt x="419800" y="158746"/>
                  <a:pt x="424883" y="147188"/>
                </a:cubicBezTo>
                <a:cubicBezTo>
                  <a:pt x="448257" y="94200"/>
                  <a:pt x="500488" y="60115"/>
                  <a:pt x="558400" y="60072"/>
                </a:cubicBezTo>
                <a:close/>
                <a:moveTo>
                  <a:pt x="60177" y="771668"/>
                </a:moveTo>
                <a:lnTo>
                  <a:pt x="306033" y="771668"/>
                </a:lnTo>
                <a:lnTo>
                  <a:pt x="306033" y="806280"/>
                </a:lnTo>
                <a:lnTo>
                  <a:pt x="60177" y="806280"/>
                </a:lnTo>
                <a:close/>
                <a:moveTo>
                  <a:pt x="655018" y="771668"/>
                </a:moveTo>
                <a:lnTo>
                  <a:pt x="768062" y="771668"/>
                </a:lnTo>
                <a:cubicBezTo>
                  <a:pt x="774781" y="774151"/>
                  <a:pt x="782166" y="774151"/>
                  <a:pt x="788887" y="771668"/>
                </a:cubicBezTo>
                <a:lnTo>
                  <a:pt x="901167" y="771668"/>
                </a:lnTo>
                <a:lnTo>
                  <a:pt x="901167" y="806280"/>
                </a:lnTo>
                <a:lnTo>
                  <a:pt x="655018" y="806280"/>
                </a:lnTo>
                <a:close/>
                <a:moveTo>
                  <a:pt x="60177" y="866352"/>
                </a:moveTo>
                <a:lnTo>
                  <a:pt x="306033" y="866352"/>
                </a:lnTo>
                <a:lnTo>
                  <a:pt x="306033" y="901140"/>
                </a:lnTo>
                <a:lnTo>
                  <a:pt x="60177" y="901140"/>
                </a:lnTo>
                <a:close/>
                <a:moveTo>
                  <a:pt x="655018" y="866352"/>
                </a:moveTo>
                <a:lnTo>
                  <a:pt x="901167" y="866352"/>
                </a:lnTo>
                <a:lnTo>
                  <a:pt x="901167" y="901140"/>
                </a:lnTo>
                <a:lnTo>
                  <a:pt x="655018" y="901140"/>
                </a:lnTo>
                <a:close/>
              </a:path>
            </a:pathLst>
          </a:custGeom>
          <a:solidFill>
            <a:schemeClr val="bg1"/>
          </a:solidFill>
          <a:ln w="59854" cap="rnd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8" name="Graphique 31" descr="Marquer">
            <a:extLst>
              <a:ext uri="{FF2B5EF4-FFF2-40B4-BE49-F238E27FC236}">
                <a16:creationId xmlns:a16="http://schemas.microsoft.com/office/drawing/2014/main" id="{4E139A1F-1C16-49E1-B924-03A35F7958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35542"/>
          <a:stretch/>
        </p:blipFill>
        <p:spPr>
          <a:xfrm>
            <a:off x="9199623" y="4710480"/>
            <a:ext cx="385769" cy="255574"/>
          </a:xfrm>
          <a:prstGeom prst="rect">
            <a:avLst/>
          </a:prstGeom>
        </p:spPr>
      </p:pic>
      <p:pic>
        <p:nvPicPr>
          <p:cNvPr id="60" name="Graphique 30" descr="Marquer">
            <a:extLst>
              <a:ext uri="{FF2B5EF4-FFF2-40B4-BE49-F238E27FC236}">
                <a16:creationId xmlns:a16="http://schemas.microsoft.com/office/drawing/2014/main" id="{8E74F60A-76CF-43FA-938F-6DF675BB3A2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35542"/>
          <a:stretch/>
        </p:blipFill>
        <p:spPr>
          <a:xfrm>
            <a:off x="9199623" y="5337236"/>
            <a:ext cx="385769" cy="255574"/>
          </a:xfrm>
          <a:prstGeom prst="rect">
            <a:avLst/>
          </a:prstGeom>
        </p:spPr>
      </p:pic>
      <p:pic>
        <p:nvPicPr>
          <p:cNvPr id="61" name="Graphique 30" descr="Marquer">
            <a:extLst>
              <a:ext uri="{FF2B5EF4-FFF2-40B4-BE49-F238E27FC236}">
                <a16:creationId xmlns:a16="http://schemas.microsoft.com/office/drawing/2014/main" id="{AAB54CB2-6D55-4555-8222-A6C5404733E3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b="35542"/>
          <a:stretch/>
        </p:blipFill>
        <p:spPr>
          <a:xfrm>
            <a:off x="9199623" y="5980876"/>
            <a:ext cx="385769" cy="25557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141BDBD6-FC39-484B-80B4-A5A00C8A001E}"/>
              </a:ext>
            </a:extLst>
          </p:cNvPr>
          <p:cNvSpPr/>
          <p:nvPr/>
        </p:nvSpPr>
        <p:spPr bwMode="auto">
          <a:xfrm>
            <a:off x="1221413" y="4571886"/>
            <a:ext cx="7864530" cy="17146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24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5912" indent="-228600">
              <a:spcAft>
                <a:spcPts val="100"/>
              </a:spcAft>
              <a:buFont typeface="+mj-lt"/>
              <a:buAutoNum type="arabicPeriod"/>
            </a:pPr>
            <a:r>
              <a:rPr lang="en-US" sz="800" dirty="0">
                <a:latin typeface="+mj-lt"/>
                <a:cs typeface="Arial"/>
              </a:rPr>
              <a:t>Hestia leverages </a:t>
            </a:r>
            <a:r>
              <a:rPr lang="en-US" sz="800" dirty="0" err="1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Frizbiz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 IT assets</a:t>
            </a:r>
            <a:r>
              <a:rPr lang="en-US" sz="800" dirty="0">
                <a:latin typeface="+mj-lt"/>
                <a:cs typeface="Arial"/>
              </a:rPr>
              <a:t>: technological existing assets as well as human assets</a:t>
            </a:r>
          </a:p>
          <a:p>
            <a:pPr marL="715962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 dirty="0">
                <a:latin typeface="+mj-lt"/>
                <a:cs typeface="Arial"/>
              </a:rPr>
              <a:t>Hestia could benefit from both the existing </a:t>
            </a:r>
            <a:r>
              <a:rPr lang="en-US" sz="800" dirty="0" err="1">
                <a:latin typeface="+mj-lt"/>
                <a:cs typeface="Arial"/>
              </a:rPr>
              <a:t>Frizbiz</a:t>
            </a:r>
            <a:r>
              <a:rPr lang="en-US" sz="800" dirty="0">
                <a:latin typeface="+mj-lt"/>
                <a:cs typeface="Arial"/>
              </a:rPr>
              <a:t> IT assets and the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“start-up” spirit </a:t>
            </a:r>
            <a:r>
              <a:rPr lang="en-US" sz="800" dirty="0">
                <a:latin typeface="+mj-lt"/>
                <a:cs typeface="Arial"/>
              </a:rPr>
              <a:t>to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attract</a:t>
            </a:r>
            <a:r>
              <a:rPr lang="en-US" sz="800" dirty="0">
                <a:latin typeface="+mj-lt"/>
                <a:cs typeface="Arial"/>
              </a:rPr>
              <a:t> and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retain digital talents</a:t>
            </a:r>
            <a:r>
              <a:rPr lang="en-US" sz="800" dirty="0">
                <a:latin typeface="+mj-lt"/>
                <a:cs typeface="Arial"/>
              </a:rPr>
              <a:t> </a:t>
            </a:r>
          </a:p>
          <a:p>
            <a:pPr marL="315912" indent="-228600">
              <a:spcAft>
                <a:spcPts val="100"/>
              </a:spcAft>
              <a:buFont typeface="+mj-lt"/>
              <a:buAutoNum type="arabicPeriod" startAt="2"/>
            </a:pPr>
            <a:r>
              <a:rPr lang="en-US" sz="800" dirty="0">
                <a:latin typeface="+mj-lt"/>
                <a:cs typeface="Arial"/>
              </a:rPr>
              <a:t>Hestia leverages </a:t>
            </a:r>
            <a:r>
              <a:rPr lang="en-US" sz="800" dirty="0" err="1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Frizbiz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 worker pool </a:t>
            </a:r>
            <a:r>
              <a:rPr lang="en-US" sz="800" dirty="0">
                <a:latin typeface="+mj-lt"/>
                <a:cs typeface="Arial"/>
              </a:rPr>
              <a:t>to find qualified workers</a:t>
            </a:r>
          </a:p>
          <a:p>
            <a:pPr marL="715962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 dirty="0">
                <a:latin typeface="+mj-lt"/>
                <a:cs typeface="Arial"/>
              </a:rPr>
              <a:t>Hestia could leverage </a:t>
            </a:r>
            <a:r>
              <a:rPr lang="en-US" sz="800" dirty="0" err="1">
                <a:latin typeface="+mj-lt"/>
                <a:cs typeface="Arial"/>
              </a:rPr>
              <a:t>Frizbiz</a:t>
            </a:r>
            <a:r>
              <a:rPr lang="en-US" sz="800" dirty="0">
                <a:latin typeface="+mj-lt"/>
                <a:cs typeface="Arial"/>
              </a:rPr>
              <a:t> best talents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to reduce the number of missed cases </a:t>
            </a:r>
            <a:r>
              <a:rPr lang="en-US" sz="800" dirty="0">
                <a:latin typeface="+mj-lt"/>
                <a:cs typeface="Arial"/>
              </a:rPr>
              <a:t>due to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talent shortage but should ensure the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worker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pool quality </a:t>
            </a:r>
            <a:endParaRPr lang="en-US" sz="800" dirty="0">
              <a:latin typeface="+mj-lt"/>
              <a:cs typeface="Arial"/>
            </a:endParaRPr>
          </a:p>
          <a:p>
            <a:pPr marL="315912" indent="-228600">
              <a:buFont typeface="+mj-lt"/>
              <a:buAutoNum type="arabicPeriod" startAt="3"/>
            </a:pPr>
            <a:r>
              <a:rPr lang="en-US" sz="800" dirty="0">
                <a:solidFill>
                  <a:schemeClr val="tx1"/>
                </a:solidFill>
              </a:rPr>
              <a:t>Hestia provides insurance with a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</a:rPr>
              <a:t>“digital agency”</a:t>
            </a:r>
            <a:r>
              <a:rPr lang="en-US" sz="800" dirty="0">
                <a:solidFill>
                  <a:schemeClr val="tx1"/>
                </a:solidFill>
              </a:rPr>
              <a:t>: a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</a:rPr>
              <a:t>B2B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</a:rPr>
              <a:t>platform</a:t>
            </a:r>
            <a:r>
              <a:rPr lang="en-US" sz="800" dirty="0">
                <a:solidFill>
                  <a:schemeClr val="tx1"/>
                </a:solidFill>
              </a:rPr>
              <a:t> that acts as a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</a:rPr>
              <a:t>REN</a:t>
            </a:r>
            <a:r>
              <a:rPr lang="en-US" sz="800" dirty="0">
                <a:solidFill>
                  <a:schemeClr val="tx1"/>
                </a:solidFill>
              </a:rPr>
              <a:t> provide</a:t>
            </a:r>
            <a:r>
              <a:rPr lang="en-US" sz="800" dirty="0">
                <a:latin typeface="+mj-lt"/>
                <a:cs typeface="Arial"/>
              </a:rPr>
              <a:t> </a:t>
            </a:r>
          </a:p>
          <a:p>
            <a:pPr marL="715962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>
                <a:latin typeface="+mj-lt"/>
                <a:cs typeface="Arial"/>
              </a:rPr>
              <a:t>The REN business requires complex processes that </a:t>
            </a:r>
            <a:r>
              <a:rPr lang="en-US" sz="800" dirty="0">
                <a:latin typeface="+mj-lt"/>
                <a:cs typeface="Arial"/>
              </a:rPr>
              <a:t>are far from </a:t>
            </a:r>
            <a:r>
              <a:rPr lang="en-US" sz="800" dirty="0" err="1">
                <a:latin typeface="+mj-lt"/>
                <a:cs typeface="Arial"/>
              </a:rPr>
              <a:t>Frizbiz</a:t>
            </a:r>
            <a:r>
              <a:rPr lang="en-US" sz="800" dirty="0">
                <a:latin typeface="+mj-lt"/>
                <a:cs typeface="Arial"/>
              </a:rPr>
              <a:t> activities</a:t>
            </a:r>
            <a:r>
              <a:rPr lang="en-US" sz="800">
                <a:latin typeface="+mj-lt"/>
                <a:cs typeface="Arial"/>
              </a:rPr>
              <a:t>,</a:t>
            </a:r>
            <a:r>
              <a:rPr lang="en-US" sz="800" dirty="0">
                <a:latin typeface="+mj-lt"/>
                <a:cs typeface="Arial"/>
              </a:rPr>
              <a:t> and </a:t>
            </a:r>
            <a:r>
              <a:rPr lang="en-US" sz="800" err="1">
                <a:latin typeface="+mj-lt"/>
                <a:cs typeface="Arial"/>
              </a:rPr>
              <a:t>Frizbiz</a:t>
            </a:r>
            <a:r>
              <a:rPr lang="en-US" sz="800">
                <a:latin typeface="+mj-lt"/>
                <a:cs typeface="Arial"/>
              </a:rPr>
              <a:t> could induce an execution risk</a:t>
            </a:r>
          </a:p>
          <a:p>
            <a:pPr marL="315912" indent="-228600">
              <a:buFont typeface="+mj-lt"/>
              <a:buAutoNum type="arabicPeriod" startAt="3"/>
            </a:pPr>
            <a:r>
              <a:rPr lang="en-US" sz="800">
                <a:latin typeface="+mj-lt"/>
                <a:cs typeface="Arial"/>
              </a:rPr>
              <a:t>Hestia provides insurances with a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B2B2C white label platform </a:t>
            </a:r>
            <a:r>
              <a:rPr lang="en-US" sz="800">
                <a:latin typeface="+mj-lt"/>
                <a:cs typeface="Arial"/>
              </a:rPr>
              <a:t>to support their clients in their “over-the-counter” processes </a:t>
            </a: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800">
                <a:solidFill>
                  <a:schemeClr val="tx1"/>
                </a:solidFill>
              </a:rPr>
              <a:t>It could be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</a:rPr>
              <a:t>risky</a:t>
            </a:r>
            <a:r>
              <a:rPr lang="en-US" sz="800">
                <a:solidFill>
                  <a:schemeClr val="tx1"/>
                </a:solidFill>
              </a:rPr>
              <a:t> for insurance to </a:t>
            </a:r>
            <a:r>
              <a:rPr lang="en-US" sz="800">
                <a:solidFill>
                  <a:schemeClr val="accent5">
                    <a:lumMod val="75000"/>
                  </a:schemeClr>
                </a:solidFill>
              </a:rPr>
              <a:t>engage their brand image </a:t>
            </a:r>
            <a:r>
              <a:rPr lang="en-US" sz="800">
                <a:solidFill>
                  <a:schemeClr val="tx1"/>
                </a:solidFill>
              </a:rPr>
              <a:t>in a B2B2C platform </a:t>
            </a:r>
          </a:p>
          <a:p>
            <a:pPr marL="315912" indent="-228600">
              <a:spcAft>
                <a:spcPts val="100"/>
              </a:spcAft>
              <a:buFont typeface="+mj-lt"/>
              <a:buAutoNum type="arabicPeriod" startAt="5"/>
            </a:pPr>
            <a:r>
              <a:rPr lang="en-US" sz="800" dirty="0">
                <a:latin typeface="+mj-lt"/>
                <a:cs typeface="Arial"/>
              </a:rPr>
              <a:t>Hestia keeps </a:t>
            </a:r>
            <a:r>
              <a:rPr lang="en-US" sz="800" dirty="0" err="1">
                <a:latin typeface="+mj-lt"/>
                <a:cs typeface="Arial"/>
              </a:rPr>
              <a:t>Frizbiz</a:t>
            </a:r>
            <a:r>
              <a:rPr lang="en-US" sz="800" dirty="0">
                <a:latin typeface="+mj-lt"/>
                <a:cs typeface="Arial"/>
              </a:rPr>
              <a:t>, whose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jobbers</a:t>
            </a:r>
            <a:r>
              <a:rPr lang="en-US" sz="800" dirty="0">
                <a:latin typeface="+mj-lt"/>
                <a:cs typeface="Arial"/>
              </a:rPr>
              <a:t> are at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80% non-professionals</a:t>
            </a:r>
            <a:r>
              <a:rPr lang="en-US" sz="800" dirty="0">
                <a:latin typeface="+mj-lt"/>
                <a:cs typeface="Arial"/>
              </a:rPr>
              <a:t>, as a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standalone C2C platform</a:t>
            </a:r>
            <a:endParaRPr lang="en-US" sz="800">
              <a:solidFill>
                <a:schemeClr val="accent5">
                  <a:lumMod val="75000"/>
                </a:schemeClr>
              </a:solidFill>
              <a:latin typeface="+mj-lt"/>
              <a:cs typeface="Arial"/>
            </a:endParaRPr>
          </a:p>
          <a:p>
            <a:pPr marL="715962" lvl="1" indent="-171450">
              <a:buFont typeface="Wingdings" panose="05000000000000000000" pitchFamily="2" charset="2"/>
              <a:buChar char="Ø"/>
            </a:pPr>
            <a:r>
              <a:rPr lang="en-US" sz="800" dirty="0">
                <a:latin typeface="+mj-lt"/>
                <a:cs typeface="Arial"/>
              </a:rPr>
              <a:t>The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C2C</a:t>
            </a:r>
            <a:r>
              <a:rPr lang="en-US" sz="800" dirty="0">
                <a:latin typeface="+mj-lt"/>
                <a:cs typeface="Arial"/>
              </a:rPr>
              <a:t> services platform market is a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very competitive market</a:t>
            </a:r>
            <a:r>
              <a:rPr lang="en-US" sz="800">
                <a:latin typeface="+mj-lt"/>
                <a:cs typeface="Arial"/>
              </a:rPr>
              <a:t>,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 </a:t>
            </a:r>
            <a:r>
              <a:rPr lang="en-US" sz="800" dirty="0">
                <a:latin typeface="+mj-lt"/>
                <a:cs typeface="Arial"/>
              </a:rPr>
              <a:t>and the model has </a:t>
            </a:r>
            <a:r>
              <a:rPr lang="en-US" sz="80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/>
              </a:rPr>
              <a:t>not yet reach profitability</a:t>
            </a:r>
          </a:p>
        </p:txBody>
      </p:sp>
      <p:sp>
        <p:nvSpPr>
          <p:cNvPr id="25" name="Arrow: Pentagon 13">
            <a:extLst>
              <a:ext uri="{FF2B5EF4-FFF2-40B4-BE49-F238E27FC236}">
                <a16:creationId xmlns:a16="http://schemas.microsoft.com/office/drawing/2014/main" id="{5146D732-EFA5-477C-B0A6-85AD09BD0B4D}"/>
              </a:ext>
            </a:extLst>
          </p:cNvPr>
          <p:cNvSpPr/>
          <p:nvPr/>
        </p:nvSpPr>
        <p:spPr bwMode="auto">
          <a:xfrm>
            <a:off x="332810" y="4571885"/>
            <a:ext cx="1127690" cy="1714616"/>
          </a:xfrm>
          <a:prstGeom prst="homePlate">
            <a:avLst>
              <a:gd name="adj" fmla="val 15026"/>
            </a:avLst>
          </a:prstGeom>
          <a:solidFill>
            <a:srgbClr val="009DB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180000" numCol="1" rtlCol="0" anchor="b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bg1"/>
                </a:solidFill>
                <a:latin typeface="+mj-lt"/>
              </a:rPr>
              <a:t>Development opportunities for </a:t>
            </a:r>
            <a:r>
              <a:rPr lang="en-US" sz="900" b="1" err="1">
                <a:solidFill>
                  <a:schemeClr val="bg1"/>
                </a:solidFill>
                <a:latin typeface="+mj-lt"/>
              </a:rPr>
              <a:t>Frizbiz</a:t>
            </a:r>
            <a:r>
              <a:rPr lang="en-US" sz="900" b="1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7142682-EBDC-4233-B669-414B88DD87B8}"/>
              </a:ext>
            </a:extLst>
          </p:cNvPr>
          <p:cNvGrpSpPr>
            <a:grpSpLocks noChangeAspect="1"/>
          </p:cNvGrpSpPr>
          <p:nvPr/>
        </p:nvGrpSpPr>
        <p:grpSpPr>
          <a:xfrm>
            <a:off x="656708" y="5013006"/>
            <a:ext cx="492532" cy="492532"/>
            <a:chOff x="3286125" y="4828309"/>
            <a:chExt cx="685800" cy="685800"/>
          </a:xfrm>
          <a:solidFill>
            <a:schemeClr val="bg1"/>
          </a:solidFill>
        </p:grpSpPr>
        <p:sp>
          <p:nvSpPr>
            <p:cNvPr id="8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743327" y="5285511"/>
              <a:ext cx="133347" cy="133347"/>
            </a:xfrm>
            <a:custGeom>
              <a:avLst/>
              <a:gdLst>
                <a:gd name="connsiteX0" fmla="*/ 114298 w 133347"/>
                <a:gd name="connsiteY0" fmla="*/ 19048 h 133347"/>
                <a:gd name="connsiteX1" fmla="*/ 95248 w 133347"/>
                <a:gd name="connsiteY1" fmla="*/ 38098 h 133347"/>
                <a:gd name="connsiteX2" fmla="*/ 95248 w 133347"/>
                <a:gd name="connsiteY2" fmla="*/ 68310 h 133347"/>
                <a:gd name="connsiteX3" fmla="*/ 32517 w 133347"/>
                <a:gd name="connsiteY3" fmla="*/ 5579 h 133347"/>
                <a:gd name="connsiteX4" fmla="*/ 5579 w 133347"/>
                <a:gd name="connsiteY4" fmla="*/ 5579 h 133347"/>
                <a:gd name="connsiteX5" fmla="*/ 5579 w 133347"/>
                <a:gd name="connsiteY5" fmla="*/ 32517 h 133347"/>
                <a:gd name="connsiteX6" fmla="*/ 68310 w 133347"/>
                <a:gd name="connsiteY6" fmla="*/ 95248 h 133347"/>
                <a:gd name="connsiteX7" fmla="*/ 38098 w 133347"/>
                <a:gd name="connsiteY7" fmla="*/ 95248 h 133347"/>
                <a:gd name="connsiteX8" fmla="*/ 19048 w 133347"/>
                <a:gd name="connsiteY8" fmla="*/ 114298 h 133347"/>
                <a:gd name="connsiteX9" fmla="*/ 38098 w 133347"/>
                <a:gd name="connsiteY9" fmla="*/ 133348 h 133347"/>
                <a:gd name="connsiteX10" fmla="*/ 114298 w 133347"/>
                <a:gd name="connsiteY10" fmla="*/ 133348 h 133347"/>
                <a:gd name="connsiteX11" fmla="*/ 133348 w 133347"/>
                <a:gd name="connsiteY11" fmla="*/ 114298 h 133347"/>
                <a:gd name="connsiteX12" fmla="*/ 133348 w 133347"/>
                <a:gd name="connsiteY12" fmla="*/ 38098 h 133347"/>
                <a:gd name="connsiteX13" fmla="*/ 114298 w 133347"/>
                <a:gd name="connsiteY13" fmla="*/ 19048 h 13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47" h="133347">
                  <a:moveTo>
                    <a:pt x="114298" y="19048"/>
                  </a:moveTo>
                  <a:cubicBezTo>
                    <a:pt x="103777" y="19049"/>
                    <a:pt x="95249" y="27577"/>
                    <a:pt x="95248" y="38098"/>
                  </a:cubicBezTo>
                  <a:lnTo>
                    <a:pt x="95248" y="68310"/>
                  </a:lnTo>
                  <a:lnTo>
                    <a:pt x="32517" y="5579"/>
                  </a:lnTo>
                  <a:cubicBezTo>
                    <a:pt x="25078" y="-1860"/>
                    <a:pt x="13018" y="-1860"/>
                    <a:pt x="5579" y="5579"/>
                  </a:cubicBezTo>
                  <a:cubicBezTo>
                    <a:pt x="-1860" y="13018"/>
                    <a:pt x="-1860" y="25078"/>
                    <a:pt x="5579" y="32517"/>
                  </a:cubicBezTo>
                  <a:lnTo>
                    <a:pt x="68310" y="95248"/>
                  </a:lnTo>
                  <a:lnTo>
                    <a:pt x="38098" y="95248"/>
                  </a:lnTo>
                  <a:cubicBezTo>
                    <a:pt x="27577" y="95248"/>
                    <a:pt x="19048" y="103777"/>
                    <a:pt x="19048" y="114298"/>
                  </a:cubicBezTo>
                  <a:cubicBezTo>
                    <a:pt x="19048" y="124819"/>
                    <a:pt x="27577" y="133348"/>
                    <a:pt x="38098" y="133348"/>
                  </a:cubicBezTo>
                  <a:lnTo>
                    <a:pt x="114298" y="133348"/>
                  </a:lnTo>
                  <a:cubicBezTo>
                    <a:pt x="124818" y="133347"/>
                    <a:pt x="133347" y="124818"/>
                    <a:pt x="133348" y="114298"/>
                  </a:cubicBezTo>
                  <a:lnTo>
                    <a:pt x="133348" y="38098"/>
                  </a:lnTo>
                  <a:cubicBezTo>
                    <a:pt x="133347" y="27577"/>
                    <a:pt x="124818" y="19049"/>
                    <a:pt x="114298" y="19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743327" y="4923559"/>
              <a:ext cx="133347" cy="133347"/>
            </a:xfrm>
            <a:custGeom>
              <a:avLst/>
              <a:gdLst>
                <a:gd name="connsiteX0" fmla="*/ 114298 w 133347"/>
                <a:gd name="connsiteY0" fmla="*/ 114300 h 133347"/>
                <a:gd name="connsiteX1" fmla="*/ 133348 w 133347"/>
                <a:gd name="connsiteY1" fmla="*/ 95250 h 133347"/>
                <a:gd name="connsiteX2" fmla="*/ 133348 w 133347"/>
                <a:gd name="connsiteY2" fmla="*/ 19050 h 133347"/>
                <a:gd name="connsiteX3" fmla="*/ 114298 w 133347"/>
                <a:gd name="connsiteY3" fmla="*/ 0 h 133347"/>
                <a:gd name="connsiteX4" fmla="*/ 38098 w 133347"/>
                <a:gd name="connsiteY4" fmla="*/ 0 h 133347"/>
                <a:gd name="connsiteX5" fmla="*/ 19048 w 133347"/>
                <a:gd name="connsiteY5" fmla="*/ 19050 h 133347"/>
                <a:gd name="connsiteX6" fmla="*/ 38098 w 133347"/>
                <a:gd name="connsiteY6" fmla="*/ 38100 h 133347"/>
                <a:gd name="connsiteX7" fmla="*/ 68310 w 133347"/>
                <a:gd name="connsiteY7" fmla="*/ 38100 h 133347"/>
                <a:gd name="connsiteX8" fmla="*/ 5579 w 133347"/>
                <a:gd name="connsiteY8" fmla="*/ 100831 h 133347"/>
                <a:gd name="connsiteX9" fmla="*/ 5579 w 133347"/>
                <a:gd name="connsiteY9" fmla="*/ 127769 h 133347"/>
                <a:gd name="connsiteX10" fmla="*/ 32517 w 133347"/>
                <a:gd name="connsiteY10" fmla="*/ 127769 h 133347"/>
                <a:gd name="connsiteX11" fmla="*/ 95248 w 133347"/>
                <a:gd name="connsiteY11" fmla="*/ 65038 h 133347"/>
                <a:gd name="connsiteX12" fmla="*/ 95248 w 133347"/>
                <a:gd name="connsiteY12" fmla="*/ 95250 h 133347"/>
                <a:gd name="connsiteX13" fmla="*/ 114298 w 133347"/>
                <a:gd name="connsiteY13" fmla="*/ 114300 h 13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47" h="133347">
                  <a:moveTo>
                    <a:pt x="114298" y="114300"/>
                  </a:moveTo>
                  <a:cubicBezTo>
                    <a:pt x="124818" y="114299"/>
                    <a:pt x="133347" y="105770"/>
                    <a:pt x="133348" y="95250"/>
                  </a:cubicBezTo>
                  <a:lnTo>
                    <a:pt x="133348" y="19050"/>
                  </a:lnTo>
                  <a:cubicBezTo>
                    <a:pt x="133347" y="8530"/>
                    <a:pt x="124818" y="1"/>
                    <a:pt x="114298" y="0"/>
                  </a:cubicBezTo>
                  <a:lnTo>
                    <a:pt x="38098" y="0"/>
                  </a:lnTo>
                  <a:cubicBezTo>
                    <a:pt x="27577" y="0"/>
                    <a:pt x="19048" y="8529"/>
                    <a:pt x="19048" y="19050"/>
                  </a:cubicBezTo>
                  <a:cubicBezTo>
                    <a:pt x="19048" y="29571"/>
                    <a:pt x="27577" y="38100"/>
                    <a:pt x="38098" y="38100"/>
                  </a:cubicBezTo>
                  <a:lnTo>
                    <a:pt x="68310" y="38100"/>
                  </a:lnTo>
                  <a:lnTo>
                    <a:pt x="5579" y="100831"/>
                  </a:lnTo>
                  <a:cubicBezTo>
                    <a:pt x="-1860" y="108270"/>
                    <a:pt x="-1860" y="120330"/>
                    <a:pt x="5579" y="127769"/>
                  </a:cubicBezTo>
                  <a:cubicBezTo>
                    <a:pt x="13018" y="135207"/>
                    <a:pt x="25078" y="135207"/>
                    <a:pt x="32517" y="127769"/>
                  </a:cubicBezTo>
                  <a:lnTo>
                    <a:pt x="95248" y="65038"/>
                  </a:lnTo>
                  <a:lnTo>
                    <a:pt x="95248" y="95250"/>
                  </a:lnTo>
                  <a:cubicBezTo>
                    <a:pt x="95249" y="105770"/>
                    <a:pt x="103777" y="114299"/>
                    <a:pt x="114298" y="1143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381375" y="4923559"/>
              <a:ext cx="133347" cy="133347"/>
            </a:xfrm>
            <a:custGeom>
              <a:avLst/>
              <a:gdLst>
                <a:gd name="connsiteX0" fmla="*/ 114300 w 133347"/>
                <a:gd name="connsiteY0" fmla="*/ 19050 h 133347"/>
                <a:gd name="connsiteX1" fmla="*/ 95250 w 133347"/>
                <a:gd name="connsiteY1" fmla="*/ 0 h 133347"/>
                <a:gd name="connsiteX2" fmla="*/ 19050 w 133347"/>
                <a:gd name="connsiteY2" fmla="*/ 0 h 133347"/>
                <a:gd name="connsiteX3" fmla="*/ 0 w 133347"/>
                <a:gd name="connsiteY3" fmla="*/ 19050 h 133347"/>
                <a:gd name="connsiteX4" fmla="*/ 0 w 133347"/>
                <a:gd name="connsiteY4" fmla="*/ 95250 h 133347"/>
                <a:gd name="connsiteX5" fmla="*/ 19050 w 133347"/>
                <a:gd name="connsiteY5" fmla="*/ 114300 h 133347"/>
                <a:gd name="connsiteX6" fmla="*/ 38100 w 133347"/>
                <a:gd name="connsiteY6" fmla="*/ 95250 h 133347"/>
                <a:gd name="connsiteX7" fmla="*/ 38100 w 133347"/>
                <a:gd name="connsiteY7" fmla="*/ 65038 h 133347"/>
                <a:gd name="connsiteX8" fmla="*/ 100831 w 133347"/>
                <a:gd name="connsiteY8" fmla="*/ 127769 h 133347"/>
                <a:gd name="connsiteX9" fmla="*/ 127769 w 133347"/>
                <a:gd name="connsiteY9" fmla="*/ 127769 h 133347"/>
                <a:gd name="connsiteX10" fmla="*/ 127769 w 133347"/>
                <a:gd name="connsiteY10" fmla="*/ 100831 h 133347"/>
                <a:gd name="connsiteX11" fmla="*/ 65038 w 133347"/>
                <a:gd name="connsiteY11" fmla="*/ 38100 h 133347"/>
                <a:gd name="connsiteX12" fmla="*/ 95250 w 133347"/>
                <a:gd name="connsiteY12" fmla="*/ 38100 h 133347"/>
                <a:gd name="connsiteX13" fmla="*/ 114300 w 133347"/>
                <a:gd name="connsiteY13" fmla="*/ 19050 h 13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47" h="133347">
                  <a:moveTo>
                    <a:pt x="114300" y="19050"/>
                  </a:moveTo>
                  <a:cubicBezTo>
                    <a:pt x="114299" y="8530"/>
                    <a:pt x="105770" y="1"/>
                    <a:pt x="95250" y="0"/>
                  </a:cubicBezTo>
                  <a:lnTo>
                    <a:pt x="19050" y="0"/>
                  </a:lnTo>
                  <a:cubicBezTo>
                    <a:pt x="8530" y="1"/>
                    <a:pt x="1" y="8530"/>
                    <a:pt x="0" y="19050"/>
                  </a:cubicBezTo>
                  <a:lnTo>
                    <a:pt x="0" y="95250"/>
                  </a:lnTo>
                  <a:cubicBezTo>
                    <a:pt x="0" y="105771"/>
                    <a:pt x="8529" y="114300"/>
                    <a:pt x="19050" y="114300"/>
                  </a:cubicBezTo>
                  <a:cubicBezTo>
                    <a:pt x="29571" y="114300"/>
                    <a:pt x="38100" y="105771"/>
                    <a:pt x="38100" y="95250"/>
                  </a:cubicBezTo>
                  <a:lnTo>
                    <a:pt x="38100" y="65038"/>
                  </a:lnTo>
                  <a:lnTo>
                    <a:pt x="100831" y="127769"/>
                  </a:lnTo>
                  <a:cubicBezTo>
                    <a:pt x="108270" y="135207"/>
                    <a:pt x="120330" y="135207"/>
                    <a:pt x="127769" y="127769"/>
                  </a:cubicBezTo>
                  <a:cubicBezTo>
                    <a:pt x="135207" y="120330"/>
                    <a:pt x="135207" y="108270"/>
                    <a:pt x="127769" y="100831"/>
                  </a:cubicBezTo>
                  <a:lnTo>
                    <a:pt x="65038" y="38100"/>
                  </a:lnTo>
                  <a:lnTo>
                    <a:pt x="95250" y="38100"/>
                  </a:lnTo>
                  <a:cubicBezTo>
                    <a:pt x="105770" y="38099"/>
                    <a:pt x="114299" y="29570"/>
                    <a:pt x="1143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381375" y="5285511"/>
              <a:ext cx="133347" cy="133347"/>
            </a:xfrm>
            <a:custGeom>
              <a:avLst/>
              <a:gdLst>
                <a:gd name="connsiteX0" fmla="*/ 19050 w 133347"/>
                <a:gd name="connsiteY0" fmla="*/ 19048 h 133347"/>
                <a:gd name="connsiteX1" fmla="*/ 0 w 133347"/>
                <a:gd name="connsiteY1" fmla="*/ 38098 h 133347"/>
                <a:gd name="connsiteX2" fmla="*/ 0 w 133347"/>
                <a:gd name="connsiteY2" fmla="*/ 114298 h 133347"/>
                <a:gd name="connsiteX3" fmla="*/ 19050 w 133347"/>
                <a:gd name="connsiteY3" fmla="*/ 133348 h 133347"/>
                <a:gd name="connsiteX4" fmla="*/ 95250 w 133347"/>
                <a:gd name="connsiteY4" fmla="*/ 133348 h 133347"/>
                <a:gd name="connsiteX5" fmla="*/ 114300 w 133347"/>
                <a:gd name="connsiteY5" fmla="*/ 114298 h 133347"/>
                <a:gd name="connsiteX6" fmla="*/ 95250 w 133347"/>
                <a:gd name="connsiteY6" fmla="*/ 95248 h 133347"/>
                <a:gd name="connsiteX7" fmla="*/ 65038 w 133347"/>
                <a:gd name="connsiteY7" fmla="*/ 95248 h 133347"/>
                <a:gd name="connsiteX8" fmla="*/ 127769 w 133347"/>
                <a:gd name="connsiteY8" fmla="*/ 32517 h 133347"/>
                <a:gd name="connsiteX9" fmla="*/ 127769 w 133347"/>
                <a:gd name="connsiteY9" fmla="*/ 5579 h 133347"/>
                <a:gd name="connsiteX10" fmla="*/ 100831 w 133347"/>
                <a:gd name="connsiteY10" fmla="*/ 5579 h 133347"/>
                <a:gd name="connsiteX11" fmla="*/ 38100 w 133347"/>
                <a:gd name="connsiteY11" fmla="*/ 68310 h 133347"/>
                <a:gd name="connsiteX12" fmla="*/ 38100 w 133347"/>
                <a:gd name="connsiteY12" fmla="*/ 38098 h 133347"/>
                <a:gd name="connsiteX13" fmla="*/ 19050 w 133347"/>
                <a:gd name="connsiteY13" fmla="*/ 19048 h 13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47" h="133347">
                  <a:moveTo>
                    <a:pt x="19050" y="19048"/>
                  </a:moveTo>
                  <a:cubicBezTo>
                    <a:pt x="8530" y="19049"/>
                    <a:pt x="1" y="27577"/>
                    <a:pt x="0" y="38098"/>
                  </a:cubicBezTo>
                  <a:lnTo>
                    <a:pt x="0" y="114298"/>
                  </a:lnTo>
                  <a:cubicBezTo>
                    <a:pt x="1" y="124818"/>
                    <a:pt x="8530" y="133347"/>
                    <a:pt x="19050" y="133348"/>
                  </a:cubicBezTo>
                  <a:lnTo>
                    <a:pt x="95250" y="133348"/>
                  </a:lnTo>
                  <a:cubicBezTo>
                    <a:pt x="105771" y="133348"/>
                    <a:pt x="114300" y="124819"/>
                    <a:pt x="114300" y="114298"/>
                  </a:cubicBezTo>
                  <a:cubicBezTo>
                    <a:pt x="114300" y="103777"/>
                    <a:pt x="105771" y="95248"/>
                    <a:pt x="95250" y="95248"/>
                  </a:cubicBezTo>
                  <a:lnTo>
                    <a:pt x="65038" y="95248"/>
                  </a:lnTo>
                  <a:lnTo>
                    <a:pt x="127769" y="32517"/>
                  </a:lnTo>
                  <a:cubicBezTo>
                    <a:pt x="135207" y="25078"/>
                    <a:pt x="135207" y="13018"/>
                    <a:pt x="127769" y="5579"/>
                  </a:cubicBezTo>
                  <a:cubicBezTo>
                    <a:pt x="120330" y="-1860"/>
                    <a:pt x="108270" y="-1860"/>
                    <a:pt x="100831" y="5579"/>
                  </a:cubicBezTo>
                  <a:lnTo>
                    <a:pt x="38100" y="68310"/>
                  </a:lnTo>
                  <a:lnTo>
                    <a:pt x="38100" y="38098"/>
                  </a:lnTo>
                  <a:cubicBezTo>
                    <a:pt x="38099" y="27577"/>
                    <a:pt x="29570" y="19049"/>
                    <a:pt x="19050" y="19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552827" y="4828309"/>
              <a:ext cx="152395" cy="180974"/>
            </a:xfrm>
            <a:custGeom>
              <a:avLst/>
              <a:gdLst>
                <a:gd name="connsiteX0" fmla="*/ 76198 w 152395"/>
                <a:gd name="connsiteY0" fmla="*/ 180975 h 180974"/>
                <a:gd name="connsiteX1" fmla="*/ 95248 w 152395"/>
                <a:gd name="connsiteY1" fmla="*/ 161925 h 180974"/>
                <a:gd name="connsiteX2" fmla="*/ 95248 w 152395"/>
                <a:gd name="connsiteY2" fmla="*/ 65040 h 180974"/>
                <a:gd name="connsiteX3" fmla="*/ 119879 w 152395"/>
                <a:gd name="connsiteY3" fmla="*/ 89669 h 180974"/>
                <a:gd name="connsiteX4" fmla="*/ 146817 w 152395"/>
                <a:gd name="connsiteY4" fmla="*/ 89669 h 180974"/>
                <a:gd name="connsiteX5" fmla="*/ 146817 w 152395"/>
                <a:gd name="connsiteY5" fmla="*/ 62731 h 180974"/>
                <a:gd name="connsiteX6" fmla="*/ 89667 w 152395"/>
                <a:gd name="connsiteY6" fmla="*/ 5581 h 180974"/>
                <a:gd name="connsiteX7" fmla="*/ 62736 w 152395"/>
                <a:gd name="connsiteY7" fmla="*/ 5574 h 180974"/>
                <a:gd name="connsiteX8" fmla="*/ 62729 w 152395"/>
                <a:gd name="connsiteY8" fmla="*/ 5581 h 180974"/>
                <a:gd name="connsiteX9" fmla="*/ 5579 w 152395"/>
                <a:gd name="connsiteY9" fmla="*/ 62731 h 180974"/>
                <a:gd name="connsiteX10" fmla="*/ 5579 w 152395"/>
                <a:gd name="connsiteY10" fmla="*/ 89669 h 180974"/>
                <a:gd name="connsiteX11" fmla="*/ 32517 w 152395"/>
                <a:gd name="connsiteY11" fmla="*/ 89669 h 180974"/>
                <a:gd name="connsiteX12" fmla="*/ 57148 w 152395"/>
                <a:gd name="connsiteY12" fmla="*/ 65040 h 180974"/>
                <a:gd name="connsiteX13" fmla="*/ 57148 w 152395"/>
                <a:gd name="connsiteY13" fmla="*/ 161925 h 180974"/>
                <a:gd name="connsiteX14" fmla="*/ 76198 w 152395"/>
                <a:gd name="connsiteY14" fmla="*/ 180975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395" h="180974">
                  <a:moveTo>
                    <a:pt x="76198" y="180975"/>
                  </a:moveTo>
                  <a:cubicBezTo>
                    <a:pt x="86718" y="180974"/>
                    <a:pt x="95247" y="172445"/>
                    <a:pt x="95248" y="161925"/>
                  </a:cubicBezTo>
                  <a:lnTo>
                    <a:pt x="95248" y="65040"/>
                  </a:lnTo>
                  <a:lnTo>
                    <a:pt x="119879" y="89669"/>
                  </a:lnTo>
                  <a:cubicBezTo>
                    <a:pt x="127318" y="97107"/>
                    <a:pt x="139378" y="97107"/>
                    <a:pt x="146817" y="89669"/>
                  </a:cubicBezTo>
                  <a:cubicBezTo>
                    <a:pt x="154255" y="82230"/>
                    <a:pt x="154255" y="70170"/>
                    <a:pt x="146817" y="62731"/>
                  </a:cubicBezTo>
                  <a:lnTo>
                    <a:pt x="89667" y="5581"/>
                  </a:lnTo>
                  <a:cubicBezTo>
                    <a:pt x="82232" y="-1858"/>
                    <a:pt x="70174" y="-1861"/>
                    <a:pt x="62736" y="5574"/>
                  </a:cubicBezTo>
                  <a:cubicBezTo>
                    <a:pt x="62733" y="5576"/>
                    <a:pt x="62731" y="5579"/>
                    <a:pt x="62729" y="5581"/>
                  </a:cubicBezTo>
                  <a:lnTo>
                    <a:pt x="5579" y="62731"/>
                  </a:lnTo>
                  <a:cubicBezTo>
                    <a:pt x="-1860" y="70170"/>
                    <a:pt x="-1860" y="82230"/>
                    <a:pt x="5579" y="89669"/>
                  </a:cubicBezTo>
                  <a:cubicBezTo>
                    <a:pt x="13018" y="97107"/>
                    <a:pt x="25078" y="97107"/>
                    <a:pt x="32517" y="89669"/>
                  </a:cubicBezTo>
                  <a:lnTo>
                    <a:pt x="57148" y="65040"/>
                  </a:lnTo>
                  <a:lnTo>
                    <a:pt x="57148" y="161925"/>
                  </a:lnTo>
                  <a:cubicBezTo>
                    <a:pt x="57149" y="172445"/>
                    <a:pt x="65677" y="180974"/>
                    <a:pt x="76198" y="1809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552827" y="5333134"/>
              <a:ext cx="152395" cy="180975"/>
            </a:xfrm>
            <a:custGeom>
              <a:avLst/>
              <a:gdLst>
                <a:gd name="connsiteX0" fmla="*/ 76198 w 152395"/>
                <a:gd name="connsiteY0" fmla="*/ 0 h 180975"/>
                <a:gd name="connsiteX1" fmla="*/ 57148 w 152395"/>
                <a:gd name="connsiteY1" fmla="*/ 19050 h 180975"/>
                <a:gd name="connsiteX2" fmla="*/ 57148 w 152395"/>
                <a:gd name="connsiteY2" fmla="*/ 115934 h 180975"/>
                <a:gd name="connsiteX3" fmla="*/ 32517 w 152395"/>
                <a:gd name="connsiteY3" fmla="*/ 91306 h 180975"/>
                <a:gd name="connsiteX4" fmla="*/ 5579 w 152395"/>
                <a:gd name="connsiteY4" fmla="*/ 91306 h 180975"/>
                <a:gd name="connsiteX5" fmla="*/ 5579 w 152395"/>
                <a:gd name="connsiteY5" fmla="*/ 118244 h 180975"/>
                <a:gd name="connsiteX6" fmla="*/ 62729 w 152395"/>
                <a:gd name="connsiteY6" fmla="*/ 175394 h 180975"/>
                <a:gd name="connsiteX7" fmla="*/ 89660 w 152395"/>
                <a:gd name="connsiteY7" fmla="*/ 175401 h 180975"/>
                <a:gd name="connsiteX8" fmla="*/ 89667 w 152395"/>
                <a:gd name="connsiteY8" fmla="*/ 175394 h 180975"/>
                <a:gd name="connsiteX9" fmla="*/ 146817 w 152395"/>
                <a:gd name="connsiteY9" fmla="*/ 118244 h 180975"/>
                <a:gd name="connsiteX10" fmla="*/ 146817 w 152395"/>
                <a:gd name="connsiteY10" fmla="*/ 91306 h 180975"/>
                <a:gd name="connsiteX11" fmla="*/ 119879 w 152395"/>
                <a:gd name="connsiteY11" fmla="*/ 91306 h 180975"/>
                <a:gd name="connsiteX12" fmla="*/ 95248 w 152395"/>
                <a:gd name="connsiteY12" fmla="*/ 115934 h 180975"/>
                <a:gd name="connsiteX13" fmla="*/ 95248 w 152395"/>
                <a:gd name="connsiteY13" fmla="*/ 19050 h 180975"/>
                <a:gd name="connsiteX14" fmla="*/ 76198 w 152395"/>
                <a:gd name="connsiteY14" fmla="*/ 0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395" h="180975">
                  <a:moveTo>
                    <a:pt x="76198" y="0"/>
                  </a:moveTo>
                  <a:cubicBezTo>
                    <a:pt x="65677" y="1"/>
                    <a:pt x="57149" y="8530"/>
                    <a:pt x="57148" y="19050"/>
                  </a:cubicBezTo>
                  <a:lnTo>
                    <a:pt x="57148" y="115934"/>
                  </a:lnTo>
                  <a:lnTo>
                    <a:pt x="32517" y="91306"/>
                  </a:lnTo>
                  <a:cubicBezTo>
                    <a:pt x="25078" y="83868"/>
                    <a:pt x="13018" y="83868"/>
                    <a:pt x="5579" y="91306"/>
                  </a:cubicBezTo>
                  <a:cubicBezTo>
                    <a:pt x="-1860" y="98745"/>
                    <a:pt x="-1860" y="110805"/>
                    <a:pt x="5579" y="118244"/>
                  </a:cubicBezTo>
                  <a:lnTo>
                    <a:pt x="62729" y="175394"/>
                  </a:lnTo>
                  <a:cubicBezTo>
                    <a:pt x="70164" y="182832"/>
                    <a:pt x="82221" y="182836"/>
                    <a:pt x="89660" y="175401"/>
                  </a:cubicBezTo>
                  <a:cubicBezTo>
                    <a:pt x="89662" y="175399"/>
                    <a:pt x="89664" y="175396"/>
                    <a:pt x="89667" y="175394"/>
                  </a:cubicBezTo>
                  <a:lnTo>
                    <a:pt x="146817" y="118244"/>
                  </a:lnTo>
                  <a:cubicBezTo>
                    <a:pt x="154255" y="110805"/>
                    <a:pt x="154255" y="98745"/>
                    <a:pt x="146817" y="91306"/>
                  </a:cubicBezTo>
                  <a:cubicBezTo>
                    <a:pt x="139378" y="83868"/>
                    <a:pt x="127318" y="83868"/>
                    <a:pt x="119879" y="91306"/>
                  </a:cubicBezTo>
                  <a:lnTo>
                    <a:pt x="95248" y="115934"/>
                  </a:lnTo>
                  <a:lnTo>
                    <a:pt x="95248" y="19050"/>
                  </a:lnTo>
                  <a:cubicBezTo>
                    <a:pt x="95247" y="8530"/>
                    <a:pt x="86718" y="1"/>
                    <a:pt x="76198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790950" y="5095011"/>
              <a:ext cx="180975" cy="152395"/>
            </a:xfrm>
            <a:custGeom>
              <a:avLst/>
              <a:gdLst>
                <a:gd name="connsiteX0" fmla="*/ 118244 w 180975"/>
                <a:gd name="connsiteY0" fmla="*/ 5579 h 152395"/>
                <a:gd name="connsiteX1" fmla="*/ 91306 w 180975"/>
                <a:gd name="connsiteY1" fmla="*/ 5579 h 152395"/>
                <a:gd name="connsiteX2" fmla="*/ 91306 w 180975"/>
                <a:gd name="connsiteY2" fmla="*/ 32517 h 152395"/>
                <a:gd name="connsiteX3" fmla="*/ 115934 w 180975"/>
                <a:gd name="connsiteY3" fmla="*/ 57148 h 152395"/>
                <a:gd name="connsiteX4" fmla="*/ 19050 w 180975"/>
                <a:gd name="connsiteY4" fmla="*/ 57148 h 152395"/>
                <a:gd name="connsiteX5" fmla="*/ 0 w 180975"/>
                <a:gd name="connsiteY5" fmla="*/ 76198 h 152395"/>
                <a:gd name="connsiteX6" fmla="*/ 19050 w 180975"/>
                <a:gd name="connsiteY6" fmla="*/ 95248 h 152395"/>
                <a:gd name="connsiteX7" fmla="*/ 115934 w 180975"/>
                <a:gd name="connsiteY7" fmla="*/ 95248 h 152395"/>
                <a:gd name="connsiteX8" fmla="*/ 91306 w 180975"/>
                <a:gd name="connsiteY8" fmla="*/ 119879 h 152395"/>
                <a:gd name="connsiteX9" fmla="*/ 91306 w 180975"/>
                <a:gd name="connsiteY9" fmla="*/ 146817 h 152395"/>
                <a:gd name="connsiteX10" fmla="*/ 118244 w 180975"/>
                <a:gd name="connsiteY10" fmla="*/ 146817 h 152395"/>
                <a:gd name="connsiteX11" fmla="*/ 175394 w 180975"/>
                <a:gd name="connsiteY11" fmla="*/ 89667 h 152395"/>
                <a:gd name="connsiteX12" fmla="*/ 175401 w 180975"/>
                <a:gd name="connsiteY12" fmla="*/ 62736 h 152395"/>
                <a:gd name="connsiteX13" fmla="*/ 175394 w 180975"/>
                <a:gd name="connsiteY13" fmla="*/ 62729 h 15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975" h="152395">
                  <a:moveTo>
                    <a:pt x="118244" y="5579"/>
                  </a:moveTo>
                  <a:cubicBezTo>
                    <a:pt x="110805" y="-1860"/>
                    <a:pt x="98745" y="-1860"/>
                    <a:pt x="91306" y="5579"/>
                  </a:cubicBezTo>
                  <a:cubicBezTo>
                    <a:pt x="83868" y="13018"/>
                    <a:pt x="83868" y="25078"/>
                    <a:pt x="91306" y="32517"/>
                  </a:cubicBezTo>
                  <a:lnTo>
                    <a:pt x="115934" y="57148"/>
                  </a:lnTo>
                  <a:lnTo>
                    <a:pt x="19050" y="57148"/>
                  </a:lnTo>
                  <a:cubicBezTo>
                    <a:pt x="8529" y="57148"/>
                    <a:pt x="0" y="65677"/>
                    <a:pt x="0" y="76198"/>
                  </a:cubicBezTo>
                  <a:cubicBezTo>
                    <a:pt x="0" y="86719"/>
                    <a:pt x="8529" y="95248"/>
                    <a:pt x="19050" y="95248"/>
                  </a:cubicBezTo>
                  <a:lnTo>
                    <a:pt x="115934" y="95248"/>
                  </a:lnTo>
                  <a:lnTo>
                    <a:pt x="91306" y="119879"/>
                  </a:lnTo>
                  <a:cubicBezTo>
                    <a:pt x="83868" y="127318"/>
                    <a:pt x="83868" y="139378"/>
                    <a:pt x="91306" y="146817"/>
                  </a:cubicBezTo>
                  <a:cubicBezTo>
                    <a:pt x="98745" y="154255"/>
                    <a:pt x="110805" y="154255"/>
                    <a:pt x="118244" y="146817"/>
                  </a:cubicBezTo>
                  <a:lnTo>
                    <a:pt x="175394" y="89667"/>
                  </a:lnTo>
                  <a:cubicBezTo>
                    <a:pt x="182832" y="82232"/>
                    <a:pt x="182836" y="70174"/>
                    <a:pt x="175401" y="62736"/>
                  </a:cubicBezTo>
                  <a:cubicBezTo>
                    <a:pt x="175399" y="62733"/>
                    <a:pt x="175396" y="62731"/>
                    <a:pt x="175394" y="627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286125" y="5095011"/>
              <a:ext cx="180974" cy="152395"/>
            </a:xfrm>
            <a:custGeom>
              <a:avLst/>
              <a:gdLst>
                <a:gd name="connsiteX0" fmla="*/ 62731 w 180974"/>
                <a:gd name="connsiteY0" fmla="*/ 146817 h 152395"/>
                <a:gd name="connsiteX1" fmla="*/ 89669 w 180974"/>
                <a:gd name="connsiteY1" fmla="*/ 146817 h 152395"/>
                <a:gd name="connsiteX2" fmla="*/ 89669 w 180974"/>
                <a:gd name="connsiteY2" fmla="*/ 119879 h 152395"/>
                <a:gd name="connsiteX3" fmla="*/ 65040 w 180974"/>
                <a:gd name="connsiteY3" fmla="*/ 95248 h 152395"/>
                <a:gd name="connsiteX4" fmla="*/ 161925 w 180974"/>
                <a:gd name="connsiteY4" fmla="*/ 95248 h 152395"/>
                <a:gd name="connsiteX5" fmla="*/ 180975 w 180974"/>
                <a:gd name="connsiteY5" fmla="*/ 76198 h 152395"/>
                <a:gd name="connsiteX6" fmla="*/ 161925 w 180974"/>
                <a:gd name="connsiteY6" fmla="*/ 57148 h 152395"/>
                <a:gd name="connsiteX7" fmla="*/ 65040 w 180974"/>
                <a:gd name="connsiteY7" fmla="*/ 57148 h 152395"/>
                <a:gd name="connsiteX8" fmla="*/ 89669 w 180974"/>
                <a:gd name="connsiteY8" fmla="*/ 32517 h 152395"/>
                <a:gd name="connsiteX9" fmla="*/ 89669 w 180974"/>
                <a:gd name="connsiteY9" fmla="*/ 5579 h 152395"/>
                <a:gd name="connsiteX10" fmla="*/ 62731 w 180974"/>
                <a:gd name="connsiteY10" fmla="*/ 5579 h 152395"/>
                <a:gd name="connsiteX11" fmla="*/ 5581 w 180974"/>
                <a:gd name="connsiteY11" fmla="*/ 62729 h 152395"/>
                <a:gd name="connsiteX12" fmla="*/ 5574 w 180974"/>
                <a:gd name="connsiteY12" fmla="*/ 89660 h 152395"/>
                <a:gd name="connsiteX13" fmla="*/ 5581 w 180974"/>
                <a:gd name="connsiteY13" fmla="*/ 89667 h 15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974" h="152395">
                  <a:moveTo>
                    <a:pt x="62731" y="146817"/>
                  </a:moveTo>
                  <a:cubicBezTo>
                    <a:pt x="70170" y="154255"/>
                    <a:pt x="82230" y="154255"/>
                    <a:pt x="89669" y="146817"/>
                  </a:cubicBezTo>
                  <a:cubicBezTo>
                    <a:pt x="97107" y="139378"/>
                    <a:pt x="97107" y="127318"/>
                    <a:pt x="89669" y="119879"/>
                  </a:cubicBezTo>
                  <a:lnTo>
                    <a:pt x="65040" y="95248"/>
                  </a:lnTo>
                  <a:lnTo>
                    <a:pt x="161925" y="95248"/>
                  </a:lnTo>
                  <a:cubicBezTo>
                    <a:pt x="172446" y="95248"/>
                    <a:pt x="180975" y="86719"/>
                    <a:pt x="180975" y="76198"/>
                  </a:cubicBezTo>
                  <a:cubicBezTo>
                    <a:pt x="180975" y="65677"/>
                    <a:pt x="172446" y="57148"/>
                    <a:pt x="161925" y="57148"/>
                  </a:cubicBezTo>
                  <a:lnTo>
                    <a:pt x="65040" y="57148"/>
                  </a:lnTo>
                  <a:lnTo>
                    <a:pt x="89669" y="32517"/>
                  </a:lnTo>
                  <a:cubicBezTo>
                    <a:pt x="97107" y="25078"/>
                    <a:pt x="97107" y="13018"/>
                    <a:pt x="89669" y="5579"/>
                  </a:cubicBezTo>
                  <a:cubicBezTo>
                    <a:pt x="82230" y="-1860"/>
                    <a:pt x="70170" y="-1860"/>
                    <a:pt x="62731" y="5579"/>
                  </a:cubicBezTo>
                  <a:lnTo>
                    <a:pt x="5581" y="62729"/>
                  </a:lnTo>
                  <a:cubicBezTo>
                    <a:pt x="-1858" y="70164"/>
                    <a:pt x="-1861" y="82221"/>
                    <a:pt x="5574" y="89660"/>
                  </a:cubicBezTo>
                  <a:cubicBezTo>
                    <a:pt x="5576" y="89662"/>
                    <a:pt x="5579" y="89664"/>
                    <a:pt x="5581" y="896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Graphic 6">
              <a:extLst>
                <a:ext uri="{FF2B5EF4-FFF2-40B4-BE49-F238E27FC236}">
                  <a16:creationId xmlns:a16="http://schemas.microsoft.com/office/drawing/2014/main" id="{724BFDF7-9689-4C00-8E86-336E333DE596}"/>
                </a:ext>
              </a:extLst>
            </p:cNvPr>
            <p:cNvSpPr/>
            <p:nvPr/>
          </p:nvSpPr>
          <p:spPr>
            <a:xfrm>
              <a:off x="3505200" y="5047383"/>
              <a:ext cx="247650" cy="247650"/>
            </a:xfrm>
            <a:custGeom>
              <a:avLst/>
              <a:gdLst>
                <a:gd name="connsiteX0" fmla="*/ 0 w 247650"/>
                <a:gd name="connsiteY0" fmla="*/ 123825 h 247650"/>
                <a:gd name="connsiteX1" fmla="*/ 123825 w 247650"/>
                <a:gd name="connsiteY1" fmla="*/ 247650 h 247650"/>
                <a:gd name="connsiteX2" fmla="*/ 247650 w 247650"/>
                <a:gd name="connsiteY2" fmla="*/ 123825 h 247650"/>
                <a:gd name="connsiteX3" fmla="*/ 123825 w 247650"/>
                <a:gd name="connsiteY3" fmla="*/ 0 h 247650"/>
                <a:gd name="connsiteX4" fmla="*/ 0 w 247650"/>
                <a:gd name="connsiteY4" fmla="*/ 123438 h 247650"/>
                <a:gd name="connsiteX5" fmla="*/ 0 w 247650"/>
                <a:gd name="connsiteY5" fmla="*/ 123825 h 247650"/>
                <a:gd name="connsiteX6" fmla="*/ 123825 w 247650"/>
                <a:gd name="connsiteY6" fmla="*/ 38100 h 247650"/>
                <a:gd name="connsiteX7" fmla="*/ 209553 w 247650"/>
                <a:gd name="connsiteY7" fmla="*/ 123825 h 247650"/>
                <a:gd name="connsiteX8" fmla="*/ 123828 w 247650"/>
                <a:gd name="connsiteY8" fmla="*/ 209553 h 247650"/>
                <a:gd name="connsiteX9" fmla="*/ 38100 w 247650"/>
                <a:gd name="connsiteY9" fmla="*/ 123828 h 247650"/>
                <a:gd name="connsiteX10" fmla="*/ 38100 w 247650"/>
                <a:gd name="connsiteY10" fmla="*/ 123825 h 247650"/>
                <a:gd name="connsiteX11" fmla="*/ 123825 w 247650"/>
                <a:gd name="connsiteY11" fmla="*/ 3810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7650" h="247650">
                  <a:moveTo>
                    <a:pt x="0" y="123825"/>
                  </a:moveTo>
                  <a:cubicBezTo>
                    <a:pt x="0" y="192212"/>
                    <a:pt x="55438" y="247650"/>
                    <a:pt x="123825" y="247650"/>
                  </a:cubicBezTo>
                  <a:cubicBezTo>
                    <a:pt x="192212" y="247650"/>
                    <a:pt x="247650" y="192212"/>
                    <a:pt x="247650" y="123825"/>
                  </a:cubicBezTo>
                  <a:cubicBezTo>
                    <a:pt x="247650" y="55439"/>
                    <a:pt x="192212" y="0"/>
                    <a:pt x="123825" y="0"/>
                  </a:cubicBezTo>
                  <a:cubicBezTo>
                    <a:pt x="55545" y="-107"/>
                    <a:pt x="107" y="55158"/>
                    <a:pt x="0" y="123438"/>
                  </a:cubicBezTo>
                  <a:cubicBezTo>
                    <a:pt x="0" y="123567"/>
                    <a:pt x="0" y="123696"/>
                    <a:pt x="0" y="123825"/>
                  </a:cubicBezTo>
                  <a:close/>
                  <a:moveTo>
                    <a:pt x="123825" y="38100"/>
                  </a:moveTo>
                  <a:cubicBezTo>
                    <a:pt x="171170" y="38099"/>
                    <a:pt x="209552" y="76480"/>
                    <a:pt x="209553" y="123825"/>
                  </a:cubicBezTo>
                  <a:cubicBezTo>
                    <a:pt x="209554" y="171170"/>
                    <a:pt x="171173" y="209552"/>
                    <a:pt x="123828" y="209553"/>
                  </a:cubicBezTo>
                  <a:cubicBezTo>
                    <a:pt x="76482" y="209554"/>
                    <a:pt x="38101" y="171173"/>
                    <a:pt x="38100" y="123828"/>
                  </a:cubicBezTo>
                  <a:cubicBezTo>
                    <a:pt x="38100" y="123827"/>
                    <a:pt x="38100" y="123826"/>
                    <a:pt x="38100" y="123825"/>
                  </a:cubicBezTo>
                  <a:cubicBezTo>
                    <a:pt x="38155" y="76503"/>
                    <a:pt x="76503" y="38155"/>
                    <a:pt x="123825" y="381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4940A677-AE32-44AF-98E0-469C95238B4F}"/>
              </a:ext>
            </a:extLst>
          </p:cNvPr>
          <p:cNvGrpSpPr/>
          <p:nvPr/>
        </p:nvGrpSpPr>
        <p:grpSpPr>
          <a:xfrm>
            <a:off x="9122716" y="5033748"/>
            <a:ext cx="539583" cy="255574"/>
            <a:chOff x="9187421" y="4200562"/>
            <a:chExt cx="539583" cy="255574"/>
          </a:xfrm>
        </p:grpSpPr>
        <p:pic>
          <p:nvPicPr>
            <p:cNvPr id="96" name="Graphique 22" descr="Marquer">
              <a:extLst>
                <a:ext uri="{FF2B5EF4-FFF2-40B4-BE49-F238E27FC236}">
                  <a16:creationId xmlns:a16="http://schemas.microsoft.com/office/drawing/2014/main" id="{EFECBE90-B1C6-4625-A08B-F209751BA1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b="35542"/>
            <a:stretch/>
          </p:blipFill>
          <p:spPr>
            <a:xfrm>
              <a:off x="9187421" y="4200562"/>
              <a:ext cx="385769" cy="255574"/>
            </a:xfrm>
            <a:prstGeom prst="rect">
              <a:avLst/>
            </a:prstGeom>
          </p:spPr>
        </p:pic>
        <p:pic>
          <p:nvPicPr>
            <p:cNvPr id="97" name="Graphique 23" descr="Marquer">
              <a:extLst>
                <a:ext uri="{FF2B5EF4-FFF2-40B4-BE49-F238E27FC236}">
                  <a16:creationId xmlns:a16="http://schemas.microsoft.com/office/drawing/2014/main" id="{3F266104-6B3D-474C-B6E3-85FCE809A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35542"/>
            <a:stretch/>
          </p:blipFill>
          <p:spPr>
            <a:xfrm>
              <a:off x="9341235" y="4200562"/>
              <a:ext cx="385769" cy="255574"/>
            </a:xfrm>
            <a:prstGeom prst="rect">
              <a:avLst/>
            </a:prstGeom>
          </p:spPr>
        </p:pic>
      </p:grpSp>
      <p:pic>
        <p:nvPicPr>
          <p:cNvPr id="103" name="Graphic 102" descr="Question Mark with solid fill">
            <a:extLst>
              <a:ext uri="{FF2B5EF4-FFF2-40B4-BE49-F238E27FC236}">
                <a16:creationId xmlns:a16="http://schemas.microsoft.com/office/drawing/2014/main" id="{20113633-8FEC-4B0C-BCF1-D9A9ECC2498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263469" y="5661179"/>
            <a:ext cx="258077" cy="258077"/>
          </a:xfrm>
          <a:prstGeom prst="rect">
            <a:avLst/>
          </a:prstGeom>
        </p:spPr>
      </p:pic>
      <p:grpSp>
        <p:nvGrpSpPr>
          <p:cNvPr id="105" name="Group 4">
            <a:extLst>
              <a:ext uri="{FF2B5EF4-FFF2-40B4-BE49-F238E27FC236}">
                <a16:creationId xmlns:a16="http://schemas.microsoft.com/office/drawing/2014/main" id="{0D4F1EFF-7C94-48DC-8AC0-F6A5312ABEC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1600" y="6433591"/>
            <a:ext cx="217267" cy="257654"/>
            <a:chOff x="811" y="719"/>
            <a:chExt cx="694" cy="823"/>
          </a:xfrm>
          <a:solidFill>
            <a:schemeClr val="accent3"/>
          </a:solidFill>
        </p:grpSpPr>
        <p:sp>
          <p:nvSpPr>
            <p:cNvPr id="107" name="Freeform 5">
              <a:extLst>
                <a:ext uri="{FF2B5EF4-FFF2-40B4-BE49-F238E27FC236}">
                  <a16:creationId xmlns:a16="http://schemas.microsoft.com/office/drawing/2014/main" id="{BF53C0AF-E50D-4726-A260-DD4133671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800"/>
              <a:ext cx="93" cy="742"/>
            </a:xfrm>
            <a:custGeom>
              <a:avLst/>
              <a:gdLst>
                <a:gd name="T0" fmla="*/ 4 w 8"/>
                <a:gd name="T1" fmla="*/ 0 h 64"/>
                <a:gd name="T2" fmla="*/ 0 w 8"/>
                <a:gd name="T3" fmla="*/ 4 h 64"/>
                <a:gd name="T4" fmla="*/ 0 w 8"/>
                <a:gd name="T5" fmla="*/ 64 h 64"/>
                <a:gd name="T6" fmla="*/ 8 w 8"/>
                <a:gd name="T7" fmla="*/ 64 h 64"/>
                <a:gd name="T8" fmla="*/ 8 w 8"/>
                <a:gd name="T9" fmla="*/ 4 h 64"/>
                <a:gd name="T10" fmla="*/ 4 w 8"/>
                <a:gd name="T1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108" name="Freeform 6">
              <a:extLst>
                <a:ext uri="{FF2B5EF4-FFF2-40B4-BE49-F238E27FC236}">
                  <a16:creationId xmlns:a16="http://schemas.microsoft.com/office/drawing/2014/main" id="{FC094436-A0FF-4A14-A6DB-8E7B28A4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" y="719"/>
              <a:ext cx="555" cy="741"/>
            </a:xfrm>
            <a:custGeom>
              <a:avLst/>
              <a:gdLst>
                <a:gd name="T0" fmla="*/ 0 w 48"/>
                <a:gd name="T1" fmla="*/ 16 h 64"/>
                <a:gd name="T2" fmla="*/ 0 w 48"/>
                <a:gd name="T3" fmla="*/ 48 h 64"/>
                <a:gd name="T4" fmla="*/ 48 w 48"/>
                <a:gd name="T5" fmla="*/ 44 h 64"/>
                <a:gd name="T6" fmla="*/ 48 w 48"/>
                <a:gd name="T7" fmla="*/ 12 h 64"/>
                <a:gd name="T8" fmla="*/ 0 w 48"/>
                <a:gd name="T9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4">
                  <a:moveTo>
                    <a:pt x="0" y="16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4" y="32"/>
                    <a:pt x="24" y="64"/>
                    <a:pt x="48" y="4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24" y="32"/>
                    <a:pt x="24" y="0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4BD5DDD4-2A47-4174-A927-BA62D83C7325}"/>
              </a:ext>
            </a:extLst>
          </p:cNvPr>
          <p:cNvSpPr txBox="1"/>
          <p:nvPr/>
        </p:nvSpPr>
        <p:spPr>
          <a:xfrm>
            <a:off x="382570" y="6469341"/>
            <a:ext cx="8574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/>
              <a:t>No subject</a:t>
            </a:r>
          </a:p>
        </p:txBody>
      </p:sp>
      <p:grpSp>
        <p:nvGrpSpPr>
          <p:cNvPr id="110" name="Group 4">
            <a:extLst>
              <a:ext uri="{FF2B5EF4-FFF2-40B4-BE49-F238E27FC236}">
                <a16:creationId xmlns:a16="http://schemas.microsoft.com/office/drawing/2014/main" id="{095ADC0A-DD50-4CB5-8D72-545729CB98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01481" y="6433591"/>
            <a:ext cx="217267" cy="257654"/>
            <a:chOff x="811" y="719"/>
            <a:chExt cx="694" cy="823"/>
          </a:xfrm>
          <a:solidFill>
            <a:schemeClr val="accent6"/>
          </a:solidFill>
        </p:grpSpPr>
        <p:sp>
          <p:nvSpPr>
            <p:cNvPr id="112" name="Freeform 5">
              <a:extLst>
                <a:ext uri="{FF2B5EF4-FFF2-40B4-BE49-F238E27FC236}">
                  <a16:creationId xmlns:a16="http://schemas.microsoft.com/office/drawing/2014/main" id="{462E7A1F-B8D1-4E25-BAB7-455A2D25F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800"/>
              <a:ext cx="93" cy="742"/>
            </a:xfrm>
            <a:custGeom>
              <a:avLst/>
              <a:gdLst>
                <a:gd name="T0" fmla="*/ 4 w 8"/>
                <a:gd name="T1" fmla="*/ 0 h 64"/>
                <a:gd name="T2" fmla="*/ 0 w 8"/>
                <a:gd name="T3" fmla="*/ 4 h 64"/>
                <a:gd name="T4" fmla="*/ 0 w 8"/>
                <a:gd name="T5" fmla="*/ 64 h 64"/>
                <a:gd name="T6" fmla="*/ 8 w 8"/>
                <a:gd name="T7" fmla="*/ 64 h 64"/>
                <a:gd name="T8" fmla="*/ 8 w 8"/>
                <a:gd name="T9" fmla="*/ 4 h 64"/>
                <a:gd name="T10" fmla="*/ 4 w 8"/>
                <a:gd name="T1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9AD8DD3D-7982-4B80-89F7-83F93DEF6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" y="719"/>
              <a:ext cx="555" cy="741"/>
            </a:xfrm>
            <a:custGeom>
              <a:avLst/>
              <a:gdLst>
                <a:gd name="T0" fmla="*/ 0 w 48"/>
                <a:gd name="T1" fmla="*/ 16 h 64"/>
                <a:gd name="T2" fmla="*/ 0 w 48"/>
                <a:gd name="T3" fmla="*/ 48 h 64"/>
                <a:gd name="T4" fmla="*/ 48 w 48"/>
                <a:gd name="T5" fmla="*/ 44 h 64"/>
                <a:gd name="T6" fmla="*/ 48 w 48"/>
                <a:gd name="T7" fmla="*/ 12 h 64"/>
                <a:gd name="T8" fmla="*/ 0 w 48"/>
                <a:gd name="T9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4">
                  <a:moveTo>
                    <a:pt x="0" y="16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4" y="32"/>
                    <a:pt x="24" y="64"/>
                    <a:pt x="48" y="4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24" y="32"/>
                    <a:pt x="24" y="0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5683109A-8439-4E9B-9165-DA2F145BA33F}"/>
              </a:ext>
            </a:extLst>
          </p:cNvPr>
          <p:cNvSpPr txBox="1"/>
          <p:nvPr/>
        </p:nvSpPr>
        <p:spPr>
          <a:xfrm>
            <a:off x="1389635" y="6393141"/>
            <a:ext cx="934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/>
              <a:t>Medium concern</a:t>
            </a:r>
          </a:p>
        </p:txBody>
      </p:sp>
      <p:grpSp>
        <p:nvGrpSpPr>
          <p:cNvPr id="115" name="Group 4">
            <a:extLst>
              <a:ext uri="{FF2B5EF4-FFF2-40B4-BE49-F238E27FC236}">
                <a16:creationId xmlns:a16="http://schemas.microsoft.com/office/drawing/2014/main" id="{B017329F-4A9D-4759-A547-1964A8E57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285695" y="6433591"/>
            <a:ext cx="217267" cy="257654"/>
            <a:chOff x="811" y="719"/>
            <a:chExt cx="694" cy="823"/>
          </a:xfrm>
          <a:solidFill>
            <a:schemeClr val="accent2"/>
          </a:solidFill>
        </p:grpSpPr>
        <p:sp>
          <p:nvSpPr>
            <p:cNvPr id="117" name="Freeform 5">
              <a:extLst>
                <a:ext uri="{FF2B5EF4-FFF2-40B4-BE49-F238E27FC236}">
                  <a16:creationId xmlns:a16="http://schemas.microsoft.com/office/drawing/2014/main" id="{CCCAFB38-BEC9-4D38-86E5-151AD0BF8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800"/>
              <a:ext cx="93" cy="742"/>
            </a:xfrm>
            <a:custGeom>
              <a:avLst/>
              <a:gdLst>
                <a:gd name="T0" fmla="*/ 4 w 8"/>
                <a:gd name="T1" fmla="*/ 0 h 64"/>
                <a:gd name="T2" fmla="*/ 0 w 8"/>
                <a:gd name="T3" fmla="*/ 4 h 64"/>
                <a:gd name="T4" fmla="*/ 0 w 8"/>
                <a:gd name="T5" fmla="*/ 64 h 64"/>
                <a:gd name="T6" fmla="*/ 8 w 8"/>
                <a:gd name="T7" fmla="*/ 64 h 64"/>
                <a:gd name="T8" fmla="*/ 8 w 8"/>
                <a:gd name="T9" fmla="*/ 4 h 64"/>
                <a:gd name="T10" fmla="*/ 4 w 8"/>
                <a:gd name="T1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7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">
              <a:extLst>
                <a:ext uri="{FF2B5EF4-FFF2-40B4-BE49-F238E27FC236}">
                  <a16:creationId xmlns:a16="http://schemas.microsoft.com/office/drawing/2014/main" id="{6C581892-B981-4168-A219-4F54643D2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" y="719"/>
              <a:ext cx="555" cy="741"/>
            </a:xfrm>
            <a:custGeom>
              <a:avLst/>
              <a:gdLst>
                <a:gd name="T0" fmla="*/ 0 w 48"/>
                <a:gd name="T1" fmla="*/ 16 h 64"/>
                <a:gd name="T2" fmla="*/ 0 w 48"/>
                <a:gd name="T3" fmla="*/ 48 h 64"/>
                <a:gd name="T4" fmla="*/ 48 w 48"/>
                <a:gd name="T5" fmla="*/ 44 h 64"/>
                <a:gd name="T6" fmla="*/ 48 w 48"/>
                <a:gd name="T7" fmla="*/ 12 h 64"/>
                <a:gd name="T8" fmla="*/ 0 w 48"/>
                <a:gd name="T9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4">
                  <a:moveTo>
                    <a:pt x="0" y="16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24" y="32"/>
                    <a:pt x="24" y="64"/>
                    <a:pt x="48" y="4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24" y="32"/>
                    <a:pt x="24" y="0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A62B8CD1-0B37-4C87-8549-404776D61434}"/>
              </a:ext>
            </a:extLst>
          </p:cNvPr>
          <p:cNvSpPr txBox="1"/>
          <p:nvPr/>
        </p:nvSpPr>
        <p:spPr>
          <a:xfrm>
            <a:off x="2502962" y="6393141"/>
            <a:ext cx="8574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/>
              <a:t>Strong concern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B90965EE-D12E-4F56-85B2-C4DBDC9CAAFF}"/>
              </a:ext>
            </a:extLst>
          </p:cNvPr>
          <p:cNvGrpSpPr/>
          <p:nvPr/>
        </p:nvGrpSpPr>
        <p:grpSpPr>
          <a:xfrm>
            <a:off x="3321873" y="6420476"/>
            <a:ext cx="1141336" cy="283885"/>
            <a:chOff x="3321873" y="6420476"/>
            <a:chExt cx="1141336" cy="283885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CAED8972-B533-406F-84B5-09EBA5FAFB7E}"/>
                </a:ext>
              </a:extLst>
            </p:cNvPr>
            <p:cNvSpPr txBox="1"/>
            <p:nvPr/>
          </p:nvSpPr>
          <p:spPr>
            <a:xfrm>
              <a:off x="3605758" y="6454696"/>
              <a:ext cx="8574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800"/>
                <a:t>TBD</a:t>
              </a:r>
            </a:p>
          </p:txBody>
        </p:sp>
        <p:pic>
          <p:nvPicPr>
            <p:cNvPr id="121" name="Graphic 120" descr="Question Mark with solid fill">
              <a:extLst>
                <a:ext uri="{FF2B5EF4-FFF2-40B4-BE49-F238E27FC236}">
                  <a16:creationId xmlns:a16="http://schemas.microsoft.com/office/drawing/2014/main" id="{6AF42C26-FA50-4A51-AF8B-B357C3B22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321873" y="6420476"/>
              <a:ext cx="283885" cy="283885"/>
            </a:xfrm>
            <a:prstGeom prst="rect">
              <a:avLst/>
            </a:prstGeom>
          </p:spPr>
        </p:pic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E56347B6-CFEB-4AC9-9902-AB2BBFD29777}"/>
              </a:ext>
            </a:extLst>
          </p:cNvPr>
          <p:cNvSpPr/>
          <p:nvPr/>
        </p:nvSpPr>
        <p:spPr>
          <a:xfrm>
            <a:off x="6088135" y="552995"/>
            <a:ext cx="1614115" cy="472353"/>
          </a:xfrm>
          <a:prstGeom prst="rect">
            <a:avLst/>
          </a:prstGeom>
          <a:solidFill>
            <a:srgbClr val="FFFF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1000">
                <a:solidFill>
                  <a:schemeClr val="tx1"/>
                </a:solidFill>
              </a:rPr>
              <a:t>J</a:t>
            </a:r>
            <a:r>
              <a:rPr lang="en-US" sz="1000">
                <a:solidFill>
                  <a:schemeClr val="tx1"/>
                </a:solidFill>
              </a:rPr>
              <a:t>e </a:t>
            </a:r>
            <a:r>
              <a:rPr lang="en-US" sz="1000" err="1">
                <a:solidFill>
                  <a:schemeClr val="tx1"/>
                </a:solidFill>
              </a:rPr>
              <a:t>vois</a:t>
            </a:r>
            <a:r>
              <a:rPr lang="en-US" sz="1000">
                <a:solidFill>
                  <a:schemeClr val="tx1"/>
                </a:solidFill>
              </a:rPr>
              <a:t> pas bien </a:t>
            </a:r>
            <a:r>
              <a:rPr lang="en-US" sz="1000" err="1">
                <a:solidFill>
                  <a:schemeClr val="tx1"/>
                </a:solidFill>
              </a:rPr>
              <a:t>ce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err="1">
                <a:solidFill>
                  <a:schemeClr val="tx1"/>
                </a:solidFill>
              </a:rPr>
              <a:t>qu’on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err="1">
                <a:solidFill>
                  <a:schemeClr val="tx1"/>
                </a:solidFill>
              </a:rPr>
              <a:t>dit</a:t>
            </a:r>
            <a:r>
              <a:rPr lang="en-US" sz="1000">
                <a:solidFill>
                  <a:schemeClr val="tx1"/>
                </a:solidFill>
              </a:rPr>
              <a:t> </a:t>
            </a:r>
            <a:r>
              <a:rPr lang="en-US" sz="1000" err="1">
                <a:solidFill>
                  <a:schemeClr val="tx1"/>
                </a:solidFill>
              </a:rPr>
              <a:t>là</a:t>
            </a:r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158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2.71414578641300252571E+00&quot;&gt;&lt;m_msothmcolidx val=&quot;0&quot;/&gt;&lt;m_rgb r=&quot;00&quot; g=&quot;9D&quot; b=&quot;B0&quot;/&gt;&lt;m_nBrightness endver=&quot;26206&quot; val=&quot;0&quot;/&gt;&lt;/elem&gt;&lt;elem m_fUsage=&quot;1.35483060875715910498E+00&quot;&gt;&lt;m_msothmcolidx val=&quot;0&quot;/&gt;&lt;m_rgb r=&quot;32&quot; g=&quot;A3&quot; b=&quot;AF&quot;/&gt;&lt;m_nBrightness endver=&quot;26206&quot; val=&quot;0&quot;/&gt;&lt;/elem&gt;&lt;elem m_fUsage=&quot;1.17137055068487172527E+00&quot;&gt;&lt;m_msothmcolidx val=&quot;0&quot;/&gt;&lt;m_rgb r=&quot;13&quot; g=&quot;9B&quot; b=&quot;A6&quot;/&gt;&lt;m_nBrightness endver=&quot;26206&quot; val=&quot;0&quot;/&gt;&lt;/elem&gt;&lt;elem m_fUsage=&quot;8.84867924549610163076E-01&quot;&gt;&lt;m_msothmcolidx val=&quot;0&quot;/&gt;&lt;m_rgb r=&quot;63&quot; g=&quot;CA&quot; b=&quot;E4&quot;/&gt;&lt;m_nBrightness endver=&quot;26206&quot; val=&quot;0&quot;/&gt;&lt;/elem&gt;&lt;elem m_fUsage=&quot;8.17887699000000023553E-01&quot;&gt;&lt;m_msothmcolidx val=&quot;0&quot;/&gt;&lt;m_rgb r=&quot;57&quot; g=&quot;A8&quot; b=&quot;31&quot;/&gt;&lt;m_nBrightness endver=&quot;26206&quot; val=&quot;0&quot;/&gt;&lt;/elem&gt;&lt;elem m_fUsage=&quot;7.37332132094649206344E-01&quot;&gt;&lt;m_msothmcolidx val=&quot;0&quot;/&gt;&lt;m_rgb r=&quot;C6&quot; g=&quot;21&quot; b=&quot;27&quot;/&gt;&lt;m_nBrightness endver=&quot;26206&quot; val=&quot;0&quot;/&gt;&lt;/elem&gt;&lt;elem m_fUsage=&quot;6.70484245440166048979E-01&quot;&gt;&lt;m_msothmcolidx val=&quot;0&quot;/&gt;&lt;m_rgb r=&quot;FF&quot; g=&quot;79&quot; b=&quot;00&quot;/&gt;&lt;m_nBrightness endver=&quot;26206&quot; val=&quot;0&quot;/&gt;&lt;/elem&gt;&lt;elem m_fUsage=&quot;5.90490000000000181402E-01&quot;&gt;&lt;m_msothmcolidx val=&quot;0&quot;/&gt;&lt;m_rgb r=&quot;F0&quot; g=&quot;51&quot; b=&quot;27&quot;/&gt;&lt;m_nBrightness endver=&quot;26206&quot; val=&quot;0&quot;/&gt;&lt;/elem&gt;&lt;elem m_fUsage=&quot;2.66872914491758816968E-01&quot;&gt;&lt;m_msothmcolidx val=&quot;0&quot;/&gt;&lt;m_rgb r=&quot;FF&quot; g=&quot;C7&quot; b=&quot;21&quot;/&gt;&lt;m_nBrightness endver=&quot;26206&quot; val=&quot;0&quot;/&gt;&lt;/elem&gt;&lt;elem m_fUsage=&quot;1.66771816996665767086E-01&quot;&gt;&lt;m_msothmcolidx val=&quot;0&quot;/&gt;&lt;m_rgb r=&quot;76&quot; g=&quot;8F&quot; b=&quot;AD&quot;/&gt;&lt;m_nBrightness endver=&quot;26206&quot; val=&quot;0&quot;/&gt;&lt;/elem&gt;&lt;elem m_fUsage=&quot;1.50094635296999207030E-01&quot;&gt;&lt;m_msothmcolidx val=&quot;0&quot;/&gt;&lt;m_rgb r=&quot;F4&quot; g=&quot;8C&quot; b=&quot;00&quot;/&gt;&lt;m_nBrightness endver=&quot;26206&quot; val=&quot;0&quot;/&gt;&lt;/elem&gt;&lt;elem m_fUsage=&quot;1.35085171767299283552E-01&quot;&gt;&lt;m_msothmcolidx val=&quot;0&quot;/&gt;&lt;m_rgb r=&quot;11&quot; g=&quot;11&quot; b=&quot;11&quot;/&gt;&lt;m_nBrightness endver=&quot;26206&quot; val=&quot;0&quot;/&gt;&lt;/elem&gt;&lt;elem m_fUsage=&quot;7.84557038688719898811E-02&quot;&gt;&lt;m_msothmcolidx val=&quot;0&quot;/&gt;&lt;m_rgb r=&quot;79&quot; g=&quot;63&quot; b=&quot;32&quot;/&gt;&lt;m_nBrightness endver=&quot;26206&quot; val=&quot;0&quot;/&gt;&lt;/elem&gt;&lt;elem m_fUsage=&quot;4.71012869724624916312E-02&quot;&gt;&lt;m_msothmcolidx val=&quot;0&quot;/&gt;&lt;m_rgb r=&quot;BC&quot; g=&quot;49&quot; b=&quot;61&quot;/&gt;&lt;m_nBrightness endver=&quot;26206&quot; val=&quot;0&quot;/&gt;&lt;/elem&gt;&lt;elem m_fUsage=&quot;4.23911582752162438559E-02&quot;&gt;&lt;m_msothmcolidx val=&quot;0&quot;/&gt;&lt;m_rgb r=&quot;CD&quot; g=&quot;79&quot; b=&quot;76&quot;/&gt;&lt;m_nBrightness endver=&quot;26206&quot; val=&quot;0&quot;/&gt;&lt;/elem&gt;&lt;elem m_fUsage=&quot;3.81520424476946215520E-02&quot;&gt;&lt;m_msothmcolidx val=&quot;0&quot;/&gt;&lt;m_rgb r=&quot;D8&quot; g=&quot;9A&quot; b=&quot;98&quot;/&gt;&lt;m_nBrightness endver=&quot;26206&quot; val=&quot;0&quot;/&gt;&lt;/elem&gt;&lt;elem m_fUsage=&quot;2.94037494770665944199E-02&quot;&gt;&lt;m_msothmcolidx val=&quot;0&quot;/&gt;&lt;m_rgb r=&quot;00&quot; g=&quot;B9&quot; b=&quot;AF&quot;/&gt;&lt;m_nBrightness endver=&quot;26206&quot; val=&quot;0&quot;/&gt;&lt;/elem&gt;&lt;elem m_fUsage=&quot;2.40780583115969698538E-02&quot;&gt;&lt;m_msothmcolidx val=&quot;0&quot;/&gt;&lt;m_rgb r=&quot;B5&quot; g=&quot;94&quot; b=&quot;4B&quot;/&gt;&lt;m_nBrightness endver=&quot;26206&quot; val=&quot;0&quot;/&gt;&lt;/elem&gt;&lt;elem m_fUsage=&quot;1.99104458101607359466E-02&quot;&gt;&lt;m_msothmcolidx val=&quot;0&quot;/&gt;&lt;m_rgb r=&quot;D9&quot; g=&quot;96&quot; b=&quot;94&quot;/&gt;&lt;m_nBrightness endver=&quot;26206&quot; val=&quot;0&quot;/&gt;&lt;/elem&gt;&lt;elem m_fUsage=&quot;1.84664781319291530781E-02&quot;&gt;&lt;m_msothmcolidx val=&quot;0&quot;/&gt;&lt;m_rgb r=&quot;F1&quot; g=&quot;78&quot; b=&quot;30&quot;/&gt;&lt;m_nBrightness endver=&quot;26206&quot; val=&quot;0&quot;/&gt;&lt;/elem&gt;&lt;elem m_fUsage=&quot;1.49687171024028044253E-02&quot;&gt;&lt;m_msothmcolidx val=&quot;0&quot;/&gt;&lt;m_rgb r=&quot;28&quot; g=&quot;6F&quot; b=&quot;80&quot;/&gt;&lt;m_nBrightness endver=&quot;26206&quot; val=&quot;0&quot;/&gt;&lt;/elem&gt;&lt;elem m_fUsage=&quot;1.19725151825620327456E-02&quot;&gt;&lt;m_msothmcolidx val=&quot;0&quot;/&gt;&lt;m_rgb r=&quot;E8&quot; g=&quot;6D&quot; b=&quot;09&quot;/&gt;&lt;m_nBrightness endver=&quot;26206&quot; val=&quot;0&quot;/&gt;&lt;/elem&gt;&lt;elem m_fUsage=&quot;8.72796356808772273717E-03&quot;&gt;&lt;m_msothmcolidx val=&quot;0&quot;/&gt;&lt;m_rgb r=&quot;83&quot; g=&quot;3E&quot; b=&quot;05&quot;/&gt;&lt;m_nBrightness endver=&quot;26206&quot; val=&quot;0&quot;/&gt;&lt;/elem&gt;&lt;elem m_fUsage=&quot;3.75710212613636698742E-03&quot;&gt;&lt;m_msothmcolidx val=&quot;0&quot;/&gt;&lt;m_rgb r=&quot;2F&quot; g=&quot;82&quot; b=&quot;97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upjyy1RR.fmpLlOqsl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yJ8EUGR0G46xiu6OVD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Q29izMR3.dGQMTnWuG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heme/theme1.xml><?xml version="1.0" encoding="utf-8"?>
<a:theme xmlns:a="http://schemas.openxmlformats.org/drawingml/2006/main" name="Masque_Corporate_Surf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marL="171450" indent="-171450" algn="l">
          <a:buFont typeface="Arial" panose="020B0604020202020204" pitchFamily="34" charset="0"/>
          <a:buChar char="•"/>
          <a:defRPr sz="10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05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5DD9B85DC3D64DA4C09FAE94B19CE9" ma:contentTypeVersion="2" ma:contentTypeDescription="Crée un document." ma:contentTypeScope="" ma:versionID="e77dc2b7f893ca56da63f59f8852b278">
  <xsd:schema xmlns:xsd="http://www.w3.org/2001/XMLSchema" xmlns:xs="http://www.w3.org/2001/XMLSchema" xmlns:p="http://schemas.microsoft.com/office/2006/metadata/properties" xmlns:ns2="26e32319-7881-4f6a-8fad-7be2ed818946" targetNamespace="http://schemas.microsoft.com/office/2006/metadata/properties" ma:root="true" ma:fieldsID="1c526f61627e22743df393ffa102e9b3" ns2:_="">
    <xsd:import namespace="26e32319-7881-4f6a-8fad-7be2ed8189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e32319-7881-4f6a-8fad-7be2ed8189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2B7C1AA-1C57-4C77-8A30-8162F5B84A0E}">
  <ds:schemaRefs>
    <ds:schemaRef ds:uri="26e32319-7881-4f6a-8fad-7be2ed8189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E6417EB-B4C8-4B41-9161-897E4D9AE177}">
  <ds:schemaRefs>
    <ds:schemaRef ds:uri="26e32319-7881-4f6a-8fad-7be2ed81894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52175CB-F170-4365-9AFA-31DBE769468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que_Corporate_Surfeur</Template>
  <TotalTime>0</TotalTime>
  <Words>588</Words>
  <Application>Microsoft Office PowerPoint</Application>
  <PresentationFormat>Format A4 (210 x 297 mm)</PresentationFormat>
  <Paragraphs>3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Arial</vt:lpstr>
      <vt:lpstr>Calibri</vt:lpstr>
      <vt:lpstr>Trebuchet MS</vt:lpstr>
      <vt:lpstr>Verdana</vt:lpstr>
      <vt:lpstr>Wingdings</vt:lpstr>
      <vt:lpstr>Masque_Corporate_Surfeur</vt:lpstr>
      <vt:lpstr>Diapositive think-cell</vt:lpstr>
      <vt:lpstr>One-pager red flag analysis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iamond</dc:title>
  <dc:creator>Thomas Simon;thibaut.watrigant@eleven-strategy.com</dc:creator>
  <cp:lastModifiedBy>Aude Van de Wiele</cp:lastModifiedBy>
  <cp:revision>1</cp:revision>
  <cp:lastPrinted>2021-05-25T08:13:27Z</cp:lastPrinted>
  <dcterms:created xsi:type="dcterms:W3CDTF">2012-08-31T17:39:25Z</dcterms:created>
  <dcterms:modified xsi:type="dcterms:W3CDTF">2021-05-25T15:2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5DD9B85DC3D64DA4C09FAE94B19CE9</vt:lpwstr>
  </property>
</Properties>
</file>